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media/image89.jpg" ContentType="image/jpg"/>
  <Override PartName="/ppt/notesSlides/notesSlide2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0" r:id="rId5"/>
    <p:sldMasterId id="2147483747" r:id="rId6"/>
    <p:sldMasterId id="2147483673" r:id="rId7"/>
    <p:sldMasterId id="2147483678" r:id="rId8"/>
  </p:sldMasterIdLst>
  <p:notesMasterIdLst>
    <p:notesMasterId r:id="rId52"/>
  </p:notesMasterIdLst>
  <p:sldIdLst>
    <p:sldId id="256" r:id="rId9"/>
    <p:sldId id="10236" r:id="rId10"/>
    <p:sldId id="780" r:id="rId11"/>
    <p:sldId id="273" r:id="rId12"/>
    <p:sldId id="262" r:id="rId13"/>
    <p:sldId id="10237" r:id="rId14"/>
    <p:sldId id="10241" r:id="rId15"/>
    <p:sldId id="10279" r:id="rId16"/>
    <p:sldId id="270" r:id="rId17"/>
    <p:sldId id="291" r:id="rId18"/>
    <p:sldId id="10282" r:id="rId19"/>
    <p:sldId id="10280" r:id="rId20"/>
    <p:sldId id="10281" r:id="rId21"/>
    <p:sldId id="271" r:id="rId22"/>
    <p:sldId id="269" r:id="rId23"/>
    <p:sldId id="274" r:id="rId24"/>
    <p:sldId id="272" r:id="rId25"/>
    <p:sldId id="275" r:id="rId26"/>
    <p:sldId id="276" r:id="rId27"/>
    <p:sldId id="277" r:id="rId28"/>
    <p:sldId id="278" r:id="rId29"/>
    <p:sldId id="279" r:id="rId30"/>
    <p:sldId id="280" r:id="rId31"/>
    <p:sldId id="281" r:id="rId32"/>
    <p:sldId id="282" r:id="rId33"/>
    <p:sldId id="283" r:id="rId34"/>
    <p:sldId id="284" r:id="rId35"/>
    <p:sldId id="285" r:id="rId36"/>
    <p:sldId id="261" r:id="rId37"/>
    <p:sldId id="286" r:id="rId38"/>
    <p:sldId id="287" r:id="rId39"/>
    <p:sldId id="288" r:id="rId40"/>
    <p:sldId id="289" r:id="rId41"/>
    <p:sldId id="290" r:id="rId42"/>
    <p:sldId id="10239" r:id="rId43"/>
    <p:sldId id="10238" r:id="rId44"/>
    <p:sldId id="10240" r:id="rId45"/>
    <p:sldId id="259" r:id="rId46"/>
    <p:sldId id="264" r:id="rId47"/>
    <p:sldId id="265" r:id="rId48"/>
    <p:sldId id="266" r:id="rId49"/>
    <p:sldId id="267" r:id="rId50"/>
    <p:sldId id="268" r:id="rId51"/>
  </p:sldIdLst>
  <p:sldSz cx="9144000" cy="5715000" type="screen16x10"/>
  <p:notesSz cx="6858000" cy="9144000"/>
  <p:custDataLst>
    <p:tags r:id="rId5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89" userDrawn="1">
          <p15:clr>
            <a:srgbClr val="A4A3A4"/>
          </p15:clr>
        </p15:guide>
        <p15:guide id="3" pos="422" userDrawn="1">
          <p15:clr>
            <a:srgbClr val="A4A3A4"/>
          </p15:clr>
        </p15:guide>
        <p15:guide id="4" pos="549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ffen Føns Nielsen" initials="SFN" lastIdx="10" clrIdx="0">
    <p:extLst>
      <p:ext uri="{19B8F6BF-5375-455C-9EA6-DF929625EA0E}">
        <p15:presenceInfo xmlns:p15="http://schemas.microsoft.com/office/powerpoint/2012/main" userId="S::sfn@ellab.com::4f63f6c1-d277-4965-acb4-52ab45365ed7" providerId="AD"/>
      </p:ext>
    </p:extLst>
  </p:cmAuthor>
  <p:cmAuthor id="2" name="Paul Biddle" initials="PB" lastIdx="7" clrIdx="1">
    <p:extLst>
      <p:ext uri="{19B8F6BF-5375-455C-9EA6-DF929625EA0E}">
        <p15:presenceInfo xmlns:p15="http://schemas.microsoft.com/office/powerpoint/2012/main" userId="S::pbi@ellab.com::82bc8304-87e2-4bfb-b0b9-ac1836aa6e9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E7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00" autoAdjust="0"/>
    <p:restoredTop sz="88752" autoAdjust="0"/>
  </p:normalViewPr>
  <p:slideViewPr>
    <p:cSldViewPr snapToGrid="0">
      <p:cViewPr varScale="1">
        <p:scale>
          <a:sx n="90" d="100"/>
          <a:sy n="90" d="100"/>
        </p:scale>
        <p:origin x="542" y="53"/>
      </p:cViewPr>
      <p:guideLst>
        <p:guide orient="horz" pos="689"/>
        <p:guide pos="422"/>
        <p:guide pos="54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tags" Target="tags/tag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9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4.xml"/><Relationship Id="rId51" Type="http://schemas.openxmlformats.org/officeDocument/2006/relationships/slide" Target="slides/slide43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commentAuthors" Target="commentAuthors.xml"/><Relationship Id="rId6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theme" Target="theme/theme1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41211F-94DA-4D88-AE0A-74A22FB4FA4E}" type="datetimeFigureOut">
              <a:rPr lang="en-US" smtClean="0"/>
              <a:t>11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66CD4A-5C70-44FB-9286-F274722EC0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3060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dirty="0">
                <a:cs typeface="Calibri" panose="020F0502020204030204" pitchFamily="34" charset="0"/>
              </a:rPr>
              <a:t>This diagram shows how all the components can connect together into one software platform, and shows all options for data collection.</a:t>
            </a:r>
          </a:p>
          <a:p>
            <a:r>
              <a:rPr lang="en-GB" sz="1200" b="1" dirty="0">
                <a:cs typeface="Calibri" panose="020F0502020204030204" pitchFamily="34" charset="0"/>
              </a:rPr>
              <a:t>The system allows all our wireless hardware to be used together.</a:t>
            </a:r>
          </a:p>
          <a:p>
            <a:endParaRPr lang="en-GB" sz="1200" b="1" dirty="0">
              <a:cs typeface="Calibri" panose="020F0502020204030204" pitchFamily="34" charset="0"/>
            </a:endParaRPr>
          </a:p>
          <a:p>
            <a:r>
              <a:rPr lang="en-GB" sz="1200" b="1" dirty="0">
                <a:cs typeface="Calibri" panose="020F0502020204030204" pitchFamily="34" charset="0"/>
              </a:rPr>
              <a:t>Users can view data in the following ways: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200" b="1" dirty="0">
                <a:cs typeface="Calibri" panose="020F0502020204030204" pitchFamily="34" charset="0"/>
              </a:rPr>
              <a:t>On a local PC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200" b="1" dirty="0">
                <a:cs typeface="Calibri" panose="020F0502020204030204" pitchFamily="34" charset="0"/>
              </a:rPr>
              <a:t>On any PC with internet access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200" b="1" dirty="0">
                <a:cs typeface="Calibri" panose="020F0502020204030204" pitchFamily="34" charset="0"/>
              </a:rPr>
              <a:t>On a tablet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200" b="1" dirty="0">
                <a:cs typeface="Calibri" panose="020F0502020204030204" pitchFamily="34" charset="0"/>
              </a:rPr>
              <a:t>On a mobile device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200" b="1" dirty="0">
                <a:cs typeface="Calibri" panose="020F0502020204030204" pitchFamily="34" charset="0"/>
              </a:rPr>
              <a:t>Via the alarm App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200" b="1" dirty="0">
                <a:cs typeface="Calibri" panose="020F0502020204030204" pitchFamily="34" charset="0"/>
              </a:rPr>
              <a:t>Alarms by email or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470382-E719-C14B-A060-8B102183099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1888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66CD4A-5C70-44FB-9286-F274722EC01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232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6" Type="http://schemas.openxmlformats.org/officeDocument/2006/relationships/image" Target="../media/image9.png"/><Relationship Id="rId5" Type="http://schemas.openxmlformats.org/officeDocument/2006/relationships/image" Target="../media/image10.jpeg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6" Type="http://schemas.openxmlformats.org/officeDocument/2006/relationships/image" Target="../media/image9.png"/><Relationship Id="rId5" Type="http://schemas.openxmlformats.org/officeDocument/2006/relationships/image" Target="../media/image11.jpg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6" Type="http://schemas.openxmlformats.org/officeDocument/2006/relationships/image" Target="../media/image9.png"/><Relationship Id="rId5" Type="http://schemas.openxmlformats.org/officeDocument/2006/relationships/image" Target="../media/image12.jpeg"/><Relationship Id="rId4" Type="http://schemas.openxmlformats.org/officeDocument/2006/relationships/image" Target="../media/image6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6" Type="http://schemas.openxmlformats.org/officeDocument/2006/relationships/image" Target="../media/image9.png"/><Relationship Id="rId5" Type="http://schemas.openxmlformats.org/officeDocument/2006/relationships/image" Target="../media/image13.jpeg"/><Relationship Id="rId4" Type="http://schemas.openxmlformats.org/officeDocument/2006/relationships/image" Target="../media/image6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6" Type="http://schemas.openxmlformats.org/officeDocument/2006/relationships/image" Target="../media/image9.png"/><Relationship Id="rId5" Type="http://schemas.openxmlformats.org/officeDocument/2006/relationships/image" Target="../media/image14.jpeg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2.sv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jpeg"/><Relationship Id="rId4" Type="http://schemas.openxmlformats.org/officeDocument/2006/relationships/image" Target="../media/image4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98F8CC-9094-40E5-82CF-866292A5D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3052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98F8CC-9094-40E5-82CF-866292A5D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oogle Shape;44;p6">
            <a:extLst>
              <a:ext uri="{FF2B5EF4-FFF2-40B4-BE49-F238E27FC236}">
                <a16:creationId xmlns:a16="http://schemas.microsoft.com/office/drawing/2014/main" id="{0B8AFFC2-1746-1441-B457-2F1810CF5E02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Google Shape;30;p4"/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6958438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6957112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8092230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150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inar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1640E91-1642-4341-9D37-63D30B1035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494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1640E91-1642-4341-9D37-63D30B1035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89B891-ECCA-4C69-B08D-28D48A6E5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04800"/>
            <a:ext cx="7886700" cy="1104900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DK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DC6BFB3-911E-4CDA-867D-6F12428E81AA}"/>
              </a:ext>
            </a:extLst>
          </p:cNvPr>
          <p:cNvSpPr/>
          <p:nvPr userDrawn="1"/>
        </p:nvSpPr>
        <p:spPr>
          <a:xfrm>
            <a:off x="0" y="1081176"/>
            <a:ext cx="9144000" cy="2446884"/>
          </a:xfrm>
          <a:prstGeom prst="rect">
            <a:avLst/>
          </a:prstGeom>
          <a:solidFill>
            <a:srgbClr val="F5F5F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4" name="Picture Placeholder 21">
            <a:extLst>
              <a:ext uri="{FF2B5EF4-FFF2-40B4-BE49-F238E27FC236}">
                <a16:creationId xmlns:a16="http://schemas.microsoft.com/office/drawing/2014/main" id="{2DC119D9-5C93-4EDD-828B-9B924564839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33751" y="1295400"/>
            <a:ext cx="1440000" cy="1440000"/>
          </a:xfrm>
          <a:custGeom>
            <a:avLst/>
            <a:gdLst>
              <a:gd name="connsiteX0" fmla="*/ 1382865 w 2765730"/>
              <a:gd name="connsiteY0" fmla="*/ 0 h 2765730"/>
              <a:gd name="connsiteX1" fmla="*/ 2765730 w 2765730"/>
              <a:gd name="connsiteY1" fmla="*/ 1382865 h 2765730"/>
              <a:gd name="connsiteX2" fmla="*/ 1382865 w 2765730"/>
              <a:gd name="connsiteY2" fmla="*/ 2765730 h 2765730"/>
              <a:gd name="connsiteX3" fmla="*/ 0 w 2765730"/>
              <a:gd name="connsiteY3" fmla="*/ 1382865 h 2765730"/>
              <a:gd name="connsiteX4" fmla="*/ 1382865 w 2765730"/>
              <a:gd name="connsiteY4" fmla="*/ 0 h 27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65730" h="2765730">
                <a:moveTo>
                  <a:pt x="1382865" y="0"/>
                </a:moveTo>
                <a:cubicBezTo>
                  <a:pt x="2146600" y="0"/>
                  <a:pt x="2765730" y="619130"/>
                  <a:pt x="2765730" y="1382865"/>
                </a:cubicBezTo>
                <a:cubicBezTo>
                  <a:pt x="2765730" y="2146600"/>
                  <a:pt x="2146600" y="2765730"/>
                  <a:pt x="1382865" y="2765730"/>
                </a:cubicBezTo>
                <a:cubicBezTo>
                  <a:pt x="619130" y="2765730"/>
                  <a:pt x="0" y="2146600"/>
                  <a:pt x="0" y="1382865"/>
                </a:cubicBezTo>
                <a:cubicBezTo>
                  <a:pt x="0" y="619130"/>
                  <a:pt x="619130" y="0"/>
                  <a:pt x="1382865" y="0"/>
                </a:cubicBezTo>
                <a:close/>
              </a:path>
            </a:pathLst>
          </a:custGeom>
          <a:solidFill>
            <a:srgbClr val="E6ECF4"/>
          </a:solidFill>
          <a:ln w="12700">
            <a:solidFill>
              <a:schemeClr val="accent5"/>
            </a:solidFill>
            <a:prstDash val="sysDot"/>
          </a:ln>
        </p:spPr>
        <p:txBody>
          <a:bodyPr wrap="square"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21">
            <a:extLst>
              <a:ext uri="{FF2B5EF4-FFF2-40B4-BE49-F238E27FC236}">
                <a16:creationId xmlns:a16="http://schemas.microsoft.com/office/drawing/2014/main" id="{899FC2D6-CEC0-418F-99AD-F67833902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76309" y="1295400"/>
            <a:ext cx="1440000" cy="1440000"/>
          </a:xfrm>
          <a:custGeom>
            <a:avLst/>
            <a:gdLst>
              <a:gd name="connsiteX0" fmla="*/ 1382865 w 2765730"/>
              <a:gd name="connsiteY0" fmla="*/ 0 h 2765730"/>
              <a:gd name="connsiteX1" fmla="*/ 2765730 w 2765730"/>
              <a:gd name="connsiteY1" fmla="*/ 1382865 h 2765730"/>
              <a:gd name="connsiteX2" fmla="*/ 1382865 w 2765730"/>
              <a:gd name="connsiteY2" fmla="*/ 2765730 h 2765730"/>
              <a:gd name="connsiteX3" fmla="*/ 0 w 2765730"/>
              <a:gd name="connsiteY3" fmla="*/ 1382865 h 2765730"/>
              <a:gd name="connsiteX4" fmla="*/ 1382865 w 2765730"/>
              <a:gd name="connsiteY4" fmla="*/ 0 h 27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65730" h="2765730">
                <a:moveTo>
                  <a:pt x="1382865" y="0"/>
                </a:moveTo>
                <a:cubicBezTo>
                  <a:pt x="2146600" y="0"/>
                  <a:pt x="2765730" y="619130"/>
                  <a:pt x="2765730" y="1382865"/>
                </a:cubicBezTo>
                <a:cubicBezTo>
                  <a:pt x="2765730" y="2146600"/>
                  <a:pt x="2146600" y="2765730"/>
                  <a:pt x="1382865" y="2765730"/>
                </a:cubicBezTo>
                <a:cubicBezTo>
                  <a:pt x="619130" y="2765730"/>
                  <a:pt x="0" y="2146600"/>
                  <a:pt x="0" y="1382865"/>
                </a:cubicBezTo>
                <a:cubicBezTo>
                  <a:pt x="0" y="619130"/>
                  <a:pt x="619130" y="0"/>
                  <a:pt x="1382865" y="0"/>
                </a:cubicBezTo>
                <a:close/>
              </a:path>
            </a:pathLst>
          </a:custGeom>
          <a:solidFill>
            <a:srgbClr val="E6ECF4"/>
          </a:solidFill>
          <a:ln w="12700">
            <a:solidFill>
              <a:schemeClr val="accent5"/>
            </a:solidFill>
            <a:prstDash val="sysDot"/>
          </a:ln>
        </p:spPr>
        <p:txBody>
          <a:bodyPr wrap="square"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16E3494-39F7-42AF-AF62-251857E9B8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3642359"/>
            <a:ext cx="8092230" cy="1441475"/>
          </a:xfrm>
          <a:prstGeom prst="rect">
            <a:avLst/>
          </a:prstGeom>
        </p:spPr>
        <p:txBody>
          <a:bodyPr/>
          <a:lstStyle>
            <a:lvl1pPr>
              <a:buNone/>
              <a:defRPr sz="14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1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1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1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1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10947-24E5-4874-B823-45B3A9301C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55715" y="2788920"/>
            <a:ext cx="1935168" cy="2574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DDCA3AD-9667-4C95-98FE-59E027B6D9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37455" y="2788920"/>
            <a:ext cx="2043592" cy="2574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E349B82-D4B7-48FF-8BEB-7330681F33B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37455" y="3092292"/>
            <a:ext cx="2043592" cy="3286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 marL="3429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D38A413-1B9A-40AD-84C1-98B49DE5B1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55715" y="3092292"/>
            <a:ext cx="1935168" cy="3286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 marL="3429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6456293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inar Will Begin S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DC6BFB3-911E-4CDA-867D-6F12428E81AA}"/>
              </a:ext>
            </a:extLst>
          </p:cNvPr>
          <p:cNvSpPr/>
          <p:nvPr userDrawn="1"/>
        </p:nvSpPr>
        <p:spPr>
          <a:xfrm>
            <a:off x="0" y="1081176"/>
            <a:ext cx="9144000" cy="2446884"/>
          </a:xfrm>
          <a:prstGeom prst="rect">
            <a:avLst/>
          </a:prstGeom>
          <a:solidFill>
            <a:srgbClr val="F5F5F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9D10164-D15D-4056-98B3-6245BD80B67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361194" y="2848003"/>
            <a:ext cx="2421612" cy="2421612"/>
          </a:xfrm>
          <a:custGeom>
            <a:avLst/>
            <a:gdLst>
              <a:gd name="connsiteX0" fmla="*/ 1210806 w 2421612"/>
              <a:gd name="connsiteY0" fmla="*/ 0 h 2421612"/>
              <a:gd name="connsiteX1" fmla="*/ 2421612 w 2421612"/>
              <a:gd name="connsiteY1" fmla="*/ 1210806 h 2421612"/>
              <a:gd name="connsiteX2" fmla="*/ 1210806 w 2421612"/>
              <a:gd name="connsiteY2" fmla="*/ 2421612 h 2421612"/>
              <a:gd name="connsiteX3" fmla="*/ 0 w 2421612"/>
              <a:gd name="connsiteY3" fmla="*/ 1210806 h 2421612"/>
              <a:gd name="connsiteX4" fmla="*/ 1210806 w 2421612"/>
              <a:gd name="connsiteY4" fmla="*/ 0 h 242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1612" h="2421612">
                <a:moveTo>
                  <a:pt x="1210806" y="0"/>
                </a:moveTo>
                <a:cubicBezTo>
                  <a:pt x="1879516" y="0"/>
                  <a:pt x="2421612" y="542096"/>
                  <a:pt x="2421612" y="1210806"/>
                </a:cubicBezTo>
                <a:cubicBezTo>
                  <a:pt x="2421612" y="1879516"/>
                  <a:pt x="1879516" y="2421612"/>
                  <a:pt x="1210806" y="2421612"/>
                </a:cubicBezTo>
                <a:cubicBezTo>
                  <a:pt x="542096" y="2421612"/>
                  <a:pt x="0" y="1879516"/>
                  <a:pt x="0" y="1210806"/>
                </a:cubicBezTo>
                <a:cubicBezTo>
                  <a:pt x="0" y="542096"/>
                  <a:pt x="542096" y="0"/>
                  <a:pt x="1210806" y="0"/>
                </a:cubicBezTo>
                <a:close/>
              </a:path>
            </a:pathLst>
          </a:custGeom>
          <a:ln w="12700">
            <a:solidFill>
              <a:schemeClr val="accent5"/>
            </a:solidFill>
            <a:prstDash val="sysDot"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DK" dirty="0"/>
          </a:p>
        </p:txBody>
      </p:sp>
      <p:sp>
        <p:nvSpPr>
          <p:cNvPr id="9" name="Title 19">
            <a:extLst>
              <a:ext uri="{FF2B5EF4-FFF2-40B4-BE49-F238E27FC236}">
                <a16:creationId xmlns:a16="http://schemas.microsoft.com/office/drawing/2014/main" id="{16C49CDF-6A51-4D1B-9B3B-675DCD91D298}"/>
              </a:ext>
            </a:extLst>
          </p:cNvPr>
          <p:cNvSpPr txBox="1">
            <a:spLocks/>
          </p:cNvSpPr>
          <p:nvPr userDrawn="1"/>
        </p:nvSpPr>
        <p:spPr>
          <a:xfrm>
            <a:off x="628650" y="1447163"/>
            <a:ext cx="7886700" cy="628631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r>
              <a:rPr lang="en-US" dirty="0"/>
              <a:t>Our Webinar Will Begin Soon</a:t>
            </a:r>
            <a:endParaRPr lang="en-DK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4852942-8CA9-4522-BE34-D4A64DCBE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18469" y="2071656"/>
            <a:ext cx="5707062" cy="7048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accent5"/>
                </a:solidFill>
              </a:defRPr>
            </a:lvl1pPr>
            <a:lvl2pPr marL="342900" indent="0">
              <a:buNone/>
              <a:defRPr>
                <a:solidFill>
                  <a:schemeClr val="accent5"/>
                </a:solidFill>
              </a:defRPr>
            </a:lvl2pPr>
            <a:lvl3pPr marL="685800" indent="0">
              <a:buNone/>
              <a:defRPr>
                <a:solidFill>
                  <a:schemeClr val="accent5"/>
                </a:solidFill>
              </a:defRPr>
            </a:lvl3pPr>
            <a:lvl4pPr marL="1028700" indent="0">
              <a:buNone/>
              <a:defRPr>
                <a:solidFill>
                  <a:schemeClr val="accent5"/>
                </a:solidFill>
              </a:defRPr>
            </a:lvl4pPr>
            <a:lvl5pPr marL="1371600" indent="0">
              <a:buNone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“Webinar Title”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8927504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FA4FAA4-CCBA-4E60-9EB5-3B1DAD2D57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4347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FA4FAA4-CCBA-4E60-9EB5-3B1DAD2D5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aphic 16">
            <a:extLst>
              <a:ext uri="{FF2B5EF4-FFF2-40B4-BE49-F238E27FC236}">
                <a16:creationId xmlns:a16="http://schemas.microsoft.com/office/drawing/2014/main" id="{6C03B38B-2383-0E41-82F0-545D7AA1C1D9}"/>
              </a:ext>
            </a:extLst>
          </p:cNvPr>
          <p:cNvSpPr/>
          <p:nvPr userDrawn="1"/>
        </p:nvSpPr>
        <p:spPr>
          <a:xfrm>
            <a:off x="4373563" y="109538"/>
            <a:ext cx="2933700" cy="5251450"/>
          </a:xfrm>
          <a:custGeom>
            <a:avLst/>
            <a:gdLst>
              <a:gd name="connsiteX0" fmla="*/ 1122127 w 5278128"/>
              <a:gd name="connsiteY0" fmla="*/ 4801553 h 4801552"/>
              <a:gd name="connsiteX1" fmla="*/ 4156024 w 5278128"/>
              <a:gd name="connsiteY1" fmla="*/ 4801553 h 4801552"/>
              <a:gd name="connsiteX2" fmla="*/ 5278128 w 5278128"/>
              <a:gd name="connsiteY2" fmla="*/ 2640578 h 4801552"/>
              <a:gd name="connsiteX3" fmla="*/ 2639073 w 5278128"/>
              <a:gd name="connsiteY3" fmla="*/ 0 h 4801552"/>
              <a:gd name="connsiteX4" fmla="*/ 0 w 5278128"/>
              <a:gd name="connsiteY4" fmla="*/ 2640578 h 4801552"/>
              <a:gd name="connsiteX5" fmla="*/ 1122127 w 5278128"/>
              <a:gd name="connsiteY5" fmla="*/ 4801553 h 4801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78128" h="4801552">
                <a:moveTo>
                  <a:pt x="1122127" y="4801553"/>
                </a:moveTo>
                <a:lnTo>
                  <a:pt x="4156024" y="4801553"/>
                </a:lnTo>
                <a:cubicBezTo>
                  <a:pt x="4834685" y="4323728"/>
                  <a:pt x="5278128" y="3533985"/>
                  <a:pt x="5278128" y="2640578"/>
                </a:cubicBezTo>
                <a:cubicBezTo>
                  <a:pt x="5278128" y="1182225"/>
                  <a:pt x="4096591" y="0"/>
                  <a:pt x="2639073" y="0"/>
                </a:cubicBezTo>
                <a:cubicBezTo>
                  <a:pt x="1181556" y="0"/>
                  <a:pt x="0" y="1182225"/>
                  <a:pt x="0" y="2640578"/>
                </a:cubicBezTo>
                <a:cubicBezTo>
                  <a:pt x="0" y="3533985"/>
                  <a:pt x="443461" y="4323728"/>
                  <a:pt x="1122127" y="4801553"/>
                </a:cubicBezTo>
                <a:close/>
              </a:path>
            </a:pathLst>
          </a:custGeom>
          <a:gradFill flip="none" rotWithShape="1">
            <a:gsLst>
              <a:gs pos="0">
                <a:srgbClr val="1F6898">
                  <a:alpha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16800000" scaled="0"/>
            <a:tileRect/>
          </a:gradFill>
          <a:ln w="4502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cxnSp>
        <p:nvCxnSpPr>
          <p:cNvPr id="7" name="Google Shape;44;p6">
            <a:extLst>
              <a:ext uri="{FF2B5EF4-FFF2-40B4-BE49-F238E27FC236}">
                <a16:creationId xmlns:a16="http://schemas.microsoft.com/office/drawing/2014/main" id="{CCFB723E-DA14-2844-B195-E348A4F19127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Google Shape;30;p4"/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3962419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3961664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3961664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4612640" y="2417"/>
            <a:ext cx="4541202" cy="5360689"/>
          </a:xfrm>
          <a:custGeom>
            <a:avLst/>
            <a:gdLst>
              <a:gd name="connsiteX0" fmla="*/ 588166 w 4652544"/>
              <a:gd name="connsiteY0" fmla="*/ 0 h 4945656"/>
              <a:gd name="connsiteX1" fmla="*/ 4642814 w 4652544"/>
              <a:gd name="connsiteY1" fmla="*/ 0 h 4945656"/>
              <a:gd name="connsiteX2" fmla="*/ 4652544 w 4652544"/>
              <a:gd name="connsiteY2" fmla="*/ 4945656 h 4945656"/>
              <a:gd name="connsiteX3" fmla="*/ 955205 w 4652544"/>
              <a:gd name="connsiteY3" fmla="*/ 4945656 h 4945656"/>
              <a:gd name="connsiteX4" fmla="*/ 786241 w 4652544"/>
              <a:gd name="connsiteY4" fmla="*/ 4695345 h 4945656"/>
              <a:gd name="connsiteX5" fmla="*/ 588166 w 4652544"/>
              <a:gd name="connsiteY5" fmla="*/ 0 h 4945656"/>
              <a:gd name="connsiteX0" fmla="*/ 588166 w 4657428"/>
              <a:gd name="connsiteY0" fmla="*/ 0 h 4948098"/>
              <a:gd name="connsiteX1" fmla="*/ 4642814 w 4657428"/>
              <a:gd name="connsiteY1" fmla="*/ 0 h 4948098"/>
              <a:gd name="connsiteX2" fmla="*/ 4657428 w 4657428"/>
              <a:gd name="connsiteY2" fmla="*/ 4948098 h 4948098"/>
              <a:gd name="connsiteX3" fmla="*/ 955205 w 4657428"/>
              <a:gd name="connsiteY3" fmla="*/ 4945656 h 4948098"/>
              <a:gd name="connsiteX4" fmla="*/ 786241 w 4657428"/>
              <a:gd name="connsiteY4" fmla="*/ 4695345 h 4948098"/>
              <a:gd name="connsiteX5" fmla="*/ 588166 w 4657428"/>
              <a:gd name="connsiteY5" fmla="*/ 0 h 4948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57428" h="4948098">
                <a:moveTo>
                  <a:pt x="588166" y="0"/>
                </a:moveTo>
                <a:lnTo>
                  <a:pt x="4642814" y="0"/>
                </a:lnTo>
                <a:cubicBezTo>
                  <a:pt x="4647685" y="1649366"/>
                  <a:pt x="4652557" y="3298732"/>
                  <a:pt x="4657428" y="4948098"/>
                </a:cubicBezTo>
                <a:lnTo>
                  <a:pt x="955205" y="4945656"/>
                </a:lnTo>
                <a:lnTo>
                  <a:pt x="786241" y="4695345"/>
                </a:lnTo>
                <a:cubicBezTo>
                  <a:pt x="-858738" y="2122275"/>
                  <a:pt x="588166" y="0"/>
                  <a:pt x="58816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94799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D555477-8C57-444D-A263-8CB085C9B8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349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D555477-8C57-444D-A263-8CB085C9B8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aphic 38">
            <a:extLst>
              <a:ext uri="{FF2B5EF4-FFF2-40B4-BE49-F238E27FC236}">
                <a16:creationId xmlns:a16="http://schemas.microsoft.com/office/drawing/2014/main" id="{16A9618C-5741-E342-AC9D-3BB864A090CD}"/>
              </a:ext>
            </a:extLst>
          </p:cNvPr>
          <p:cNvSpPr/>
          <p:nvPr userDrawn="1"/>
        </p:nvSpPr>
        <p:spPr>
          <a:xfrm>
            <a:off x="5848350" y="1474788"/>
            <a:ext cx="2778125" cy="3889375"/>
          </a:xfrm>
          <a:custGeom>
            <a:avLst/>
            <a:gdLst>
              <a:gd name="connsiteX0" fmla="*/ 0 w 3704496"/>
              <a:gd name="connsiteY0" fmla="*/ 4213696 h 4213695"/>
              <a:gd name="connsiteX1" fmla="*/ 1052824 w 3704496"/>
              <a:gd name="connsiteY1" fmla="*/ 0 h 4213695"/>
              <a:gd name="connsiteX2" fmla="*/ 3704497 w 3704496"/>
              <a:gd name="connsiteY2" fmla="*/ 0 h 4213695"/>
              <a:gd name="connsiteX3" fmla="*/ 3704497 w 3704496"/>
              <a:gd name="connsiteY3" fmla="*/ 4213696 h 4213695"/>
              <a:gd name="connsiteX4" fmla="*/ 0 w 3704496"/>
              <a:gd name="connsiteY4" fmla="*/ 4213696 h 421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4496" h="4213695">
                <a:moveTo>
                  <a:pt x="0" y="4213696"/>
                </a:moveTo>
                <a:lnTo>
                  <a:pt x="1052824" y="0"/>
                </a:lnTo>
                <a:lnTo>
                  <a:pt x="3704497" y="0"/>
                </a:lnTo>
                <a:lnTo>
                  <a:pt x="3704497" y="4213696"/>
                </a:lnTo>
                <a:lnTo>
                  <a:pt x="0" y="4213696"/>
                </a:lnTo>
                <a:close/>
              </a:path>
            </a:pathLst>
          </a:custGeom>
          <a:gradFill>
            <a:gsLst>
              <a:gs pos="0">
                <a:srgbClr val="1F6898">
                  <a:alpha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16800000" scaled="0"/>
          </a:gradFill>
          <a:ln w="5665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cxnSp>
        <p:nvCxnSpPr>
          <p:cNvPr id="7" name="Google Shape;44;p6">
            <a:extLst>
              <a:ext uri="{FF2B5EF4-FFF2-40B4-BE49-F238E27FC236}">
                <a16:creationId xmlns:a16="http://schemas.microsoft.com/office/drawing/2014/main" id="{769E93DA-8416-3D4A-859E-9655202C9C6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Picture Placeholder 59"/>
          <p:cNvSpPr>
            <a:spLocks noGrp="1"/>
          </p:cNvSpPr>
          <p:nvPr>
            <p:ph type="pic" sz="quarter" idx="15"/>
          </p:nvPr>
        </p:nvSpPr>
        <p:spPr>
          <a:xfrm>
            <a:off x="6074961" y="1477005"/>
            <a:ext cx="3069041" cy="3887363"/>
          </a:xfrm>
          <a:custGeom>
            <a:avLst/>
            <a:gdLst>
              <a:gd name="connsiteX0" fmla="*/ 751121 w 4092054"/>
              <a:gd name="connsiteY0" fmla="*/ 0 h 4664835"/>
              <a:gd name="connsiteX1" fmla="*/ 4092054 w 4092054"/>
              <a:gd name="connsiteY1" fmla="*/ 0 h 4664835"/>
              <a:gd name="connsiteX2" fmla="*/ 4092054 w 4092054"/>
              <a:gd name="connsiteY2" fmla="*/ 4664835 h 4664835"/>
              <a:gd name="connsiteX3" fmla="*/ 0 w 4092054"/>
              <a:gd name="connsiteY3" fmla="*/ 4664835 h 4664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2054" h="4664835">
                <a:moveTo>
                  <a:pt x="751121" y="0"/>
                </a:moveTo>
                <a:lnTo>
                  <a:pt x="4092054" y="0"/>
                </a:lnTo>
                <a:lnTo>
                  <a:pt x="4092054" y="4664835"/>
                </a:lnTo>
                <a:lnTo>
                  <a:pt x="0" y="466483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Google Shape;30;p4"/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5311200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5310188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5310188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4562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677CBB-AFEE-4201-9C7D-A4919C2D1D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7849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677CBB-AFEE-4201-9C7D-A4919C2D1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A71863-70A7-C542-BA48-7F7FF9B67E7B}"/>
              </a:ext>
            </a:extLst>
          </p:cNvPr>
          <p:cNvSpPr/>
          <p:nvPr userDrawn="1"/>
        </p:nvSpPr>
        <p:spPr>
          <a:xfrm>
            <a:off x="0" y="2989263"/>
            <a:ext cx="9144000" cy="2371725"/>
          </a:xfrm>
          <a:prstGeom prst="rect">
            <a:avLst/>
          </a:prstGeom>
          <a:solidFill>
            <a:srgbClr val="F5F5F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cxnSp>
        <p:nvCxnSpPr>
          <p:cNvPr id="5" name="Google Shape;39;p5">
            <a:extLst>
              <a:ext uri="{FF2B5EF4-FFF2-40B4-BE49-F238E27FC236}">
                <a16:creationId xmlns:a16="http://schemas.microsoft.com/office/drawing/2014/main" id="{CB4298F0-E17B-4B41-99DD-E1FDF216E936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1038225" y="4189413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Google Shape;37;p5"/>
          <p:cNvSpPr txBox="1">
            <a:spLocks noGrp="1"/>
          </p:cNvSpPr>
          <p:nvPr>
            <p:ph type="title"/>
          </p:nvPr>
        </p:nvSpPr>
        <p:spPr>
          <a:xfrm>
            <a:off x="956275" y="3276051"/>
            <a:ext cx="7570709" cy="830656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956275" y="4453299"/>
            <a:ext cx="2612315" cy="516553"/>
          </a:xfrm>
          <a:prstGeom prst="rect">
            <a:avLst/>
          </a:prstGeom>
        </p:spPr>
        <p:txBody>
          <a:bodyPr/>
          <a:lstStyle>
            <a:lvl1pPr marL="30000" indent="0"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49643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CFB2FD-74D7-4387-ABAE-943FC8894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3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CFB2FD-74D7-4387-ABAE-943FC8894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199;p25">
            <a:extLst>
              <a:ext uri="{FF2B5EF4-FFF2-40B4-BE49-F238E27FC236}">
                <a16:creationId xmlns:a16="http://schemas.microsoft.com/office/drawing/2014/main" id="{089380D5-A088-1B4F-853C-9F26999D9DA5}"/>
              </a:ext>
            </a:extLst>
          </p:cNvPr>
          <p:cNvSpPr/>
          <p:nvPr userDrawn="1"/>
        </p:nvSpPr>
        <p:spPr>
          <a:xfrm flipH="1">
            <a:off x="0" y="0"/>
            <a:ext cx="4716463" cy="5715000"/>
          </a:xfrm>
          <a:prstGeom prst="rect">
            <a:avLst/>
          </a:prstGeom>
          <a:gradFill flip="none" rotWithShape="1">
            <a:gsLst>
              <a:gs pos="56000">
                <a:srgbClr val="5C97BA"/>
              </a:gs>
              <a:gs pos="0">
                <a:srgbClr val="9EC9DF"/>
              </a:gs>
              <a:gs pos="100000">
                <a:srgbClr val="1F6898"/>
              </a:gs>
            </a:gsLst>
            <a:lin ang="6600000" scaled="0"/>
            <a:tileRect/>
          </a:gradFill>
          <a:ln>
            <a:noFill/>
          </a:ln>
        </p:spPr>
        <p:txBody>
          <a:bodyPr spcFirstLastPara="1" lIns="76188" tIns="76188" rIns="76188" bIns="76188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170">
              <a:solidFill>
                <a:schemeClr val="lt1"/>
              </a:solidFill>
              <a:latin typeface="AvenirNext LT Pro Regular" panose="020B0504020202020204" pitchFamily="34" charset="77"/>
            </a:endParaRPr>
          </a:p>
        </p:txBody>
      </p:sp>
      <p:cxnSp>
        <p:nvCxnSpPr>
          <p:cNvPr id="8" name="Google Shape;44;p6">
            <a:extLst>
              <a:ext uri="{FF2B5EF4-FFF2-40B4-BE49-F238E27FC236}">
                <a16:creationId xmlns:a16="http://schemas.microsoft.com/office/drawing/2014/main" id="{FCCE2331-A0AE-6949-9723-18271F8809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9763" y="1866900"/>
            <a:ext cx="676275" cy="0"/>
          </a:xfrm>
          <a:prstGeom prst="straightConnector1">
            <a:avLst/>
          </a:prstGeom>
          <a:noFill/>
          <a:ln w="76200">
            <a:solidFill>
              <a:srgbClr val="A90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9C6632D6-9445-E04A-A0AE-7649DD8D897E}"/>
              </a:ext>
            </a:extLst>
          </p:cNvPr>
          <p:cNvSpPr>
            <a:spLocks/>
          </p:cNvSpPr>
          <p:nvPr userDrawn="1"/>
        </p:nvSpPr>
        <p:spPr>
          <a:xfrm rot="6883338">
            <a:off x="4032539" y="3579034"/>
            <a:ext cx="1440000" cy="1440000"/>
          </a:xfrm>
          <a:prstGeom prst="ellipse">
            <a:avLst/>
          </a:prstGeom>
          <a:blipFill>
            <a:blip r:embed="rId5"/>
            <a:stretch>
              <a:fillRect l="-3643" t="-31574" r="-154175" b="-12609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sp>
        <p:nvSpPr>
          <p:cNvPr id="10" name="Graphic 2">
            <a:extLst>
              <a:ext uri="{FF2B5EF4-FFF2-40B4-BE49-F238E27FC236}">
                <a16:creationId xmlns:a16="http://schemas.microsoft.com/office/drawing/2014/main" id="{79312A5D-97A8-EB43-81BA-234CB185FE4B}"/>
              </a:ext>
            </a:extLst>
          </p:cNvPr>
          <p:cNvSpPr/>
          <p:nvPr userDrawn="1"/>
        </p:nvSpPr>
        <p:spPr>
          <a:xfrm rot="10800000">
            <a:off x="1" y="3289711"/>
            <a:ext cx="2374490" cy="2425290"/>
          </a:xfrm>
          <a:custGeom>
            <a:avLst/>
            <a:gdLst>
              <a:gd name="connsiteX0" fmla="*/ 7445899 w 7445898"/>
              <a:gd name="connsiteY0" fmla="*/ 0 h 6858311"/>
              <a:gd name="connsiteX1" fmla="*/ 814055 w 7445898"/>
              <a:gd name="connsiteY1" fmla="*/ 0 h 6858311"/>
              <a:gd name="connsiteX2" fmla="*/ 691476 w 7445898"/>
              <a:gd name="connsiteY2" fmla="*/ 70046 h 6858311"/>
              <a:gd name="connsiteX3" fmla="*/ 69433 w 7445898"/>
              <a:gd name="connsiteY3" fmla="*/ 678643 h 6858311"/>
              <a:gd name="connsiteX4" fmla="*/ 14093 w 7445898"/>
              <a:gd name="connsiteY4" fmla="*/ 1220462 h 6858311"/>
              <a:gd name="connsiteX5" fmla="*/ 1196590 w 7445898"/>
              <a:gd name="connsiteY5" fmla="*/ 2436198 h 6858311"/>
              <a:gd name="connsiteX6" fmla="*/ 1916738 w 7445898"/>
              <a:gd name="connsiteY6" fmla="*/ 2482043 h 6858311"/>
              <a:gd name="connsiteX7" fmla="*/ 3150397 w 7445898"/>
              <a:gd name="connsiteY7" fmla="*/ 3091829 h 6858311"/>
              <a:gd name="connsiteX8" fmla="*/ 4012367 w 7445898"/>
              <a:gd name="connsiteY8" fmla="*/ 4723248 h 6858311"/>
              <a:gd name="connsiteX9" fmla="*/ 5068468 w 7445898"/>
              <a:gd name="connsiteY9" fmla="*/ 6225771 h 6858311"/>
              <a:gd name="connsiteX10" fmla="*/ 6762342 w 7445898"/>
              <a:gd name="connsiteY10" fmla="*/ 6855353 h 6858311"/>
              <a:gd name="connsiteX11" fmla="*/ 7445899 w 7445898"/>
              <a:gd name="connsiteY11" fmla="*/ 6675706 h 685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45898" h="6858311">
                <a:moveTo>
                  <a:pt x="7445899" y="0"/>
                </a:moveTo>
                <a:lnTo>
                  <a:pt x="814055" y="0"/>
                </a:lnTo>
                <a:cubicBezTo>
                  <a:pt x="772956" y="22780"/>
                  <a:pt x="732096" y="46129"/>
                  <a:pt x="691476" y="70046"/>
                </a:cubicBezTo>
                <a:cubicBezTo>
                  <a:pt x="437089" y="220054"/>
                  <a:pt x="183450" y="406335"/>
                  <a:pt x="69433" y="678643"/>
                </a:cubicBezTo>
                <a:cubicBezTo>
                  <a:pt x="2750" y="851036"/>
                  <a:pt x="-16363" y="1038163"/>
                  <a:pt x="14093" y="1220462"/>
                </a:cubicBezTo>
                <a:cubicBezTo>
                  <a:pt x="99251" y="1818761"/>
                  <a:pt x="600495" y="2334263"/>
                  <a:pt x="1196590" y="2436198"/>
                </a:cubicBezTo>
                <a:cubicBezTo>
                  <a:pt x="1433845" y="2476815"/>
                  <a:pt x="1677297" y="2457475"/>
                  <a:pt x="1916738" y="2482043"/>
                </a:cubicBezTo>
                <a:cubicBezTo>
                  <a:pt x="2387473" y="2532139"/>
                  <a:pt x="2824896" y="2748353"/>
                  <a:pt x="3150397" y="3091829"/>
                </a:cubicBezTo>
                <a:cubicBezTo>
                  <a:pt x="3574268" y="3542460"/>
                  <a:pt x="3759732" y="4158656"/>
                  <a:pt x="4012367" y="4723248"/>
                </a:cubicBezTo>
                <a:cubicBezTo>
                  <a:pt x="4264419" y="5286494"/>
                  <a:pt x="4600948" y="5822741"/>
                  <a:pt x="5068468" y="6225771"/>
                </a:cubicBezTo>
                <a:cubicBezTo>
                  <a:pt x="5535988" y="6628800"/>
                  <a:pt x="6145756" y="6889261"/>
                  <a:pt x="6762342" y="6855353"/>
                </a:cubicBezTo>
                <a:cubicBezTo>
                  <a:pt x="7023697" y="6841023"/>
                  <a:pt x="7248596" y="6776961"/>
                  <a:pt x="7445899" y="6675706"/>
                </a:cubicBezTo>
                <a:close/>
              </a:path>
            </a:pathLst>
          </a:custGeom>
          <a:gradFill flip="none" rotWithShape="1">
            <a:gsLst>
              <a:gs pos="65000">
                <a:srgbClr val="9EC9DF">
                  <a:alpha val="38000"/>
                </a:srgbClr>
              </a:gs>
              <a:gs pos="0">
                <a:srgbClr val="1F6898"/>
              </a:gs>
            </a:gsLst>
            <a:lin ang="5400000" scaled="1"/>
            <a:tileRect/>
          </a:gradFill>
          <a:ln w="7476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3411502-9AEF-184F-A517-C0052BDD2C7B}"/>
              </a:ext>
            </a:extLst>
          </p:cNvPr>
          <p:cNvSpPr/>
          <p:nvPr userDrawn="1"/>
        </p:nvSpPr>
        <p:spPr>
          <a:xfrm>
            <a:off x="4395788" y="1000125"/>
            <a:ext cx="719137" cy="719138"/>
          </a:xfrm>
          <a:prstGeom prst="ellipse">
            <a:avLst/>
          </a:prstGeom>
          <a:noFill/>
          <a:ln w="9525" cap="rnd">
            <a:solidFill>
              <a:srgbClr val="9EC9DF">
                <a:alpha val="42000"/>
              </a:srgbClr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8BEE14E-8AD0-AC49-AFEE-7C761E070505}"/>
              </a:ext>
            </a:extLst>
          </p:cNvPr>
          <p:cNvSpPr/>
          <p:nvPr userDrawn="1"/>
        </p:nvSpPr>
        <p:spPr>
          <a:xfrm>
            <a:off x="3090863" y="4764088"/>
            <a:ext cx="720725" cy="720725"/>
          </a:xfrm>
          <a:prstGeom prst="ellipse">
            <a:avLst/>
          </a:prstGeom>
          <a:noFill/>
          <a:ln w="9525" cap="rnd">
            <a:solidFill>
              <a:srgbClr val="9EC9DF">
                <a:alpha val="41000"/>
              </a:srgbClr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D4BFE04-5F0D-DA4B-94A5-221B140D4E66}"/>
              </a:ext>
            </a:extLst>
          </p:cNvPr>
          <p:cNvSpPr/>
          <p:nvPr userDrawn="1"/>
        </p:nvSpPr>
        <p:spPr>
          <a:xfrm>
            <a:off x="3451225" y="4135438"/>
            <a:ext cx="73025" cy="71437"/>
          </a:xfrm>
          <a:prstGeom prst="ellipse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sp>
        <p:nvSpPr>
          <p:cNvPr id="4" name="Google Shape;41;p6"/>
          <p:cNvSpPr txBox="1">
            <a:spLocks noGrp="1"/>
          </p:cNvSpPr>
          <p:nvPr>
            <p:ph type="title"/>
          </p:nvPr>
        </p:nvSpPr>
        <p:spPr>
          <a:xfrm>
            <a:off x="570046" y="1103607"/>
            <a:ext cx="3639489" cy="72072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333" b="1" i="0">
                <a:solidFill>
                  <a:schemeClr val="bg1"/>
                </a:solidFill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5" name="Google Shape;42;p6"/>
          <p:cNvSpPr txBox="1">
            <a:spLocks noGrp="1"/>
          </p:cNvSpPr>
          <p:nvPr>
            <p:ph type="subTitle" idx="1"/>
          </p:nvPr>
        </p:nvSpPr>
        <p:spPr>
          <a:xfrm>
            <a:off x="570047" y="2107459"/>
            <a:ext cx="2920800" cy="64233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lvl="0" rtl="0">
              <a:spcBef>
                <a:spcPts val="0"/>
              </a:spcBef>
              <a:spcAft>
                <a:spcPts val="0"/>
              </a:spcAft>
              <a:buNone/>
              <a:defRPr sz="1556" b="0" i="0">
                <a:solidFill>
                  <a:schemeClr val="bg1"/>
                </a:solidFill>
                <a:latin typeface="+mn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357563" y="1527606"/>
            <a:ext cx="4439129" cy="2784286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3473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5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5000" fill="hold"/>
                                        <p:tgtEl>
                                          <p:spTgt spid="9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6" presetClass="emp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5000" fill="hold"/>
                                        <p:tgtEl>
                                          <p:spTgt spid="13"/>
                                        </p:tgtEl>
                                      </p:cBhvr>
                                      <p:by x="66000" y="66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A1621DB-1F11-4740-B779-7846D0ED8721}"/>
              </a:ext>
            </a:extLst>
          </p:cNvPr>
          <p:cNvSpPr txBox="1"/>
          <p:nvPr userDrawn="1"/>
        </p:nvSpPr>
        <p:spPr>
          <a:xfrm>
            <a:off x="610336" y="1447799"/>
            <a:ext cx="17928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b="0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This is the Default Text box</a:t>
            </a:r>
          </a:p>
        </p:txBody>
      </p:sp>
    </p:spTree>
    <p:extLst>
      <p:ext uri="{BB962C8B-B14F-4D97-AF65-F5344CB8AC3E}">
        <p14:creationId xmlns:p14="http://schemas.microsoft.com/office/powerpoint/2010/main" val="37882437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98F8CC-9094-40E5-82CF-866292A5D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3052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98F8CC-9094-40E5-82CF-866292A5D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oogle Shape;44;p6">
            <a:extLst>
              <a:ext uri="{FF2B5EF4-FFF2-40B4-BE49-F238E27FC236}">
                <a16:creationId xmlns:a16="http://schemas.microsoft.com/office/drawing/2014/main" id="{0B8AFFC2-1746-1441-B457-2F1810CF5E02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Google Shape;30;p4"/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6958438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6957112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8092230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69226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3CF69-A85E-4856-AEE9-464D3A2039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0227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3CF69-A85E-4856-AEE9-464D3A2039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8">
            <a:extLst>
              <a:ext uri="{FF2B5EF4-FFF2-40B4-BE49-F238E27FC236}">
                <a16:creationId xmlns:a16="http://schemas.microsoft.com/office/drawing/2014/main" id="{DFB7BEFB-285B-4B4E-BF80-26BFFF689C4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567363" y="1409700"/>
            <a:ext cx="3378200" cy="3384550"/>
            <a:chOff x="7536611" y="1330745"/>
            <a:chExt cx="4786736" cy="4796721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AC6D09C-D44D-BD45-B157-1896D6ED9A1B}"/>
                </a:ext>
              </a:extLst>
            </p:cNvPr>
            <p:cNvSpPr>
              <a:spLocks/>
            </p:cNvSpPr>
            <p:nvPr userDrawn="1"/>
          </p:nvSpPr>
          <p:spPr>
            <a:xfrm rot="6883338">
              <a:off x="8260229" y="1448824"/>
              <a:ext cx="1604681" cy="1368523"/>
            </a:xfrm>
            <a:prstGeom prst="ellipse">
              <a:avLst/>
            </a:prstGeom>
            <a:blipFill>
              <a:blip r:embed="rId5"/>
              <a:stretch>
                <a:fillRect l="3955" t="-21998" r="-161773" b="-13567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Next LT Pro Regular" panose="020B0504020202020204" pitchFamily="34" charset="77"/>
              </a:endParaRPr>
            </a:p>
          </p:txBody>
        </p:sp>
        <p:grpSp>
          <p:nvGrpSpPr>
            <p:cNvPr id="8" name="Group 17">
              <a:extLst>
                <a:ext uri="{FF2B5EF4-FFF2-40B4-BE49-F238E27FC236}">
                  <a16:creationId xmlns:a16="http://schemas.microsoft.com/office/drawing/2014/main" id="{8D450295-ACBD-614A-9308-788590CDB8F5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7536611" y="1854176"/>
              <a:ext cx="4786736" cy="4273290"/>
              <a:chOff x="6096000" y="1097280"/>
              <a:chExt cx="4786736" cy="4273290"/>
            </a:xfrm>
          </p:grpSpPr>
          <p:sp>
            <p:nvSpPr>
              <p:cNvPr id="9" name="Graphic 2">
                <a:extLst>
                  <a:ext uri="{FF2B5EF4-FFF2-40B4-BE49-F238E27FC236}">
                    <a16:creationId xmlns:a16="http://schemas.microsoft.com/office/drawing/2014/main" id="{6BB7FA0D-5C24-CB44-BBED-832FE19630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75385" y="1097280"/>
                <a:ext cx="4607351" cy="4273290"/>
              </a:xfrm>
              <a:custGeom>
                <a:avLst/>
                <a:gdLst>
                  <a:gd name="T0" fmla="*/ 940926 w 3318440"/>
                  <a:gd name="T1" fmla="*/ 68121 h 3077833"/>
                  <a:gd name="T2" fmla="*/ 1734238 w 3318440"/>
                  <a:gd name="T3" fmla="*/ 85600 h 3077833"/>
                  <a:gd name="T4" fmla="*/ 2388799 w 3318440"/>
                  <a:gd name="T5" fmla="*/ 558101 h 3077833"/>
                  <a:gd name="T6" fmla="*/ 2981409 w 3318440"/>
                  <a:gd name="T7" fmla="*/ 1112208 h 3077833"/>
                  <a:gd name="T8" fmla="*/ 3580982 w 3318440"/>
                  <a:gd name="T9" fmla="*/ 1187841 h 3077833"/>
                  <a:gd name="T10" fmla="*/ 3886295 w 3318440"/>
                  <a:gd name="T11" fmla="*/ 1103027 h 3077833"/>
                  <a:gd name="T12" fmla="*/ 4551959 w 3318440"/>
                  <a:gd name="T13" fmla="*/ 1438030 h 3077833"/>
                  <a:gd name="T14" fmla="*/ 4607079 w 3318440"/>
                  <a:gd name="T15" fmla="*/ 1671336 h 3077833"/>
                  <a:gd name="T16" fmla="*/ 4436760 w 3318440"/>
                  <a:gd name="T17" fmla="*/ 2014159 h 3077833"/>
                  <a:gd name="T18" fmla="*/ 2708115 w 3318440"/>
                  <a:gd name="T19" fmla="*/ 3158716 h 3077833"/>
                  <a:gd name="T20" fmla="*/ 2175596 w 3318440"/>
                  <a:gd name="T21" fmla="*/ 3502875 h 3077833"/>
                  <a:gd name="T22" fmla="*/ 1364245 w 3318440"/>
                  <a:gd name="T23" fmla="*/ 4242832 h 3077833"/>
                  <a:gd name="T24" fmla="*/ 691975 w 3318440"/>
                  <a:gd name="T25" fmla="*/ 4199395 h 3077833"/>
                  <a:gd name="T26" fmla="*/ 449036 w 3318440"/>
                  <a:gd name="T27" fmla="*/ 4113908 h 3077833"/>
                  <a:gd name="T28" fmla="*/ 211332 w 3318440"/>
                  <a:gd name="T29" fmla="*/ 3854775 h 3077833"/>
                  <a:gd name="T30" fmla="*/ 107486 w 3318440"/>
                  <a:gd name="T31" fmla="*/ 2162069 h 3077833"/>
                  <a:gd name="T32" fmla="*/ 413075 w 3318440"/>
                  <a:gd name="T33" fmla="*/ 908668 h 3077833"/>
                  <a:gd name="T34" fmla="*/ 940926 w 3318440"/>
                  <a:gd name="T35" fmla="*/ 68121 h 307783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318440" h="3077833">
                    <a:moveTo>
                      <a:pt x="677701" y="49064"/>
                    </a:moveTo>
                    <a:cubicBezTo>
                      <a:pt x="858385" y="-25154"/>
                      <a:pt x="1067582" y="-10491"/>
                      <a:pt x="1249083" y="61653"/>
                    </a:cubicBezTo>
                    <a:cubicBezTo>
                      <a:pt x="1430584" y="133797"/>
                      <a:pt x="1586774" y="259454"/>
                      <a:pt x="1720530" y="401972"/>
                    </a:cubicBezTo>
                    <a:cubicBezTo>
                      <a:pt x="1854600" y="544833"/>
                      <a:pt x="1973958" y="710131"/>
                      <a:pt x="2147357" y="801067"/>
                    </a:cubicBezTo>
                    <a:cubicBezTo>
                      <a:pt x="2280248" y="870129"/>
                      <a:pt x="2433368" y="889444"/>
                      <a:pt x="2579199" y="855541"/>
                    </a:cubicBezTo>
                    <a:cubicBezTo>
                      <a:pt x="2653281" y="838024"/>
                      <a:pt x="2724001" y="806938"/>
                      <a:pt x="2799100" y="794454"/>
                    </a:cubicBezTo>
                    <a:cubicBezTo>
                      <a:pt x="2987762" y="763054"/>
                      <a:pt x="3191013" y="865390"/>
                      <a:pt x="3278544" y="1035740"/>
                    </a:cubicBezTo>
                    <a:cubicBezTo>
                      <a:pt x="3306562" y="1087179"/>
                      <a:pt x="3320274" y="1145214"/>
                      <a:pt x="3318244" y="1203778"/>
                    </a:cubicBezTo>
                    <a:cubicBezTo>
                      <a:pt x="3312441" y="1297188"/>
                      <a:pt x="3256006" y="1379333"/>
                      <a:pt x="3195572" y="1450696"/>
                    </a:cubicBezTo>
                    <a:cubicBezTo>
                      <a:pt x="2871434" y="1833435"/>
                      <a:pt x="2395590" y="2044576"/>
                      <a:pt x="1950517" y="2275062"/>
                    </a:cubicBezTo>
                    <a:cubicBezTo>
                      <a:pt x="1814938" y="2345275"/>
                      <a:pt x="1679282" y="2419417"/>
                      <a:pt x="1566971" y="2522942"/>
                    </a:cubicBezTo>
                    <a:cubicBezTo>
                      <a:pt x="1370568" y="2703987"/>
                      <a:pt x="1237933" y="2978043"/>
                      <a:pt x="982596" y="3055896"/>
                    </a:cubicBezTo>
                    <a:cubicBezTo>
                      <a:pt x="825884" y="3103691"/>
                      <a:pt x="657395" y="3064212"/>
                      <a:pt x="498394" y="3024610"/>
                    </a:cubicBezTo>
                    <a:cubicBezTo>
                      <a:pt x="438197" y="3009662"/>
                      <a:pt x="377051" y="2994247"/>
                      <a:pt x="323418" y="2963038"/>
                    </a:cubicBezTo>
                    <a:cubicBezTo>
                      <a:pt x="249620" y="2920162"/>
                      <a:pt x="195132" y="2850254"/>
                      <a:pt x="152212" y="2776398"/>
                    </a:cubicBezTo>
                    <a:cubicBezTo>
                      <a:pt x="-57450" y="2415734"/>
                      <a:pt x="-18054" y="1963516"/>
                      <a:pt x="77417" y="1557228"/>
                    </a:cubicBezTo>
                    <a:cubicBezTo>
                      <a:pt x="148280" y="1255759"/>
                      <a:pt x="246743" y="960522"/>
                      <a:pt x="297517" y="654467"/>
                    </a:cubicBezTo>
                    <a:cubicBezTo>
                      <a:pt x="340162" y="397396"/>
                      <a:pt x="413826" y="157394"/>
                      <a:pt x="677701" y="49064"/>
                    </a:cubicBezTo>
                    <a:close/>
                  </a:path>
                </a:pathLst>
              </a:custGeom>
              <a:solidFill>
                <a:srgbClr val="E6E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498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>
                  <a:latin typeface="AvenirNext LT Pro Regular" panose="020B0504020202020204" pitchFamily="34" charset="77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89915D3F-ACAD-854D-B3D0-A4FB97CE47C5}"/>
                  </a:ext>
                </a:extLst>
              </p:cNvPr>
              <p:cNvSpPr/>
              <p:nvPr userDrawn="1"/>
            </p:nvSpPr>
            <p:spPr>
              <a:xfrm>
                <a:off x="6096000" y="1176814"/>
                <a:ext cx="4116413" cy="4115011"/>
              </a:xfrm>
              <a:prstGeom prst="ellipse">
                <a:avLst/>
              </a:prstGeom>
              <a:noFill/>
              <a:ln w="9525" cap="rnd">
                <a:solidFill>
                  <a:srgbClr val="D2E282"/>
                </a:solidFill>
                <a:prstDash val="sys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AvenirNext LT Pro Regular" panose="020B0504020202020204" pitchFamily="34" charset="77"/>
                </a:endParaRPr>
              </a:p>
            </p:txBody>
          </p:sp>
        </p:grpSp>
      </p:grpSp>
      <p:cxnSp>
        <p:nvCxnSpPr>
          <p:cNvPr id="11" name="Google Shape;44;p6">
            <a:extLst>
              <a:ext uri="{FF2B5EF4-FFF2-40B4-BE49-F238E27FC236}">
                <a16:creationId xmlns:a16="http://schemas.microsoft.com/office/drawing/2014/main" id="{0D6AFC07-9539-C546-B232-E06E533ACE98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Picture Placeholder 21"/>
          <p:cNvSpPr>
            <a:spLocks noGrp="1"/>
          </p:cNvSpPr>
          <p:nvPr>
            <p:ph type="pic" sz="quarter" idx="12"/>
          </p:nvPr>
        </p:nvSpPr>
        <p:spPr>
          <a:xfrm>
            <a:off x="5663360" y="1930878"/>
            <a:ext cx="2709919" cy="2709919"/>
          </a:xfrm>
          <a:custGeom>
            <a:avLst/>
            <a:gdLst>
              <a:gd name="connsiteX0" fmla="*/ 1382865 w 2765730"/>
              <a:gd name="connsiteY0" fmla="*/ 0 h 2765730"/>
              <a:gd name="connsiteX1" fmla="*/ 2765730 w 2765730"/>
              <a:gd name="connsiteY1" fmla="*/ 1382865 h 2765730"/>
              <a:gd name="connsiteX2" fmla="*/ 1382865 w 2765730"/>
              <a:gd name="connsiteY2" fmla="*/ 2765730 h 2765730"/>
              <a:gd name="connsiteX3" fmla="*/ 0 w 2765730"/>
              <a:gd name="connsiteY3" fmla="*/ 1382865 h 2765730"/>
              <a:gd name="connsiteX4" fmla="*/ 1382865 w 2765730"/>
              <a:gd name="connsiteY4" fmla="*/ 0 h 27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65730" h="2765730">
                <a:moveTo>
                  <a:pt x="1382865" y="0"/>
                </a:moveTo>
                <a:cubicBezTo>
                  <a:pt x="2146600" y="0"/>
                  <a:pt x="2765730" y="619130"/>
                  <a:pt x="2765730" y="1382865"/>
                </a:cubicBezTo>
                <a:cubicBezTo>
                  <a:pt x="2765730" y="2146600"/>
                  <a:pt x="2146600" y="2765730"/>
                  <a:pt x="1382865" y="2765730"/>
                </a:cubicBezTo>
                <a:cubicBezTo>
                  <a:pt x="619130" y="2765730"/>
                  <a:pt x="0" y="2146600"/>
                  <a:pt x="0" y="1382865"/>
                </a:cubicBezTo>
                <a:cubicBezTo>
                  <a:pt x="0" y="619130"/>
                  <a:pt x="619130" y="0"/>
                  <a:pt x="138286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cxnSp>
        <p:nvCxnSpPr>
          <p:cNvPr id="12" name="Google Shape;44;p6">
            <a:extLst>
              <a:ext uri="{FF2B5EF4-FFF2-40B4-BE49-F238E27FC236}">
                <a16:creationId xmlns:a16="http://schemas.microsoft.com/office/drawing/2014/main" id="{FCC57063-1A03-5240-B846-DC9BE4272E6D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Google Shape;30;p4">
            <a:extLst>
              <a:ext uri="{FF2B5EF4-FFF2-40B4-BE49-F238E27FC236}">
                <a16:creationId xmlns:a16="http://schemas.microsoft.com/office/drawing/2014/main" id="{BB8531BB-09DF-3C4B-82C7-3718D1ACC0A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5311200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C2A4E21-3EB9-0444-B05B-A023EBFA30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5310188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8B5694D-13FE-4F4B-85E7-A81E8A1008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5310188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9339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B77E5C4-5854-4F8B-9512-7D951E085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6466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B77E5C4-5854-4F8B-9512-7D951E085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8">
            <a:extLst>
              <a:ext uri="{FF2B5EF4-FFF2-40B4-BE49-F238E27FC236}">
                <a16:creationId xmlns:a16="http://schemas.microsoft.com/office/drawing/2014/main" id="{B69ABE89-3C1A-6845-8245-9BE32F0DF81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99075" y="1628775"/>
            <a:ext cx="3641725" cy="3171825"/>
          </a:xfrm>
          <a:prstGeom prst="rect">
            <a:avLst/>
          </a:prstGeom>
        </p:spPr>
      </p:pic>
      <p:cxnSp>
        <p:nvCxnSpPr>
          <p:cNvPr id="7" name="Google Shape;44;p6">
            <a:extLst>
              <a:ext uri="{FF2B5EF4-FFF2-40B4-BE49-F238E27FC236}">
                <a16:creationId xmlns:a16="http://schemas.microsoft.com/office/drawing/2014/main" id="{C0665BD1-1A81-184F-A207-500A5E4ECB6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Media Placeholder 9"/>
          <p:cNvSpPr>
            <a:spLocks noGrp="1"/>
          </p:cNvSpPr>
          <p:nvPr>
            <p:ph type="media" sz="quarter" idx="13"/>
          </p:nvPr>
        </p:nvSpPr>
        <p:spPr>
          <a:xfrm>
            <a:off x="5450066" y="1786411"/>
            <a:ext cx="3342707" cy="202476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media</a:t>
            </a:r>
            <a:endParaRPr lang="en-US" noProof="0" dirty="0"/>
          </a:p>
        </p:txBody>
      </p:sp>
      <p:cxnSp>
        <p:nvCxnSpPr>
          <p:cNvPr id="8" name="Google Shape;44;p6">
            <a:extLst>
              <a:ext uri="{FF2B5EF4-FFF2-40B4-BE49-F238E27FC236}">
                <a16:creationId xmlns:a16="http://schemas.microsoft.com/office/drawing/2014/main" id="{883EAD81-0560-2840-AD95-2C919E813941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Google Shape;30;p4">
            <a:extLst>
              <a:ext uri="{FF2B5EF4-FFF2-40B4-BE49-F238E27FC236}">
                <a16:creationId xmlns:a16="http://schemas.microsoft.com/office/drawing/2014/main" id="{7A2FB66C-7F21-CF4C-912A-008C6BE1B0A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5311200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439553B-FE38-CF4E-B17A-95052AB576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5310188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77903EC-231E-1C4B-8CD3-0B2AAB09AB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5310188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109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3CF69-A85E-4856-AEE9-464D3A2039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0227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3CF69-A85E-4856-AEE9-464D3A2039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8">
            <a:extLst>
              <a:ext uri="{FF2B5EF4-FFF2-40B4-BE49-F238E27FC236}">
                <a16:creationId xmlns:a16="http://schemas.microsoft.com/office/drawing/2014/main" id="{DFB7BEFB-285B-4B4E-BF80-26BFFF689C4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567363" y="1409700"/>
            <a:ext cx="3378200" cy="3384550"/>
            <a:chOff x="7536611" y="1330745"/>
            <a:chExt cx="4786736" cy="4796721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AC6D09C-D44D-BD45-B157-1896D6ED9A1B}"/>
                </a:ext>
              </a:extLst>
            </p:cNvPr>
            <p:cNvSpPr>
              <a:spLocks/>
            </p:cNvSpPr>
            <p:nvPr userDrawn="1"/>
          </p:nvSpPr>
          <p:spPr>
            <a:xfrm rot="6883338">
              <a:off x="8260229" y="1448824"/>
              <a:ext cx="1604681" cy="1368523"/>
            </a:xfrm>
            <a:prstGeom prst="ellipse">
              <a:avLst/>
            </a:prstGeom>
            <a:blipFill>
              <a:blip r:embed="rId5"/>
              <a:stretch>
                <a:fillRect l="3955" t="-21998" r="-161773" b="-13567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Next LT Pro Regular" panose="020B0504020202020204" pitchFamily="34" charset="77"/>
              </a:endParaRPr>
            </a:p>
          </p:txBody>
        </p:sp>
        <p:grpSp>
          <p:nvGrpSpPr>
            <p:cNvPr id="8" name="Group 17">
              <a:extLst>
                <a:ext uri="{FF2B5EF4-FFF2-40B4-BE49-F238E27FC236}">
                  <a16:creationId xmlns:a16="http://schemas.microsoft.com/office/drawing/2014/main" id="{8D450295-ACBD-614A-9308-788590CDB8F5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7536611" y="1854176"/>
              <a:ext cx="4786736" cy="4273290"/>
              <a:chOff x="6096000" y="1097280"/>
              <a:chExt cx="4786736" cy="4273290"/>
            </a:xfrm>
          </p:grpSpPr>
          <p:sp>
            <p:nvSpPr>
              <p:cNvPr id="9" name="Graphic 2">
                <a:extLst>
                  <a:ext uri="{FF2B5EF4-FFF2-40B4-BE49-F238E27FC236}">
                    <a16:creationId xmlns:a16="http://schemas.microsoft.com/office/drawing/2014/main" id="{6BB7FA0D-5C24-CB44-BBED-832FE19630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75385" y="1097280"/>
                <a:ext cx="4607351" cy="4273290"/>
              </a:xfrm>
              <a:custGeom>
                <a:avLst/>
                <a:gdLst>
                  <a:gd name="T0" fmla="*/ 940926 w 3318440"/>
                  <a:gd name="T1" fmla="*/ 68121 h 3077833"/>
                  <a:gd name="T2" fmla="*/ 1734238 w 3318440"/>
                  <a:gd name="T3" fmla="*/ 85600 h 3077833"/>
                  <a:gd name="T4" fmla="*/ 2388799 w 3318440"/>
                  <a:gd name="T5" fmla="*/ 558101 h 3077833"/>
                  <a:gd name="T6" fmla="*/ 2981409 w 3318440"/>
                  <a:gd name="T7" fmla="*/ 1112208 h 3077833"/>
                  <a:gd name="T8" fmla="*/ 3580982 w 3318440"/>
                  <a:gd name="T9" fmla="*/ 1187841 h 3077833"/>
                  <a:gd name="T10" fmla="*/ 3886295 w 3318440"/>
                  <a:gd name="T11" fmla="*/ 1103027 h 3077833"/>
                  <a:gd name="T12" fmla="*/ 4551959 w 3318440"/>
                  <a:gd name="T13" fmla="*/ 1438030 h 3077833"/>
                  <a:gd name="T14" fmla="*/ 4607079 w 3318440"/>
                  <a:gd name="T15" fmla="*/ 1671336 h 3077833"/>
                  <a:gd name="T16" fmla="*/ 4436760 w 3318440"/>
                  <a:gd name="T17" fmla="*/ 2014159 h 3077833"/>
                  <a:gd name="T18" fmla="*/ 2708115 w 3318440"/>
                  <a:gd name="T19" fmla="*/ 3158716 h 3077833"/>
                  <a:gd name="T20" fmla="*/ 2175596 w 3318440"/>
                  <a:gd name="T21" fmla="*/ 3502875 h 3077833"/>
                  <a:gd name="T22" fmla="*/ 1364245 w 3318440"/>
                  <a:gd name="T23" fmla="*/ 4242832 h 3077833"/>
                  <a:gd name="T24" fmla="*/ 691975 w 3318440"/>
                  <a:gd name="T25" fmla="*/ 4199395 h 3077833"/>
                  <a:gd name="T26" fmla="*/ 449036 w 3318440"/>
                  <a:gd name="T27" fmla="*/ 4113908 h 3077833"/>
                  <a:gd name="T28" fmla="*/ 211332 w 3318440"/>
                  <a:gd name="T29" fmla="*/ 3854775 h 3077833"/>
                  <a:gd name="T30" fmla="*/ 107486 w 3318440"/>
                  <a:gd name="T31" fmla="*/ 2162069 h 3077833"/>
                  <a:gd name="T32" fmla="*/ 413075 w 3318440"/>
                  <a:gd name="T33" fmla="*/ 908668 h 3077833"/>
                  <a:gd name="T34" fmla="*/ 940926 w 3318440"/>
                  <a:gd name="T35" fmla="*/ 68121 h 307783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318440" h="3077833">
                    <a:moveTo>
                      <a:pt x="677701" y="49064"/>
                    </a:moveTo>
                    <a:cubicBezTo>
                      <a:pt x="858385" y="-25154"/>
                      <a:pt x="1067582" y="-10491"/>
                      <a:pt x="1249083" y="61653"/>
                    </a:cubicBezTo>
                    <a:cubicBezTo>
                      <a:pt x="1430584" y="133797"/>
                      <a:pt x="1586774" y="259454"/>
                      <a:pt x="1720530" y="401972"/>
                    </a:cubicBezTo>
                    <a:cubicBezTo>
                      <a:pt x="1854600" y="544833"/>
                      <a:pt x="1973958" y="710131"/>
                      <a:pt x="2147357" y="801067"/>
                    </a:cubicBezTo>
                    <a:cubicBezTo>
                      <a:pt x="2280248" y="870129"/>
                      <a:pt x="2433368" y="889444"/>
                      <a:pt x="2579199" y="855541"/>
                    </a:cubicBezTo>
                    <a:cubicBezTo>
                      <a:pt x="2653281" y="838024"/>
                      <a:pt x="2724001" y="806938"/>
                      <a:pt x="2799100" y="794454"/>
                    </a:cubicBezTo>
                    <a:cubicBezTo>
                      <a:pt x="2987762" y="763054"/>
                      <a:pt x="3191013" y="865390"/>
                      <a:pt x="3278544" y="1035740"/>
                    </a:cubicBezTo>
                    <a:cubicBezTo>
                      <a:pt x="3306562" y="1087179"/>
                      <a:pt x="3320274" y="1145214"/>
                      <a:pt x="3318244" y="1203778"/>
                    </a:cubicBezTo>
                    <a:cubicBezTo>
                      <a:pt x="3312441" y="1297188"/>
                      <a:pt x="3256006" y="1379333"/>
                      <a:pt x="3195572" y="1450696"/>
                    </a:cubicBezTo>
                    <a:cubicBezTo>
                      <a:pt x="2871434" y="1833435"/>
                      <a:pt x="2395590" y="2044576"/>
                      <a:pt x="1950517" y="2275062"/>
                    </a:cubicBezTo>
                    <a:cubicBezTo>
                      <a:pt x="1814938" y="2345275"/>
                      <a:pt x="1679282" y="2419417"/>
                      <a:pt x="1566971" y="2522942"/>
                    </a:cubicBezTo>
                    <a:cubicBezTo>
                      <a:pt x="1370568" y="2703987"/>
                      <a:pt x="1237933" y="2978043"/>
                      <a:pt x="982596" y="3055896"/>
                    </a:cubicBezTo>
                    <a:cubicBezTo>
                      <a:pt x="825884" y="3103691"/>
                      <a:pt x="657395" y="3064212"/>
                      <a:pt x="498394" y="3024610"/>
                    </a:cubicBezTo>
                    <a:cubicBezTo>
                      <a:pt x="438197" y="3009662"/>
                      <a:pt x="377051" y="2994247"/>
                      <a:pt x="323418" y="2963038"/>
                    </a:cubicBezTo>
                    <a:cubicBezTo>
                      <a:pt x="249620" y="2920162"/>
                      <a:pt x="195132" y="2850254"/>
                      <a:pt x="152212" y="2776398"/>
                    </a:cubicBezTo>
                    <a:cubicBezTo>
                      <a:pt x="-57450" y="2415734"/>
                      <a:pt x="-18054" y="1963516"/>
                      <a:pt x="77417" y="1557228"/>
                    </a:cubicBezTo>
                    <a:cubicBezTo>
                      <a:pt x="148280" y="1255759"/>
                      <a:pt x="246743" y="960522"/>
                      <a:pt x="297517" y="654467"/>
                    </a:cubicBezTo>
                    <a:cubicBezTo>
                      <a:pt x="340162" y="397396"/>
                      <a:pt x="413826" y="157394"/>
                      <a:pt x="677701" y="49064"/>
                    </a:cubicBezTo>
                    <a:close/>
                  </a:path>
                </a:pathLst>
              </a:custGeom>
              <a:solidFill>
                <a:srgbClr val="E6E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498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>
                  <a:latin typeface="AvenirNext LT Pro Regular" panose="020B0504020202020204" pitchFamily="34" charset="77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89915D3F-ACAD-854D-B3D0-A4FB97CE47C5}"/>
                  </a:ext>
                </a:extLst>
              </p:cNvPr>
              <p:cNvSpPr/>
              <p:nvPr userDrawn="1"/>
            </p:nvSpPr>
            <p:spPr>
              <a:xfrm>
                <a:off x="6096000" y="1176814"/>
                <a:ext cx="4116413" cy="4115011"/>
              </a:xfrm>
              <a:prstGeom prst="ellipse">
                <a:avLst/>
              </a:prstGeom>
              <a:noFill/>
              <a:ln w="9525" cap="rnd">
                <a:solidFill>
                  <a:srgbClr val="D2E282"/>
                </a:solidFill>
                <a:prstDash val="sys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AvenirNext LT Pro Regular" panose="020B0504020202020204" pitchFamily="34" charset="77"/>
                </a:endParaRPr>
              </a:p>
            </p:txBody>
          </p:sp>
        </p:grpSp>
      </p:grpSp>
      <p:cxnSp>
        <p:nvCxnSpPr>
          <p:cNvPr id="11" name="Google Shape;44;p6">
            <a:extLst>
              <a:ext uri="{FF2B5EF4-FFF2-40B4-BE49-F238E27FC236}">
                <a16:creationId xmlns:a16="http://schemas.microsoft.com/office/drawing/2014/main" id="{0D6AFC07-9539-C546-B232-E06E533ACE98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Picture Placeholder 21"/>
          <p:cNvSpPr>
            <a:spLocks noGrp="1"/>
          </p:cNvSpPr>
          <p:nvPr>
            <p:ph type="pic" sz="quarter" idx="12"/>
          </p:nvPr>
        </p:nvSpPr>
        <p:spPr>
          <a:xfrm>
            <a:off x="5663360" y="1930878"/>
            <a:ext cx="2709919" cy="2709919"/>
          </a:xfrm>
          <a:custGeom>
            <a:avLst/>
            <a:gdLst>
              <a:gd name="connsiteX0" fmla="*/ 1382865 w 2765730"/>
              <a:gd name="connsiteY0" fmla="*/ 0 h 2765730"/>
              <a:gd name="connsiteX1" fmla="*/ 2765730 w 2765730"/>
              <a:gd name="connsiteY1" fmla="*/ 1382865 h 2765730"/>
              <a:gd name="connsiteX2" fmla="*/ 1382865 w 2765730"/>
              <a:gd name="connsiteY2" fmla="*/ 2765730 h 2765730"/>
              <a:gd name="connsiteX3" fmla="*/ 0 w 2765730"/>
              <a:gd name="connsiteY3" fmla="*/ 1382865 h 2765730"/>
              <a:gd name="connsiteX4" fmla="*/ 1382865 w 2765730"/>
              <a:gd name="connsiteY4" fmla="*/ 0 h 27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65730" h="2765730">
                <a:moveTo>
                  <a:pt x="1382865" y="0"/>
                </a:moveTo>
                <a:cubicBezTo>
                  <a:pt x="2146600" y="0"/>
                  <a:pt x="2765730" y="619130"/>
                  <a:pt x="2765730" y="1382865"/>
                </a:cubicBezTo>
                <a:cubicBezTo>
                  <a:pt x="2765730" y="2146600"/>
                  <a:pt x="2146600" y="2765730"/>
                  <a:pt x="1382865" y="2765730"/>
                </a:cubicBezTo>
                <a:cubicBezTo>
                  <a:pt x="619130" y="2765730"/>
                  <a:pt x="0" y="2146600"/>
                  <a:pt x="0" y="1382865"/>
                </a:cubicBezTo>
                <a:cubicBezTo>
                  <a:pt x="0" y="619130"/>
                  <a:pt x="619130" y="0"/>
                  <a:pt x="138286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cxnSp>
        <p:nvCxnSpPr>
          <p:cNvPr id="12" name="Google Shape;44;p6">
            <a:extLst>
              <a:ext uri="{FF2B5EF4-FFF2-40B4-BE49-F238E27FC236}">
                <a16:creationId xmlns:a16="http://schemas.microsoft.com/office/drawing/2014/main" id="{FCC57063-1A03-5240-B846-DC9BE4272E6D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Google Shape;30;p4">
            <a:extLst>
              <a:ext uri="{FF2B5EF4-FFF2-40B4-BE49-F238E27FC236}">
                <a16:creationId xmlns:a16="http://schemas.microsoft.com/office/drawing/2014/main" id="{BB8531BB-09DF-3C4B-82C7-3718D1ACC0A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5311200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C2A4E21-3EB9-0444-B05B-A023EBFA30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5310188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8B5694D-13FE-4F4B-85E7-A81E8A1008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5310188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5766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5D0FAAC-ED81-4E0D-8DE6-164A5A7F99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043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5D0FAAC-ED81-4E0D-8DE6-164A5A7F99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oogle Shape;44;p6">
            <a:extLst>
              <a:ext uri="{FF2B5EF4-FFF2-40B4-BE49-F238E27FC236}">
                <a16:creationId xmlns:a16="http://schemas.microsoft.com/office/drawing/2014/main" id="{E8A866C3-021A-A44F-A0FB-300DE24C5FF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" name="Google Shape;44;p6">
            <a:extLst>
              <a:ext uri="{FF2B5EF4-FFF2-40B4-BE49-F238E27FC236}">
                <a16:creationId xmlns:a16="http://schemas.microsoft.com/office/drawing/2014/main" id="{FBEA1038-71E6-764C-919F-F09F7A36C6C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Google Shape;30;p4">
            <a:extLst>
              <a:ext uri="{FF2B5EF4-FFF2-40B4-BE49-F238E27FC236}">
                <a16:creationId xmlns:a16="http://schemas.microsoft.com/office/drawing/2014/main" id="{D486970D-7945-7A4A-B7FE-72F639514F3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6" y="502922"/>
            <a:ext cx="6901671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9B077DC-11E7-0C4D-8DA5-CE4B184F68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6900356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4007FFA-6B7B-7640-B621-EEAA99909B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8092230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3177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684D94-625A-4EEA-AB58-6D4875FA6D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26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684D94-625A-4EEA-AB58-6D4875FA6D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30;p4">
            <a:extLst>
              <a:ext uri="{FF2B5EF4-FFF2-40B4-BE49-F238E27FC236}">
                <a16:creationId xmlns:a16="http://schemas.microsoft.com/office/drawing/2014/main" id="{B00CD058-E979-3847-951D-E572702AE66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6" y="502922"/>
            <a:ext cx="6894049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752468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7AF500B-C25C-E649-89E5-D9891EC78C2F}"/>
              </a:ext>
            </a:extLst>
          </p:cNvPr>
          <p:cNvSpPr/>
          <p:nvPr userDrawn="1"/>
        </p:nvSpPr>
        <p:spPr>
          <a:xfrm flipH="1">
            <a:off x="0" y="1"/>
            <a:ext cx="5353050" cy="5359400"/>
          </a:xfrm>
          <a:custGeom>
            <a:avLst/>
            <a:gdLst>
              <a:gd name="connsiteX0" fmla="*/ 0 w 4940290"/>
              <a:gd name="connsiteY0" fmla="*/ 0 h 5367403"/>
              <a:gd name="connsiteX1" fmla="*/ 4940290 w 4940290"/>
              <a:gd name="connsiteY1" fmla="*/ 0 h 5367403"/>
              <a:gd name="connsiteX2" fmla="*/ 4940290 w 4940290"/>
              <a:gd name="connsiteY2" fmla="*/ 5367403 h 5367403"/>
              <a:gd name="connsiteX3" fmla="*/ 0 w 4940290"/>
              <a:gd name="connsiteY3" fmla="*/ 5367403 h 5367403"/>
              <a:gd name="connsiteX4" fmla="*/ 0 w 4940290"/>
              <a:gd name="connsiteY4" fmla="*/ 0 h 5367403"/>
              <a:gd name="connsiteX0" fmla="*/ 1139868 w 6080158"/>
              <a:gd name="connsiteY0" fmla="*/ 0 h 5367403"/>
              <a:gd name="connsiteX1" fmla="*/ 6080158 w 6080158"/>
              <a:gd name="connsiteY1" fmla="*/ 0 h 5367403"/>
              <a:gd name="connsiteX2" fmla="*/ 6080158 w 6080158"/>
              <a:gd name="connsiteY2" fmla="*/ 5367403 h 5367403"/>
              <a:gd name="connsiteX3" fmla="*/ 0 w 6080158"/>
              <a:gd name="connsiteY3" fmla="*/ 5367403 h 5367403"/>
              <a:gd name="connsiteX4" fmla="*/ 1139868 w 6080158"/>
              <a:gd name="connsiteY4" fmla="*/ 0 h 5367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0158" h="5367403">
                <a:moveTo>
                  <a:pt x="1139868" y="0"/>
                </a:moveTo>
                <a:lnTo>
                  <a:pt x="6080158" y="0"/>
                </a:lnTo>
                <a:lnTo>
                  <a:pt x="6080158" y="5367403"/>
                </a:lnTo>
                <a:lnTo>
                  <a:pt x="0" y="5367403"/>
                </a:lnTo>
                <a:lnTo>
                  <a:pt x="1139868" y="0"/>
                </a:lnTo>
                <a:close/>
              </a:path>
            </a:pathLst>
          </a:custGeom>
          <a:solidFill>
            <a:srgbClr val="EFF5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684D94-625A-4EEA-AB58-6D4875FA6D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3688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684D94-625A-4EEA-AB58-6D4875FA6D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30;p4">
            <a:extLst>
              <a:ext uri="{FF2B5EF4-FFF2-40B4-BE49-F238E27FC236}">
                <a16:creationId xmlns:a16="http://schemas.microsoft.com/office/drawing/2014/main" id="{B00CD058-E979-3847-951D-E572702AE66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6" y="502922"/>
            <a:ext cx="6894049" cy="41147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cxnSp>
        <p:nvCxnSpPr>
          <p:cNvPr id="6" name="Google Shape;44;p6">
            <a:extLst>
              <a:ext uri="{FF2B5EF4-FFF2-40B4-BE49-F238E27FC236}">
                <a16:creationId xmlns:a16="http://schemas.microsoft.com/office/drawing/2014/main" id="{4BEBE899-0004-DF46-8C37-A41BEA43E901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D7BF20D-DBE6-304B-87D3-FD3B2BC8DD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6957112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17F1C5A-6CEE-D449-81C3-2EC1B97058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8092230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83821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79DC79-200D-4071-92DD-B4FDFED92C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7013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79DC79-200D-4071-92DD-B4FDFED92C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oogle Shape;44;p6">
            <a:extLst>
              <a:ext uri="{FF2B5EF4-FFF2-40B4-BE49-F238E27FC236}">
                <a16:creationId xmlns:a16="http://schemas.microsoft.com/office/drawing/2014/main" id="{F84D2D49-02FF-E74A-AE78-A2E87625DE12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2038749" y="1488726"/>
            <a:ext cx="1650603" cy="1834004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16073" y="1488725"/>
            <a:ext cx="1650603" cy="1834004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610338" y="3963247"/>
            <a:ext cx="5310187" cy="1248833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38750" y="3264168"/>
            <a:ext cx="1650602" cy="213196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167" b="0" i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1740301" y="3477361"/>
            <a:ext cx="2247500" cy="309269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0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5216272" y="3255958"/>
            <a:ext cx="1650602" cy="213196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167" b="0" i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4917823" y="3469154"/>
            <a:ext cx="2247500" cy="309269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0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1740301" y="1187221"/>
            <a:ext cx="2247500" cy="213196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4917625" y="1195298"/>
            <a:ext cx="2247500" cy="213196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oogle Shape;30;p4">
            <a:extLst>
              <a:ext uri="{FF2B5EF4-FFF2-40B4-BE49-F238E27FC236}">
                <a16:creationId xmlns:a16="http://schemas.microsoft.com/office/drawing/2014/main" id="{094F96A1-32B1-1C42-B82D-A037AC9A3FB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5311200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86495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0C3F68-67DB-4A32-9C3D-2B7663846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226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0C3F68-67DB-4A32-9C3D-2B7663846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5370279F-85A1-7B4C-A7B3-6F4A1F58E7E6}"/>
              </a:ext>
            </a:extLst>
          </p:cNvPr>
          <p:cNvSpPr/>
          <p:nvPr userDrawn="1"/>
        </p:nvSpPr>
        <p:spPr>
          <a:xfrm>
            <a:off x="0" y="1474788"/>
            <a:ext cx="9144000" cy="2459037"/>
          </a:xfrm>
          <a:prstGeom prst="rect">
            <a:avLst/>
          </a:prstGeom>
          <a:solidFill>
            <a:srgbClr val="F5F5F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cxnSp>
        <p:nvCxnSpPr>
          <p:cNvPr id="13" name="Google Shape;44;p6">
            <a:extLst>
              <a:ext uri="{FF2B5EF4-FFF2-40B4-BE49-F238E27FC236}">
                <a16:creationId xmlns:a16="http://schemas.microsoft.com/office/drawing/2014/main" id="{0AB63359-7775-6249-8D4E-8661DDABDBE0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4" name="Graphic 6">
            <a:extLst>
              <a:ext uri="{FF2B5EF4-FFF2-40B4-BE49-F238E27FC236}">
                <a16:creationId xmlns:a16="http://schemas.microsoft.com/office/drawing/2014/main" id="{4E41B788-9A54-CA4F-B82D-FADE3224D8C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532188" y="1397000"/>
            <a:ext cx="2074862" cy="2074863"/>
            <a:chOff x="3599679" y="932681"/>
            <a:chExt cx="4995947" cy="4995947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1B12AFAF-CD80-1F47-82CF-5615744EA87E}"/>
                </a:ext>
              </a:extLst>
            </p:cNvPr>
            <p:cNvSpPr/>
            <p:nvPr/>
          </p:nvSpPr>
          <p:spPr>
            <a:xfrm rot="9600000">
              <a:off x="4150112" y="1483114"/>
              <a:ext cx="3895080" cy="3895081"/>
            </a:xfrm>
            <a:custGeom>
              <a:avLst/>
              <a:gdLst>
                <a:gd name="connsiteX0" fmla="*/ 1948995 w 3897868"/>
                <a:gd name="connsiteY0" fmla="*/ 60 h 3897867"/>
                <a:gd name="connsiteX1" fmla="*/ 3897929 w 3897868"/>
                <a:gd name="connsiteY1" fmla="*/ 1948994 h 3897867"/>
                <a:gd name="connsiteX2" fmla="*/ 1949223 w 3897868"/>
                <a:gd name="connsiteY2" fmla="*/ 3897927 h 3897867"/>
                <a:gd name="connsiteX3" fmla="*/ 1948995 w 3897868"/>
                <a:gd name="connsiteY3" fmla="*/ 3897927 h 3897867"/>
                <a:gd name="connsiteX4" fmla="*/ 61 w 3897868"/>
                <a:gd name="connsiteY4" fmla="*/ 1948994 h 3897867"/>
                <a:gd name="connsiteX5" fmla="*/ 595265 w 3897868"/>
                <a:gd name="connsiteY5" fmla="*/ 546940 h 3897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97868" h="3897867">
                  <a:moveTo>
                    <a:pt x="1948995" y="60"/>
                  </a:moveTo>
                  <a:cubicBezTo>
                    <a:pt x="3025358" y="60"/>
                    <a:pt x="3897929" y="872631"/>
                    <a:pt x="3897929" y="1948994"/>
                  </a:cubicBezTo>
                  <a:cubicBezTo>
                    <a:pt x="3897992" y="3025297"/>
                    <a:pt x="3025526" y="3897865"/>
                    <a:pt x="1949223" y="3897927"/>
                  </a:cubicBezTo>
                  <a:cubicBezTo>
                    <a:pt x="1949147" y="3897927"/>
                    <a:pt x="1949071" y="3897927"/>
                    <a:pt x="1948995" y="3897927"/>
                  </a:cubicBezTo>
                  <a:cubicBezTo>
                    <a:pt x="872632" y="3897927"/>
                    <a:pt x="61" y="3025356"/>
                    <a:pt x="61" y="1948994"/>
                  </a:cubicBezTo>
                  <a:cubicBezTo>
                    <a:pt x="-518" y="1420135"/>
                    <a:pt x="214403" y="913868"/>
                    <a:pt x="595265" y="546940"/>
                  </a:cubicBezTo>
                </a:path>
              </a:pathLst>
            </a:custGeom>
            <a:noFill/>
            <a:ln w="28521" cap="flat">
              <a:solidFill>
                <a:srgbClr val="AB003A"/>
              </a:solidFill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grpSp>
          <p:nvGrpSpPr>
            <p:cNvPr id="16" name="Graphic 6">
              <a:extLst>
                <a:ext uri="{FF2B5EF4-FFF2-40B4-BE49-F238E27FC236}">
                  <a16:creationId xmlns:a16="http://schemas.microsoft.com/office/drawing/2014/main" id="{9037EC33-F6DF-194B-A88C-71E3F2E319E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81804" y="4486301"/>
              <a:ext cx="1007741" cy="785277"/>
              <a:chOff x="6981804" y="4486301"/>
              <a:chExt cx="1007741" cy="785277"/>
            </a:xfrm>
          </p:grpSpPr>
          <p:grpSp>
            <p:nvGrpSpPr>
              <p:cNvPr id="17" name="Graphic 6">
                <a:extLst>
                  <a:ext uri="{FF2B5EF4-FFF2-40B4-BE49-F238E27FC236}">
                    <a16:creationId xmlns:a16="http://schemas.microsoft.com/office/drawing/2014/main" id="{0E41743F-CCB2-4649-A79D-201CAF21F1E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981804" y="4486301"/>
                <a:ext cx="439470" cy="785277"/>
                <a:chOff x="6981804" y="4486301"/>
                <a:chExt cx="439470" cy="785277"/>
              </a:xfrm>
            </p:grpSpPr>
            <p:sp>
              <p:nvSpPr>
                <p:cNvPr id="21" name="Freeform 20">
                  <a:extLst>
                    <a:ext uri="{FF2B5EF4-FFF2-40B4-BE49-F238E27FC236}">
                      <a16:creationId xmlns:a16="http://schemas.microsoft.com/office/drawing/2014/main" id="{8FB90AE3-EDDA-0A43-9EFF-70A3192CFF72}"/>
                    </a:ext>
                  </a:extLst>
                </p:cNvPr>
                <p:cNvSpPr/>
                <p:nvPr/>
              </p:nvSpPr>
              <p:spPr>
                <a:xfrm>
                  <a:off x="6982550" y="4487563"/>
                  <a:ext cx="439583" cy="783604"/>
                </a:xfrm>
                <a:custGeom>
                  <a:avLst/>
                  <a:gdLst>
                    <a:gd name="connsiteX0" fmla="*/ 358 w 439470"/>
                    <a:gd name="connsiteY0" fmla="*/ 701098 h 785277"/>
                    <a:gd name="connsiteX1" fmla="*/ 192104 w 439470"/>
                    <a:gd name="connsiteY1" fmla="*/ 429940 h 785277"/>
                    <a:gd name="connsiteX2" fmla="*/ 358 w 439470"/>
                    <a:gd name="connsiteY2" fmla="*/ 429940 h 785277"/>
                    <a:gd name="connsiteX3" fmla="*/ 358 w 439470"/>
                    <a:gd name="connsiteY3" fmla="*/ 376 h 785277"/>
                    <a:gd name="connsiteX4" fmla="*/ 439828 w 439470"/>
                    <a:gd name="connsiteY4" fmla="*/ 376 h 785277"/>
                    <a:gd name="connsiteX5" fmla="*/ 439828 w 439470"/>
                    <a:gd name="connsiteY5" fmla="*/ 429940 h 785277"/>
                    <a:gd name="connsiteX6" fmla="*/ 439419 w 439470"/>
                    <a:gd name="connsiteY6" fmla="*/ 429940 h 785277"/>
                    <a:gd name="connsiteX7" fmla="*/ 53549 w 439470"/>
                    <a:gd name="connsiteY7" fmla="*/ 785653 h 785277"/>
                    <a:gd name="connsiteX8" fmla="*/ 358 w 439470"/>
                    <a:gd name="connsiteY8" fmla="*/ 701098 h 785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39470" h="785277">
                      <a:moveTo>
                        <a:pt x="358" y="701098"/>
                      </a:moveTo>
                      <a:cubicBezTo>
                        <a:pt x="181228" y="646138"/>
                        <a:pt x="191895" y="467473"/>
                        <a:pt x="192104" y="429940"/>
                      </a:cubicBezTo>
                      <a:lnTo>
                        <a:pt x="358" y="429940"/>
                      </a:lnTo>
                      <a:lnTo>
                        <a:pt x="358" y="376"/>
                      </a:lnTo>
                      <a:lnTo>
                        <a:pt x="439828" y="376"/>
                      </a:lnTo>
                      <a:lnTo>
                        <a:pt x="439828" y="429940"/>
                      </a:lnTo>
                      <a:lnTo>
                        <a:pt x="439419" y="429940"/>
                      </a:lnTo>
                      <a:cubicBezTo>
                        <a:pt x="434827" y="581063"/>
                        <a:pt x="256970" y="748072"/>
                        <a:pt x="53549" y="785653"/>
                      </a:cubicBezTo>
                      <a:cubicBezTo>
                        <a:pt x="55917" y="783058"/>
                        <a:pt x="1204" y="704397"/>
                        <a:pt x="358" y="701098"/>
                      </a:cubicBezTo>
                      <a:close/>
                    </a:path>
                  </a:pathLst>
                </a:custGeom>
                <a:noFill/>
                <a:ln w="9507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70">
                    <a:latin typeface="Avenir Next" panose="020B0503020202020204" pitchFamily="34" charset="0"/>
                  </a:endParaRPr>
                </a:p>
              </p:txBody>
            </p:sp>
            <p:sp>
              <p:nvSpPr>
                <p:cNvPr id="22" name="Freeform 21">
                  <a:extLst>
                    <a:ext uri="{FF2B5EF4-FFF2-40B4-BE49-F238E27FC236}">
                      <a16:creationId xmlns:a16="http://schemas.microsoft.com/office/drawing/2014/main" id="{13DC8F0E-E421-1140-A9F5-400E7173197B}"/>
                    </a:ext>
                  </a:extLst>
                </p:cNvPr>
                <p:cNvSpPr/>
                <p:nvPr/>
              </p:nvSpPr>
              <p:spPr>
                <a:xfrm>
                  <a:off x="6982550" y="4487563"/>
                  <a:ext cx="439583" cy="783604"/>
                </a:xfrm>
                <a:custGeom>
                  <a:avLst/>
                  <a:gdLst>
                    <a:gd name="connsiteX0" fmla="*/ 72892 w 439465"/>
                    <a:gd name="connsiteY0" fmla="*/ 742593 h 785258"/>
                    <a:gd name="connsiteX1" fmla="*/ 181636 w 439465"/>
                    <a:gd name="connsiteY1" fmla="*/ 701637 h 785258"/>
                    <a:gd name="connsiteX2" fmla="*/ 295190 w 439465"/>
                    <a:gd name="connsiteY2" fmla="*/ 622487 h 785258"/>
                    <a:gd name="connsiteX3" fmla="*/ 401402 w 439465"/>
                    <a:gd name="connsiteY3" fmla="*/ 428789 h 785258"/>
                    <a:gd name="connsiteX4" fmla="*/ 401796 w 439465"/>
                    <a:gd name="connsiteY4" fmla="*/ 415812 h 785258"/>
                    <a:gd name="connsiteX5" fmla="*/ 401796 w 439465"/>
                    <a:gd name="connsiteY5" fmla="*/ 38404 h 785258"/>
                    <a:gd name="connsiteX6" fmla="*/ 38386 w 439465"/>
                    <a:gd name="connsiteY6" fmla="*/ 38404 h 785258"/>
                    <a:gd name="connsiteX7" fmla="*/ 38386 w 439465"/>
                    <a:gd name="connsiteY7" fmla="*/ 391914 h 785258"/>
                    <a:gd name="connsiteX8" fmla="*/ 192107 w 439465"/>
                    <a:gd name="connsiteY8" fmla="*/ 391914 h 785258"/>
                    <a:gd name="connsiteX9" fmla="*/ 230353 w 439465"/>
                    <a:gd name="connsiteY9" fmla="*/ 391914 h 785258"/>
                    <a:gd name="connsiteX10" fmla="*/ 230134 w 439465"/>
                    <a:gd name="connsiteY10" fmla="*/ 430160 h 785258"/>
                    <a:gd name="connsiteX11" fmla="*/ 198655 w 439465"/>
                    <a:gd name="connsiteY11" fmla="*/ 574594 h 785258"/>
                    <a:gd name="connsiteX12" fmla="*/ 132755 w 439465"/>
                    <a:gd name="connsiteY12" fmla="*/ 668422 h 785258"/>
                    <a:gd name="connsiteX13" fmla="*/ 57830 w 439465"/>
                    <a:gd name="connsiteY13" fmla="*/ 719566 h 785258"/>
                    <a:gd name="connsiteX14" fmla="*/ 72892 w 439465"/>
                    <a:gd name="connsiteY14" fmla="*/ 742593 h 785258"/>
                    <a:gd name="connsiteX15" fmla="*/ 53545 w 439465"/>
                    <a:gd name="connsiteY15" fmla="*/ 785634 h 785258"/>
                    <a:gd name="connsiteX16" fmla="*/ 358 w 439465"/>
                    <a:gd name="connsiteY16" fmla="*/ 701102 h 785258"/>
                    <a:gd name="connsiteX17" fmla="*/ 192107 w 439465"/>
                    <a:gd name="connsiteY17" fmla="*/ 429942 h 785258"/>
                    <a:gd name="connsiteX18" fmla="*/ 358 w 439465"/>
                    <a:gd name="connsiteY18" fmla="*/ 429942 h 785258"/>
                    <a:gd name="connsiteX19" fmla="*/ 358 w 439465"/>
                    <a:gd name="connsiteY19" fmla="*/ 376 h 785258"/>
                    <a:gd name="connsiteX20" fmla="*/ 439824 w 439465"/>
                    <a:gd name="connsiteY20" fmla="*/ 376 h 785258"/>
                    <a:gd name="connsiteX21" fmla="*/ 439824 w 439465"/>
                    <a:gd name="connsiteY21" fmla="*/ 429942 h 785258"/>
                    <a:gd name="connsiteX22" fmla="*/ 439413 w 439465"/>
                    <a:gd name="connsiteY22" fmla="*/ 429942 h 785258"/>
                    <a:gd name="connsiteX23" fmla="*/ 53545 w 439465"/>
                    <a:gd name="connsiteY23" fmla="*/ 785634 h 785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439465" h="785258">
                      <a:moveTo>
                        <a:pt x="72892" y="742593"/>
                      </a:moveTo>
                      <a:cubicBezTo>
                        <a:pt x="109820" y="733525"/>
                        <a:pt x="146290" y="719797"/>
                        <a:pt x="181636" y="701637"/>
                      </a:cubicBezTo>
                      <a:cubicBezTo>
                        <a:pt x="223588" y="680084"/>
                        <a:pt x="261793" y="653454"/>
                        <a:pt x="295190" y="622487"/>
                      </a:cubicBezTo>
                      <a:cubicBezTo>
                        <a:pt x="360802" y="561650"/>
                        <a:pt x="399514" y="491050"/>
                        <a:pt x="401402" y="428789"/>
                      </a:cubicBezTo>
                      <a:lnTo>
                        <a:pt x="401796" y="415812"/>
                      </a:lnTo>
                      <a:lnTo>
                        <a:pt x="401796" y="38404"/>
                      </a:lnTo>
                      <a:lnTo>
                        <a:pt x="38386" y="38404"/>
                      </a:lnTo>
                      <a:lnTo>
                        <a:pt x="38386" y="391914"/>
                      </a:lnTo>
                      <a:lnTo>
                        <a:pt x="192107" y="391914"/>
                      </a:lnTo>
                      <a:lnTo>
                        <a:pt x="230353" y="391914"/>
                      </a:lnTo>
                      <a:lnTo>
                        <a:pt x="230134" y="430160"/>
                      </a:lnTo>
                      <a:cubicBezTo>
                        <a:pt x="230004" y="452843"/>
                        <a:pt x="226676" y="512324"/>
                        <a:pt x="198655" y="574594"/>
                      </a:cubicBezTo>
                      <a:cubicBezTo>
                        <a:pt x="182329" y="610875"/>
                        <a:pt x="160157" y="642444"/>
                        <a:pt x="132755" y="668422"/>
                      </a:cubicBezTo>
                      <a:cubicBezTo>
                        <a:pt x="110978" y="689069"/>
                        <a:pt x="85898" y="706177"/>
                        <a:pt x="57830" y="719566"/>
                      </a:cubicBezTo>
                      <a:cubicBezTo>
                        <a:pt x="63057" y="727452"/>
                        <a:pt x="68302" y="735429"/>
                        <a:pt x="72892" y="742593"/>
                      </a:cubicBezTo>
                      <a:moveTo>
                        <a:pt x="53545" y="785634"/>
                      </a:moveTo>
                      <a:cubicBezTo>
                        <a:pt x="55918" y="783053"/>
                        <a:pt x="1201" y="704394"/>
                        <a:pt x="358" y="701102"/>
                      </a:cubicBezTo>
                      <a:cubicBezTo>
                        <a:pt x="181225" y="646141"/>
                        <a:pt x="191891" y="467481"/>
                        <a:pt x="192107" y="429942"/>
                      </a:cubicBezTo>
                      <a:lnTo>
                        <a:pt x="358" y="429942"/>
                      </a:lnTo>
                      <a:lnTo>
                        <a:pt x="358" y="376"/>
                      </a:lnTo>
                      <a:lnTo>
                        <a:pt x="439824" y="376"/>
                      </a:lnTo>
                      <a:lnTo>
                        <a:pt x="439824" y="429942"/>
                      </a:lnTo>
                      <a:lnTo>
                        <a:pt x="439413" y="429942"/>
                      </a:lnTo>
                      <a:cubicBezTo>
                        <a:pt x="434831" y="581060"/>
                        <a:pt x="256974" y="748073"/>
                        <a:pt x="53545" y="785634"/>
                      </a:cubicBezTo>
                      <a:close/>
                    </a:path>
                  </a:pathLst>
                </a:custGeom>
                <a:solidFill>
                  <a:srgbClr val="AB003A"/>
                </a:solidFill>
                <a:ln w="9507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70">
                    <a:latin typeface="Avenir Next" panose="020B0503020202020204" pitchFamily="34" charset="0"/>
                  </a:endParaRPr>
                </a:p>
              </p:txBody>
            </p:sp>
          </p:grpSp>
          <p:grpSp>
            <p:nvGrpSpPr>
              <p:cNvPr id="18" name="Graphic 6">
                <a:extLst>
                  <a:ext uri="{FF2B5EF4-FFF2-40B4-BE49-F238E27FC236}">
                    <a16:creationId xmlns:a16="http://schemas.microsoft.com/office/drawing/2014/main" id="{10606116-C0B0-C545-B6AB-95118DBD3C6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550075" y="4486301"/>
                <a:ext cx="439470" cy="785277"/>
                <a:chOff x="7550075" y="4486301"/>
                <a:chExt cx="439470" cy="785277"/>
              </a:xfrm>
            </p:grpSpPr>
            <p:sp>
              <p:nvSpPr>
                <p:cNvPr id="19" name="Freeform 18">
                  <a:extLst>
                    <a:ext uri="{FF2B5EF4-FFF2-40B4-BE49-F238E27FC236}">
                      <a16:creationId xmlns:a16="http://schemas.microsoft.com/office/drawing/2014/main" id="{3538E48F-F766-E442-A6DD-F91D48C70F3D}"/>
                    </a:ext>
                  </a:extLst>
                </p:cNvPr>
                <p:cNvSpPr/>
                <p:nvPr/>
              </p:nvSpPr>
              <p:spPr>
                <a:xfrm>
                  <a:off x="7548274" y="4487563"/>
                  <a:ext cx="439583" cy="783604"/>
                </a:xfrm>
                <a:custGeom>
                  <a:avLst/>
                  <a:gdLst>
                    <a:gd name="connsiteX0" fmla="*/ 417 w 439470"/>
                    <a:gd name="connsiteY0" fmla="*/ 701098 h 785277"/>
                    <a:gd name="connsiteX1" fmla="*/ 192164 w 439470"/>
                    <a:gd name="connsiteY1" fmla="*/ 429940 h 785277"/>
                    <a:gd name="connsiteX2" fmla="*/ 417 w 439470"/>
                    <a:gd name="connsiteY2" fmla="*/ 429940 h 785277"/>
                    <a:gd name="connsiteX3" fmla="*/ 417 w 439470"/>
                    <a:gd name="connsiteY3" fmla="*/ 376 h 785277"/>
                    <a:gd name="connsiteX4" fmla="*/ 439888 w 439470"/>
                    <a:gd name="connsiteY4" fmla="*/ 376 h 785277"/>
                    <a:gd name="connsiteX5" fmla="*/ 439888 w 439470"/>
                    <a:gd name="connsiteY5" fmla="*/ 429940 h 785277"/>
                    <a:gd name="connsiteX6" fmla="*/ 439479 w 439470"/>
                    <a:gd name="connsiteY6" fmla="*/ 429940 h 785277"/>
                    <a:gd name="connsiteX7" fmla="*/ 53609 w 439470"/>
                    <a:gd name="connsiteY7" fmla="*/ 785653 h 785277"/>
                    <a:gd name="connsiteX8" fmla="*/ 417 w 439470"/>
                    <a:gd name="connsiteY8" fmla="*/ 701098 h 785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39470" h="785277">
                      <a:moveTo>
                        <a:pt x="417" y="701098"/>
                      </a:moveTo>
                      <a:cubicBezTo>
                        <a:pt x="181288" y="646138"/>
                        <a:pt x="191955" y="467473"/>
                        <a:pt x="192164" y="429940"/>
                      </a:cubicBezTo>
                      <a:lnTo>
                        <a:pt x="417" y="429940"/>
                      </a:lnTo>
                      <a:lnTo>
                        <a:pt x="417" y="376"/>
                      </a:lnTo>
                      <a:lnTo>
                        <a:pt x="439888" y="376"/>
                      </a:lnTo>
                      <a:lnTo>
                        <a:pt x="439888" y="429940"/>
                      </a:lnTo>
                      <a:lnTo>
                        <a:pt x="439479" y="429940"/>
                      </a:lnTo>
                      <a:cubicBezTo>
                        <a:pt x="434887" y="581063"/>
                        <a:pt x="257030" y="748072"/>
                        <a:pt x="53609" y="785653"/>
                      </a:cubicBezTo>
                      <a:cubicBezTo>
                        <a:pt x="55976" y="783058"/>
                        <a:pt x="1264" y="704397"/>
                        <a:pt x="417" y="701098"/>
                      </a:cubicBezTo>
                      <a:close/>
                    </a:path>
                  </a:pathLst>
                </a:custGeom>
                <a:noFill/>
                <a:ln w="9507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70">
                    <a:latin typeface="Avenir Next" panose="020B0503020202020204" pitchFamily="34" charset="0"/>
                  </a:endParaRPr>
                </a:p>
              </p:txBody>
            </p:sp>
            <p:sp>
              <p:nvSpPr>
                <p:cNvPr id="20" name="Freeform 19">
                  <a:extLst>
                    <a:ext uri="{FF2B5EF4-FFF2-40B4-BE49-F238E27FC236}">
                      <a16:creationId xmlns:a16="http://schemas.microsoft.com/office/drawing/2014/main" id="{557AF763-EF74-174E-8738-697299D998CA}"/>
                    </a:ext>
                  </a:extLst>
                </p:cNvPr>
                <p:cNvSpPr/>
                <p:nvPr/>
              </p:nvSpPr>
              <p:spPr>
                <a:xfrm>
                  <a:off x="7548274" y="4487563"/>
                  <a:ext cx="439583" cy="783604"/>
                </a:xfrm>
                <a:custGeom>
                  <a:avLst/>
                  <a:gdLst>
                    <a:gd name="connsiteX0" fmla="*/ 72952 w 439465"/>
                    <a:gd name="connsiteY0" fmla="*/ 742593 h 785258"/>
                    <a:gd name="connsiteX1" fmla="*/ 181696 w 439465"/>
                    <a:gd name="connsiteY1" fmla="*/ 701637 h 785258"/>
                    <a:gd name="connsiteX2" fmla="*/ 295250 w 439465"/>
                    <a:gd name="connsiteY2" fmla="*/ 622487 h 785258"/>
                    <a:gd name="connsiteX3" fmla="*/ 401462 w 439465"/>
                    <a:gd name="connsiteY3" fmla="*/ 428789 h 785258"/>
                    <a:gd name="connsiteX4" fmla="*/ 401855 w 439465"/>
                    <a:gd name="connsiteY4" fmla="*/ 415812 h 785258"/>
                    <a:gd name="connsiteX5" fmla="*/ 401855 w 439465"/>
                    <a:gd name="connsiteY5" fmla="*/ 38404 h 785258"/>
                    <a:gd name="connsiteX6" fmla="*/ 38445 w 439465"/>
                    <a:gd name="connsiteY6" fmla="*/ 38404 h 785258"/>
                    <a:gd name="connsiteX7" fmla="*/ 38445 w 439465"/>
                    <a:gd name="connsiteY7" fmla="*/ 391914 h 785258"/>
                    <a:gd name="connsiteX8" fmla="*/ 192166 w 439465"/>
                    <a:gd name="connsiteY8" fmla="*/ 391914 h 785258"/>
                    <a:gd name="connsiteX9" fmla="*/ 230413 w 439465"/>
                    <a:gd name="connsiteY9" fmla="*/ 391914 h 785258"/>
                    <a:gd name="connsiteX10" fmla="*/ 230194 w 439465"/>
                    <a:gd name="connsiteY10" fmla="*/ 430160 h 785258"/>
                    <a:gd name="connsiteX11" fmla="*/ 198715 w 439465"/>
                    <a:gd name="connsiteY11" fmla="*/ 574594 h 785258"/>
                    <a:gd name="connsiteX12" fmla="*/ 132815 w 439465"/>
                    <a:gd name="connsiteY12" fmla="*/ 668422 h 785258"/>
                    <a:gd name="connsiteX13" fmla="*/ 57890 w 439465"/>
                    <a:gd name="connsiteY13" fmla="*/ 719566 h 785258"/>
                    <a:gd name="connsiteX14" fmla="*/ 72952 w 439465"/>
                    <a:gd name="connsiteY14" fmla="*/ 742593 h 785258"/>
                    <a:gd name="connsiteX15" fmla="*/ 53605 w 439465"/>
                    <a:gd name="connsiteY15" fmla="*/ 785634 h 785258"/>
                    <a:gd name="connsiteX16" fmla="*/ 417 w 439465"/>
                    <a:gd name="connsiteY16" fmla="*/ 701102 h 785258"/>
                    <a:gd name="connsiteX17" fmla="*/ 192166 w 439465"/>
                    <a:gd name="connsiteY17" fmla="*/ 429942 h 785258"/>
                    <a:gd name="connsiteX18" fmla="*/ 417 w 439465"/>
                    <a:gd name="connsiteY18" fmla="*/ 429942 h 785258"/>
                    <a:gd name="connsiteX19" fmla="*/ 417 w 439465"/>
                    <a:gd name="connsiteY19" fmla="*/ 376 h 785258"/>
                    <a:gd name="connsiteX20" fmla="*/ 439883 w 439465"/>
                    <a:gd name="connsiteY20" fmla="*/ 376 h 785258"/>
                    <a:gd name="connsiteX21" fmla="*/ 439883 w 439465"/>
                    <a:gd name="connsiteY21" fmla="*/ 429942 h 785258"/>
                    <a:gd name="connsiteX22" fmla="*/ 439472 w 439465"/>
                    <a:gd name="connsiteY22" fmla="*/ 429942 h 785258"/>
                    <a:gd name="connsiteX23" fmla="*/ 53605 w 439465"/>
                    <a:gd name="connsiteY23" fmla="*/ 785634 h 785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439465" h="785258">
                      <a:moveTo>
                        <a:pt x="72952" y="742593"/>
                      </a:moveTo>
                      <a:cubicBezTo>
                        <a:pt x="109880" y="733525"/>
                        <a:pt x="146349" y="719797"/>
                        <a:pt x="181696" y="701637"/>
                      </a:cubicBezTo>
                      <a:cubicBezTo>
                        <a:pt x="223648" y="680084"/>
                        <a:pt x="261853" y="653454"/>
                        <a:pt x="295250" y="622487"/>
                      </a:cubicBezTo>
                      <a:cubicBezTo>
                        <a:pt x="360861" y="561650"/>
                        <a:pt x="399574" y="491050"/>
                        <a:pt x="401462" y="428789"/>
                      </a:cubicBezTo>
                      <a:lnTo>
                        <a:pt x="401855" y="415812"/>
                      </a:lnTo>
                      <a:lnTo>
                        <a:pt x="401855" y="38404"/>
                      </a:lnTo>
                      <a:lnTo>
                        <a:pt x="38445" y="38404"/>
                      </a:lnTo>
                      <a:lnTo>
                        <a:pt x="38445" y="391914"/>
                      </a:lnTo>
                      <a:lnTo>
                        <a:pt x="192166" y="391914"/>
                      </a:lnTo>
                      <a:lnTo>
                        <a:pt x="230413" y="391914"/>
                      </a:lnTo>
                      <a:lnTo>
                        <a:pt x="230194" y="430160"/>
                      </a:lnTo>
                      <a:cubicBezTo>
                        <a:pt x="230064" y="452843"/>
                        <a:pt x="226736" y="512324"/>
                        <a:pt x="198715" y="574594"/>
                      </a:cubicBezTo>
                      <a:cubicBezTo>
                        <a:pt x="182389" y="610875"/>
                        <a:pt x="160217" y="642444"/>
                        <a:pt x="132815" y="668422"/>
                      </a:cubicBezTo>
                      <a:cubicBezTo>
                        <a:pt x="111038" y="689069"/>
                        <a:pt x="85958" y="706177"/>
                        <a:pt x="57890" y="719566"/>
                      </a:cubicBezTo>
                      <a:cubicBezTo>
                        <a:pt x="63116" y="727452"/>
                        <a:pt x="68362" y="735429"/>
                        <a:pt x="72952" y="742593"/>
                      </a:cubicBezTo>
                      <a:moveTo>
                        <a:pt x="53605" y="785634"/>
                      </a:moveTo>
                      <a:cubicBezTo>
                        <a:pt x="55978" y="783053"/>
                        <a:pt x="1260" y="704394"/>
                        <a:pt x="417" y="701102"/>
                      </a:cubicBezTo>
                      <a:cubicBezTo>
                        <a:pt x="181285" y="646141"/>
                        <a:pt x="191951" y="467481"/>
                        <a:pt x="192166" y="429942"/>
                      </a:cubicBezTo>
                      <a:lnTo>
                        <a:pt x="417" y="429942"/>
                      </a:lnTo>
                      <a:lnTo>
                        <a:pt x="417" y="376"/>
                      </a:lnTo>
                      <a:lnTo>
                        <a:pt x="439883" y="376"/>
                      </a:lnTo>
                      <a:lnTo>
                        <a:pt x="439883" y="429942"/>
                      </a:lnTo>
                      <a:lnTo>
                        <a:pt x="439472" y="429942"/>
                      </a:lnTo>
                      <a:cubicBezTo>
                        <a:pt x="434890" y="581060"/>
                        <a:pt x="257034" y="748073"/>
                        <a:pt x="53605" y="785634"/>
                      </a:cubicBezTo>
                      <a:close/>
                    </a:path>
                  </a:pathLst>
                </a:custGeom>
                <a:solidFill>
                  <a:srgbClr val="AB003A"/>
                </a:solidFill>
                <a:ln w="9507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70">
                    <a:latin typeface="Avenir Next" panose="020B0503020202020204" pitchFamily="34" charset="0"/>
                  </a:endParaRPr>
                </a:p>
              </p:txBody>
            </p:sp>
          </p:grpSp>
        </p:grpSp>
      </p:grpSp>
      <p:grpSp>
        <p:nvGrpSpPr>
          <p:cNvPr id="23" name="Graphic 4">
            <a:extLst>
              <a:ext uri="{FF2B5EF4-FFF2-40B4-BE49-F238E27FC236}">
                <a16:creationId xmlns:a16="http://schemas.microsoft.com/office/drawing/2014/main" id="{9DA621C7-4718-0C47-85EA-6A44F9D2B577}"/>
              </a:ext>
            </a:extLst>
          </p:cNvPr>
          <p:cNvGrpSpPr>
            <a:grpSpLocks/>
          </p:cNvGrpSpPr>
          <p:nvPr userDrawn="1"/>
        </p:nvGrpSpPr>
        <p:grpSpPr bwMode="auto">
          <a:xfrm rot="10800000">
            <a:off x="3622675" y="1758950"/>
            <a:ext cx="309563" cy="268288"/>
            <a:chOff x="3623023" y="3571901"/>
            <a:chExt cx="1007494" cy="785277"/>
          </a:xfrm>
        </p:grpSpPr>
        <p:grpSp>
          <p:nvGrpSpPr>
            <p:cNvPr id="24" name="Graphic 4">
              <a:extLst>
                <a:ext uri="{FF2B5EF4-FFF2-40B4-BE49-F238E27FC236}">
                  <a16:creationId xmlns:a16="http://schemas.microsoft.com/office/drawing/2014/main" id="{0CAC023C-564C-D34A-80DE-BAF74AFB372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23023" y="3571901"/>
              <a:ext cx="439223" cy="785277"/>
              <a:chOff x="3623023" y="3571901"/>
              <a:chExt cx="439223" cy="785277"/>
            </a:xfrm>
          </p:grpSpPr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27F0CB4F-780A-3A4E-8DC1-8F89A9050D15}"/>
                  </a:ext>
                </a:extLst>
              </p:cNvPr>
              <p:cNvSpPr/>
              <p:nvPr/>
            </p:nvSpPr>
            <p:spPr>
              <a:xfrm>
                <a:off x="3623023" y="3571901"/>
                <a:ext cx="439164" cy="785277"/>
              </a:xfrm>
              <a:custGeom>
                <a:avLst/>
                <a:gdLst>
                  <a:gd name="connsiteX0" fmla="*/ 358 w 439223"/>
                  <a:gd name="connsiteY0" fmla="*/ 701041 h 785277"/>
                  <a:gd name="connsiteX1" fmla="*/ 192399 w 439223"/>
                  <a:gd name="connsiteY1" fmla="*/ 430092 h 785277"/>
                  <a:gd name="connsiteX2" fmla="*/ 358 w 439223"/>
                  <a:gd name="connsiteY2" fmla="*/ 430092 h 785277"/>
                  <a:gd name="connsiteX3" fmla="*/ 358 w 439223"/>
                  <a:gd name="connsiteY3" fmla="*/ 376 h 785277"/>
                  <a:gd name="connsiteX4" fmla="*/ 439581 w 439223"/>
                  <a:gd name="connsiteY4" fmla="*/ 376 h 785277"/>
                  <a:gd name="connsiteX5" fmla="*/ 439581 w 439223"/>
                  <a:gd name="connsiteY5" fmla="*/ 430092 h 785277"/>
                  <a:gd name="connsiteX6" fmla="*/ 439581 w 439223"/>
                  <a:gd name="connsiteY6" fmla="*/ 430092 h 785277"/>
                  <a:gd name="connsiteX7" fmla="*/ 53597 w 439223"/>
                  <a:gd name="connsiteY7" fmla="*/ 785653 h 785277"/>
                  <a:gd name="connsiteX8" fmla="*/ 358 w 439223"/>
                  <a:gd name="connsiteY8" fmla="*/ 701041 h 78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9223" h="785277">
                    <a:moveTo>
                      <a:pt x="358" y="701041"/>
                    </a:moveTo>
                    <a:cubicBezTo>
                      <a:pt x="180991" y="645901"/>
                      <a:pt x="191448" y="467169"/>
                      <a:pt x="192399" y="430092"/>
                    </a:cubicBezTo>
                    <a:lnTo>
                      <a:pt x="358" y="430092"/>
                    </a:lnTo>
                    <a:lnTo>
                      <a:pt x="358" y="376"/>
                    </a:lnTo>
                    <a:lnTo>
                      <a:pt x="439581" y="376"/>
                    </a:lnTo>
                    <a:lnTo>
                      <a:pt x="439581" y="430092"/>
                    </a:lnTo>
                    <a:lnTo>
                      <a:pt x="439581" y="430092"/>
                    </a:lnTo>
                    <a:cubicBezTo>
                      <a:pt x="434827" y="581253"/>
                      <a:pt x="257047" y="747625"/>
                      <a:pt x="53597" y="785653"/>
                    </a:cubicBezTo>
                    <a:cubicBezTo>
                      <a:pt x="55498" y="782801"/>
                      <a:pt x="1308" y="704844"/>
                      <a:pt x="358" y="701041"/>
                    </a:cubicBezTo>
                    <a:close/>
                  </a:path>
                </a:pathLst>
              </a:custGeom>
              <a:noFill/>
              <a:ln w="9507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0">
                  <a:latin typeface="Avenir Next" panose="020B0503020202020204" pitchFamily="34" charset="0"/>
                </a:endParaRPr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EB76968F-9CCA-734A-BF91-44BC8C99B0F5}"/>
                  </a:ext>
                </a:extLst>
              </p:cNvPr>
              <p:cNvSpPr/>
              <p:nvPr/>
            </p:nvSpPr>
            <p:spPr>
              <a:xfrm>
                <a:off x="3623023" y="3571901"/>
                <a:ext cx="439164" cy="785277"/>
              </a:xfrm>
              <a:custGeom>
                <a:avLst/>
                <a:gdLst>
                  <a:gd name="connsiteX0" fmla="*/ 53597 w 439223"/>
                  <a:gd name="connsiteY0" fmla="*/ 785653 h 785277"/>
                  <a:gd name="connsiteX1" fmla="*/ 358 w 439223"/>
                  <a:gd name="connsiteY1" fmla="*/ 701041 h 785277"/>
                  <a:gd name="connsiteX2" fmla="*/ 192399 w 439223"/>
                  <a:gd name="connsiteY2" fmla="*/ 430092 h 785277"/>
                  <a:gd name="connsiteX3" fmla="*/ 358 w 439223"/>
                  <a:gd name="connsiteY3" fmla="*/ 430092 h 785277"/>
                  <a:gd name="connsiteX4" fmla="*/ 358 w 439223"/>
                  <a:gd name="connsiteY4" fmla="*/ 376 h 785277"/>
                  <a:gd name="connsiteX5" fmla="*/ 439581 w 439223"/>
                  <a:gd name="connsiteY5" fmla="*/ 376 h 785277"/>
                  <a:gd name="connsiteX6" fmla="*/ 439581 w 439223"/>
                  <a:gd name="connsiteY6" fmla="*/ 430092 h 785277"/>
                  <a:gd name="connsiteX7" fmla="*/ 439581 w 439223"/>
                  <a:gd name="connsiteY7" fmla="*/ 430092 h 785277"/>
                  <a:gd name="connsiteX8" fmla="*/ 53597 w 439223"/>
                  <a:gd name="connsiteY8" fmla="*/ 785653 h 78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9223" h="785277">
                    <a:moveTo>
                      <a:pt x="53597" y="785653"/>
                    </a:moveTo>
                    <a:cubicBezTo>
                      <a:pt x="55498" y="782801"/>
                      <a:pt x="1308" y="704844"/>
                      <a:pt x="358" y="701041"/>
                    </a:cubicBezTo>
                    <a:cubicBezTo>
                      <a:pt x="180991" y="645901"/>
                      <a:pt x="191448" y="467169"/>
                      <a:pt x="192399" y="430092"/>
                    </a:cubicBezTo>
                    <a:lnTo>
                      <a:pt x="358" y="430092"/>
                    </a:lnTo>
                    <a:lnTo>
                      <a:pt x="358" y="376"/>
                    </a:lnTo>
                    <a:lnTo>
                      <a:pt x="439581" y="376"/>
                    </a:lnTo>
                    <a:lnTo>
                      <a:pt x="439581" y="430092"/>
                    </a:lnTo>
                    <a:lnTo>
                      <a:pt x="439581" y="430092"/>
                    </a:lnTo>
                    <a:cubicBezTo>
                      <a:pt x="434827" y="581253"/>
                      <a:pt x="257047" y="747625"/>
                      <a:pt x="53597" y="785653"/>
                    </a:cubicBezTo>
                    <a:close/>
                  </a:path>
                </a:pathLst>
              </a:custGeom>
              <a:solidFill>
                <a:srgbClr val="AB003A"/>
              </a:solidFill>
              <a:ln w="9507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0">
                  <a:latin typeface="Avenir Next" panose="020B0503020202020204" pitchFamily="34" charset="0"/>
                </a:endParaRPr>
              </a:p>
            </p:txBody>
          </p:sp>
        </p:grpSp>
        <p:grpSp>
          <p:nvGrpSpPr>
            <p:cNvPr id="25" name="Graphic 4">
              <a:extLst>
                <a:ext uri="{FF2B5EF4-FFF2-40B4-BE49-F238E27FC236}">
                  <a16:creationId xmlns:a16="http://schemas.microsoft.com/office/drawing/2014/main" id="{16A2374D-3372-554C-B510-50AD13A7DEC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191294" y="3571901"/>
              <a:ext cx="439223" cy="785277"/>
              <a:chOff x="4191294" y="3571901"/>
              <a:chExt cx="439223" cy="785277"/>
            </a:xfrm>
          </p:grpSpPr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F818D427-B44C-4B4C-AB19-562FA93EC3A5}"/>
                  </a:ext>
                </a:extLst>
              </p:cNvPr>
              <p:cNvSpPr/>
              <p:nvPr/>
            </p:nvSpPr>
            <p:spPr>
              <a:xfrm>
                <a:off x="4191353" y="3571901"/>
                <a:ext cx="439164" cy="785277"/>
              </a:xfrm>
              <a:custGeom>
                <a:avLst/>
                <a:gdLst>
                  <a:gd name="connsiteX0" fmla="*/ 417 w 439223"/>
                  <a:gd name="connsiteY0" fmla="*/ 701041 h 785277"/>
                  <a:gd name="connsiteX1" fmla="*/ 192459 w 439223"/>
                  <a:gd name="connsiteY1" fmla="*/ 430092 h 785277"/>
                  <a:gd name="connsiteX2" fmla="*/ 417 w 439223"/>
                  <a:gd name="connsiteY2" fmla="*/ 430092 h 785277"/>
                  <a:gd name="connsiteX3" fmla="*/ 417 w 439223"/>
                  <a:gd name="connsiteY3" fmla="*/ 376 h 785277"/>
                  <a:gd name="connsiteX4" fmla="*/ 439641 w 439223"/>
                  <a:gd name="connsiteY4" fmla="*/ 376 h 785277"/>
                  <a:gd name="connsiteX5" fmla="*/ 439641 w 439223"/>
                  <a:gd name="connsiteY5" fmla="*/ 430092 h 785277"/>
                  <a:gd name="connsiteX6" fmla="*/ 439641 w 439223"/>
                  <a:gd name="connsiteY6" fmla="*/ 430092 h 785277"/>
                  <a:gd name="connsiteX7" fmla="*/ 53657 w 439223"/>
                  <a:gd name="connsiteY7" fmla="*/ 785653 h 785277"/>
                  <a:gd name="connsiteX8" fmla="*/ 417 w 439223"/>
                  <a:gd name="connsiteY8" fmla="*/ 701041 h 78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9223" h="785277">
                    <a:moveTo>
                      <a:pt x="417" y="701041"/>
                    </a:moveTo>
                    <a:cubicBezTo>
                      <a:pt x="181050" y="645901"/>
                      <a:pt x="191508" y="467169"/>
                      <a:pt x="192459" y="430092"/>
                    </a:cubicBezTo>
                    <a:lnTo>
                      <a:pt x="417" y="430092"/>
                    </a:lnTo>
                    <a:lnTo>
                      <a:pt x="417" y="376"/>
                    </a:lnTo>
                    <a:lnTo>
                      <a:pt x="439641" y="376"/>
                    </a:lnTo>
                    <a:lnTo>
                      <a:pt x="439641" y="430092"/>
                    </a:lnTo>
                    <a:lnTo>
                      <a:pt x="439641" y="430092"/>
                    </a:lnTo>
                    <a:cubicBezTo>
                      <a:pt x="434887" y="581253"/>
                      <a:pt x="257106" y="747625"/>
                      <a:pt x="53657" y="785653"/>
                    </a:cubicBezTo>
                    <a:cubicBezTo>
                      <a:pt x="55558" y="782801"/>
                      <a:pt x="1368" y="704844"/>
                      <a:pt x="417" y="701041"/>
                    </a:cubicBezTo>
                    <a:close/>
                  </a:path>
                </a:pathLst>
              </a:custGeom>
              <a:noFill/>
              <a:ln w="9507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0">
                  <a:latin typeface="Avenir Next" panose="020B0503020202020204" pitchFamily="34" charset="0"/>
                </a:endParaRPr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0B0BB583-09FE-2B4D-AEB4-39204E07DBEA}"/>
                  </a:ext>
                </a:extLst>
              </p:cNvPr>
              <p:cNvSpPr/>
              <p:nvPr/>
            </p:nvSpPr>
            <p:spPr>
              <a:xfrm>
                <a:off x="4191353" y="3571901"/>
                <a:ext cx="439164" cy="785277"/>
              </a:xfrm>
              <a:custGeom>
                <a:avLst/>
                <a:gdLst>
                  <a:gd name="connsiteX0" fmla="*/ 53657 w 439223"/>
                  <a:gd name="connsiteY0" fmla="*/ 785653 h 785277"/>
                  <a:gd name="connsiteX1" fmla="*/ 417 w 439223"/>
                  <a:gd name="connsiteY1" fmla="*/ 701041 h 785277"/>
                  <a:gd name="connsiteX2" fmla="*/ 192459 w 439223"/>
                  <a:gd name="connsiteY2" fmla="*/ 430092 h 785277"/>
                  <a:gd name="connsiteX3" fmla="*/ 417 w 439223"/>
                  <a:gd name="connsiteY3" fmla="*/ 430092 h 785277"/>
                  <a:gd name="connsiteX4" fmla="*/ 417 w 439223"/>
                  <a:gd name="connsiteY4" fmla="*/ 376 h 785277"/>
                  <a:gd name="connsiteX5" fmla="*/ 439641 w 439223"/>
                  <a:gd name="connsiteY5" fmla="*/ 376 h 785277"/>
                  <a:gd name="connsiteX6" fmla="*/ 439641 w 439223"/>
                  <a:gd name="connsiteY6" fmla="*/ 430092 h 785277"/>
                  <a:gd name="connsiteX7" fmla="*/ 439641 w 439223"/>
                  <a:gd name="connsiteY7" fmla="*/ 430092 h 785277"/>
                  <a:gd name="connsiteX8" fmla="*/ 53657 w 439223"/>
                  <a:gd name="connsiteY8" fmla="*/ 785653 h 78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9223" h="785277">
                    <a:moveTo>
                      <a:pt x="53657" y="785653"/>
                    </a:moveTo>
                    <a:cubicBezTo>
                      <a:pt x="55558" y="782801"/>
                      <a:pt x="1368" y="704844"/>
                      <a:pt x="417" y="701041"/>
                    </a:cubicBezTo>
                    <a:cubicBezTo>
                      <a:pt x="181050" y="645901"/>
                      <a:pt x="191508" y="467169"/>
                      <a:pt x="192459" y="430092"/>
                    </a:cubicBezTo>
                    <a:lnTo>
                      <a:pt x="417" y="430092"/>
                    </a:lnTo>
                    <a:lnTo>
                      <a:pt x="417" y="376"/>
                    </a:lnTo>
                    <a:lnTo>
                      <a:pt x="439641" y="376"/>
                    </a:lnTo>
                    <a:lnTo>
                      <a:pt x="439641" y="430092"/>
                    </a:lnTo>
                    <a:lnTo>
                      <a:pt x="439641" y="430092"/>
                    </a:lnTo>
                    <a:cubicBezTo>
                      <a:pt x="434887" y="581253"/>
                      <a:pt x="257106" y="747625"/>
                      <a:pt x="53657" y="785653"/>
                    </a:cubicBezTo>
                    <a:close/>
                  </a:path>
                </a:pathLst>
              </a:custGeom>
              <a:solidFill>
                <a:srgbClr val="AB003A"/>
              </a:solidFill>
              <a:ln w="9507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0">
                  <a:latin typeface="Avenir Next" panose="020B0503020202020204" pitchFamily="34" charset="0"/>
                </a:endParaRPr>
              </a:p>
            </p:txBody>
          </p:sp>
        </p:grpSp>
      </p:grpSp>
      <p:sp>
        <p:nvSpPr>
          <p:cNvPr id="8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1916908" y="4027679"/>
            <a:ext cx="5310187" cy="124883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50000"/>
              </a:lnSpc>
              <a:buFont typeface="Arial" panose="020B0604020202020204" pitchFamily="34" charset="0"/>
              <a:buNone/>
              <a:defRPr sz="14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746701" y="3316590"/>
            <a:ext cx="1650602" cy="213196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200" b="1" i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3448252" y="3529784"/>
            <a:ext cx="2247500" cy="309269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0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21"/>
          <p:cNvSpPr>
            <a:spLocks noGrp="1"/>
          </p:cNvSpPr>
          <p:nvPr>
            <p:ph type="pic" sz="quarter" idx="12"/>
          </p:nvPr>
        </p:nvSpPr>
        <p:spPr>
          <a:xfrm>
            <a:off x="3852000" y="1705512"/>
            <a:ext cx="1440000" cy="1440000"/>
          </a:xfrm>
          <a:custGeom>
            <a:avLst/>
            <a:gdLst>
              <a:gd name="connsiteX0" fmla="*/ 1382865 w 2765730"/>
              <a:gd name="connsiteY0" fmla="*/ 0 h 2765730"/>
              <a:gd name="connsiteX1" fmla="*/ 2765730 w 2765730"/>
              <a:gd name="connsiteY1" fmla="*/ 1382865 h 2765730"/>
              <a:gd name="connsiteX2" fmla="*/ 1382865 w 2765730"/>
              <a:gd name="connsiteY2" fmla="*/ 2765730 h 2765730"/>
              <a:gd name="connsiteX3" fmla="*/ 0 w 2765730"/>
              <a:gd name="connsiteY3" fmla="*/ 1382865 h 2765730"/>
              <a:gd name="connsiteX4" fmla="*/ 1382865 w 2765730"/>
              <a:gd name="connsiteY4" fmla="*/ 0 h 27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65730" h="2765730">
                <a:moveTo>
                  <a:pt x="1382865" y="0"/>
                </a:moveTo>
                <a:cubicBezTo>
                  <a:pt x="2146600" y="0"/>
                  <a:pt x="2765730" y="619130"/>
                  <a:pt x="2765730" y="1382865"/>
                </a:cubicBezTo>
                <a:cubicBezTo>
                  <a:pt x="2765730" y="2146600"/>
                  <a:pt x="2146600" y="2765730"/>
                  <a:pt x="1382865" y="2765730"/>
                </a:cubicBezTo>
                <a:cubicBezTo>
                  <a:pt x="619130" y="2765730"/>
                  <a:pt x="0" y="2146600"/>
                  <a:pt x="0" y="1382865"/>
                </a:cubicBezTo>
                <a:cubicBezTo>
                  <a:pt x="0" y="619130"/>
                  <a:pt x="619130" y="0"/>
                  <a:pt x="1382865" y="0"/>
                </a:cubicBezTo>
                <a:close/>
              </a:path>
            </a:pathLst>
          </a:custGeom>
          <a:solidFill>
            <a:srgbClr val="E6ECF4"/>
          </a:solidFill>
        </p:spPr>
        <p:txBody>
          <a:bodyPr wrap="square"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Google Shape;30;p4">
            <a:extLst>
              <a:ext uri="{FF2B5EF4-FFF2-40B4-BE49-F238E27FC236}">
                <a16:creationId xmlns:a16="http://schemas.microsoft.com/office/drawing/2014/main" id="{96389F88-0D1A-F34C-909B-4FA0453E938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5311200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94B64F51-BF0E-8044-B75D-F3F3482AFF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5310188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94928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inar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1640E91-1642-4341-9D37-63D30B1035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494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1640E91-1642-4341-9D37-63D30B1035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89B891-ECCA-4C69-B08D-28D48A6E5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04800"/>
            <a:ext cx="7886700" cy="1104900"/>
          </a:xfrm>
          <a:prstGeom prst="rect">
            <a:avLst/>
          </a:prstGeom>
        </p:spPr>
        <p:txBody>
          <a:bodyPr vert="horz"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DC6BFB3-911E-4CDA-867D-6F12428E81AA}"/>
              </a:ext>
            </a:extLst>
          </p:cNvPr>
          <p:cNvSpPr/>
          <p:nvPr userDrawn="1"/>
        </p:nvSpPr>
        <p:spPr>
          <a:xfrm>
            <a:off x="0" y="1081176"/>
            <a:ext cx="9144000" cy="2446884"/>
          </a:xfrm>
          <a:prstGeom prst="rect">
            <a:avLst/>
          </a:prstGeom>
          <a:solidFill>
            <a:srgbClr val="F5F5F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4" name="Picture Placeholder 21">
            <a:extLst>
              <a:ext uri="{FF2B5EF4-FFF2-40B4-BE49-F238E27FC236}">
                <a16:creationId xmlns:a16="http://schemas.microsoft.com/office/drawing/2014/main" id="{2DC119D9-5C93-4EDD-828B-9B924564839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33751" y="1295400"/>
            <a:ext cx="1440000" cy="1440000"/>
          </a:xfrm>
          <a:custGeom>
            <a:avLst/>
            <a:gdLst>
              <a:gd name="connsiteX0" fmla="*/ 1382865 w 2765730"/>
              <a:gd name="connsiteY0" fmla="*/ 0 h 2765730"/>
              <a:gd name="connsiteX1" fmla="*/ 2765730 w 2765730"/>
              <a:gd name="connsiteY1" fmla="*/ 1382865 h 2765730"/>
              <a:gd name="connsiteX2" fmla="*/ 1382865 w 2765730"/>
              <a:gd name="connsiteY2" fmla="*/ 2765730 h 2765730"/>
              <a:gd name="connsiteX3" fmla="*/ 0 w 2765730"/>
              <a:gd name="connsiteY3" fmla="*/ 1382865 h 2765730"/>
              <a:gd name="connsiteX4" fmla="*/ 1382865 w 2765730"/>
              <a:gd name="connsiteY4" fmla="*/ 0 h 27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65730" h="2765730">
                <a:moveTo>
                  <a:pt x="1382865" y="0"/>
                </a:moveTo>
                <a:cubicBezTo>
                  <a:pt x="2146600" y="0"/>
                  <a:pt x="2765730" y="619130"/>
                  <a:pt x="2765730" y="1382865"/>
                </a:cubicBezTo>
                <a:cubicBezTo>
                  <a:pt x="2765730" y="2146600"/>
                  <a:pt x="2146600" y="2765730"/>
                  <a:pt x="1382865" y="2765730"/>
                </a:cubicBezTo>
                <a:cubicBezTo>
                  <a:pt x="619130" y="2765730"/>
                  <a:pt x="0" y="2146600"/>
                  <a:pt x="0" y="1382865"/>
                </a:cubicBezTo>
                <a:cubicBezTo>
                  <a:pt x="0" y="619130"/>
                  <a:pt x="619130" y="0"/>
                  <a:pt x="1382865" y="0"/>
                </a:cubicBezTo>
                <a:close/>
              </a:path>
            </a:pathLst>
          </a:custGeom>
          <a:solidFill>
            <a:srgbClr val="E6ECF4"/>
          </a:solidFill>
          <a:ln w="12700">
            <a:solidFill>
              <a:schemeClr val="accent5"/>
            </a:solidFill>
            <a:prstDash val="sysDot"/>
          </a:ln>
        </p:spPr>
        <p:txBody>
          <a:bodyPr wrap="square"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21">
            <a:extLst>
              <a:ext uri="{FF2B5EF4-FFF2-40B4-BE49-F238E27FC236}">
                <a16:creationId xmlns:a16="http://schemas.microsoft.com/office/drawing/2014/main" id="{899FC2D6-CEC0-418F-99AD-F67833902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76309" y="1295400"/>
            <a:ext cx="1440000" cy="1440000"/>
          </a:xfrm>
          <a:custGeom>
            <a:avLst/>
            <a:gdLst>
              <a:gd name="connsiteX0" fmla="*/ 1382865 w 2765730"/>
              <a:gd name="connsiteY0" fmla="*/ 0 h 2765730"/>
              <a:gd name="connsiteX1" fmla="*/ 2765730 w 2765730"/>
              <a:gd name="connsiteY1" fmla="*/ 1382865 h 2765730"/>
              <a:gd name="connsiteX2" fmla="*/ 1382865 w 2765730"/>
              <a:gd name="connsiteY2" fmla="*/ 2765730 h 2765730"/>
              <a:gd name="connsiteX3" fmla="*/ 0 w 2765730"/>
              <a:gd name="connsiteY3" fmla="*/ 1382865 h 2765730"/>
              <a:gd name="connsiteX4" fmla="*/ 1382865 w 2765730"/>
              <a:gd name="connsiteY4" fmla="*/ 0 h 27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65730" h="2765730">
                <a:moveTo>
                  <a:pt x="1382865" y="0"/>
                </a:moveTo>
                <a:cubicBezTo>
                  <a:pt x="2146600" y="0"/>
                  <a:pt x="2765730" y="619130"/>
                  <a:pt x="2765730" y="1382865"/>
                </a:cubicBezTo>
                <a:cubicBezTo>
                  <a:pt x="2765730" y="2146600"/>
                  <a:pt x="2146600" y="2765730"/>
                  <a:pt x="1382865" y="2765730"/>
                </a:cubicBezTo>
                <a:cubicBezTo>
                  <a:pt x="619130" y="2765730"/>
                  <a:pt x="0" y="2146600"/>
                  <a:pt x="0" y="1382865"/>
                </a:cubicBezTo>
                <a:cubicBezTo>
                  <a:pt x="0" y="619130"/>
                  <a:pt x="619130" y="0"/>
                  <a:pt x="1382865" y="0"/>
                </a:cubicBezTo>
                <a:close/>
              </a:path>
            </a:pathLst>
          </a:custGeom>
          <a:solidFill>
            <a:srgbClr val="E6ECF4"/>
          </a:solidFill>
          <a:ln w="12700">
            <a:solidFill>
              <a:schemeClr val="accent5"/>
            </a:solidFill>
            <a:prstDash val="sysDot"/>
          </a:ln>
        </p:spPr>
        <p:txBody>
          <a:bodyPr wrap="square"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16E3494-39F7-42AF-AF62-251857E9B8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3642359"/>
            <a:ext cx="8092230" cy="1441475"/>
          </a:xfrm>
          <a:prstGeom prst="rect">
            <a:avLst/>
          </a:prstGeom>
        </p:spPr>
        <p:txBody>
          <a:bodyPr/>
          <a:lstStyle>
            <a:lvl1pPr>
              <a:buNone/>
              <a:defRPr sz="14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1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1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1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1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10947-24E5-4874-B823-45B3A9301C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55715" y="2788920"/>
            <a:ext cx="1935168" cy="2574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DDCA3AD-9667-4C95-98FE-59E027B6D9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37455" y="2788920"/>
            <a:ext cx="2043592" cy="2574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E349B82-D4B7-48FF-8BEB-7330681F33B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37455" y="3092292"/>
            <a:ext cx="2043592" cy="3286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 marL="3429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D38A413-1B9A-40AD-84C1-98B49DE5B1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55715" y="3092292"/>
            <a:ext cx="1935168" cy="3286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 marL="3429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5686007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inar Will Begin S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DC6BFB3-911E-4CDA-867D-6F12428E81AA}"/>
              </a:ext>
            </a:extLst>
          </p:cNvPr>
          <p:cNvSpPr/>
          <p:nvPr userDrawn="1"/>
        </p:nvSpPr>
        <p:spPr>
          <a:xfrm>
            <a:off x="0" y="1081176"/>
            <a:ext cx="9144000" cy="2446884"/>
          </a:xfrm>
          <a:prstGeom prst="rect">
            <a:avLst/>
          </a:prstGeom>
          <a:solidFill>
            <a:srgbClr val="F5F5F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9D10164-D15D-4056-98B3-6245BD80B67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361194" y="2848003"/>
            <a:ext cx="2421612" cy="2421612"/>
          </a:xfrm>
          <a:custGeom>
            <a:avLst/>
            <a:gdLst>
              <a:gd name="connsiteX0" fmla="*/ 1210806 w 2421612"/>
              <a:gd name="connsiteY0" fmla="*/ 0 h 2421612"/>
              <a:gd name="connsiteX1" fmla="*/ 2421612 w 2421612"/>
              <a:gd name="connsiteY1" fmla="*/ 1210806 h 2421612"/>
              <a:gd name="connsiteX2" fmla="*/ 1210806 w 2421612"/>
              <a:gd name="connsiteY2" fmla="*/ 2421612 h 2421612"/>
              <a:gd name="connsiteX3" fmla="*/ 0 w 2421612"/>
              <a:gd name="connsiteY3" fmla="*/ 1210806 h 2421612"/>
              <a:gd name="connsiteX4" fmla="*/ 1210806 w 2421612"/>
              <a:gd name="connsiteY4" fmla="*/ 0 h 242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1612" h="2421612">
                <a:moveTo>
                  <a:pt x="1210806" y="0"/>
                </a:moveTo>
                <a:cubicBezTo>
                  <a:pt x="1879516" y="0"/>
                  <a:pt x="2421612" y="542096"/>
                  <a:pt x="2421612" y="1210806"/>
                </a:cubicBezTo>
                <a:cubicBezTo>
                  <a:pt x="2421612" y="1879516"/>
                  <a:pt x="1879516" y="2421612"/>
                  <a:pt x="1210806" y="2421612"/>
                </a:cubicBezTo>
                <a:cubicBezTo>
                  <a:pt x="542096" y="2421612"/>
                  <a:pt x="0" y="1879516"/>
                  <a:pt x="0" y="1210806"/>
                </a:cubicBezTo>
                <a:cubicBezTo>
                  <a:pt x="0" y="542096"/>
                  <a:pt x="542096" y="0"/>
                  <a:pt x="1210806" y="0"/>
                </a:cubicBezTo>
                <a:close/>
              </a:path>
            </a:pathLst>
          </a:custGeom>
          <a:ln w="12700">
            <a:solidFill>
              <a:schemeClr val="accent5"/>
            </a:solidFill>
            <a:prstDash val="sysDot"/>
          </a:ln>
        </p:spPr>
        <p:txBody>
          <a:bodyPr wrap="square">
            <a:noAutofit/>
          </a:bodyPr>
          <a:lstStyle/>
          <a:p>
            <a:endParaRPr lang="en-DK" dirty="0"/>
          </a:p>
        </p:txBody>
      </p:sp>
      <p:sp>
        <p:nvSpPr>
          <p:cNvPr id="9" name="Title 19">
            <a:extLst>
              <a:ext uri="{FF2B5EF4-FFF2-40B4-BE49-F238E27FC236}">
                <a16:creationId xmlns:a16="http://schemas.microsoft.com/office/drawing/2014/main" id="{16C49CDF-6A51-4D1B-9B3B-675DCD91D298}"/>
              </a:ext>
            </a:extLst>
          </p:cNvPr>
          <p:cNvSpPr txBox="1">
            <a:spLocks/>
          </p:cNvSpPr>
          <p:nvPr userDrawn="1"/>
        </p:nvSpPr>
        <p:spPr>
          <a:xfrm>
            <a:off x="628650" y="1447163"/>
            <a:ext cx="7886700" cy="628631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685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r>
              <a:rPr lang="en-US" dirty="0"/>
              <a:t>Our Webinar Will Begin Soon</a:t>
            </a:r>
            <a:endParaRPr lang="en-DK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4852942-8CA9-4522-BE34-D4A64DCBE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18469" y="2071656"/>
            <a:ext cx="5707062" cy="7048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accent5"/>
                </a:solidFill>
              </a:defRPr>
            </a:lvl1pPr>
            <a:lvl2pPr marL="342900" indent="0">
              <a:buNone/>
              <a:defRPr>
                <a:solidFill>
                  <a:schemeClr val="accent5"/>
                </a:solidFill>
              </a:defRPr>
            </a:lvl2pPr>
            <a:lvl3pPr marL="685800" indent="0">
              <a:buNone/>
              <a:defRPr>
                <a:solidFill>
                  <a:schemeClr val="accent5"/>
                </a:solidFill>
              </a:defRPr>
            </a:lvl3pPr>
            <a:lvl4pPr marL="1028700" indent="0">
              <a:buNone/>
              <a:defRPr>
                <a:solidFill>
                  <a:schemeClr val="accent5"/>
                </a:solidFill>
              </a:defRPr>
            </a:lvl4pPr>
            <a:lvl5pPr marL="1371600" indent="0">
              <a:buNone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“Webinar Title”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9552417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FA4FAA4-CCBA-4E60-9EB5-3B1DAD2D57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4347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FA4FAA4-CCBA-4E60-9EB5-3B1DAD2D5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aphic 16">
            <a:extLst>
              <a:ext uri="{FF2B5EF4-FFF2-40B4-BE49-F238E27FC236}">
                <a16:creationId xmlns:a16="http://schemas.microsoft.com/office/drawing/2014/main" id="{6C03B38B-2383-0E41-82F0-545D7AA1C1D9}"/>
              </a:ext>
            </a:extLst>
          </p:cNvPr>
          <p:cNvSpPr/>
          <p:nvPr userDrawn="1"/>
        </p:nvSpPr>
        <p:spPr>
          <a:xfrm>
            <a:off x="4373563" y="109538"/>
            <a:ext cx="2933700" cy="5251450"/>
          </a:xfrm>
          <a:custGeom>
            <a:avLst/>
            <a:gdLst>
              <a:gd name="connsiteX0" fmla="*/ 1122127 w 5278128"/>
              <a:gd name="connsiteY0" fmla="*/ 4801553 h 4801552"/>
              <a:gd name="connsiteX1" fmla="*/ 4156024 w 5278128"/>
              <a:gd name="connsiteY1" fmla="*/ 4801553 h 4801552"/>
              <a:gd name="connsiteX2" fmla="*/ 5278128 w 5278128"/>
              <a:gd name="connsiteY2" fmla="*/ 2640578 h 4801552"/>
              <a:gd name="connsiteX3" fmla="*/ 2639073 w 5278128"/>
              <a:gd name="connsiteY3" fmla="*/ 0 h 4801552"/>
              <a:gd name="connsiteX4" fmla="*/ 0 w 5278128"/>
              <a:gd name="connsiteY4" fmla="*/ 2640578 h 4801552"/>
              <a:gd name="connsiteX5" fmla="*/ 1122127 w 5278128"/>
              <a:gd name="connsiteY5" fmla="*/ 4801553 h 4801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78128" h="4801552">
                <a:moveTo>
                  <a:pt x="1122127" y="4801553"/>
                </a:moveTo>
                <a:lnTo>
                  <a:pt x="4156024" y="4801553"/>
                </a:lnTo>
                <a:cubicBezTo>
                  <a:pt x="4834685" y="4323728"/>
                  <a:pt x="5278128" y="3533985"/>
                  <a:pt x="5278128" y="2640578"/>
                </a:cubicBezTo>
                <a:cubicBezTo>
                  <a:pt x="5278128" y="1182225"/>
                  <a:pt x="4096591" y="0"/>
                  <a:pt x="2639073" y="0"/>
                </a:cubicBezTo>
                <a:cubicBezTo>
                  <a:pt x="1181556" y="0"/>
                  <a:pt x="0" y="1182225"/>
                  <a:pt x="0" y="2640578"/>
                </a:cubicBezTo>
                <a:cubicBezTo>
                  <a:pt x="0" y="3533985"/>
                  <a:pt x="443461" y="4323728"/>
                  <a:pt x="1122127" y="4801553"/>
                </a:cubicBezTo>
                <a:close/>
              </a:path>
            </a:pathLst>
          </a:custGeom>
          <a:gradFill flip="none" rotWithShape="1">
            <a:gsLst>
              <a:gs pos="0">
                <a:srgbClr val="1F6898">
                  <a:alpha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16800000" scaled="0"/>
            <a:tileRect/>
          </a:gradFill>
          <a:ln w="4502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cxnSp>
        <p:nvCxnSpPr>
          <p:cNvPr id="7" name="Google Shape;44;p6">
            <a:extLst>
              <a:ext uri="{FF2B5EF4-FFF2-40B4-BE49-F238E27FC236}">
                <a16:creationId xmlns:a16="http://schemas.microsoft.com/office/drawing/2014/main" id="{CCFB723E-DA14-2844-B195-E348A4F19127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Google Shape;30;p4"/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3962419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3961664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3961664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4612640" y="2417"/>
            <a:ext cx="4541202" cy="5360689"/>
          </a:xfrm>
          <a:custGeom>
            <a:avLst/>
            <a:gdLst>
              <a:gd name="connsiteX0" fmla="*/ 588166 w 4652544"/>
              <a:gd name="connsiteY0" fmla="*/ 0 h 4945656"/>
              <a:gd name="connsiteX1" fmla="*/ 4642814 w 4652544"/>
              <a:gd name="connsiteY1" fmla="*/ 0 h 4945656"/>
              <a:gd name="connsiteX2" fmla="*/ 4652544 w 4652544"/>
              <a:gd name="connsiteY2" fmla="*/ 4945656 h 4945656"/>
              <a:gd name="connsiteX3" fmla="*/ 955205 w 4652544"/>
              <a:gd name="connsiteY3" fmla="*/ 4945656 h 4945656"/>
              <a:gd name="connsiteX4" fmla="*/ 786241 w 4652544"/>
              <a:gd name="connsiteY4" fmla="*/ 4695345 h 4945656"/>
              <a:gd name="connsiteX5" fmla="*/ 588166 w 4652544"/>
              <a:gd name="connsiteY5" fmla="*/ 0 h 4945656"/>
              <a:gd name="connsiteX0" fmla="*/ 588166 w 4657428"/>
              <a:gd name="connsiteY0" fmla="*/ 0 h 4948098"/>
              <a:gd name="connsiteX1" fmla="*/ 4642814 w 4657428"/>
              <a:gd name="connsiteY1" fmla="*/ 0 h 4948098"/>
              <a:gd name="connsiteX2" fmla="*/ 4657428 w 4657428"/>
              <a:gd name="connsiteY2" fmla="*/ 4948098 h 4948098"/>
              <a:gd name="connsiteX3" fmla="*/ 955205 w 4657428"/>
              <a:gd name="connsiteY3" fmla="*/ 4945656 h 4948098"/>
              <a:gd name="connsiteX4" fmla="*/ 786241 w 4657428"/>
              <a:gd name="connsiteY4" fmla="*/ 4695345 h 4948098"/>
              <a:gd name="connsiteX5" fmla="*/ 588166 w 4657428"/>
              <a:gd name="connsiteY5" fmla="*/ 0 h 4948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57428" h="4948098">
                <a:moveTo>
                  <a:pt x="588166" y="0"/>
                </a:moveTo>
                <a:lnTo>
                  <a:pt x="4642814" y="0"/>
                </a:lnTo>
                <a:cubicBezTo>
                  <a:pt x="4647685" y="1649366"/>
                  <a:pt x="4652557" y="3298732"/>
                  <a:pt x="4657428" y="4948098"/>
                </a:cubicBezTo>
                <a:lnTo>
                  <a:pt x="955205" y="4945656"/>
                </a:lnTo>
                <a:lnTo>
                  <a:pt x="786241" y="4695345"/>
                </a:lnTo>
                <a:cubicBezTo>
                  <a:pt x="-858738" y="2122275"/>
                  <a:pt x="588166" y="0"/>
                  <a:pt x="58816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85188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D555477-8C57-444D-A263-8CB085C9B8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349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D555477-8C57-444D-A263-8CB085C9B8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aphic 38">
            <a:extLst>
              <a:ext uri="{FF2B5EF4-FFF2-40B4-BE49-F238E27FC236}">
                <a16:creationId xmlns:a16="http://schemas.microsoft.com/office/drawing/2014/main" id="{16A9618C-5741-E342-AC9D-3BB864A090CD}"/>
              </a:ext>
            </a:extLst>
          </p:cNvPr>
          <p:cNvSpPr/>
          <p:nvPr userDrawn="1"/>
        </p:nvSpPr>
        <p:spPr>
          <a:xfrm>
            <a:off x="5848350" y="1474788"/>
            <a:ext cx="2778125" cy="3889375"/>
          </a:xfrm>
          <a:custGeom>
            <a:avLst/>
            <a:gdLst>
              <a:gd name="connsiteX0" fmla="*/ 0 w 3704496"/>
              <a:gd name="connsiteY0" fmla="*/ 4213696 h 4213695"/>
              <a:gd name="connsiteX1" fmla="*/ 1052824 w 3704496"/>
              <a:gd name="connsiteY1" fmla="*/ 0 h 4213695"/>
              <a:gd name="connsiteX2" fmla="*/ 3704497 w 3704496"/>
              <a:gd name="connsiteY2" fmla="*/ 0 h 4213695"/>
              <a:gd name="connsiteX3" fmla="*/ 3704497 w 3704496"/>
              <a:gd name="connsiteY3" fmla="*/ 4213696 h 4213695"/>
              <a:gd name="connsiteX4" fmla="*/ 0 w 3704496"/>
              <a:gd name="connsiteY4" fmla="*/ 4213696 h 421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4496" h="4213695">
                <a:moveTo>
                  <a:pt x="0" y="4213696"/>
                </a:moveTo>
                <a:lnTo>
                  <a:pt x="1052824" y="0"/>
                </a:lnTo>
                <a:lnTo>
                  <a:pt x="3704497" y="0"/>
                </a:lnTo>
                <a:lnTo>
                  <a:pt x="3704497" y="4213696"/>
                </a:lnTo>
                <a:lnTo>
                  <a:pt x="0" y="4213696"/>
                </a:lnTo>
                <a:close/>
              </a:path>
            </a:pathLst>
          </a:custGeom>
          <a:gradFill>
            <a:gsLst>
              <a:gs pos="0">
                <a:srgbClr val="1F6898">
                  <a:alpha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16800000" scaled="0"/>
          </a:gradFill>
          <a:ln w="5665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cxnSp>
        <p:nvCxnSpPr>
          <p:cNvPr id="7" name="Google Shape;44;p6">
            <a:extLst>
              <a:ext uri="{FF2B5EF4-FFF2-40B4-BE49-F238E27FC236}">
                <a16:creationId xmlns:a16="http://schemas.microsoft.com/office/drawing/2014/main" id="{769E93DA-8416-3D4A-859E-9655202C9C6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Picture Placeholder 59"/>
          <p:cNvSpPr>
            <a:spLocks noGrp="1"/>
          </p:cNvSpPr>
          <p:nvPr>
            <p:ph type="pic" sz="quarter" idx="15"/>
          </p:nvPr>
        </p:nvSpPr>
        <p:spPr>
          <a:xfrm>
            <a:off x="6074961" y="1477005"/>
            <a:ext cx="3069041" cy="3887363"/>
          </a:xfrm>
          <a:custGeom>
            <a:avLst/>
            <a:gdLst>
              <a:gd name="connsiteX0" fmla="*/ 751121 w 4092054"/>
              <a:gd name="connsiteY0" fmla="*/ 0 h 4664835"/>
              <a:gd name="connsiteX1" fmla="*/ 4092054 w 4092054"/>
              <a:gd name="connsiteY1" fmla="*/ 0 h 4664835"/>
              <a:gd name="connsiteX2" fmla="*/ 4092054 w 4092054"/>
              <a:gd name="connsiteY2" fmla="*/ 4664835 h 4664835"/>
              <a:gd name="connsiteX3" fmla="*/ 0 w 4092054"/>
              <a:gd name="connsiteY3" fmla="*/ 4664835 h 4664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2054" h="4664835">
                <a:moveTo>
                  <a:pt x="751121" y="0"/>
                </a:moveTo>
                <a:lnTo>
                  <a:pt x="4092054" y="0"/>
                </a:lnTo>
                <a:lnTo>
                  <a:pt x="4092054" y="4664835"/>
                </a:lnTo>
                <a:lnTo>
                  <a:pt x="0" y="466483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Google Shape;30;p4"/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5311200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5310188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5310188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8359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677CBB-AFEE-4201-9C7D-A4919C2D1D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7849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677CBB-AFEE-4201-9C7D-A4919C2D1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A71863-70A7-C542-BA48-7F7FF9B67E7B}"/>
              </a:ext>
            </a:extLst>
          </p:cNvPr>
          <p:cNvSpPr/>
          <p:nvPr userDrawn="1"/>
        </p:nvSpPr>
        <p:spPr>
          <a:xfrm>
            <a:off x="0" y="2989263"/>
            <a:ext cx="9144000" cy="2371725"/>
          </a:xfrm>
          <a:prstGeom prst="rect">
            <a:avLst/>
          </a:prstGeom>
          <a:solidFill>
            <a:srgbClr val="F5F5F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cxnSp>
        <p:nvCxnSpPr>
          <p:cNvPr id="5" name="Google Shape;39;p5">
            <a:extLst>
              <a:ext uri="{FF2B5EF4-FFF2-40B4-BE49-F238E27FC236}">
                <a16:creationId xmlns:a16="http://schemas.microsoft.com/office/drawing/2014/main" id="{CB4298F0-E17B-4B41-99DD-E1FDF216E936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1038225" y="4189413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Google Shape;37;p5"/>
          <p:cNvSpPr txBox="1">
            <a:spLocks noGrp="1"/>
          </p:cNvSpPr>
          <p:nvPr>
            <p:ph type="title"/>
          </p:nvPr>
        </p:nvSpPr>
        <p:spPr>
          <a:xfrm>
            <a:off x="956275" y="3276051"/>
            <a:ext cx="7570709" cy="830656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956275" y="4453299"/>
            <a:ext cx="2612315" cy="516553"/>
          </a:xfrm>
          <a:prstGeom prst="rect">
            <a:avLst/>
          </a:prstGeom>
        </p:spPr>
        <p:txBody>
          <a:bodyPr/>
          <a:lstStyle>
            <a:lvl1pPr marL="30000" indent="0"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13779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B77E5C4-5854-4F8B-9512-7D951E085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6466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B77E5C4-5854-4F8B-9512-7D951E085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8">
            <a:extLst>
              <a:ext uri="{FF2B5EF4-FFF2-40B4-BE49-F238E27FC236}">
                <a16:creationId xmlns:a16="http://schemas.microsoft.com/office/drawing/2014/main" id="{B69ABE89-3C1A-6845-8245-9BE32F0DF81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99075" y="1628775"/>
            <a:ext cx="3641725" cy="3171825"/>
          </a:xfrm>
          <a:prstGeom prst="rect">
            <a:avLst/>
          </a:prstGeom>
        </p:spPr>
      </p:pic>
      <p:cxnSp>
        <p:nvCxnSpPr>
          <p:cNvPr id="7" name="Google Shape;44;p6">
            <a:extLst>
              <a:ext uri="{FF2B5EF4-FFF2-40B4-BE49-F238E27FC236}">
                <a16:creationId xmlns:a16="http://schemas.microsoft.com/office/drawing/2014/main" id="{C0665BD1-1A81-184F-A207-500A5E4ECB6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Media Placeholder 9"/>
          <p:cNvSpPr>
            <a:spLocks noGrp="1"/>
          </p:cNvSpPr>
          <p:nvPr>
            <p:ph type="media" sz="quarter" idx="13"/>
          </p:nvPr>
        </p:nvSpPr>
        <p:spPr>
          <a:xfrm>
            <a:off x="5450066" y="1786411"/>
            <a:ext cx="3342707" cy="202476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media</a:t>
            </a:r>
            <a:endParaRPr lang="en-US" noProof="0" dirty="0"/>
          </a:p>
        </p:txBody>
      </p:sp>
      <p:cxnSp>
        <p:nvCxnSpPr>
          <p:cNvPr id="8" name="Google Shape;44;p6">
            <a:extLst>
              <a:ext uri="{FF2B5EF4-FFF2-40B4-BE49-F238E27FC236}">
                <a16:creationId xmlns:a16="http://schemas.microsoft.com/office/drawing/2014/main" id="{883EAD81-0560-2840-AD95-2C919E813941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Google Shape;30;p4">
            <a:extLst>
              <a:ext uri="{FF2B5EF4-FFF2-40B4-BE49-F238E27FC236}">
                <a16:creationId xmlns:a16="http://schemas.microsoft.com/office/drawing/2014/main" id="{7A2FB66C-7F21-CF4C-912A-008C6BE1B0A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5311200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439553B-FE38-CF4E-B17A-95052AB576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5310188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77903EC-231E-1C4B-8CD3-0B2AAB09AB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5310188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0821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CFB2FD-74D7-4387-ABAE-943FC8894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3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CFB2FD-74D7-4387-ABAE-943FC8894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199;p25">
            <a:extLst>
              <a:ext uri="{FF2B5EF4-FFF2-40B4-BE49-F238E27FC236}">
                <a16:creationId xmlns:a16="http://schemas.microsoft.com/office/drawing/2014/main" id="{089380D5-A088-1B4F-853C-9F26999D9DA5}"/>
              </a:ext>
            </a:extLst>
          </p:cNvPr>
          <p:cNvSpPr/>
          <p:nvPr userDrawn="1"/>
        </p:nvSpPr>
        <p:spPr>
          <a:xfrm flipH="1">
            <a:off x="0" y="0"/>
            <a:ext cx="4716463" cy="5715000"/>
          </a:xfrm>
          <a:prstGeom prst="rect">
            <a:avLst/>
          </a:prstGeom>
          <a:gradFill flip="none" rotWithShape="1">
            <a:gsLst>
              <a:gs pos="56000">
                <a:srgbClr val="5C97BA"/>
              </a:gs>
              <a:gs pos="0">
                <a:srgbClr val="9EC9DF"/>
              </a:gs>
              <a:gs pos="100000">
                <a:srgbClr val="1F6898"/>
              </a:gs>
            </a:gsLst>
            <a:lin ang="6600000" scaled="0"/>
            <a:tileRect/>
          </a:gradFill>
          <a:ln>
            <a:noFill/>
          </a:ln>
        </p:spPr>
        <p:txBody>
          <a:bodyPr spcFirstLastPara="1" lIns="76188" tIns="76188" rIns="76188" bIns="76188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170">
              <a:solidFill>
                <a:schemeClr val="lt1"/>
              </a:solidFill>
              <a:latin typeface="AvenirNext LT Pro Regular" panose="020B0504020202020204" pitchFamily="34" charset="77"/>
            </a:endParaRPr>
          </a:p>
        </p:txBody>
      </p:sp>
      <p:cxnSp>
        <p:nvCxnSpPr>
          <p:cNvPr id="8" name="Google Shape;44;p6">
            <a:extLst>
              <a:ext uri="{FF2B5EF4-FFF2-40B4-BE49-F238E27FC236}">
                <a16:creationId xmlns:a16="http://schemas.microsoft.com/office/drawing/2014/main" id="{FCCE2331-A0AE-6949-9723-18271F8809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9763" y="1866900"/>
            <a:ext cx="676275" cy="0"/>
          </a:xfrm>
          <a:prstGeom prst="straightConnector1">
            <a:avLst/>
          </a:prstGeom>
          <a:noFill/>
          <a:ln w="76200">
            <a:solidFill>
              <a:srgbClr val="A90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9C6632D6-9445-E04A-A0AE-7649DD8D897E}"/>
              </a:ext>
            </a:extLst>
          </p:cNvPr>
          <p:cNvSpPr>
            <a:spLocks/>
          </p:cNvSpPr>
          <p:nvPr userDrawn="1"/>
        </p:nvSpPr>
        <p:spPr>
          <a:xfrm rot="6883338">
            <a:off x="4032539" y="3579034"/>
            <a:ext cx="1440000" cy="1440000"/>
          </a:xfrm>
          <a:prstGeom prst="ellipse">
            <a:avLst/>
          </a:prstGeom>
          <a:blipFill>
            <a:blip r:embed="rId5"/>
            <a:stretch>
              <a:fillRect l="-3643" t="-31574" r="-154175" b="-12609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sp>
        <p:nvSpPr>
          <p:cNvPr id="10" name="Graphic 2">
            <a:extLst>
              <a:ext uri="{FF2B5EF4-FFF2-40B4-BE49-F238E27FC236}">
                <a16:creationId xmlns:a16="http://schemas.microsoft.com/office/drawing/2014/main" id="{79312A5D-97A8-EB43-81BA-234CB185FE4B}"/>
              </a:ext>
            </a:extLst>
          </p:cNvPr>
          <p:cNvSpPr/>
          <p:nvPr userDrawn="1"/>
        </p:nvSpPr>
        <p:spPr>
          <a:xfrm rot="10800000">
            <a:off x="1" y="3289711"/>
            <a:ext cx="2374490" cy="2425290"/>
          </a:xfrm>
          <a:custGeom>
            <a:avLst/>
            <a:gdLst>
              <a:gd name="connsiteX0" fmla="*/ 7445899 w 7445898"/>
              <a:gd name="connsiteY0" fmla="*/ 0 h 6858311"/>
              <a:gd name="connsiteX1" fmla="*/ 814055 w 7445898"/>
              <a:gd name="connsiteY1" fmla="*/ 0 h 6858311"/>
              <a:gd name="connsiteX2" fmla="*/ 691476 w 7445898"/>
              <a:gd name="connsiteY2" fmla="*/ 70046 h 6858311"/>
              <a:gd name="connsiteX3" fmla="*/ 69433 w 7445898"/>
              <a:gd name="connsiteY3" fmla="*/ 678643 h 6858311"/>
              <a:gd name="connsiteX4" fmla="*/ 14093 w 7445898"/>
              <a:gd name="connsiteY4" fmla="*/ 1220462 h 6858311"/>
              <a:gd name="connsiteX5" fmla="*/ 1196590 w 7445898"/>
              <a:gd name="connsiteY5" fmla="*/ 2436198 h 6858311"/>
              <a:gd name="connsiteX6" fmla="*/ 1916738 w 7445898"/>
              <a:gd name="connsiteY6" fmla="*/ 2482043 h 6858311"/>
              <a:gd name="connsiteX7" fmla="*/ 3150397 w 7445898"/>
              <a:gd name="connsiteY7" fmla="*/ 3091829 h 6858311"/>
              <a:gd name="connsiteX8" fmla="*/ 4012367 w 7445898"/>
              <a:gd name="connsiteY8" fmla="*/ 4723248 h 6858311"/>
              <a:gd name="connsiteX9" fmla="*/ 5068468 w 7445898"/>
              <a:gd name="connsiteY9" fmla="*/ 6225771 h 6858311"/>
              <a:gd name="connsiteX10" fmla="*/ 6762342 w 7445898"/>
              <a:gd name="connsiteY10" fmla="*/ 6855353 h 6858311"/>
              <a:gd name="connsiteX11" fmla="*/ 7445899 w 7445898"/>
              <a:gd name="connsiteY11" fmla="*/ 6675706 h 685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45898" h="6858311">
                <a:moveTo>
                  <a:pt x="7445899" y="0"/>
                </a:moveTo>
                <a:lnTo>
                  <a:pt x="814055" y="0"/>
                </a:lnTo>
                <a:cubicBezTo>
                  <a:pt x="772956" y="22780"/>
                  <a:pt x="732096" y="46129"/>
                  <a:pt x="691476" y="70046"/>
                </a:cubicBezTo>
                <a:cubicBezTo>
                  <a:pt x="437089" y="220054"/>
                  <a:pt x="183450" y="406335"/>
                  <a:pt x="69433" y="678643"/>
                </a:cubicBezTo>
                <a:cubicBezTo>
                  <a:pt x="2750" y="851036"/>
                  <a:pt x="-16363" y="1038163"/>
                  <a:pt x="14093" y="1220462"/>
                </a:cubicBezTo>
                <a:cubicBezTo>
                  <a:pt x="99251" y="1818761"/>
                  <a:pt x="600495" y="2334263"/>
                  <a:pt x="1196590" y="2436198"/>
                </a:cubicBezTo>
                <a:cubicBezTo>
                  <a:pt x="1433845" y="2476815"/>
                  <a:pt x="1677297" y="2457475"/>
                  <a:pt x="1916738" y="2482043"/>
                </a:cubicBezTo>
                <a:cubicBezTo>
                  <a:pt x="2387473" y="2532139"/>
                  <a:pt x="2824896" y="2748353"/>
                  <a:pt x="3150397" y="3091829"/>
                </a:cubicBezTo>
                <a:cubicBezTo>
                  <a:pt x="3574268" y="3542460"/>
                  <a:pt x="3759732" y="4158656"/>
                  <a:pt x="4012367" y="4723248"/>
                </a:cubicBezTo>
                <a:cubicBezTo>
                  <a:pt x="4264419" y="5286494"/>
                  <a:pt x="4600948" y="5822741"/>
                  <a:pt x="5068468" y="6225771"/>
                </a:cubicBezTo>
                <a:cubicBezTo>
                  <a:pt x="5535988" y="6628800"/>
                  <a:pt x="6145756" y="6889261"/>
                  <a:pt x="6762342" y="6855353"/>
                </a:cubicBezTo>
                <a:cubicBezTo>
                  <a:pt x="7023697" y="6841023"/>
                  <a:pt x="7248596" y="6776961"/>
                  <a:pt x="7445899" y="6675706"/>
                </a:cubicBezTo>
                <a:close/>
              </a:path>
            </a:pathLst>
          </a:custGeom>
          <a:gradFill flip="none" rotWithShape="1">
            <a:gsLst>
              <a:gs pos="65000">
                <a:srgbClr val="9EC9DF">
                  <a:alpha val="38000"/>
                </a:srgbClr>
              </a:gs>
              <a:gs pos="0">
                <a:srgbClr val="1F6898"/>
              </a:gs>
            </a:gsLst>
            <a:lin ang="5400000" scaled="1"/>
            <a:tileRect/>
          </a:gradFill>
          <a:ln w="7476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3411502-9AEF-184F-A517-C0052BDD2C7B}"/>
              </a:ext>
            </a:extLst>
          </p:cNvPr>
          <p:cNvSpPr/>
          <p:nvPr userDrawn="1"/>
        </p:nvSpPr>
        <p:spPr>
          <a:xfrm>
            <a:off x="4395788" y="1000125"/>
            <a:ext cx="719137" cy="719138"/>
          </a:xfrm>
          <a:prstGeom prst="ellipse">
            <a:avLst/>
          </a:prstGeom>
          <a:noFill/>
          <a:ln w="9525" cap="rnd">
            <a:solidFill>
              <a:srgbClr val="9EC9DF">
                <a:alpha val="42000"/>
              </a:srgbClr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8BEE14E-8AD0-AC49-AFEE-7C761E070505}"/>
              </a:ext>
            </a:extLst>
          </p:cNvPr>
          <p:cNvSpPr/>
          <p:nvPr userDrawn="1"/>
        </p:nvSpPr>
        <p:spPr>
          <a:xfrm>
            <a:off x="3090863" y="4764088"/>
            <a:ext cx="720725" cy="720725"/>
          </a:xfrm>
          <a:prstGeom prst="ellipse">
            <a:avLst/>
          </a:prstGeom>
          <a:noFill/>
          <a:ln w="9525" cap="rnd">
            <a:solidFill>
              <a:srgbClr val="9EC9DF">
                <a:alpha val="41000"/>
              </a:srgbClr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D4BFE04-5F0D-DA4B-94A5-221B140D4E66}"/>
              </a:ext>
            </a:extLst>
          </p:cNvPr>
          <p:cNvSpPr/>
          <p:nvPr userDrawn="1"/>
        </p:nvSpPr>
        <p:spPr>
          <a:xfrm>
            <a:off x="3451225" y="4135438"/>
            <a:ext cx="73025" cy="71437"/>
          </a:xfrm>
          <a:prstGeom prst="ellipse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Next LT Pro Regular" panose="020B0504020202020204" pitchFamily="34" charset="77"/>
            </a:endParaRPr>
          </a:p>
        </p:txBody>
      </p:sp>
      <p:sp>
        <p:nvSpPr>
          <p:cNvPr id="4" name="Google Shape;41;p6"/>
          <p:cNvSpPr txBox="1">
            <a:spLocks noGrp="1"/>
          </p:cNvSpPr>
          <p:nvPr>
            <p:ph type="title"/>
          </p:nvPr>
        </p:nvSpPr>
        <p:spPr>
          <a:xfrm>
            <a:off x="570046" y="1103607"/>
            <a:ext cx="3639489" cy="72072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333" b="1" i="0">
                <a:solidFill>
                  <a:schemeClr val="bg1"/>
                </a:solidFill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5" name="Google Shape;42;p6"/>
          <p:cNvSpPr txBox="1">
            <a:spLocks noGrp="1"/>
          </p:cNvSpPr>
          <p:nvPr>
            <p:ph type="subTitle" idx="1"/>
          </p:nvPr>
        </p:nvSpPr>
        <p:spPr>
          <a:xfrm>
            <a:off x="570047" y="2107459"/>
            <a:ext cx="2920800" cy="64233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lvl="0" rtl="0">
              <a:spcBef>
                <a:spcPts val="0"/>
              </a:spcBef>
              <a:spcAft>
                <a:spcPts val="0"/>
              </a:spcAft>
              <a:buNone/>
              <a:defRPr sz="1556" b="0" i="0">
                <a:solidFill>
                  <a:schemeClr val="bg1"/>
                </a:solidFill>
                <a:latin typeface="+mn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357563" y="1527606"/>
            <a:ext cx="4439129" cy="2784286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4377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5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5000" fill="hold"/>
                                        <p:tgtEl>
                                          <p:spTgt spid="9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6" presetClass="emp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5000" fill="hold"/>
                                        <p:tgtEl>
                                          <p:spTgt spid="13"/>
                                        </p:tgtEl>
                                      </p:cBhvr>
                                      <p:by x="66000" y="66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A1621DB-1F11-4740-B779-7846D0ED8721}"/>
              </a:ext>
            </a:extLst>
          </p:cNvPr>
          <p:cNvSpPr txBox="1"/>
          <p:nvPr userDrawn="1"/>
        </p:nvSpPr>
        <p:spPr>
          <a:xfrm>
            <a:off x="610336" y="1447799"/>
            <a:ext cx="17928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b="0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This is the Default Text box</a:t>
            </a:r>
          </a:p>
        </p:txBody>
      </p:sp>
    </p:spTree>
    <p:extLst>
      <p:ext uri="{BB962C8B-B14F-4D97-AF65-F5344CB8AC3E}">
        <p14:creationId xmlns:p14="http://schemas.microsoft.com/office/powerpoint/2010/main" val="40948756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F81E84-6B1E-4947-85D4-68DD214560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5017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F81E84-6B1E-4947-85D4-68DD214560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raphic 2">
            <a:extLst>
              <a:ext uri="{FF2B5EF4-FFF2-40B4-BE49-F238E27FC236}">
                <a16:creationId xmlns:a16="http://schemas.microsoft.com/office/drawing/2014/main" id="{EDBCBCE0-92AE-284B-893D-2E9229DE6483}"/>
              </a:ext>
            </a:extLst>
          </p:cNvPr>
          <p:cNvSpPr/>
          <p:nvPr userDrawn="1"/>
        </p:nvSpPr>
        <p:spPr>
          <a:xfrm rot="10800000">
            <a:off x="0" y="2928938"/>
            <a:ext cx="2374900" cy="2425700"/>
          </a:xfrm>
          <a:custGeom>
            <a:avLst/>
            <a:gdLst>
              <a:gd name="connsiteX0" fmla="*/ 7445899 w 7445898"/>
              <a:gd name="connsiteY0" fmla="*/ 0 h 6858311"/>
              <a:gd name="connsiteX1" fmla="*/ 814055 w 7445898"/>
              <a:gd name="connsiteY1" fmla="*/ 0 h 6858311"/>
              <a:gd name="connsiteX2" fmla="*/ 691476 w 7445898"/>
              <a:gd name="connsiteY2" fmla="*/ 70046 h 6858311"/>
              <a:gd name="connsiteX3" fmla="*/ 69433 w 7445898"/>
              <a:gd name="connsiteY3" fmla="*/ 678643 h 6858311"/>
              <a:gd name="connsiteX4" fmla="*/ 14093 w 7445898"/>
              <a:gd name="connsiteY4" fmla="*/ 1220462 h 6858311"/>
              <a:gd name="connsiteX5" fmla="*/ 1196590 w 7445898"/>
              <a:gd name="connsiteY5" fmla="*/ 2436198 h 6858311"/>
              <a:gd name="connsiteX6" fmla="*/ 1916738 w 7445898"/>
              <a:gd name="connsiteY6" fmla="*/ 2482043 h 6858311"/>
              <a:gd name="connsiteX7" fmla="*/ 3150397 w 7445898"/>
              <a:gd name="connsiteY7" fmla="*/ 3091829 h 6858311"/>
              <a:gd name="connsiteX8" fmla="*/ 4012367 w 7445898"/>
              <a:gd name="connsiteY8" fmla="*/ 4723248 h 6858311"/>
              <a:gd name="connsiteX9" fmla="*/ 5068468 w 7445898"/>
              <a:gd name="connsiteY9" fmla="*/ 6225771 h 6858311"/>
              <a:gd name="connsiteX10" fmla="*/ 6762342 w 7445898"/>
              <a:gd name="connsiteY10" fmla="*/ 6855353 h 6858311"/>
              <a:gd name="connsiteX11" fmla="*/ 7445899 w 7445898"/>
              <a:gd name="connsiteY11" fmla="*/ 6675706 h 685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45898" h="6858311">
                <a:moveTo>
                  <a:pt x="7445899" y="0"/>
                </a:moveTo>
                <a:lnTo>
                  <a:pt x="814055" y="0"/>
                </a:lnTo>
                <a:cubicBezTo>
                  <a:pt x="772956" y="22780"/>
                  <a:pt x="732096" y="46129"/>
                  <a:pt x="691476" y="70046"/>
                </a:cubicBezTo>
                <a:cubicBezTo>
                  <a:pt x="437089" y="220054"/>
                  <a:pt x="183450" y="406335"/>
                  <a:pt x="69433" y="678643"/>
                </a:cubicBezTo>
                <a:cubicBezTo>
                  <a:pt x="2750" y="851036"/>
                  <a:pt x="-16363" y="1038163"/>
                  <a:pt x="14093" y="1220462"/>
                </a:cubicBezTo>
                <a:cubicBezTo>
                  <a:pt x="99251" y="1818761"/>
                  <a:pt x="600495" y="2334263"/>
                  <a:pt x="1196590" y="2436198"/>
                </a:cubicBezTo>
                <a:cubicBezTo>
                  <a:pt x="1433845" y="2476815"/>
                  <a:pt x="1677297" y="2457475"/>
                  <a:pt x="1916738" y="2482043"/>
                </a:cubicBezTo>
                <a:cubicBezTo>
                  <a:pt x="2387473" y="2532139"/>
                  <a:pt x="2824896" y="2748353"/>
                  <a:pt x="3150397" y="3091829"/>
                </a:cubicBezTo>
                <a:cubicBezTo>
                  <a:pt x="3574268" y="3542460"/>
                  <a:pt x="3759732" y="4158656"/>
                  <a:pt x="4012367" y="4723248"/>
                </a:cubicBezTo>
                <a:cubicBezTo>
                  <a:pt x="4264419" y="5286494"/>
                  <a:pt x="4600948" y="5822741"/>
                  <a:pt x="5068468" y="6225771"/>
                </a:cubicBezTo>
                <a:cubicBezTo>
                  <a:pt x="5535988" y="6628800"/>
                  <a:pt x="6145756" y="6889261"/>
                  <a:pt x="6762342" y="6855353"/>
                </a:cubicBezTo>
                <a:cubicBezTo>
                  <a:pt x="7023697" y="6841023"/>
                  <a:pt x="7248596" y="6776961"/>
                  <a:pt x="7445899" y="6675706"/>
                </a:cubicBezTo>
                <a:close/>
              </a:path>
            </a:pathLst>
          </a:custGeom>
          <a:gradFill flip="none" rotWithShape="1">
            <a:gsLst>
              <a:gs pos="0">
                <a:srgbClr val="9EC9DF">
                  <a:alpha val="38000"/>
                </a:srgbClr>
              </a:gs>
              <a:gs pos="100000">
                <a:srgbClr val="1F6898">
                  <a:alpha val="46000"/>
                </a:srgbClr>
              </a:gs>
            </a:gsLst>
            <a:lin ang="5400000" scaled="1"/>
            <a:tileRect/>
          </a:gradFill>
          <a:ln w="7476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solidFill>
                <a:schemeClr val="bg1"/>
              </a:solidFill>
              <a:latin typeface="Avenir Next" panose="020B0503020202020204" pitchFamily="34" charset="0"/>
            </a:endParaRPr>
          </a:p>
        </p:txBody>
      </p:sp>
      <p:sp>
        <p:nvSpPr>
          <p:cNvPr id="6" name="Graphic 16">
            <a:extLst>
              <a:ext uri="{FF2B5EF4-FFF2-40B4-BE49-F238E27FC236}">
                <a16:creationId xmlns:a16="http://schemas.microsoft.com/office/drawing/2014/main" id="{8C098174-923F-6C47-BEF5-467C484F948D}"/>
              </a:ext>
            </a:extLst>
          </p:cNvPr>
          <p:cNvSpPr/>
          <p:nvPr userDrawn="1"/>
        </p:nvSpPr>
        <p:spPr>
          <a:xfrm>
            <a:off x="4373563" y="109538"/>
            <a:ext cx="2933700" cy="5251450"/>
          </a:xfrm>
          <a:custGeom>
            <a:avLst/>
            <a:gdLst>
              <a:gd name="connsiteX0" fmla="*/ 1122127 w 5278128"/>
              <a:gd name="connsiteY0" fmla="*/ 4801553 h 4801552"/>
              <a:gd name="connsiteX1" fmla="*/ 4156024 w 5278128"/>
              <a:gd name="connsiteY1" fmla="*/ 4801553 h 4801552"/>
              <a:gd name="connsiteX2" fmla="*/ 5278128 w 5278128"/>
              <a:gd name="connsiteY2" fmla="*/ 2640578 h 4801552"/>
              <a:gd name="connsiteX3" fmla="*/ 2639073 w 5278128"/>
              <a:gd name="connsiteY3" fmla="*/ 0 h 4801552"/>
              <a:gd name="connsiteX4" fmla="*/ 0 w 5278128"/>
              <a:gd name="connsiteY4" fmla="*/ 2640578 h 4801552"/>
              <a:gd name="connsiteX5" fmla="*/ 1122127 w 5278128"/>
              <a:gd name="connsiteY5" fmla="*/ 4801553 h 4801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78128" h="4801552">
                <a:moveTo>
                  <a:pt x="1122127" y="4801553"/>
                </a:moveTo>
                <a:lnTo>
                  <a:pt x="4156024" y="4801553"/>
                </a:lnTo>
                <a:cubicBezTo>
                  <a:pt x="4834685" y="4323728"/>
                  <a:pt x="5278128" y="3533985"/>
                  <a:pt x="5278128" y="2640578"/>
                </a:cubicBezTo>
                <a:cubicBezTo>
                  <a:pt x="5278128" y="1182225"/>
                  <a:pt x="4096591" y="0"/>
                  <a:pt x="2639073" y="0"/>
                </a:cubicBezTo>
                <a:cubicBezTo>
                  <a:pt x="1181556" y="0"/>
                  <a:pt x="0" y="1182225"/>
                  <a:pt x="0" y="2640578"/>
                </a:cubicBezTo>
                <a:cubicBezTo>
                  <a:pt x="0" y="3533985"/>
                  <a:pt x="443461" y="4323728"/>
                  <a:pt x="1122127" y="4801553"/>
                </a:cubicBezTo>
                <a:close/>
              </a:path>
            </a:pathLst>
          </a:custGeom>
          <a:gradFill flip="none" rotWithShape="1">
            <a:gsLst>
              <a:gs pos="0">
                <a:srgbClr val="1F6898">
                  <a:alpha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16800000" scaled="0"/>
            <a:tileRect/>
          </a:gradFill>
          <a:ln w="4502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solidFill>
                <a:schemeClr val="bg1"/>
              </a:solidFill>
              <a:latin typeface="Avenir Next" panose="020B0503020202020204" pitchFamily="34" charset="0"/>
            </a:endParaRPr>
          </a:p>
        </p:txBody>
      </p:sp>
      <p:cxnSp>
        <p:nvCxnSpPr>
          <p:cNvPr id="7" name="Google Shape;44;p6">
            <a:extLst>
              <a:ext uri="{FF2B5EF4-FFF2-40B4-BE49-F238E27FC236}">
                <a16:creationId xmlns:a16="http://schemas.microsoft.com/office/drawing/2014/main" id="{C361DA2F-D012-E24D-82D9-9FC9C19F10F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9763" y="2295525"/>
            <a:ext cx="676275" cy="0"/>
          </a:xfrm>
          <a:prstGeom prst="straightConnector1">
            <a:avLst/>
          </a:prstGeom>
          <a:noFill/>
          <a:ln w="76200">
            <a:solidFill>
              <a:srgbClr val="A90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4612641" y="2418"/>
            <a:ext cx="4531678" cy="5360689"/>
          </a:xfrm>
          <a:custGeom>
            <a:avLst/>
            <a:gdLst>
              <a:gd name="connsiteX0" fmla="*/ 588166 w 4652544"/>
              <a:gd name="connsiteY0" fmla="*/ 0 h 4945656"/>
              <a:gd name="connsiteX1" fmla="*/ 4642814 w 4652544"/>
              <a:gd name="connsiteY1" fmla="*/ 0 h 4945656"/>
              <a:gd name="connsiteX2" fmla="*/ 4652544 w 4652544"/>
              <a:gd name="connsiteY2" fmla="*/ 4945656 h 4945656"/>
              <a:gd name="connsiteX3" fmla="*/ 955205 w 4652544"/>
              <a:gd name="connsiteY3" fmla="*/ 4945656 h 4945656"/>
              <a:gd name="connsiteX4" fmla="*/ 786241 w 4652544"/>
              <a:gd name="connsiteY4" fmla="*/ 4695345 h 4945656"/>
              <a:gd name="connsiteX5" fmla="*/ 588166 w 4652544"/>
              <a:gd name="connsiteY5" fmla="*/ 0 h 4945656"/>
              <a:gd name="connsiteX0" fmla="*/ 588166 w 4642814"/>
              <a:gd name="connsiteY0" fmla="*/ 0 h 4945656"/>
              <a:gd name="connsiteX1" fmla="*/ 4642814 w 4642814"/>
              <a:gd name="connsiteY1" fmla="*/ 0 h 4945656"/>
              <a:gd name="connsiteX2" fmla="*/ 4464495 w 4642814"/>
              <a:gd name="connsiteY2" fmla="*/ 4818662 h 4945656"/>
              <a:gd name="connsiteX3" fmla="*/ 955205 w 4642814"/>
              <a:gd name="connsiteY3" fmla="*/ 4945656 h 4945656"/>
              <a:gd name="connsiteX4" fmla="*/ 786241 w 4642814"/>
              <a:gd name="connsiteY4" fmla="*/ 4695345 h 4945656"/>
              <a:gd name="connsiteX5" fmla="*/ 588166 w 4642814"/>
              <a:gd name="connsiteY5" fmla="*/ 0 h 4945656"/>
              <a:gd name="connsiteX0" fmla="*/ 588166 w 4647660"/>
              <a:gd name="connsiteY0" fmla="*/ 0 h 4945656"/>
              <a:gd name="connsiteX1" fmla="*/ 4642814 w 4647660"/>
              <a:gd name="connsiteY1" fmla="*/ 0 h 4945656"/>
              <a:gd name="connsiteX2" fmla="*/ 4647660 w 4647660"/>
              <a:gd name="connsiteY2" fmla="*/ 4945656 h 4945656"/>
              <a:gd name="connsiteX3" fmla="*/ 955205 w 4647660"/>
              <a:gd name="connsiteY3" fmla="*/ 4945656 h 4945656"/>
              <a:gd name="connsiteX4" fmla="*/ 786241 w 4647660"/>
              <a:gd name="connsiteY4" fmla="*/ 4695345 h 4945656"/>
              <a:gd name="connsiteX5" fmla="*/ 588166 w 4647660"/>
              <a:gd name="connsiteY5" fmla="*/ 0 h 4945656"/>
              <a:gd name="connsiteX0" fmla="*/ 588166 w 4647660"/>
              <a:gd name="connsiteY0" fmla="*/ 0 h 4948098"/>
              <a:gd name="connsiteX1" fmla="*/ 4642814 w 4647660"/>
              <a:gd name="connsiteY1" fmla="*/ 0 h 4948098"/>
              <a:gd name="connsiteX2" fmla="*/ 4647660 w 4647660"/>
              <a:gd name="connsiteY2" fmla="*/ 4948098 h 4948098"/>
              <a:gd name="connsiteX3" fmla="*/ 955205 w 4647660"/>
              <a:gd name="connsiteY3" fmla="*/ 4945656 h 4948098"/>
              <a:gd name="connsiteX4" fmla="*/ 786241 w 4647660"/>
              <a:gd name="connsiteY4" fmla="*/ 4695345 h 4948098"/>
              <a:gd name="connsiteX5" fmla="*/ 588166 w 4647660"/>
              <a:gd name="connsiteY5" fmla="*/ 0 h 4948098"/>
              <a:gd name="connsiteX0" fmla="*/ 588166 w 4647660"/>
              <a:gd name="connsiteY0" fmla="*/ 0 h 4948099"/>
              <a:gd name="connsiteX1" fmla="*/ 4642814 w 4647660"/>
              <a:gd name="connsiteY1" fmla="*/ 0 h 4948099"/>
              <a:gd name="connsiteX2" fmla="*/ 4647660 w 4647660"/>
              <a:gd name="connsiteY2" fmla="*/ 4948098 h 4948099"/>
              <a:gd name="connsiteX3" fmla="*/ 957647 w 4647660"/>
              <a:gd name="connsiteY3" fmla="*/ 4948099 h 4948099"/>
              <a:gd name="connsiteX4" fmla="*/ 786241 w 4647660"/>
              <a:gd name="connsiteY4" fmla="*/ 4695345 h 4948099"/>
              <a:gd name="connsiteX5" fmla="*/ 588166 w 4647660"/>
              <a:gd name="connsiteY5" fmla="*/ 0 h 4948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47660" h="4948099">
                <a:moveTo>
                  <a:pt x="588166" y="0"/>
                </a:moveTo>
                <a:lnTo>
                  <a:pt x="4642814" y="0"/>
                </a:lnTo>
                <a:cubicBezTo>
                  <a:pt x="4644429" y="1648552"/>
                  <a:pt x="4646045" y="3299546"/>
                  <a:pt x="4647660" y="4948098"/>
                </a:cubicBezTo>
                <a:lnTo>
                  <a:pt x="957647" y="4948099"/>
                </a:lnTo>
                <a:lnTo>
                  <a:pt x="786241" y="4695345"/>
                </a:lnTo>
                <a:cubicBezTo>
                  <a:pt x="-858738" y="2122275"/>
                  <a:pt x="588166" y="0"/>
                  <a:pt x="58816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Google Shape;41;p6"/>
          <p:cNvSpPr txBox="1">
            <a:spLocks noGrp="1"/>
          </p:cNvSpPr>
          <p:nvPr>
            <p:ph type="title"/>
          </p:nvPr>
        </p:nvSpPr>
        <p:spPr>
          <a:xfrm>
            <a:off x="570046" y="1080651"/>
            <a:ext cx="3587995" cy="1098893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333" b="1" i="0">
                <a:solidFill>
                  <a:schemeClr val="bg1"/>
                </a:solidFill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1" name="Google Shape;42;p6"/>
          <p:cNvSpPr txBox="1">
            <a:spLocks noGrp="1"/>
          </p:cNvSpPr>
          <p:nvPr>
            <p:ph type="subTitle" idx="1"/>
          </p:nvPr>
        </p:nvSpPr>
        <p:spPr>
          <a:xfrm>
            <a:off x="570047" y="2536335"/>
            <a:ext cx="2920800" cy="64233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lvl="0" rtl="0">
              <a:spcBef>
                <a:spcPts val="0"/>
              </a:spcBef>
              <a:spcAft>
                <a:spcPts val="0"/>
              </a:spcAft>
              <a:buNone/>
              <a:defRPr sz="1556" b="0" i="0">
                <a:solidFill>
                  <a:schemeClr val="bg1"/>
                </a:solidFill>
                <a:latin typeface="+mn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572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C1CE86C-C1F0-4E6D-8DBF-60E0015A35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111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C1CE86C-C1F0-4E6D-8DBF-60E0015A35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aphic 2">
            <a:extLst>
              <a:ext uri="{FF2B5EF4-FFF2-40B4-BE49-F238E27FC236}">
                <a16:creationId xmlns:a16="http://schemas.microsoft.com/office/drawing/2014/main" id="{E82FEBF7-8B30-5241-AB57-E39FB4C14B18}"/>
              </a:ext>
            </a:extLst>
          </p:cNvPr>
          <p:cNvSpPr/>
          <p:nvPr userDrawn="1"/>
        </p:nvSpPr>
        <p:spPr>
          <a:xfrm>
            <a:off x="4845050" y="0"/>
            <a:ext cx="4298950" cy="3963988"/>
          </a:xfrm>
          <a:custGeom>
            <a:avLst/>
            <a:gdLst>
              <a:gd name="connsiteX0" fmla="*/ 7445899 w 7445898"/>
              <a:gd name="connsiteY0" fmla="*/ 0 h 6858311"/>
              <a:gd name="connsiteX1" fmla="*/ 814055 w 7445898"/>
              <a:gd name="connsiteY1" fmla="*/ 0 h 6858311"/>
              <a:gd name="connsiteX2" fmla="*/ 691476 w 7445898"/>
              <a:gd name="connsiteY2" fmla="*/ 70046 h 6858311"/>
              <a:gd name="connsiteX3" fmla="*/ 69433 w 7445898"/>
              <a:gd name="connsiteY3" fmla="*/ 678643 h 6858311"/>
              <a:gd name="connsiteX4" fmla="*/ 14093 w 7445898"/>
              <a:gd name="connsiteY4" fmla="*/ 1220462 h 6858311"/>
              <a:gd name="connsiteX5" fmla="*/ 1196590 w 7445898"/>
              <a:gd name="connsiteY5" fmla="*/ 2436198 h 6858311"/>
              <a:gd name="connsiteX6" fmla="*/ 1916738 w 7445898"/>
              <a:gd name="connsiteY6" fmla="*/ 2482043 h 6858311"/>
              <a:gd name="connsiteX7" fmla="*/ 3150397 w 7445898"/>
              <a:gd name="connsiteY7" fmla="*/ 3091829 h 6858311"/>
              <a:gd name="connsiteX8" fmla="*/ 4012367 w 7445898"/>
              <a:gd name="connsiteY8" fmla="*/ 4723248 h 6858311"/>
              <a:gd name="connsiteX9" fmla="*/ 5068468 w 7445898"/>
              <a:gd name="connsiteY9" fmla="*/ 6225771 h 6858311"/>
              <a:gd name="connsiteX10" fmla="*/ 6762342 w 7445898"/>
              <a:gd name="connsiteY10" fmla="*/ 6855353 h 6858311"/>
              <a:gd name="connsiteX11" fmla="*/ 7445899 w 7445898"/>
              <a:gd name="connsiteY11" fmla="*/ 6675706 h 685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45898" h="6858311">
                <a:moveTo>
                  <a:pt x="7445899" y="0"/>
                </a:moveTo>
                <a:lnTo>
                  <a:pt x="814055" y="0"/>
                </a:lnTo>
                <a:cubicBezTo>
                  <a:pt x="772956" y="22780"/>
                  <a:pt x="732096" y="46129"/>
                  <a:pt x="691476" y="70046"/>
                </a:cubicBezTo>
                <a:cubicBezTo>
                  <a:pt x="437089" y="220054"/>
                  <a:pt x="183450" y="406335"/>
                  <a:pt x="69433" y="678643"/>
                </a:cubicBezTo>
                <a:cubicBezTo>
                  <a:pt x="2750" y="851036"/>
                  <a:pt x="-16363" y="1038163"/>
                  <a:pt x="14093" y="1220462"/>
                </a:cubicBezTo>
                <a:cubicBezTo>
                  <a:pt x="99251" y="1818761"/>
                  <a:pt x="600495" y="2334263"/>
                  <a:pt x="1196590" y="2436198"/>
                </a:cubicBezTo>
                <a:cubicBezTo>
                  <a:pt x="1433845" y="2476815"/>
                  <a:pt x="1677297" y="2457475"/>
                  <a:pt x="1916738" y="2482043"/>
                </a:cubicBezTo>
                <a:cubicBezTo>
                  <a:pt x="2387473" y="2532139"/>
                  <a:pt x="2824896" y="2748353"/>
                  <a:pt x="3150397" y="3091829"/>
                </a:cubicBezTo>
                <a:cubicBezTo>
                  <a:pt x="3574268" y="3542460"/>
                  <a:pt x="3759732" y="4158656"/>
                  <a:pt x="4012367" y="4723248"/>
                </a:cubicBezTo>
                <a:cubicBezTo>
                  <a:pt x="4264419" y="5286494"/>
                  <a:pt x="4600948" y="5822741"/>
                  <a:pt x="5068468" y="6225771"/>
                </a:cubicBezTo>
                <a:cubicBezTo>
                  <a:pt x="5535988" y="6628800"/>
                  <a:pt x="6145756" y="6889261"/>
                  <a:pt x="6762342" y="6855353"/>
                </a:cubicBezTo>
                <a:cubicBezTo>
                  <a:pt x="7023697" y="6841023"/>
                  <a:pt x="7248596" y="6776961"/>
                  <a:pt x="7445899" y="6675706"/>
                </a:cubicBezTo>
                <a:close/>
              </a:path>
            </a:pathLst>
          </a:custGeom>
          <a:gradFill>
            <a:gsLst>
              <a:gs pos="0">
                <a:srgbClr val="9EC9DF"/>
              </a:gs>
              <a:gs pos="100000">
                <a:srgbClr val="1F6898"/>
              </a:gs>
            </a:gsLst>
            <a:lin ang="0" scaled="0"/>
          </a:gradFill>
          <a:ln w="7476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solidFill>
                <a:schemeClr val="bg1"/>
              </a:solidFill>
              <a:latin typeface="Avenir Next" panose="020B0503020202020204" pitchFamily="34" charset="0"/>
            </a:endParaRPr>
          </a:p>
        </p:txBody>
      </p:sp>
      <p:sp>
        <p:nvSpPr>
          <p:cNvPr id="9" name="Graphic 2">
            <a:extLst>
              <a:ext uri="{FF2B5EF4-FFF2-40B4-BE49-F238E27FC236}">
                <a16:creationId xmlns:a16="http://schemas.microsoft.com/office/drawing/2014/main" id="{53ED568B-E352-8A4B-8192-6693A71F34E3}"/>
              </a:ext>
            </a:extLst>
          </p:cNvPr>
          <p:cNvSpPr/>
          <p:nvPr userDrawn="1"/>
        </p:nvSpPr>
        <p:spPr>
          <a:xfrm rot="10800000">
            <a:off x="0" y="2928938"/>
            <a:ext cx="2374900" cy="2425700"/>
          </a:xfrm>
          <a:custGeom>
            <a:avLst/>
            <a:gdLst>
              <a:gd name="connsiteX0" fmla="*/ 7445899 w 7445898"/>
              <a:gd name="connsiteY0" fmla="*/ 0 h 6858311"/>
              <a:gd name="connsiteX1" fmla="*/ 814055 w 7445898"/>
              <a:gd name="connsiteY1" fmla="*/ 0 h 6858311"/>
              <a:gd name="connsiteX2" fmla="*/ 691476 w 7445898"/>
              <a:gd name="connsiteY2" fmla="*/ 70046 h 6858311"/>
              <a:gd name="connsiteX3" fmla="*/ 69433 w 7445898"/>
              <a:gd name="connsiteY3" fmla="*/ 678643 h 6858311"/>
              <a:gd name="connsiteX4" fmla="*/ 14093 w 7445898"/>
              <a:gd name="connsiteY4" fmla="*/ 1220462 h 6858311"/>
              <a:gd name="connsiteX5" fmla="*/ 1196590 w 7445898"/>
              <a:gd name="connsiteY5" fmla="*/ 2436198 h 6858311"/>
              <a:gd name="connsiteX6" fmla="*/ 1916738 w 7445898"/>
              <a:gd name="connsiteY6" fmla="*/ 2482043 h 6858311"/>
              <a:gd name="connsiteX7" fmla="*/ 3150397 w 7445898"/>
              <a:gd name="connsiteY7" fmla="*/ 3091829 h 6858311"/>
              <a:gd name="connsiteX8" fmla="*/ 4012367 w 7445898"/>
              <a:gd name="connsiteY8" fmla="*/ 4723248 h 6858311"/>
              <a:gd name="connsiteX9" fmla="*/ 5068468 w 7445898"/>
              <a:gd name="connsiteY9" fmla="*/ 6225771 h 6858311"/>
              <a:gd name="connsiteX10" fmla="*/ 6762342 w 7445898"/>
              <a:gd name="connsiteY10" fmla="*/ 6855353 h 6858311"/>
              <a:gd name="connsiteX11" fmla="*/ 7445899 w 7445898"/>
              <a:gd name="connsiteY11" fmla="*/ 6675706 h 685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45898" h="6858311">
                <a:moveTo>
                  <a:pt x="7445899" y="0"/>
                </a:moveTo>
                <a:lnTo>
                  <a:pt x="814055" y="0"/>
                </a:lnTo>
                <a:cubicBezTo>
                  <a:pt x="772956" y="22780"/>
                  <a:pt x="732096" y="46129"/>
                  <a:pt x="691476" y="70046"/>
                </a:cubicBezTo>
                <a:cubicBezTo>
                  <a:pt x="437089" y="220054"/>
                  <a:pt x="183450" y="406335"/>
                  <a:pt x="69433" y="678643"/>
                </a:cubicBezTo>
                <a:cubicBezTo>
                  <a:pt x="2750" y="851036"/>
                  <a:pt x="-16363" y="1038163"/>
                  <a:pt x="14093" y="1220462"/>
                </a:cubicBezTo>
                <a:cubicBezTo>
                  <a:pt x="99251" y="1818761"/>
                  <a:pt x="600495" y="2334263"/>
                  <a:pt x="1196590" y="2436198"/>
                </a:cubicBezTo>
                <a:cubicBezTo>
                  <a:pt x="1433845" y="2476815"/>
                  <a:pt x="1677297" y="2457475"/>
                  <a:pt x="1916738" y="2482043"/>
                </a:cubicBezTo>
                <a:cubicBezTo>
                  <a:pt x="2387473" y="2532139"/>
                  <a:pt x="2824896" y="2748353"/>
                  <a:pt x="3150397" y="3091829"/>
                </a:cubicBezTo>
                <a:cubicBezTo>
                  <a:pt x="3574268" y="3542460"/>
                  <a:pt x="3759732" y="4158656"/>
                  <a:pt x="4012367" y="4723248"/>
                </a:cubicBezTo>
                <a:cubicBezTo>
                  <a:pt x="4264419" y="5286494"/>
                  <a:pt x="4600948" y="5822741"/>
                  <a:pt x="5068468" y="6225771"/>
                </a:cubicBezTo>
                <a:cubicBezTo>
                  <a:pt x="5535988" y="6628800"/>
                  <a:pt x="6145756" y="6889261"/>
                  <a:pt x="6762342" y="6855353"/>
                </a:cubicBezTo>
                <a:cubicBezTo>
                  <a:pt x="7023697" y="6841023"/>
                  <a:pt x="7248596" y="6776961"/>
                  <a:pt x="7445899" y="6675706"/>
                </a:cubicBezTo>
                <a:close/>
              </a:path>
            </a:pathLst>
          </a:custGeom>
          <a:gradFill flip="none" rotWithShape="1">
            <a:gsLst>
              <a:gs pos="0">
                <a:srgbClr val="9EC9DF">
                  <a:alpha val="38000"/>
                </a:srgbClr>
              </a:gs>
              <a:gs pos="100000">
                <a:srgbClr val="1F6898">
                  <a:alpha val="46000"/>
                </a:srgbClr>
              </a:gs>
            </a:gsLst>
            <a:lin ang="5400000" scaled="1"/>
            <a:tileRect/>
          </a:gradFill>
          <a:ln w="7476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solidFill>
                <a:schemeClr val="bg1"/>
              </a:solidFill>
              <a:latin typeface="Avenir Next" panose="020B0503020202020204" pitchFamily="34" charset="0"/>
            </a:endParaRPr>
          </a:p>
        </p:txBody>
      </p:sp>
      <p:sp>
        <p:nvSpPr>
          <p:cNvPr id="7" name="Google Shape;124;p20"/>
          <p:cNvSpPr txBox="1">
            <a:spLocks noGrp="1"/>
          </p:cNvSpPr>
          <p:nvPr>
            <p:ph type="title"/>
          </p:nvPr>
        </p:nvSpPr>
        <p:spPr>
          <a:xfrm>
            <a:off x="2521825" y="1610333"/>
            <a:ext cx="4100400" cy="1647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000" b="1" i="0">
                <a:solidFill>
                  <a:schemeClr val="bg1"/>
                </a:solidFill>
                <a:latin typeface="+mj-lt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9pPr>
          </a:lstStyle>
          <a:p>
            <a:endParaRPr dirty="0"/>
          </a:p>
        </p:txBody>
      </p:sp>
      <p:sp>
        <p:nvSpPr>
          <p:cNvPr id="8" name="Google Shape;125;p20"/>
          <p:cNvSpPr txBox="1">
            <a:spLocks noGrp="1"/>
          </p:cNvSpPr>
          <p:nvPr>
            <p:ph type="subTitle" idx="1"/>
          </p:nvPr>
        </p:nvSpPr>
        <p:spPr>
          <a:xfrm>
            <a:off x="2656250" y="3257335"/>
            <a:ext cx="3831600" cy="84733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556" b="0" i="0">
                <a:solidFill>
                  <a:schemeClr val="bg1"/>
                </a:solidFill>
                <a:latin typeface="+mn-lt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9pPr>
          </a:lstStyle>
          <a:p>
            <a:endParaRPr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206375" y="3257550"/>
            <a:ext cx="2168525" cy="1793875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6731663" y="3347260"/>
            <a:ext cx="2168525" cy="1793875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 noProof="0"/>
          </a:p>
        </p:txBody>
      </p:sp>
      <p:grpSp>
        <p:nvGrpSpPr>
          <p:cNvPr id="55" name="Graphic 100">
            <a:extLst>
              <a:ext uri="{FF2B5EF4-FFF2-40B4-BE49-F238E27FC236}">
                <a16:creationId xmlns:a16="http://schemas.microsoft.com/office/drawing/2014/main" id="{9FF51FFB-4AB0-1843-922A-B477E9F940B4}"/>
              </a:ext>
            </a:extLst>
          </p:cNvPr>
          <p:cNvGrpSpPr/>
          <p:nvPr userDrawn="1"/>
        </p:nvGrpSpPr>
        <p:grpSpPr>
          <a:xfrm>
            <a:off x="7611200" y="284166"/>
            <a:ext cx="1112606" cy="739028"/>
            <a:chOff x="7611200" y="284166"/>
            <a:chExt cx="1112606" cy="739028"/>
          </a:xfrm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B271766A-F8F6-5543-A216-867A88525D8C}"/>
                </a:ext>
              </a:extLst>
            </p:cNvPr>
            <p:cNvSpPr/>
            <p:nvPr/>
          </p:nvSpPr>
          <p:spPr>
            <a:xfrm>
              <a:off x="8065090" y="981314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C873108A-4C19-6C46-A466-05B9871B63D0}"/>
                </a:ext>
              </a:extLst>
            </p:cNvPr>
            <p:cNvSpPr/>
            <p:nvPr/>
          </p:nvSpPr>
          <p:spPr>
            <a:xfrm>
              <a:off x="8065090" y="284175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 104">
              <a:extLst>
                <a:ext uri="{FF2B5EF4-FFF2-40B4-BE49-F238E27FC236}">
                  <a16:creationId xmlns:a16="http://schemas.microsoft.com/office/drawing/2014/main" id="{14AFCA75-00D5-C341-9441-2184CCB035CB}"/>
                </a:ext>
              </a:extLst>
            </p:cNvPr>
            <p:cNvSpPr/>
            <p:nvPr/>
          </p:nvSpPr>
          <p:spPr>
            <a:xfrm>
              <a:off x="7611200" y="284166"/>
              <a:ext cx="928953" cy="738998"/>
            </a:xfrm>
            <a:custGeom>
              <a:avLst/>
              <a:gdLst>
                <a:gd name="connsiteX0" fmla="*/ 835856 w 928953"/>
                <a:gd name="connsiteY0" fmla="*/ 129348 h 738998"/>
                <a:gd name="connsiteX1" fmla="*/ 928952 w 928953"/>
                <a:gd name="connsiteY1" fmla="*/ 373724 h 738998"/>
                <a:gd name="connsiteX2" fmla="*/ 687905 w 928953"/>
                <a:gd name="connsiteY2" fmla="*/ 707088 h 738998"/>
                <a:gd name="connsiteX3" fmla="*/ 422261 w 928953"/>
                <a:gd name="connsiteY3" fmla="*/ 738739 h 738998"/>
                <a:gd name="connsiteX4" fmla="*/ 59346 w 928953"/>
                <a:gd name="connsiteY4" fmla="*/ 566442 h 738998"/>
                <a:gd name="connsiteX5" fmla="*/ 36221 w 928953"/>
                <a:gd name="connsiteY5" fmla="*/ 210589 h 738998"/>
                <a:gd name="connsiteX6" fmla="*/ 317565 w 928953"/>
                <a:gd name="connsiteY6" fmla="*/ 11729 h 738998"/>
                <a:gd name="connsiteX7" fmla="*/ 681889 w 928953"/>
                <a:gd name="connsiteY7" fmla="*/ 31485 h 738998"/>
                <a:gd name="connsiteX8" fmla="*/ 835856 w 928953"/>
                <a:gd name="connsiteY8" fmla="*/ 129348 h 73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3" h="738998">
                  <a:moveTo>
                    <a:pt x="835856" y="129348"/>
                  </a:moveTo>
                  <a:cubicBezTo>
                    <a:pt x="896114" y="196814"/>
                    <a:pt x="929236" y="283759"/>
                    <a:pt x="928952" y="373724"/>
                  </a:cubicBezTo>
                  <a:cubicBezTo>
                    <a:pt x="925917" y="523314"/>
                    <a:pt x="830184" y="655711"/>
                    <a:pt x="687905" y="707088"/>
                  </a:cubicBezTo>
                  <a:cubicBezTo>
                    <a:pt x="605509" y="733926"/>
                    <a:pt x="513834" y="740469"/>
                    <a:pt x="422261" y="738739"/>
                  </a:cubicBezTo>
                  <a:cubicBezTo>
                    <a:pt x="276874" y="734728"/>
                    <a:pt x="140410" y="684838"/>
                    <a:pt x="59346" y="566442"/>
                  </a:cubicBezTo>
                  <a:cubicBezTo>
                    <a:pt x="-7731" y="467563"/>
                    <a:pt x="-21426" y="316651"/>
                    <a:pt x="36221" y="210589"/>
                  </a:cubicBezTo>
                  <a:cubicBezTo>
                    <a:pt x="85377" y="102522"/>
                    <a:pt x="197486" y="29968"/>
                    <a:pt x="317565" y="11729"/>
                  </a:cubicBezTo>
                  <a:cubicBezTo>
                    <a:pt x="438958" y="-8966"/>
                    <a:pt x="563521" y="-2211"/>
                    <a:pt x="681889" y="31485"/>
                  </a:cubicBezTo>
                  <a:cubicBezTo>
                    <a:pt x="740531" y="51203"/>
                    <a:pt x="793392" y="84802"/>
                    <a:pt x="835856" y="129348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A82649A4-FEDB-3F4A-A929-46A4EA42F0B2}"/>
                </a:ext>
              </a:extLst>
            </p:cNvPr>
            <p:cNvSpPr/>
            <p:nvPr/>
          </p:nvSpPr>
          <p:spPr>
            <a:xfrm>
              <a:off x="7648818" y="292586"/>
              <a:ext cx="513653" cy="722735"/>
            </a:xfrm>
            <a:custGeom>
              <a:avLst/>
              <a:gdLst>
                <a:gd name="connsiteX0" fmla="*/ 501893 w 513653"/>
                <a:gd name="connsiteY0" fmla="*/ 722736 h 722735"/>
                <a:gd name="connsiteX1" fmla="*/ 419052 w 513653"/>
                <a:gd name="connsiteY1" fmla="*/ 722736 h 722735"/>
                <a:gd name="connsiteX2" fmla="*/ 0 w 513653"/>
                <a:gd name="connsiteY2" fmla="*/ 361368 h 722735"/>
                <a:gd name="connsiteX3" fmla="*/ 419052 w 513653"/>
                <a:gd name="connsiteY3" fmla="*/ 0 h 722735"/>
                <a:gd name="connsiteX4" fmla="*/ 491524 w 513653"/>
                <a:gd name="connsiteY4" fmla="*/ 0 h 722735"/>
                <a:gd name="connsiteX5" fmla="*/ 497075 w 513653"/>
                <a:gd name="connsiteY5" fmla="*/ 6964 h 722735"/>
                <a:gd name="connsiteX6" fmla="*/ 491524 w 513653"/>
                <a:gd name="connsiteY6" fmla="*/ 12448 h 722735"/>
                <a:gd name="connsiteX7" fmla="*/ 82841 w 513653"/>
                <a:gd name="connsiteY7" fmla="*/ 361368 h 722735"/>
                <a:gd name="connsiteX8" fmla="*/ 491524 w 513653"/>
                <a:gd name="connsiteY8" fmla="*/ 710301 h 722735"/>
                <a:gd name="connsiteX9" fmla="*/ 502502 w 513653"/>
                <a:gd name="connsiteY9" fmla="*/ 710150 h 722735"/>
                <a:gd name="connsiteX10" fmla="*/ 507985 w 513653"/>
                <a:gd name="connsiteY10" fmla="*/ 710226 h 722735"/>
                <a:gd name="connsiteX11" fmla="*/ 513617 w 513653"/>
                <a:gd name="connsiteY11" fmla="*/ 717127 h 722735"/>
                <a:gd name="connsiteX12" fmla="*/ 508214 w 513653"/>
                <a:gd name="connsiteY12" fmla="*/ 722661 h 722735"/>
                <a:gd name="connsiteX13" fmla="*/ 501893 w 513653"/>
                <a:gd name="connsiteY13" fmla="*/ 722736 h 722735"/>
                <a:gd name="connsiteX14" fmla="*/ 372219 w 513653"/>
                <a:gd name="connsiteY14" fmla="*/ 14754 h 722735"/>
                <a:gd name="connsiteX15" fmla="*/ 12603 w 513653"/>
                <a:gd name="connsiteY15" fmla="*/ 361368 h 722735"/>
                <a:gd name="connsiteX16" fmla="*/ 372219 w 513653"/>
                <a:gd name="connsiteY16" fmla="*/ 707994 h 722735"/>
                <a:gd name="connsiteX17" fmla="*/ 70187 w 513653"/>
                <a:gd name="connsiteY17" fmla="*/ 361368 h 722735"/>
                <a:gd name="connsiteX18" fmla="*/ 372219 w 513653"/>
                <a:gd name="connsiteY18" fmla="*/ 14754 h 722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3653" h="722735">
                  <a:moveTo>
                    <a:pt x="501893" y="722736"/>
                  </a:moveTo>
                  <a:lnTo>
                    <a:pt x="419052" y="722736"/>
                  </a:lnTo>
                  <a:cubicBezTo>
                    <a:pt x="187981" y="722736"/>
                    <a:pt x="0" y="560679"/>
                    <a:pt x="0" y="361368"/>
                  </a:cubicBezTo>
                  <a:cubicBezTo>
                    <a:pt x="0" y="162056"/>
                    <a:pt x="187981" y="0"/>
                    <a:pt x="419052" y="0"/>
                  </a:cubicBezTo>
                  <a:lnTo>
                    <a:pt x="491524" y="0"/>
                  </a:lnTo>
                  <a:cubicBezTo>
                    <a:pt x="495004" y="409"/>
                    <a:pt x="497490" y="3527"/>
                    <a:pt x="497075" y="6964"/>
                  </a:cubicBezTo>
                  <a:cubicBezTo>
                    <a:pt x="496730" y="9839"/>
                    <a:pt x="494434" y="12106"/>
                    <a:pt x="491524" y="12448"/>
                  </a:cubicBezTo>
                  <a:cubicBezTo>
                    <a:pt x="266151" y="12448"/>
                    <a:pt x="82841" y="168976"/>
                    <a:pt x="82841" y="361368"/>
                  </a:cubicBezTo>
                  <a:cubicBezTo>
                    <a:pt x="82841" y="553760"/>
                    <a:pt x="266190" y="710301"/>
                    <a:pt x="491524" y="710301"/>
                  </a:cubicBezTo>
                  <a:cubicBezTo>
                    <a:pt x="495192" y="710301"/>
                    <a:pt x="498872" y="710301"/>
                    <a:pt x="502502" y="710150"/>
                  </a:cubicBezTo>
                  <a:cubicBezTo>
                    <a:pt x="504622" y="710213"/>
                    <a:pt x="506462" y="710326"/>
                    <a:pt x="507985" y="710226"/>
                  </a:cubicBezTo>
                  <a:cubicBezTo>
                    <a:pt x="511470" y="710595"/>
                    <a:pt x="513991" y="713685"/>
                    <a:pt x="513617" y="717127"/>
                  </a:cubicBezTo>
                  <a:cubicBezTo>
                    <a:pt x="513306" y="719974"/>
                    <a:pt x="511082" y="722252"/>
                    <a:pt x="508214" y="722661"/>
                  </a:cubicBezTo>
                  <a:cubicBezTo>
                    <a:pt x="506107" y="722736"/>
                    <a:pt x="504025" y="722736"/>
                    <a:pt x="501893" y="722736"/>
                  </a:cubicBezTo>
                  <a:close/>
                  <a:moveTo>
                    <a:pt x="372219" y="14754"/>
                  </a:moveTo>
                  <a:cubicBezTo>
                    <a:pt x="170086" y="34760"/>
                    <a:pt x="12603" y="182577"/>
                    <a:pt x="12603" y="361368"/>
                  </a:cubicBezTo>
                  <a:cubicBezTo>
                    <a:pt x="12603" y="540159"/>
                    <a:pt x="170098" y="687988"/>
                    <a:pt x="372219" y="707994"/>
                  </a:cubicBezTo>
                  <a:cubicBezTo>
                    <a:pt x="197818" y="663757"/>
                    <a:pt x="70187" y="525104"/>
                    <a:pt x="70187" y="361368"/>
                  </a:cubicBezTo>
                  <a:cubicBezTo>
                    <a:pt x="70187" y="197632"/>
                    <a:pt x="197818" y="58991"/>
                    <a:pt x="372219" y="147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 106">
              <a:extLst>
                <a:ext uri="{FF2B5EF4-FFF2-40B4-BE49-F238E27FC236}">
                  <a16:creationId xmlns:a16="http://schemas.microsoft.com/office/drawing/2014/main" id="{39C41067-5CB6-1641-B328-941C2B7CFFF0}"/>
                </a:ext>
              </a:extLst>
            </p:cNvPr>
            <p:cNvSpPr/>
            <p:nvPr/>
          </p:nvSpPr>
          <p:spPr>
            <a:xfrm>
              <a:off x="7725312" y="298816"/>
              <a:ext cx="426223" cy="710288"/>
            </a:xfrm>
            <a:custGeom>
              <a:avLst/>
              <a:gdLst>
                <a:gd name="connsiteX0" fmla="*/ 38 w 426223"/>
                <a:gd name="connsiteY0" fmla="*/ 355138 h 710288"/>
                <a:gd name="connsiteX1" fmla="*/ 415067 w 426223"/>
                <a:gd name="connsiteY1" fmla="*/ 710288 h 710288"/>
                <a:gd name="connsiteX2" fmla="*/ 426223 w 426223"/>
                <a:gd name="connsiteY2" fmla="*/ 710138 h 710288"/>
                <a:gd name="connsiteX3" fmla="*/ 22427 w 426223"/>
                <a:gd name="connsiteY3" fmla="*/ 355138 h 710288"/>
                <a:gd name="connsiteX4" fmla="*/ 426185 w 426223"/>
                <a:gd name="connsiteY4" fmla="*/ 125 h 710288"/>
                <a:gd name="connsiteX5" fmla="*/ 415029 w 426223"/>
                <a:gd name="connsiteY5" fmla="*/ 0 h 710288"/>
                <a:gd name="connsiteX6" fmla="*/ 0 w 426223"/>
                <a:gd name="connsiteY6" fmla="*/ 355138 h 71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223" h="710288">
                  <a:moveTo>
                    <a:pt x="38" y="355138"/>
                  </a:moveTo>
                  <a:cubicBezTo>
                    <a:pt x="38" y="551178"/>
                    <a:pt x="185951" y="710288"/>
                    <a:pt x="415067" y="710288"/>
                  </a:cubicBezTo>
                  <a:cubicBezTo>
                    <a:pt x="418798" y="710288"/>
                    <a:pt x="422530" y="710288"/>
                    <a:pt x="426223" y="710138"/>
                  </a:cubicBezTo>
                  <a:cubicBezTo>
                    <a:pt x="202323" y="705124"/>
                    <a:pt x="22427" y="547956"/>
                    <a:pt x="22427" y="355138"/>
                  </a:cubicBezTo>
                  <a:cubicBezTo>
                    <a:pt x="22427" y="162320"/>
                    <a:pt x="202285" y="5202"/>
                    <a:pt x="426185" y="125"/>
                  </a:cubicBezTo>
                  <a:cubicBezTo>
                    <a:pt x="422492" y="50"/>
                    <a:pt x="418760" y="0"/>
                    <a:pt x="415029" y="0"/>
                  </a:cubicBezTo>
                  <a:cubicBezTo>
                    <a:pt x="185951" y="0"/>
                    <a:pt x="0" y="159111"/>
                    <a:pt x="0" y="355138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7BF88B26-C2F5-E349-82AB-7C9D397DB6AC}"/>
                </a:ext>
              </a:extLst>
            </p:cNvPr>
            <p:cNvSpPr/>
            <p:nvPr/>
          </p:nvSpPr>
          <p:spPr>
            <a:xfrm>
              <a:off x="7722216" y="295708"/>
              <a:ext cx="429383" cy="716505"/>
            </a:xfrm>
            <a:custGeom>
              <a:avLst/>
              <a:gdLst>
                <a:gd name="connsiteX0" fmla="*/ 418164 w 429383"/>
                <a:gd name="connsiteY0" fmla="*/ 716506 h 716505"/>
                <a:gd name="connsiteX1" fmla="*/ 0 w 429383"/>
                <a:gd name="connsiteY1" fmla="*/ 360503 h 716505"/>
                <a:gd name="connsiteX2" fmla="*/ 0 w 429383"/>
                <a:gd name="connsiteY2" fmla="*/ 360503 h 716505"/>
                <a:gd name="connsiteX3" fmla="*/ 0 w 429383"/>
                <a:gd name="connsiteY3" fmla="*/ 358247 h 716505"/>
                <a:gd name="connsiteX4" fmla="*/ 418126 w 429383"/>
                <a:gd name="connsiteY4" fmla="*/ 0 h 716505"/>
                <a:gd name="connsiteX5" fmla="*/ 429345 w 429383"/>
                <a:gd name="connsiteY5" fmla="*/ 125 h 716505"/>
                <a:gd name="connsiteX6" fmla="*/ 429345 w 429383"/>
                <a:gd name="connsiteY6" fmla="*/ 6393 h 716505"/>
                <a:gd name="connsiteX7" fmla="*/ 145527 w 429383"/>
                <a:gd name="connsiteY7" fmla="*/ 112667 h 716505"/>
                <a:gd name="connsiteX8" fmla="*/ 28659 w 429383"/>
                <a:gd name="connsiteY8" fmla="*/ 358247 h 716505"/>
                <a:gd name="connsiteX9" fmla="*/ 145539 w 429383"/>
                <a:gd name="connsiteY9" fmla="*/ 603851 h 716505"/>
                <a:gd name="connsiteX10" fmla="*/ 429383 w 429383"/>
                <a:gd name="connsiteY10" fmla="*/ 710150 h 716505"/>
                <a:gd name="connsiteX11" fmla="*/ 429383 w 429383"/>
                <a:gd name="connsiteY11" fmla="*/ 716343 h 716505"/>
                <a:gd name="connsiteX12" fmla="*/ 418164 w 429383"/>
                <a:gd name="connsiteY12" fmla="*/ 716506 h 716505"/>
                <a:gd name="connsiteX13" fmla="*/ 6244 w 429383"/>
                <a:gd name="connsiteY13" fmla="*/ 356354 h 716505"/>
                <a:gd name="connsiteX14" fmla="*/ 6244 w 429383"/>
                <a:gd name="connsiteY14" fmla="*/ 358259 h 716505"/>
                <a:gd name="connsiteX15" fmla="*/ 294252 w 429383"/>
                <a:gd name="connsiteY15" fmla="*/ 694042 h 716505"/>
                <a:gd name="connsiteX16" fmla="*/ 141338 w 429383"/>
                <a:gd name="connsiteY16" fmla="*/ 608502 h 716505"/>
                <a:gd name="connsiteX17" fmla="*/ 22376 w 429383"/>
                <a:gd name="connsiteY17" fmla="*/ 358247 h 716505"/>
                <a:gd name="connsiteX18" fmla="*/ 141351 w 429383"/>
                <a:gd name="connsiteY18" fmla="*/ 108017 h 716505"/>
                <a:gd name="connsiteX19" fmla="*/ 294391 w 429383"/>
                <a:gd name="connsiteY19" fmla="*/ 22438 h 716505"/>
                <a:gd name="connsiteX20" fmla="*/ 6244 w 429383"/>
                <a:gd name="connsiteY20" fmla="*/ 356354 h 7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9383" h="716505">
                  <a:moveTo>
                    <a:pt x="418164" y="716506"/>
                  </a:moveTo>
                  <a:cubicBezTo>
                    <a:pt x="188438" y="716506"/>
                    <a:pt x="1409" y="557006"/>
                    <a:pt x="0" y="360503"/>
                  </a:cubicBezTo>
                  <a:lnTo>
                    <a:pt x="0" y="360503"/>
                  </a:lnTo>
                  <a:lnTo>
                    <a:pt x="0" y="358247"/>
                  </a:lnTo>
                  <a:cubicBezTo>
                    <a:pt x="-38" y="160715"/>
                    <a:pt x="187550" y="0"/>
                    <a:pt x="418126" y="0"/>
                  </a:cubicBezTo>
                  <a:cubicBezTo>
                    <a:pt x="421933" y="0"/>
                    <a:pt x="425627" y="0"/>
                    <a:pt x="429345" y="125"/>
                  </a:cubicBezTo>
                  <a:lnTo>
                    <a:pt x="429345" y="6393"/>
                  </a:lnTo>
                  <a:cubicBezTo>
                    <a:pt x="324993" y="7564"/>
                    <a:pt x="224437" y="45217"/>
                    <a:pt x="145527" y="112667"/>
                  </a:cubicBezTo>
                  <a:cubicBezTo>
                    <a:pt x="72436" y="173976"/>
                    <a:pt x="29812" y="263544"/>
                    <a:pt x="28659" y="358247"/>
                  </a:cubicBezTo>
                  <a:cubicBezTo>
                    <a:pt x="29815" y="452958"/>
                    <a:pt x="72442" y="542534"/>
                    <a:pt x="145539" y="603851"/>
                  </a:cubicBezTo>
                  <a:cubicBezTo>
                    <a:pt x="224451" y="671320"/>
                    <a:pt x="325018" y="708982"/>
                    <a:pt x="429383" y="710150"/>
                  </a:cubicBezTo>
                  <a:lnTo>
                    <a:pt x="429383" y="716343"/>
                  </a:lnTo>
                  <a:cubicBezTo>
                    <a:pt x="425715" y="716506"/>
                    <a:pt x="421933" y="716506"/>
                    <a:pt x="418164" y="716506"/>
                  </a:cubicBezTo>
                  <a:close/>
                  <a:moveTo>
                    <a:pt x="6244" y="356354"/>
                  </a:moveTo>
                  <a:lnTo>
                    <a:pt x="6244" y="358259"/>
                  </a:lnTo>
                  <a:cubicBezTo>
                    <a:pt x="6244" y="515515"/>
                    <a:pt x="127466" y="649003"/>
                    <a:pt x="294252" y="694042"/>
                  </a:cubicBezTo>
                  <a:cubicBezTo>
                    <a:pt x="237836" y="676287"/>
                    <a:pt x="185767" y="647159"/>
                    <a:pt x="141338" y="608502"/>
                  </a:cubicBezTo>
                  <a:cubicBezTo>
                    <a:pt x="66896" y="546008"/>
                    <a:pt x="23508" y="454733"/>
                    <a:pt x="22376" y="358247"/>
                  </a:cubicBezTo>
                  <a:cubicBezTo>
                    <a:pt x="23520" y="261766"/>
                    <a:pt x="66912" y="170503"/>
                    <a:pt x="141351" y="108017"/>
                  </a:cubicBezTo>
                  <a:cubicBezTo>
                    <a:pt x="185811" y="69329"/>
                    <a:pt x="237927" y="40186"/>
                    <a:pt x="294391" y="22438"/>
                  </a:cubicBezTo>
                  <a:cubicBezTo>
                    <a:pt x="128215" y="67264"/>
                    <a:pt x="7209" y="199901"/>
                    <a:pt x="6244" y="3563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 108">
              <a:extLst>
                <a:ext uri="{FF2B5EF4-FFF2-40B4-BE49-F238E27FC236}">
                  <a16:creationId xmlns:a16="http://schemas.microsoft.com/office/drawing/2014/main" id="{2DBC0D26-1274-DF49-A215-9D8E4086A50C}"/>
                </a:ext>
              </a:extLst>
            </p:cNvPr>
            <p:cNvSpPr/>
            <p:nvPr/>
          </p:nvSpPr>
          <p:spPr>
            <a:xfrm>
              <a:off x="7734489" y="466915"/>
              <a:ext cx="600154" cy="22200"/>
            </a:xfrm>
            <a:custGeom>
              <a:avLst/>
              <a:gdLst>
                <a:gd name="connsiteX0" fmla="*/ 600154 w 600154"/>
                <a:gd name="connsiteY0" fmla="*/ 11094 h 22200"/>
                <a:gd name="connsiteX1" fmla="*/ 300065 w 600154"/>
                <a:gd name="connsiteY1" fmla="*/ 22200 h 22200"/>
                <a:gd name="connsiteX2" fmla="*/ 0 w 600154"/>
                <a:gd name="connsiteY2" fmla="*/ 11094 h 22200"/>
                <a:gd name="connsiteX3" fmla="*/ 300065 w 600154"/>
                <a:gd name="connsiteY3" fmla="*/ 0 h 22200"/>
                <a:gd name="connsiteX4" fmla="*/ 600154 w 600154"/>
                <a:gd name="connsiteY4" fmla="*/ 11094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54" h="22200">
                  <a:moveTo>
                    <a:pt x="600154" y="11094"/>
                  </a:moveTo>
                  <a:cubicBezTo>
                    <a:pt x="600154" y="17198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94"/>
                  </a:cubicBezTo>
                  <a:cubicBezTo>
                    <a:pt x="0" y="5002"/>
                    <a:pt x="134434" y="0"/>
                    <a:pt x="300065" y="0"/>
                  </a:cubicBezTo>
                  <a:cubicBezTo>
                    <a:pt x="465695" y="0"/>
                    <a:pt x="600154" y="4964"/>
                    <a:pt x="600154" y="1109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F5025588-F1A6-AD41-BE08-23AB0B04B5EC}"/>
                </a:ext>
              </a:extLst>
            </p:cNvPr>
            <p:cNvSpPr/>
            <p:nvPr/>
          </p:nvSpPr>
          <p:spPr>
            <a:xfrm>
              <a:off x="7731341" y="463844"/>
              <a:ext cx="606437" cy="28405"/>
            </a:xfrm>
            <a:custGeom>
              <a:avLst/>
              <a:gdLst>
                <a:gd name="connsiteX0" fmla="*/ 303212 w 606437"/>
                <a:gd name="connsiteY0" fmla="*/ 28405 h 28405"/>
                <a:gd name="connsiteX1" fmla="*/ 90938 w 606437"/>
                <a:gd name="connsiteY1" fmla="*/ 25146 h 28405"/>
                <a:gd name="connsiteX2" fmla="*/ 0 w 606437"/>
                <a:gd name="connsiteY2" fmla="*/ 14203 h 28405"/>
                <a:gd name="connsiteX3" fmla="*/ 90951 w 606437"/>
                <a:gd name="connsiteY3" fmla="*/ 3272 h 28405"/>
                <a:gd name="connsiteX4" fmla="*/ 303212 w 606437"/>
                <a:gd name="connsiteY4" fmla="*/ 0 h 28405"/>
                <a:gd name="connsiteX5" fmla="*/ 515486 w 606437"/>
                <a:gd name="connsiteY5" fmla="*/ 3259 h 28405"/>
                <a:gd name="connsiteX6" fmla="*/ 606437 w 606437"/>
                <a:gd name="connsiteY6" fmla="*/ 14203 h 28405"/>
                <a:gd name="connsiteX7" fmla="*/ 515486 w 606437"/>
                <a:gd name="connsiteY7" fmla="*/ 25146 h 28405"/>
                <a:gd name="connsiteX8" fmla="*/ 303212 w 606437"/>
                <a:gd name="connsiteY8" fmla="*/ 28405 h 28405"/>
                <a:gd name="connsiteX9" fmla="*/ 14799 w 606437"/>
                <a:gd name="connsiteY9" fmla="*/ 14165 h 28405"/>
                <a:gd name="connsiteX10" fmla="*/ 303212 w 606437"/>
                <a:gd name="connsiteY10" fmla="*/ 22162 h 28405"/>
                <a:gd name="connsiteX11" fmla="*/ 591803 w 606437"/>
                <a:gd name="connsiteY11" fmla="*/ 14152 h 28405"/>
                <a:gd name="connsiteX12" fmla="*/ 303212 w 606437"/>
                <a:gd name="connsiteY12" fmla="*/ 6167 h 28405"/>
                <a:gd name="connsiteX13" fmla="*/ 14799 w 606437"/>
                <a:gd name="connsiteY13" fmla="*/ 14165 h 28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37" h="28405">
                  <a:moveTo>
                    <a:pt x="303212" y="28405"/>
                  </a:moveTo>
                  <a:cubicBezTo>
                    <a:pt x="223176" y="28405"/>
                    <a:pt x="147786" y="27252"/>
                    <a:pt x="90938" y="25146"/>
                  </a:cubicBezTo>
                  <a:cubicBezTo>
                    <a:pt x="0" y="21761"/>
                    <a:pt x="0" y="18088"/>
                    <a:pt x="0" y="14203"/>
                  </a:cubicBezTo>
                  <a:cubicBezTo>
                    <a:pt x="0" y="10317"/>
                    <a:pt x="0" y="6681"/>
                    <a:pt x="90951" y="3272"/>
                  </a:cubicBezTo>
                  <a:cubicBezTo>
                    <a:pt x="147786" y="1166"/>
                    <a:pt x="223164" y="0"/>
                    <a:pt x="303212" y="0"/>
                  </a:cubicBezTo>
                  <a:cubicBezTo>
                    <a:pt x="383261" y="0"/>
                    <a:pt x="458753" y="1166"/>
                    <a:pt x="515486" y="3259"/>
                  </a:cubicBezTo>
                  <a:cubicBezTo>
                    <a:pt x="606437" y="6619"/>
                    <a:pt x="606437" y="10304"/>
                    <a:pt x="606437" y="14203"/>
                  </a:cubicBezTo>
                  <a:cubicBezTo>
                    <a:pt x="606437" y="18101"/>
                    <a:pt x="606437" y="21724"/>
                    <a:pt x="515486" y="25146"/>
                  </a:cubicBezTo>
                  <a:cubicBezTo>
                    <a:pt x="458677" y="27214"/>
                    <a:pt x="383286" y="28405"/>
                    <a:pt x="303212" y="28405"/>
                  </a:cubicBezTo>
                  <a:close/>
                  <a:moveTo>
                    <a:pt x="14799" y="14165"/>
                  </a:moveTo>
                  <a:cubicBezTo>
                    <a:pt x="47455" y="18314"/>
                    <a:pt x="158028" y="22162"/>
                    <a:pt x="303212" y="22162"/>
                  </a:cubicBezTo>
                  <a:cubicBezTo>
                    <a:pt x="448650" y="22162"/>
                    <a:pt x="559337" y="18302"/>
                    <a:pt x="591803" y="14152"/>
                  </a:cubicBezTo>
                  <a:cubicBezTo>
                    <a:pt x="560073" y="10016"/>
                    <a:pt x="452978" y="6167"/>
                    <a:pt x="303212" y="6167"/>
                  </a:cubicBezTo>
                  <a:cubicBezTo>
                    <a:pt x="158016" y="6167"/>
                    <a:pt x="47455" y="10016"/>
                    <a:pt x="14799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A848AAFE-0E13-E544-908F-200E93BDCC5B}"/>
                </a:ext>
              </a:extLst>
            </p:cNvPr>
            <p:cNvSpPr/>
            <p:nvPr/>
          </p:nvSpPr>
          <p:spPr>
            <a:xfrm>
              <a:off x="7744744" y="835014"/>
              <a:ext cx="600116" cy="22200"/>
            </a:xfrm>
            <a:custGeom>
              <a:avLst/>
              <a:gdLst>
                <a:gd name="connsiteX0" fmla="*/ 600116 w 600116"/>
                <a:gd name="connsiteY0" fmla="*/ 11081 h 22200"/>
                <a:gd name="connsiteX1" fmla="*/ 300065 w 600116"/>
                <a:gd name="connsiteY1" fmla="*/ 22200 h 22200"/>
                <a:gd name="connsiteX2" fmla="*/ 0 w 600116"/>
                <a:gd name="connsiteY2" fmla="*/ 11081 h 22200"/>
                <a:gd name="connsiteX3" fmla="*/ 300065 w 600116"/>
                <a:gd name="connsiteY3" fmla="*/ 0 h 22200"/>
                <a:gd name="connsiteX4" fmla="*/ 600116 w 600116"/>
                <a:gd name="connsiteY4" fmla="*/ 11081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16" h="22200">
                  <a:moveTo>
                    <a:pt x="600116" y="11081"/>
                  </a:moveTo>
                  <a:cubicBezTo>
                    <a:pt x="600116" y="17236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81"/>
                  </a:cubicBezTo>
                  <a:cubicBezTo>
                    <a:pt x="0" y="4977"/>
                    <a:pt x="134434" y="0"/>
                    <a:pt x="300065" y="0"/>
                  </a:cubicBezTo>
                  <a:cubicBezTo>
                    <a:pt x="465695" y="0"/>
                    <a:pt x="600116" y="5014"/>
                    <a:pt x="600116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890C4341-3D96-984D-BEE3-07506F620EC5}"/>
                </a:ext>
              </a:extLst>
            </p:cNvPr>
            <p:cNvSpPr/>
            <p:nvPr/>
          </p:nvSpPr>
          <p:spPr>
            <a:xfrm>
              <a:off x="7741596" y="831918"/>
              <a:ext cx="606398" cy="28392"/>
            </a:xfrm>
            <a:custGeom>
              <a:avLst/>
              <a:gdLst>
                <a:gd name="connsiteX0" fmla="*/ 303212 w 606398"/>
                <a:gd name="connsiteY0" fmla="*/ 28393 h 28392"/>
                <a:gd name="connsiteX1" fmla="*/ 90938 w 606398"/>
                <a:gd name="connsiteY1" fmla="*/ 25121 h 28392"/>
                <a:gd name="connsiteX2" fmla="*/ 0 w 606398"/>
                <a:gd name="connsiteY2" fmla="*/ 14177 h 28392"/>
                <a:gd name="connsiteX3" fmla="*/ 90951 w 606398"/>
                <a:gd name="connsiteY3" fmla="*/ 3247 h 28392"/>
                <a:gd name="connsiteX4" fmla="*/ 303212 w 606398"/>
                <a:gd name="connsiteY4" fmla="*/ 0 h 28392"/>
                <a:gd name="connsiteX5" fmla="*/ 515473 w 606398"/>
                <a:gd name="connsiteY5" fmla="*/ 3259 h 28392"/>
                <a:gd name="connsiteX6" fmla="*/ 606399 w 606398"/>
                <a:gd name="connsiteY6" fmla="*/ 14177 h 28392"/>
                <a:gd name="connsiteX7" fmla="*/ 515473 w 606398"/>
                <a:gd name="connsiteY7" fmla="*/ 25146 h 28392"/>
                <a:gd name="connsiteX8" fmla="*/ 303212 w 606398"/>
                <a:gd name="connsiteY8" fmla="*/ 28393 h 28392"/>
                <a:gd name="connsiteX9" fmla="*/ 14672 w 606398"/>
                <a:gd name="connsiteY9" fmla="*/ 14165 h 28392"/>
                <a:gd name="connsiteX10" fmla="*/ 303212 w 606398"/>
                <a:gd name="connsiteY10" fmla="*/ 22200 h 28392"/>
                <a:gd name="connsiteX11" fmla="*/ 591740 w 606398"/>
                <a:gd name="connsiteY11" fmla="*/ 14203 h 28392"/>
                <a:gd name="connsiteX12" fmla="*/ 303212 w 606398"/>
                <a:gd name="connsiteY12" fmla="*/ 6192 h 28392"/>
                <a:gd name="connsiteX13" fmla="*/ 14672 w 606398"/>
                <a:gd name="connsiteY13" fmla="*/ 14165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398" h="28392">
                  <a:moveTo>
                    <a:pt x="303212" y="28393"/>
                  </a:moveTo>
                  <a:cubicBezTo>
                    <a:pt x="223138" y="28393"/>
                    <a:pt x="147760" y="27239"/>
                    <a:pt x="90938" y="25121"/>
                  </a:cubicBezTo>
                  <a:cubicBezTo>
                    <a:pt x="0" y="21749"/>
                    <a:pt x="0" y="18063"/>
                    <a:pt x="0" y="14177"/>
                  </a:cubicBezTo>
                  <a:cubicBezTo>
                    <a:pt x="0" y="10292"/>
                    <a:pt x="0" y="6656"/>
                    <a:pt x="90951" y="3247"/>
                  </a:cubicBezTo>
                  <a:cubicBezTo>
                    <a:pt x="147697" y="1153"/>
                    <a:pt x="223087" y="0"/>
                    <a:pt x="303212" y="0"/>
                  </a:cubicBezTo>
                  <a:cubicBezTo>
                    <a:pt x="383337" y="0"/>
                    <a:pt x="458600" y="1153"/>
                    <a:pt x="515473" y="3259"/>
                  </a:cubicBezTo>
                  <a:cubicBezTo>
                    <a:pt x="606399" y="6619"/>
                    <a:pt x="606399" y="10292"/>
                    <a:pt x="606399" y="14177"/>
                  </a:cubicBezTo>
                  <a:cubicBezTo>
                    <a:pt x="606399" y="18063"/>
                    <a:pt x="606399" y="21774"/>
                    <a:pt x="515473" y="25146"/>
                  </a:cubicBezTo>
                  <a:cubicBezTo>
                    <a:pt x="458804" y="27239"/>
                    <a:pt x="383426" y="28393"/>
                    <a:pt x="303212" y="28393"/>
                  </a:cubicBezTo>
                  <a:close/>
                  <a:moveTo>
                    <a:pt x="14672" y="14165"/>
                  </a:moveTo>
                  <a:cubicBezTo>
                    <a:pt x="47164" y="18327"/>
                    <a:pt x="157825" y="22200"/>
                    <a:pt x="303212" y="22200"/>
                  </a:cubicBezTo>
                  <a:cubicBezTo>
                    <a:pt x="452978" y="22200"/>
                    <a:pt x="559984" y="18339"/>
                    <a:pt x="591740" y="14203"/>
                  </a:cubicBezTo>
                  <a:cubicBezTo>
                    <a:pt x="559274" y="10053"/>
                    <a:pt x="448599" y="6192"/>
                    <a:pt x="303212" y="6192"/>
                  </a:cubicBezTo>
                  <a:cubicBezTo>
                    <a:pt x="153497" y="6192"/>
                    <a:pt x="46453" y="10066"/>
                    <a:pt x="14672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475ACACF-947C-D74F-A08D-13330E78FEA5}"/>
                </a:ext>
              </a:extLst>
            </p:cNvPr>
            <p:cNvSpPr/>
            <p:nvPr/>
          </p:nvSpPr>
          <p:spPr>
            <a:xfrm>
              <a:off x="7680662" y="649366"/>
              <a:ext cx="600141" cy="22187"/>
            </a:xfrm>
            <a:custGeom>
              <a:avLst/>
              <a:gdLst>
                <a:gd name="connsiteX0" fmla="*/ 600142 w 600141"/>
                <a:gd name="connsiteY0" fmla="*/ 11081 h 22187"/>
                <a:gd name="connsiteX1" fmla="*/ 300065 w 600141"/>
                <a:gd name="connsiteY1" fmla="*/ 22187 h 22187"/>
                <a:gd name="connsiteX2" fmla="*/ 0 w 600141"/>
                <a:gd name="connsiteY2" fmla="*/ 11081 h 22187"/>
                <a:gd name="connsiteX3" fmla="*/ 300065 w 600141"/>
                <a:gd name="connsiteY3" fmla="*/ 0 h 22187"/>
                <a:gd name="connsiteX4" fmla="*/ 600142 w 600141"/>
                <a:gd name="connsiteY4" fmla="*/ 11081 h 2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41" h="22187">
                  <a:moveTo>
                    <a:pt x="600142" y="11081"/>
                  </a:moveTo>
                  <a:cubicBezTo>
                    <a:pt x="600142" y="17211"/>
                    <a:pt x="465708" y="22187"/>
                    <a:pt x="300065" y="22187"/>
                  </a:cubicBezTo>
                  <a:cubicBezTo>
                    <a:pt x="134421" y="22187"/>
                    <a:pt x="0" y="17173"/>
                    <a:pt x="0" y="11081"/>
                  </a:cubicBezTo>
                  <a:cubicBezTo>
                    <a:pt x="0" y="4989"/>
                    <a:pt x="134434" y="0"/>
                    <a:pt x="300065" y="0"/>
                  </a:cubicBezTo>
                  <a:cubicBezTo>
                    <a:pt x="465695" y="0"/>
                    <a:pt x="600142" y="5014"/>
                    <a:pt x="600142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EE6B08DE-D55C-C94A-93E4-5C13256DA178}"/>
                </a:ext>
              </a:extLst>
            </p:cNvPr>
            <p:cNvSpPr/>
            <p:nvPr/>
          </p:nvSpPr>
          <p:spPr>
            <a:xfrm>
              <a:off x="7677514" y="646257"/>
              <a:ext cx="606424" cy="28392"/>
            </a:xfrm>
            <a:custGeom>
              <a:avLst/>
              <a:gdLst>
                <a:gd name="connsiteX0" fmla="*/ 303212 w 606424"/>
                <a:gd name="connsiteY0" fmla="*/ 28392 h 28392"/>
                <a:gd name="connsiteX1" fmla="*/ 90938 w 606424"/>
                <a:gd name="connsiteY1" fmla="*/ 25121 h 28392"/>
                <a:gd name="connsiteX2" fmla="*/ 0 w 606424"/>
                <a:gd name="connsiteY2" fmla="*/ 14190 h 28392"/>
                <a:gd name="connsiteX3" fmla="*/ 90951 w 606424"/>
                <a:gd name="connsiteY3" fmla="*/ 3259 h 28392"/>
                <a:gd name="connsiteX4" fmla="*/ 303212 w 606424"/>
                <a:gd name="connsiteY4" fmla="*/ 0 h 28392"/>
                <a:gd name="connsiteX5" fmla="*/ 515486 w 606424"/>
                <a:gd name="connsiteY5" fmla="*/ 3272 h 28392"/>
                <a:gd name="connsiteX6" fmla="*/ 606424 w 606424"/>
                <a:gd name="connsiteY6" fmla="*/ 14190 h 28392"/>
                <a:gd name="connsiteX7" fmla="*/ 515486 w 606424"/>
                <a:gd name="connsiteY7" fmla="*/ 25133 h 28392"/>
                <a:gd name="connsiteX8" fmla="*/ 303212 w 606424"/>
                <a:gd name="connsiteY8" fmla="*/ 28392 h 28392"/>
                <a:gd name="connsiteX9" fmla="*/ 14812 w 606424"/>
                <a:gd name="connsiteY9" fmla="*/ 14190 h 28392"/>
                <a:gd name="connsiteX10" fmla="*/ 303212 w 606424"/>
                <a:gd name="connsiteY10" fmla="*/ 22188 h 28392"/>
                <a:gd name="connsiteX11" fmla="*/ 591740 w 606424"/>
                <a:gd name="connsiteY11" fmla="*/ 14215 h 28392"/>
                <a:gd name="connsiteX12" fmla="*/ 303212 w 606424"/>
                <a:gd name="connsiteY12" fmla="*/ 6205 h 28392"/>
                <a:gd name="connsiteX13" fmla="*/ 14812 w 606424"/>
                <a:gd name="connsiteY13" fmla="*/ 14190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24" h="28392">
                  <a:moveTo>
                    <a:pt x="303212" y="28392"/>
                  </a:moveTo>
                  <a:cubicBezTo>
                    <a:pt x="223176" y="28392"/>
                    <a:pt x="147786" y="27227"/>
                    <a:pt x="90938" y="25121"/>
                  </a:cubicBezTo>
                  <a:cubicBezTo>
                    <a:pt x="0" y="21749"/>
                    <a:pt x="0" y="18076"/>
                    <a:pt x="0" y="14190"/>
                  </a:cubicBezTo>
                  <a:cubicBezTo>
                    <a:pt x="0" y="10304"/>
                    <a:pt x="0" y="6669"/>
                    <a:pt x="90951" y="3259"/>
                  </a:cubicBezTo>
                  <a:cubicBezTo>
                    <a:pt x="147748" y="1153"/>
                    <a:pt x="223138" y="0"/>
                    <a:pt x="303212" y="0"/>
                  </a:cubicBezTo>
                  <a:cubicBezTo>
                    <a:pt x="383286" y="0"/>
                    <a:pt x="458575" y="1166"/>
                    <a:pt x="515486" y="3272"/>
                  </a:cubicBezTo>
                  <a:cubicBezTo>
                    <a:pt x="606424" y="6644"/>
                    <a:pt x="606424" y="10304"/>
                    <a:pt x="606424" y="14190"/>
                  </a:cubicBezTo>
                  <a:cubicBezTo>
                    <a:pt x="606424" y="18076"/>
                    <a:pt x="606424" y="21774"/>
                    <a:pt x="515486" y="25133"/>
                  </a:cubicBezTo>
                  <a:cubicBezTo>
                    <a:pt x="458740" y="27239"/>
                    <a:pt x="383362" y="28392"/>
                    <a:pt x="303212" y="28392"/>
                  </a:cubicBezTo>
                  <a:close/>
                  <a:moveTo>
                    <a:pt x="14812" y="14190"/>
                  </a:moveTo>
                  <a:cubicBezTo>
                    <a:pt x="47481" y="18339"/>
                    <a:pt x="158041" y="22188"/>
                    <a:pt x="303212" y="22188"/>
                  </a:cubicBezTo>
                  <a:cubicBezTo>
                    <a:pt x="452914" y="22188"/>
                    <a:pt x="559933" y="18339"/>
                    <a:pt x="591740" y="14215"/>
                  </a:cubicBezTo>
                  <a:cubicBezTo>
                    <a:pt x="559210" y="10053"/>
                    <a:pt x="448561" y="6205"/>
                    <a:pt x="303212" y="6205"/>
                  </a:cubicBezTo>
                  <a:cubicBezTo>
                    <a:pt x="157863" y="6205"/>
                    <a:pt x="47481" y="10041"/>
                    <a:pt x="14812" y="1419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CF71F180-FDDE-6241-BF83-DD418E179248}"/>
                </a:ext>
              </a:extLst>
            </p:cNvPr>
            <p:cNvSpPr/>
            <p:nvPr/>
          </p:nvSpPr>
          <p:spPr>
            <a:xfrm>
              <a:off x="7794847" y="284166"/>
              <a:ext cx="928959" cy="738994"/>
            </a:xfrm>
            <a:custGeom>
              <a:avLst/>
              <a:gdLst>
                <a:gd name="connsiteX0" fmla="*/ 835862 w 928959"/>
                <a:gd name="connsiteY0" fmla="*/ 129348 h 738994"/>
                <a:gd name="connsiteX1" fmla="*/ 928958 w 928959"/>
                <a:gd name="connsiteY1" fmla="*/ 373724 h 738994"/>
                <a:gd name="connsiteX2" fmla="*/ 687886 w 928959"/>
                <a:gd name="connsiteY2" fmla="*/ 707075 h 738994"/>
                <a:gd name="connsiteX3" fmla="*/ 422255 w 928959"/>
                <a:gd name="connsiteY3" fmla="*/ 738739 h 738994"/>
                <a:gd name="connsiteX4" fmla="*/ 59340 w 928959"/>
                <a:gd name="connsiteY4" fmla="*/ 566442 h 738994"/>
                <a:gd name="connsiteX5" fmla="*/ 36227 w 928959"/>
                <a:gd name="connsiteY5" fmla="*/ 210589 h 738994"/>
                <a:gd name="connsiteX6" fmla="*/ 317571 w 928959"/>
                <a:gd name="connsiteY6" fmla="*/ 11729 h 738994"/>
                <a:gd name="connsiteX7" fmla="*/ 681946 w 928959"/>
                <a:gd name="connsiteY7" fmla="*/ 31485 h 738994"/>
                <a:gd name="connsiteX8" fmla="*/ 835862 w 928959"/>
                <a:gd name="connsiteY8" fmla="*/ 129348 h 73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9" h="738994">
                  <a:moveTo>
                    <a:pt x="835862" y="129348"/>
                  </a:moveTo>
                  <a:cubicBezTo>
                    <a:pt x="896115" y="196817"/>
                    <a:pt x="929237" y="283760"/>
                    <a:pt x="928958" y="373724"/>
                  </a:cubicBezTo>
                  <a:cubicBezTo>
                    <a:pt x="925921" y="523318"/>
                    <a:pt x="830175" y="655713"/>
                    <a:pt x="687886" y="707075"/>
                  </a:cubicBezTo>
                  <a:cubicBezTo>
                    <a:pt x="605502" y="733913"/>
                    <a:pt x="513828" y="740457"/>
                    <a:pt x="422255" y="738739"/>
                  </a:cubicBezTo>
                  <a:cubicBezTo>
                    <a:pt x="276855" y="734716"/>
                    <a:pt x="140403" y="684838"/>
                    <a:pt x="59340" y="566442"/>
                  </a:cubicBezTo>
                  <a:cubicBezTo>
                    <a:pt x="-7725" y="467563"/>
                    <a:pt x="-21432" y="316650"/>
                    <a:pt x="36227" y="210589"/>
                  </a:cubicBezTo>
                  <a:cubicBezTo>
                    <a:pt x="85422" y="102522"/>
                    <a:pt x="197479" y="29968"/>
                    <a:pt x="317571" y="11729"/>
                  </a:cubicBezTo>
                  <a:cubicBezTo>
                    <a:pt x="438981" y="-8966"/>
                    <a:pt x="563560" y="-2211"/>
                    <a:pt x="681946" y="31485"/>
                  </a:cubicBezTo>
                  <a:cubicBezTo>
                    <a:pt x="740568" y="51213"/>
                    <a:pt x="793411" y="84811"/>
                    <a:pt x="835862" y="129348"/>
                  </a:cubicBezTo>
                  <a:close/>
                </a:path>
              </a:pathLst>
            </a:custGeom>
            <a:solidFill>
              <a:srgbClr val="CA0538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F46A7005-4EF7-544A-88E4-5D12002AEF5D}"/>
                </a:ext>
              </a:extLst>
            </p:cNvPr>
            <p:cNvSpPr/>
            <p:nvPr/>
          </p:nvSpPr>
          <p:spPr>
            <a:xfrm>
              <a:off x="7833276" y="310649"/>
              <a:ext cx="674105" cy="476179"/>
            </a:xfrm>
            <a:custGeom>
              <a:avLst/>
              <a:gdLst>
                <a:gd name="connsiteX0" fmla="*/ 674105 w 674105"/>
                <a:gd name="connsiteY0" fmla="*/ 47259 h 476179"/>
                <a:gd name="connsiteX1" fmla="*/ 53199 w 674105"/>
                <a:gd name="connsiteY1" fmla="*/ 164301 h 476179"/>
                <a:gd name="connsiteX2" fmla="*/ 23043 w 674105"/>
                <a:gd name="connsiteY2" fmla="*/ 476180 h 476179"/>
                <a:gd name="connsiteX3" fmla="*/ 674105 w 674105"/>
                <a:gd name="connsiteY3" fmla="*/ 47259 h 47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4105" h="476179">
                  <a:moveTo>
                    <a:pt x="674105" y="47259"/>
                  </a:moveTo>
                  <a:cubicBezTo>
                    <a:pt x="674105" y="47259"/>
                    <a:pt x="245737" y="-115976"/>
                    <a:pt x="53199" y="164301"/>
                  </a:cubicBezTo>
                  <a:cubicBezTo>
                    <a:pt x="-45202" y="307555"/>
                    <a:pt x="23043" y="476180"/>
                    <a:pt x="23043" y="476180"/>
                  </a:cubicBezTo>
                  <a:cubicBezTo>
                    <a:pt x="23043" y="476180"/>
                    <a:pt x="9323" y="-76226"/>
                    <a:pt x="674105" y="47259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 116">
              <a:extLst>
                <a:ext uri="{FF2B5EF4-FFF2-40B4-BE49-F238E27FC236}">
                  <a16:creationId xmlns:a16="http://schemas.microsoft.com/office/drawing/2014/main" id="{D5F28A02-635F-344C-863F-935130290EBC}"/>
                </a:ext>
              </a:extLst>
            </p:cNvPr>
            <p:cNvSpPr/>
            <p:nvPr/>
          </p:nvSpPr>
          <p:spPr>
            <a:xfrm>
              <a:off x="7952138" y="416172"/>
              <a:ext cx="622117" cy="420341"/>
            </a:xfrm>
            <a:custGeom>
              <a:avLst/>
              <a:gdLst>
                <a:gd name="connsiteX0" fmla="*/ 244162 w 622117"/>
                <a:gd name="connsiteY0" fmla="*/ 5265 h 420341"/>
                <a:gd name="connsiteX1" fmla="*/ 190234 w 622117"/>
                <a:gd name="connsiteY1" fmla="*/ 115337 h 420341"/>
                <a:gd name="connsiteX2" fmla="*/ 166119 w 622117"/>
                <a:gd name="connsiteY2" fmla="*/ 372750 h 420341"/>
                <a:gd name="connsiteX3" fmla="*/ 174546 w 622117"/>
                <a:gd name="connsiteY3" fmla="*/ 380271 h 420341"/>
                <a:gd name="connsiteX4" fmla="*/ 219273 w 622117"/>
                <a:gd name="connsiteY4" fmla="*/ 341336 h 420341"/>
                <a:gd name="connsiteX5" fmla="*/ 302545 w 622117"/>
                <a:gd name="connsiteY5" fmla="*/ 23617 h 420341"/>
                <a:gd name="connsiteX6" fmla="*/ 333806 w 622117"/>
                <a:gd name="connsiteY6" fmla="*/ 464 h 420341"/>
                <a:gd name="connsiteX7" fmla="*/ 335633 w 622117"/>
                <a:gd name="connsiteY7" fmla="*/ 7032 h 420341"/>
                <a:gd name="connsiteX8" fmla="*/ 302964 w 622117"/>
                <a:gd name="connsiteY8" fmla="*/ 48950 h 420341"/>
                <a:gd name="connsiteX9" fmla="*/ 293445 w 622117"/>
                <a:gd name="connsiteY9" fmla="*/ 78772 h 420341"/>
                <a:gd name="connsiteX10" fmla="*/ 257717 w 622117"/>
                <a:gd name="connsiteY10" fmla="*/ 371697 h 420341"/>
                <a:gd name="connsiteX11" fmla="*/ 269927 w 622117"/>
                <a:gd name="connsiteY11" fmla="*/ 380221 h 420341"/>
                <a:gd name="connsiteX12" fmla="*/ 308980 w 622117"/>
                <a:gd name="connsiteY12" fmla="*/ 342176 h 420341"/>
                <a:gd name="connsiteX13" fmla="*/ 378228 w 622117"/>
                <a:gd name="connsiteY13" fmla="*/ 200628 h 420341"/>
                <a:gd name="connsiteX14" fmla="*/ 448161 w 622117"/>
                <a:gd name="connsiteY14" fmla="*/ 198221 h 420341"/>
                <a:gd name="connsiteX15" fmla="*/ 429681 w 622117"/>
                <a:gd name="connsiteY15" fmla="*/ 360127 h 420341"/>
                <a:gd name="connsiteX16" fmla="*/ 437030 w 622117"/>
                <a:gd name="connsiteY16" fmla="*/ 382690 h 420341"/>
                <a:gd name="connsiteX17" fmla="*/ 444645 w 622117"/>
                <a:gd name="connsiteY17" fmla="*/ 380885 h 420341"/>
                <a:gd name="connsiteX18" fmla="*/ 491339 w 622117"/>
                <a:gd name="connsiteY18" fmla="*/ 333527 h 420341"/>
                <a:gd name="connsiteX19" fmla="*/ 528362 w 622117"/>
                <a:gd name="connsiteY19" fmla="*/ 108054 h 420341"/>
                <a:gd name="connsiteX20" fmla="*/ 593332 w 622117"/>
                <a:gd name="connsiteY20" fmla="*/ 24331 h 420341"/>
                <a:gd name="connsiteX21" fmla="*/ 580031 w 622117"/>
                <a:gd name="connsiteY21" fmla="*/ 39536 h 420341"/>
                <a:gd name="connsiteX22" fmla="*/ 525455 w 622117"/>
                <a:gd name="connsiteY22" fmla="*/ 215770 h 420341"/>
                <a:gd name="connsiteX23" fmla="*/ 546295 w 622117"/>
                <a:gd name="connsiteY23" fmla="*/ 207522 h 420341"/>
                <a:gd name="connsiteX24" fmla="*/ 590083 w 622117"/>
                <a:gd name="connsiteY24" fmla="*/ 171383 h 420341"/>
                <a:gd name="connsiteX25" fmla="*/ 609717 w 622117"/>
                <a:gd name="connsiteY25" fmla="*/ 190299 h 420341"/>
                <a:gd name="connsiteX26" fmla="*/ 587481 w 622117"/>
                <a:gd name="connsiteY26" fmla="*/ 352167 h 420341"/>
                <a:gd name="connsiteX27" fmla="*/ 515873 w 622117"/>
                <a:gd name="connsiteY27" fmla="*/ 418817 h 420341"/>
                <a:gd name="connsiteX28" fmla="*/ 500642 w 622117"/>
                <a:gd name="connsiteY28" fmla="*/ 417313 h 420341"/>
                <a:gd name="connsiteX29" fmla="*/ 492024 w 622117"/>
                <a:gd name="connsiteY29" fmla="*/ 355990 h 420341"/>
                <a:gd name="connsiteX30" fmla="*/ 489207 w 622117"/>
                <a:gd name="connsiteY30" fmla="*/ 354085 h 420341"/>
                <a:gd name="connsiteX31" fmla="*/ 416862 w 622117"/>
                <a:gd name="connsiteY31" fmla="*/ 419958 h 420341"/>
                <a:gd name="connsiteX32" fmla="*/ 408397 w 622117"/>
                <a:gd name="connsiteY32" fmla="*/ 418015 h 420341"/>
                <a:gd name="connsiteX33" fmla="*/ 398345 w 622117"/>
                <a:gd name="connsiteY33" fmla="*/ 380409 h 420341"/>
                <a:gd name="connsiteX34" fmla="*/ 344175 w 622117"/>
                <a:gd name="connsiteY34" fmla="*/ 420221 h 420341"/>
                <a:gd name="connsiteX35" fmla="*/ 325493 w 622117"/>
                <a:gd name="connsiteY35" fmla="*/ 399989 h 420341"/>
                <a:gd name="connsiteX36" fmla="*/ 310719 w 622117"/>
                <a:gd name="connsiteY36" fmla="*/ 359011 h 420341"/>
                <a:gd name="connsiteX37" fmla="*/ 242182 w 622117"/>
                <a:gd name="connsiteY37" fmla="*/ 419306 h 420341"/>
                <a:gd name="connsiteX38" fmla="*/ 228221 w 622117"/>
                <a:gd name="connsiteY38" fmla="*/ 408852 h 420341"/>
                <a:gd name="connsiteX39" fmla="*/ 220047 w 622117"/>
                <a:gd name="connsiteY39" fmla="*/ 358222 h 420341"/>
                <a:gd name="connsiteX40" fmla="*/ 216240 w 622117"/>
                <a:gd name="connsiteY40" fmla="*/ 359124 h 420341"/>
                <a:gd name="connsiteX41" fmla="*/ 149607 w 622117"/>
                <a:gd name="connsiteY41" fmla="*/ 419406 h 420341"/>
                <a:gd name="connsiteX42" fmla="*/ 136470 w 622117"/>
                <a:gd name="connsiteY42" fmla="*/ 410857 h 420341"/>
                <a:gd name="connsiteX43" fmla="*/ 127586 w 622117"/>
                <a:gd name="connsiteY43" fmla="*/ 346138 h 420341"/>
                <a:gd name="connsiteX44" fmla="*/ 123778 w 622117"/>
                <a:gd name="connsiteY44" fmla="*/ 346138 h 420341"/>
                <a:gd name="connsiteX45" fmla="*/ 29616 w 622117"/>
                <a:gd name="connsiteY45" fmla="*/ 420234 h 420341"/>
                <a:gd name="connsiteX46" fmla="*/ 19298 w 622117"/>
                <a:gd name="connsiteY46" fmla="*/ 412637 h 420341"/>
                <a:gd name="connsiteX47" fmla="*/ 41090 w 622117"/>
                <a:gd name="connsiteY47" fmla="*/ 197368 h 420341"/>
                <a:gd name="connsiteX48" fmla="*/ 83177 w 622117"/>
                <a:gd name="connsiteY48" fmla="*/ 178766 h 420341"/>
                <a:gd name="connsiteX49" fmla="*/ 102367 w 622117"/>
                <a:gd name="connsiteY49" fmla="*/ 208224 h 420341"/>
                <a:gd name="connsiteX50" fmla="*/ 102100 w 622117"/>
                <a:gd name="connsiteY50" fmla="*/ 239136 h 420341"/>
                <a:gd name="connsiteX51" fmla="*/ 36368 w 622117"/>
                <a:gd name="connsiteY51" fmla="*/ 299443 h 420341"/>
                <a:gd name="connsiteX52" fmla="*/ 46167 w 622117"/>
                <a:gd name="connsiteY52" fmla="*/ 383831 h 420341"/>
                <a:gd name="connsiteX53" fmla="*/ 58592 w 622117"/>
                <a:gd name="connsiteY53" fmla="*/ 385649 h 420341"/>
                <a:gd name="connsiteX54" fmla="*/ 60331 w 622117"/>
                <a:gd name="connsiteY54" fmla="*/ 383969 h 420341"/>
                <a:gd name="connsiteX55" fmla="*/ 127954 w 622117"/>
                <a:gd name="connsiteY55" fmla="*/ 320866 h 420341"/>
                <a:gd name="connsiteX56" fmla="*/ 202291 w 622117"/>
                <a:gd name="connsiteY56" fmla="*/ 37681 h 420341"/>
                <a:gd name="connsiteX57" fmla="*/ 243007 w 622117"/>
                <a:gd name="connsiteY57" fmla="*/ 0 h 420341"/>
                <a:gd name="connsiteX58" fmla="*/ 244974 w 622117"/>
                <a:gd name="connsiteY58" fmla="*/ 4024 h 420341"/>
                <a:gd name="connsiteX59" fmla="*/ 244162 w 622117"/>
                <a:gd name="connsiteY59" fmla="*/ 5265 h 420341"/>
                <a:gd name="connsiteX60" fmla="*/ 77224 w 622117"/>
                <a:gd name="connsiteY60" fmla="*/ 185510 h 420341"/>
                <a:gd name="connsiteX61" fmla="*/ 63936 w 622117"/>
                <a:gd name="connsiteY61" fmla="*/ 193821 h 420341"/>
                <a:gd name="connsiteX62" fmla="*/ 39516 w 622117"/>
                <a:gd name="connsiteY62" fmla="*/ 281656 h 420341"/>
                <a:gd name="connsiteX63" fmla="*/ 80448 w 622117"/>
                <a:gd name="connsiteY63" fmla="*/ 246419 h 420341"/>
                <a:gd name="connsiteX64" fmla="*/ 86553 w 622117"/>
                <a:gd name="connsiteY64" fmla="*/ 197770 h 420341"/>
                <a:gd name="connsiteX65" fmla="*/ 77224 w 622117"/>
                <a:gd name="connsiteY65" fmla="*/ 185510 h 420341"/>
                <a:gd name="connsiteX66" fmla="*/ 415111 w 622117"/>
                <a:gd name="connsiteY66" fmla="*/ 203536 h 420341"/>
                <a:gd name="connsiteX67" fmla="*/ 378215 w 622117"/>
                <a:gd name="connsiteY67" fmla="*/ 212574 h 420341"/>
                <a:gd name="connsiteX68" fmla="*/ 346891 w 622117"/>
                <a:gd name="connsiteY68" fmla="*/ 331271 h 420341"/>
                <a:gd name="connsiteX69" fmla="*/ 360611 w 622117"/>
                <a:gd name="connsiteY69" fmla="*/ 381976 h 420341"/>
                <a:gd name="connsiteX70" fmla="*/ 395730 w 622117"/>
                <a:gd name="connsiteY70" fmla="*/ 361681 h 420341"/>
                <a:gd name="connsiteX71" fmla="*/ 416037 w 622117"/>
                <a:gd name="connsiteY71" fmla="*/ 208224 h 420341"/>
                <a:gd name="connsiteX72" fmla="*/ 566146 w 622117"/>
                <a:gd name="connsiteY72" fmla="*/ 207698 h 420341"/>
                <a:gd name="connsiteX73" fmla="*/ 530887 w 622117"/>
                <a:gd name="connsiteY73" fmla="*/ 242997 h 420341"/>
                <a:gd name="connsiteX74" fmla="*/ 529618 w 622117"/>
                <a:gd name="connsiteY74" fmla="*/ 378792 h 420341"/>
                <a:gd name="connsiteX75" fmla="*/ 533324 w 622117"/>
                <a:gd name="connsiteY75" fmla="*/ 388219 h 420341"/>
                <a:gd name="connsiteX76" fmla="*/ 558899 w 622117"/>
                <a:gd name="connsiteY76" fmla="*/ 370995 h 420341"/>
                <a:gd name="connsiteX77" fmla="*/ 581871 w 622117"/>
                <a:gd name="connsiteY77" fmla="*/ 223730 h 420341"/>
                <a:gd name="connsiteX78" fmla="*/ 566158 w 622117"/>
                <a:gd name="connsiteY78" fmla="*/ 207710 h 420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117" h="420341">
                  <a:moveTo>
                    <a:pt x="244162" y="5265"/>
                  </a:moveTo>
                  <a:cubicBezTo>
                    <a:pt x="206086" y="28342"/>
                    <a:pt x="203801" y="76089"/>
                    <a:pt x="190234" y="115337"/>
                  </a:cubicBezTo>
                  <a:cubicBezTo>
                    <a:pt x="169685" y="194774"/>
                    <a:pt x="154696" y="286444"/>
                    <a:pt x="166119" y="372750"/>
                  </a:cubicBezTo>
                  <a:cubicBezTo>
                    <a:pt x="167666" y="376363"/>
                    <a:pt x="170752" y="379115"/>
                    <a:pt x="174546" y="380271"/>
                  </a:cubicBezTo>
                  <a:cubicBezTo>
                    <a:pt x="191170" y="369352"/>
                    <a:pt x="206217" y="356253"/>
                    <a:pt x="219273" y="341336"/>
                  </a:cubicBezTo>
                  <a:cubicBezTo>
                    <a:pt x="227904" y="228092"/>
                    <a:pt x="248807" y="118709"/>
                    <a:pt x="302545" y="23617"/>
                  </a:cubicBezTo>
                  <a:cubicBezTo>
                    <a:pt x="309823" y="12451"/>
                    <a:pt x="320916" y="4236"/>
                    <a:pt x="333806" y="464"/>
                  </a:cubicBezTo>
                  <a:cubicBezTo>
                    <a:pt x="336636" y="464"/>
                    <a:pt x="337613" y="5165"/>
                    <a:pt x="335633" y="7032"/>
                  </a:cubicBezTo>
                  <a:cubicBezTo>
                    <a:pt x="316443" y="13977"/>
                    <a:pt x="309780" y="30298"/>
                    <a:pt x="302964" y="48950"/>
                  </a:cubicBezTo>
                  <a:cubicBezTo>
                    <a:pt x="299197" y="58697"/>
                    <a:pt x="296018" y="68655"/>
                    <a:pt x="293445" y="78772"/>
                  </a:cubicBezTo>
                  <a:cubicBezTo>
                    <a:pt x="267185" y="170380"/>
                    <a:pt x="246358" y="270399"/>
                    <a:pt x="257717" y="371697"/>
                  </a:cubicBezTo>
                  <a:cubicBezTo>
                    <a:pt x="259570" y="376398"/>
                    <a:pt x="264241" y="382064"/>
                    <a:pt x="269927" y="380221"/>
                  </a:cubicBezTo>
                  <a:cubicBezTo>
                    <a:pt x="285184" y="369996"/>
                    <a:pt x="298419" y="357102"/>
                    <a:pt x="308980" y="342176"/>
                  </a:cubicBezTo>
                  <a:cubicBezTo>
                    <a:pt x="303214" y="285875"/>
                    <a:pt x="329984" y="231155"/>
                    <a:pt x="378228" y="200628"/>
                  </a:cubicBezTo>
                  <a:cubicBezTo>
                    <a:pt x="399780" y="188729"/>
                    <a:pt x="425822" y="187833"/>
                    <a:pt x="448161" y="198221"/>
                  </a:cubicBezTo>
                  <a:cubicBezTo>
                    <a:pt x="436742" y="251477"/>
                    <a:pt x="430553" y="305697"/>
                    <a:pt x="429681" y="360127"/>
                  </a:cubicBezTo>
                  <a:cubicBezTo>
                    <a:pt x="430316" y="366633"/>
                    <a:pt x="429529" y="377915"/>
                    <a:pt x="437030" y="382690"/>
                  </a:cubicBezTo>
                  <a:lnTo>
                    <a:pt x="444645" y="380885"/>
                  </a:lnTo>
                  <a:lnTo>
                    <a:pt x="491339" y="333527"/>
                  </a:lnTo>
                  <a:cubicBezTo>
                    <a:pt x="498793" y="257666"/>
                    <a:pt x="511159" y="182354"/>
                    <a:pt x="528362" y="108054"/>
                  </a:cubicBezTo>
                  <a:cubicBezTo>
                    <a:pt x="539048" y="74435"/>
                    <a:pt x="563899" y="27954"/>
                    <a:pt x="593332" y="24331"/>
                  </a:cubicBezTo>
                  <a:cubicBezTo>
                    <a:pt x="604171" y="33808"/>
                    <a:pt x="592228" y="28092"/>
                    <a:pt x="580031" y="39536"/>
                  </a:cubicBezTo>
                  <a:cubicBezTo>
                    <a:pt x="544722" y="77957"/>
                    <a:pt x="531725" y="152116"/>
                    <a:pt x="525455" y="215770"/>
                  </a:cubicBezTo>
                  <a:cubicBezTo>
                    <a:pt x="532702" y="217738"/>
                    <a:pt x="534073" y="216911"/>
                    <a:pt x="546295" y="207522"/>
                  </a:cubicBezTo>
                  <a:lnTo>
                    <a:pt x="590083" y="171383"/>
                  </a:lnTo>
                  <a:cubicBezTo>
                    <a:pt x="600465" y="170530"/>
                    <a:pt x="606011" y="182765"/>
                    <a:pt x="609717" y="190299"/>
                  </a:cubicBezTo>
                  <a:cubicBezTo>
                    <a:pt x="632199" y="244293"/>
                    <a:pt x="623715" y="306041"/>
                    <a:pt x="587481" y="352167"/>
                  </a:cubicBezTo>
                  <a:cubicBezTo>
                    <a:pt x="569051" y="379470"/>
                    <a:pt x="544562" y="402266"/>
                    <a:pt x="515873" y="418817"/>
                  </a:cubicBezTo>
                  <a:cubicBezTo>
                    <a:pt x="504450" y="422578"/>
                    <a:pt x="501378" y="418002"/>
                    <a:pt x="500642" y="417313"/>
                  </a:cubicBezTo>
                  <a:cubicBezTo>
                    <a:pt x="492227" y="406833"/>
                    <a:pt x="493712" y="378454"/>
                    <a:pt x="492024" y="355990"/>
                  </a:cubicBezTo>
                  <a:lnTo>
                    <a:pt x="489207" y="354085"/>
                  </a:lnTo>
                  <a:lnTo>
                    <a:pt x="416862" y="419958"/>
                  </a:lnTo>
                  <a:cubicBezTo>
                    <a:pt x="414984" y="419958"/>
                    <a:pt x="410059" y="421211"/>
                    <a:pt x="408397" y="418015"/>
                  </a:cubicBezTo>
                  <a:cubicBezTo>
                    <a:pt x="402772" y="406183"/>
                    <a:pt x="399365" y="393442"/>
                    <a:pt x="398345" y="380409"/>
                  </a:cubicBezTo>
                  <a:cubicBezTo>
                    <a:pt x="379307" y="391490"/>
                    <a:pt x="363150" y="409140"/>
                    <a:pt x="344175" y="420221"/>
                  </a:cubicBezTo>
                  <a:cubicBezTo>
                    <a:pt x="333768" y="421061"/>
                    <a:pt x="329084" y="408438"/>
                    <a:pt x="325493" y="399989"/>
                  </a:cubicBezTo>
                  <a:cubicBezTo>
                    <a:pt x="317357" y="379419"/>
                    <a:pt x="316608" y="374655"/>
                    <a:pt x="310719" y="359011"/>
                  </a:cubicBezTo>
                  <a:lnTo>
                    <a:pt x="242182" y="419306"/>
                  </a:lnTo>
                  <a:cubicBezTo>
                    <a:pt x="234567" y="423067"/>
                    <a:pt x="230176" y="414844"/>
                    <a:pt x="228221" y="408852"/>
                  </a:cubicBezTo>
                  <a:cubicBezTo>
                    <a:pt x="224377" y="392170"/>
                    <a:pt x="221646" y="375257"/>
                    <a:pt x="220047" y="358222"/>
                  </a:cubicBezTo>
                  <a:lnTo>
                    <a:pt x="216240" y="359124"/>
                  </a:lnTo>
                  <a:lnTo>
                    <a:pt x="149607" y="419406"/>
                  </a:lnTo>
                  <a:cubicBezTo>
                    <a:pt x="142550" y="421512"/>
                    <a:pt x="139986" y="418755"/>
                    <a:pt x="136470" y="410857"/>
                  </a:cubicBezTo>
                  <a:cubicBezTo>
                    <a:pt x="130416" y="397269"/>
                    <a:pt x="130696" y="366883"/>
                    <a:pt x="127586" y="346138"/>
                  </a:cubicBezTo>
                  <a:lnTo>
                    <a:pt x="123778" y="346138"/>
                  </a:lnTo>
                  <a:cubicBezTo>
                    <a:pt x="92404" y="370193"/>
                    <a:pt x="64722" y="401807"/>
                    <a:pt x="29616" y="420234"/>
                  </a:cubicBezTo>
                  <a:cubicBezTo>
                    <a:pt x="24895" y="421111"/>
                    <a:pt x="21151" y="416473"/>
                    <a:pt x="19298" y="412637"/>
                  </a:cubicBezTo>
                  <a:cubicBezTo>
                    <a:pt x="-11265" y="346777"/>
                    <a:pt x="-6619" y="252185"/>
                    <a:pt x="41090" y="197368"/>
                  </a:cubicBezTo>
                  <a:cubicBezTo>
                    <a:pt x="46839" y="191301"/>
                    <a:pt x="63859" y="170593"/>
                    <a:pt x="83177" y="178766"/>
                  </a:cubicBezTo>
                  <a:cubicBezTo>
                    <a:pt x="94066" y="182527"/>
                    <a:pt x="99169" y="191163"/>
                    <a:pt x="102367" y="208224"/>
                  </a:cubicBezTo>
                  <a:cubicBezTo>
                    <a:pt x="105644" y="218289"/>
                    <a:pt x="105550" y="229128"/>
                    <a:pt x="102100" y="239136"/>
                  </a:cubicBezTo>
                  <a:lnTo>
                    <a:pt x="36368" y="299443"/>
                  </a:lnTo>
                  <a:cubicBezTo>
                    <a:pt x="31891" y="327931"/>
                    <a:pt x="35276" y="357085"/>
                    <a:pt x="46167" y="383831"/>
                  </a:cubicBezTo>
                  <a:cubicBezTo>
                    <a:pt x="49091" y="387721"/>
                    <a:pt x="54653" y="388534"/>
                    <a:pt x="58592" y="385649"/>
                  </a:cubicBezTo>
                  <a:cubicBezTo>
                    <a:pt x="59251" y="385174"/>
                    <a:pt x="59836" y="384608"/>
                    <a:pt x="60331" y="383969"/>
                  </a:cubicBezTo>
                  <a:lnTo>
                    <a:pt x="127954" y="320866"/>
                  </a:lnTo>
                  <a:cubicBezTo>
                    <a:pt x="138298" y="220734"/>
                    <a:pt x="157146" y="123460"/>
                    <a:pt x="202291" y="37681"/>
                  </a:cubicBezTo>
                  <a:cubicBezTo>
                    <a:pt x="207634" y="27791"/>
                    <a:pt x="225365" y="752"/>
                    <a:pt x="243007" y="0"/>
                  </a:cubicBezTo>
                  <a:cubicBezTo>
                    <a:pt x="244671" y="580"/>
                    <a:pt x="245549" y="2377"/>
                    <a:pt x="244974" y="4024"/>
                  </a:cubicBezTo>
                  <a:cubicBezTo>
                    <a:pt x="244800" y="4491"/>
                    <a:pt x="244523" y="4916"/>
                    <a:pt x="244162" y="5265"/>
                  </a:cubicBezTo>
                  <a:close/>
                  <a:moveTo>
                    <a:pt x="77224" y="185510"/>
                  </a:moveTo>
                  <a:cubicBezTo>
                    <a:pt x="72275" y="187374"/>
                    <a:pt x="67757" y="190199"/>
                    <a:pt x="63936" y="193821"/>
                  </a:cubicBezTo>
                  <a:cubicBezTo>
                    <a:pt x="49883" y="221174"/>
                    <a:pt x="41576" y="251051"/>
                    <a:pt x="39516" y="281656"/>
                  </a:cubicBezTo>
                  <a:cubicBezTo>
                    <a:pt x="54645" y="269747"/>
                    <a:pt x="68060" y="257563"/>
                    <a:pt x="80448" y="246419"/>
                  </a:cubicBezTo>
                  <a:lnTo>
                    <a:pt x="86553" y="197770"/>
                  </a:lnTo>
                  <a:cubicBezTo>
                    <a:pt x="89459" y="190311"/>
                    <a:pt x="84776" y="185585"/>
                    <a:pt x="77224" y="185510"/>
                  </a:cubicBezTo>
                  <a:close/>
                  <a:moveTo>
                    <a:pt x="415111" y="203536"/>
                  </a:moveTo>
                  <a:cubicBezTo>
                    <a:pt x="401949" y="195927"/>
                    <a:pt x="388711" y="202746"/>
                    <a:pt x="378215" y="212574"/>
                  </a:cubicBezTo>
                  <a:cubicBezTo>
                    <a:pt x="347754" y="241405"/>
                    <a:pt x="343502" y="289039"/>
                    <a:pt x="346891" y="331271"/>
                  </a:cubicBezTo>
                  <a:cubicBezTo>
                    <a:pt x="346891" y="335307"/>
                    <a:pt x="349125" y="369503"/>
                    <a:pt x="360611" y="381976"/>
                  </a:cubicBezTo>
                  <a:cubicBezTo>
                    <a:pt x="374915" y="383229"/>
                    <a:pt x="386211" y="370030"/>
                    <a:pt x="395730" y="361681"/>
                  </a:cubicBezTo>
                  <a:cubicBezTo>
                    <a:pt x="400921" y="310211"/>
                    <a:pt x="407039" y="258741"/>
                    <a:pt x="416037" y="208224"/>
                  </a:cubicBezTo>
                  <a:close/>
                  <a:moveTo>
                    <a:pt x="566146" y="207698"/>
                  </a:moveTo>
                  <a:cubicBezTo>
                    <a:pt x="549725" y="213795"/>
                    <a:pt x="536837" y="226697"/>
                    <a:pt x="530887" y="242997"/>
                  </a:cubicBezTo>
                  <a:cubicBezTo>
                    <a:pt x="520125" y="285993"/>
                    <a:pt x="527207" y="334768"/>
                    <a:pt x="529618" y="378792"/>
                  </a:cubicBezTo>
                  <a:lnTo>
                    <a:pt x="533324" y="388219"/>
                  </a:lnTo>
                  <a:cubicBezTo>
                    <a:pt x="542615" y="387893"/>
                    <a:pt x="553784" y="376937"/>
                    <a:pt x="558899" y="370995"/>
                  </a:cubicBezTo>
                  <a:cubicBezTo>
                    <a:pt x="596556" y="329628"/>
                    <a:pt x="589969" y="272518"/>
                    <a:pt x="581871" y="223730"/>
                  </a:cubicBezTo>
                  <a:cubicBezTo>
                    <a:pt x="581224" y="219970"/>
                    <a:pt x="579333" y="203749"/>
                    <a:pt x="566158" y="207710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 117">
              <a:extLst>
                <a:ext uri="{FF2B5EF4-FFF2-40B4-BE49-F238E27FC236}">
                  <a16:creationId xmlns:a16="http://schemas.microsoft.com/office/drawing/2014/main" id="{A0B59F43-8505-0B46-857F-3E952AE287D6}"/>
                </a:ext>
              </a:extLst>
            </p:cNvPr>
            <p:cNvSpPr/>
            <p:nvPr/>
          </p:nvSpPr>
          <p:spPr>
            <a:xfrm>
              <a:off x="7944028" y="412486"/>
              <a:ext cx="622096" cy="420416"/>
            </a:xfrm>
            <a:custGeom>
              <a:avLst/>
              <a:gdLst>
                <a:gd name="connsiteX0" fmla="*/ 244048 w 622096"/>
                <a:gd name="connsiteY0" fmla="*/ 5277 h 420416"/>
                <a:gd name="connsiteX1" fmla="*/ 190170 w 622096"/>
                <a:gd name="connsiteY1" fmla="*/ 115337 h 420416"/>
                <a:gd name="connsiteX2" fmla="*/ 166055 w 622096"/>
                <a:gd name="connsiteY2" fmla="*/ 372775 h 420416"/>
                <a:gd name="connsiteX3" fmla="*/ 174496 w 622096"/>
                <a:gd name="connsiteY3" fmla="*/ 380296 h 420416"/>
                <a:gd name="connsiteX4" fmla="*/ 219273 w 622096"/>
                <a:gd name="connsiteY4" fmla="*/ 341437 h 420416"/>
                <a:gd name="connsiteX5" fmla="*/ 302545 w 622096"/>
                <a:gd name="connsiteY5" fmla="*/ 23667 h 420416"/>
                <a:gd name="connsiteX6" fmla="*/ 333806 w 622096"/>
                <a:gd name="connsiteY6" fmla="*/ 514 h 420416"/>
                <a:gd name="connsiteX7" fmla="*/ 335633 w 622096"/>
                <a:gd name="connsiteY7" fmla="*/ 7095 h 420416"/>
                <a:gd name="connsiteX8" fmla="*/ 302964 w 622096"/>
                <a:gd name="connsiteY8" fmla="*/ 49013 h 420416"/>
                <a:gd name="connsiteX9" fmla="*/ 293445 w 622096"/>
                <a:gd name="connsiteY9" fmla="*/ 78835 h 420416"/>
                <a:gd name="connsiteX10" fmla="*/ 257717 w 622096"/>
                <a:gd name="connsiteY10" fmla="*/ 371772 h 420416"/>
                <a:gd name="connsiteX11" fmla="*/ 269927 w 622096"/>
                <a:gd name="connsiteY11" fmla="*/ 380296 h 420416"/>
                <a:gd name="connsiteX12" fmla="*/ 308980 w 622096"/>
                <a:gd name="connsiteY12" fmla="*/ 342239 h 420416"/>
                <a:gd name="connsiteX13" fmla="*/ 378228 w 622096"/>
                <a:gd name="connsiteY13" fmla="*/ 200690 h 420416"/>
                <a:gd name="connsiteX14" fmla="*/ 448161 w 622096"/>
                <a:gd name="connsiteY14" fmla="*/ 198284 h 420416"/>
                <a:gd name="connsiteX15" fmla="*/ 429681 w 622096"/>
                <a:gd name="connsiteY15" fmla="*/ 360202 h 420416"/>
                <a:gd name="connsiteX16" fmla="*/ 437030 w 622096"/>
                <a:gd name="connsiteY16" fmla="*/ 382766 h 420416"/>
                <a:gd name="connsiteX17" fmla="*/ 444645 w 622096"/>
                <a:gd name="connsiteY17" fmla="*/ 380961 h 420416"/>
                <a:gd name="connsiteX18" fmla="*/ 491339 w 622096"/>
                <a:gd name="connsiteY18" fmla="*/ 333590 h 420416"/>
                <a:gd name="connsiteX19" fmla="*/ 528362 w 622096"/>
                <a:gd name="connsiteY19" fmla="*/ 108092 h 420416"/>
                <a:gd name="connsiteX20" fmla="*/ 593332 w 622096"/>
                <a:gd name="connsiteY20" fmla="*/ 24369 h 420416"/>
                <a:gd name="connsiteX21" fmla="*/ 580031 w 622096"/>
                <a:gd name="connsiteY21" fmla="*/ 39574 h 420416"/>
                <a:gd name="connsiteX22" fmla="*/ 525455 w 622096"/>
                <a:gd name="connsiteY22" fmla="*/ 215808 h 420416"/>
                <a:gd name="connsiteX23" fmla="*/ 546295 w 622096"/>
                <a:gd name="connsiteY23" fmla="*/ 207560 h 420416"/>
                <a:gd name="connsiteX24" fmla="*/ 590083 w 622096"/>
                <a:gd name="connsiteY24" fmla="*/ 171420 h 420416"/>
                <a:gd name="connsiteX25" fmla="*/ 609717 w 622096"/>
                <a:gd name="connsiteY25" fmla="*/ 190324 h 420416"/>
                <a:gd name="connsiteX26" fmla="*/ 587443 w 622096"/>
                <a:gd name="connsiteY26" fmla="*/ 352167 h 420416"/>
                <a:gd name="connsiteX27" fmla="*/ 515835 w 622096"/>
                <a:gd name="connsiteY27" fmla="*/ 418842 h 420416"/>
                <a:gd name="connsiteX28" fmla="*/ 500604 w 622096"/>
                <a:gd name="connsiteY28" fmla="*/ 417338 h 420416"/>
                <a:gd name="connsiteX29" fmla="*/ 491986 w 622096"/>
                <a:gd name="connsiteY29" fmla="*/ 356003 h 420416"/>
                <a:gd name="connsiteX30" fmla="*/ 489169 w 622096"/>
                <a:gd name="connsiteY30" fmla="*/ 354097 h 420416"/>
                <a:gd name="connsiteX31" fmla="*/ 416824 w 622096"/>
                <a:gd name="connsiteY31" fmla="*/ 419983 h 420416"/>
                <a:gd name="connsiteX32" fmla="*/ 408359 w 622096"/>
                <a:gd name="connsiteY32" fmla="*/ 418040 h 420416"/>
                <a:gd name="connsiteX33" fmla="*/ 398307 w 622096"/>
                <a:gd name="connsiteY33" fmla="*/ 380434 h 420416"/>
                <a:gd name="connsiteX34" fmla="*/ 344137 w 622096"/>
                <a:gd name="connsiteY34" fmla="*/ 420246 h 420416"/>
                <a:gd name="connsiteX35" fmla="*/ 325454 w 622096"/>
                <a:gd name="connsiteY35" fmla="*/ 400014 h 420416"/>
                <a:gd name="connsiteX36" fmla="*/ 310681 w 622096"/>
                <a:gd name="connsiteY36" fmla="*/ 359036 h 420416"/>
                <a:gd name="connsiteX37" fmla="*/ 242144 w 622096"/>
                <a:gd name="connsiteY37" fmla="*/ 419331 h 420416"/>
                <a:gd name="connsiteX38" fmla="*/ 228183 w 622096"/>
                <a:gd name="connsiteY38" fmla="*/ 408864 h 420416"/>
                <a:gd name="connsiteX39" fmla="*/ 220009 w 622096"/>
                <a:gd name="connsiteY39" fmla="*/ 358222 h 420416"/>
                <a:gd name="connsiteX40" fmla="*/ 216202 w 622096"/>
                <a:gd name="connsiteY40" fmla="*/ 359149 h 420416"/>
                <a:gd name="connsiteX41" fmla="*/ 149607 w 622096"/>
                <a:gd name="connsiteY41" fmla="*/ 419469 h 420416"/>
                <a:gd name="connsiteX42" fmla="*/ 136470 w 622096"/>
                <a:gd name="connsiteY42" fmla="*/ 410920 h 420416"/>
                <a:gd name="connsiteX43" fmla="*/ 127586 w 622096"/>
                <a:gd name="connsiteY43" fmla="*/ 346188 h 420416"/>
                <a:gd name="connsiteX44" fmla="*/ 123778 w 622096"/>
                <a:gd name="connsiteY44" fmla="*/ 346188 h 420416"/>
                <a:gd name="connsiteX45" fmla="*/ 29616 w 622096"/>
                <a:gd name="connsiteY45" fmla="*/ 420309 h 420416"/>
                <a:gd name="connsiteX46" fmla="*/ 19298 w 622096"/>
                <a:gd name="connsiteY46" fmla="*/ 412713 h 420416"/>
                <a:gd name="connsiteX47" fmla="*/ 41090 w 622096"/>
                <a:gd name="connsiteY47" fmla="*/ 197431 h 420416"/>
                <a:gd name="connsiteX48" fmla="*/ 83177 w 622096"/>
                <a:gd name="connsiteY48" fmla="*/ 178829 h 420416"/>
                <a:gd name="connsiteX49" fmla="*/ 102380 w 622096"/>
                <a:gd name="connsiteY49" fmla="*/ 208287 h 420416"/>
                <a:gd name="connsiteX50" fmla="*/ 102100 w 622096"/>
                <a:gd name="connsiteY50" fmla="*/ 239199 h 420416"/>
                <a:gd name="connsiteX51" fmla="*/ 36368 w 622096"/>
                <a:gd name="connsiteY51" fmla="*/ 299506 h 420416"/>
                <a:gd name="connsiteX52" fmla="*/ 46002 w 622096"/>
                <a:gd name="connsiteY52" fmla="*/ 383906 h 420416"/>
                <a:gd name="connsiteX53" fmla="*/ 58427 w 622096"/>
                <a:gd name="connsiteY53" fmla="*/ 385724 h 420416"/>
                <a:gd name="connsiteX54" fmla="*/ 60166 w 622096"/>
                <a:gd name="connsiteY54" fmla="*/ 384044 h 420416"/>
                <a:gd name="connsiteX55" fmla="*/ 127891 w 622096"/>
                <a:gd name="connsiteY55" fmla="*/ 320866 h 420416"/>
                <a:gd name="connsiteX56" fmla="*/ 202240 w 622096"/>
                <a:gd name="connsiteY56" fmla="*/ 37681 h 420416"/>
                <a:gd name="connsiteX57" fmla="*/ 242956 w 622096"/>
                <a:gd name="connsiteY57" fmla="*/ 0 h 420416"/>
                <a:gd name="connsiteX58" fmla="*/ 244860 w 622096"/>
                <a:gd name="connsiteY58" fmla="*/ 4049 h 420416"/>
                <a:gd name="connsiteX59" fmla="*/ 244048 w 622096"/>
                <a:gd name="connsiteY59" fmla="*/ 5277 h 420416"/>
                <a:gd name="connsiteX60" fmla="*/ 77123 w 622096"/>
                <a:gd name="connsiteY60" fmla="*/ 185523 h 420416"/>
                <a:gd name="connsiteX61" fmla="*/ 63834 w 622096"/>
                <a:gd name="connsiteY61" fmla="*/ 193833 h 420416"/>
                <a:gd name="connsiteX62" fmla="*/ 39415 w 622096"/>
                <a:gd name="connsiteY62" fmla="*/ 281681 h 420416"/>
                <a:gd name="connsiteX63" fmla="*/ 80346 w 622096"/>
                <a:gd name="connsiteY63" fmla="*/ 246444 h 420416"/>
                <a:gd name="connsiteX64" fmla="*/ 86451 w 622096"/>
                <a:gd name="connsiteY64" fmla="*/ 197795 h 420416"/>
                <a:gd name="connsiteX65" fmla="*/ 77123 w 622096"/>
                <a:gd name="connsiteY65" fmla="*/ 185523 h 420416"/>
                <a:gd name="connsiteX66" fmla="*/ 415022 w 622096"/>
                <a:gd name="connsiteY66" fmla="*/ 203548 h 420416"/>
                <a:gd name="connsiteX67" fmla="*/ 378126 w 622096"/>
                <a:gd name="connsiteY67" fmla="*/ 212574 h 420416"/>
                <a:gd name="connsiteX68" fmla="*/ 346815 w 622096"/>
                <a:gd name="connsiteY68" fmla="*/ 331283 h 420416"/>
                <a:gd name="connsiteX69" fmla="*/ 360522 w 622096"/>
                <a:gd name="connsiteY69" fmla="*/ 382001 h 420416"/>
                <a:gd name="connsiteX70" fmla="*/ 395641 w 622096"/>
                <a:gd name="connsiteY70" fmla="*/ 361706 h 420416"/>
                <a:gd name="connsiteX71" fmla="*/ 415948 w 622096"/>
                <a:gd name="connsiteY71" fmla="*/ 208237 h 420416"/>
                <a:gd name="connsiteX72" fmla="*/ 566057 w 622096"/>
                <a:gd name="connsiteY72" fmla="*/ 207710 h 420416"/>
                <a:gd name="connsiteX73" fmla="*/ 530798 w 622096"/>
                <a:gd name="connsiteY73" fmla="*/ 243009 h 420416"/>
                <a:gd name="connsiteX74" fmla="*/ 529529 w 622096"/>
                <a:gd name="connsiteY74" fmla="*/ 378817 h 420416"/>
                <a:gd name="connsiteX75" fmla="*/ 533235 w 622096"/>
                <a:gd name="connsiteY75" fmla="*/ 388244 h 420416"/>
                <a:gd name="connsiteX76" fmla="*/ 558810 w 622096"/>
                <a:gd name="connsiteY76" fmla="*/ 371020 h 420416"/>
                <a:gd name="connsiteX77" fmla="*/ 581795 w 622096"/>
                <a:gd name="connsiteY77" fmla="*/ 223743 h 420416"/>
                <a:gd name="connsiteX78" fmla="*/ 566095 w 622096"/>
                <a:gd name="connsiteY78" fmla="*/ 207710 h 42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096" h="420416">
                  <a:moveTo>
                    <a:pt x="244048" y="5277"/>
                  </a:moveTo>
                  <a:cubicBezTo>
                    <a:pt x="206061" y="28355"/>
                    <a:pt x="203738" y="76114"/>
                    <a:pt x="190170" y="115337"/>
                  </a:cubicBezTo>
                  <a:cubicBezTo>
                    <a:pt x="169609" y="194786"/>
                    <a:pt x="154633" y="286457"/>
                    <a:pt x="166055" y="372775"/>
                  </a:cubicBezTo>
                  <a:cubicBezTo>
                    <a:pt x="167605" y="376390"/>
                    <a:pt x="170696" y="379144"/>
                    <a:pt x="174496" y="380296"/>
                  </a:cubicBezTo>
                  <a:cubicBezTo>
                    <a:pt x="191129" y="369398"/>
                    <a:pt x="206191" y="356326"/>
                    <a:pt x="219273" y="341437"/>
                  </a:cubicBezTo>
                  <a:cubicBezTo>
                    <a:pt x="227853" y="228143"/>
                    <a:pt x="248757" y="118760"/>
                    <a:pt x="302545" y="23667"/>
                  </a:cubicBezTo>
                  <a:cubicBezTo>
                    <a:pt x="309829" y="12508"/>
                    <a:pt x="320920" y="4295"/>
                    <a:pt x="333806" y="514"/>
                  </a:cubicBezTo>
                  <a:cubicBezTo>
                    <a:pt x="336636" y="514"/>
                    <a:pt x="337613" y="5227"/>
                    <a:pt x="335633" y="7095"/>
                  </a:cubicBezTo>
                  <a:cubicBezTo>
                    <a:pt x="316443" y="14027"/>
                    <a:pt x="309780" y="30361"/>
                    <a:pt x="302964" y="49013"/>
                  </a:cubicBezTo>
                  <a:cubicBezTo>
                    <a:pt x="299197" y="58759"/>
                    <a:pt x="296018" y="68717"/>
                    <a:pt x="293445" y="78835"/>
                  </a:cubicBezTo>
                  <a:cubicBezTo>
                    <a:pt x="267185" y="170443"/>
                    <a:pt x="246358" y="270462"/>
                    <a:pt x="257717" y="371772"/>
                  </a:cubicBezTo>
                  <a:cubicBezTo>
                    <a:pt x="259570" y="376473"/>
                    <a:pt x="264241" y="382139"/>
                    <a:pt x="269927" y="380296"/>
                  </a:cubicBezTo>
                  <a:cubicBezTo>
                    <a:pt x="285184" y="370066"/>
                    <a:pt x="298419" y="357169"/>
                    <a:pt x="308980" y="342239"/>
                  </a:cubicBezTo>
                  <a:cubicBezTo>
                    <a:pt x="303214" y="285938"/>
                    <a:pt x="329984" y="231218"/>
                    <a:pt x="378228" y="200690"/>
                  </a:cubicBezTo>
                  <a:cubicBezTo>
                    <a:pt x="399780" y="188792"/>
                    <a:pt x="425822" y="187895"/>
                    <a:pt x="448161" y="198284"/>
                  </a:cubicBezTo>
                  <a:cubicBezTo>
                    <a:pt x="436742" y="251544"/>
                    <a:pt x="430553" y="305768"/>
                    <a:pt x="429681" y="360202"/>
                  </a:cubicBezTo>
                  <a:cubicBezTo>
                    <a:pt x="430316" y="366708"/>
                    <a:pt x="429529" y="377990"/>
                    <a:pt x="437030" y="382766"/>
                  </a:cubicBezTo>
                  <a:lnTo>
                    <a:pt x="444645" y="380961"/>
                  </a:lnTo>
                  <a:lnTo>
                    <a:pt x="491339" y="333590"/>
                  </a:lnTo>
                  <a:cubicBezTo>
                    <a:pt x="498791" y="257720"/>
                    <a:pt x="511158" y="182400"/>
                    <a:pt x="528362" y="108092"/>
                  </a:cubicBezTo>
                  <a:cubicBezTo>
                    <a:pt x="539048" y="74472"/>
                    <a:pt x="563963" y="27979"/>
                    <a:pt x="593332" y="24369"/>
                  </a:cubicBezTo>
                  <a:cubicBezTo>
                    <a:pt x="604171" y="33845"/>
                    <a:pt x="592228" y="28129"/>
                    <a:pt x="580031" y="39574"/>
                  </a:cubicBezTo>
                  <a:cubicBezTo>
                    <a:pt x="544722" y="77982"/>
                    <a:pt x="531725" y="152154"/>
                    <a:pt x="525455" y="215808"/>
                  </a:cubicBezTo>
                  <a:cubicBezTo>
                    <a:pt x="532702" y="217763"/>
                    <a:pt x="534073" y="216949"/>
                    <a:pt x="546295" y="207560"/>
                  </a:cubicBezTo>
                  <a:lnTo>
                    <a:pt x="590083" y="171420"/>
                  </a:lnTo>
                  <a:cubicBezTo>
                    <a:pt x="600465" y="170568"/>
                    <a:pt x="606011" y="182802"/>
                    <a:pt x="609717" y="190324"/>
                  </a:cubicBezTo>
                  <a:cubicBezTo>
                    <a:pt x="632177" y="244318"/>
                    <a:pt x="623681" y="306053"/>
                    <a:pt x="587443" y="352167"/>
                  </a:cubicBezTo>
                  <a:cubicBezTo>
                    <a:pt x="569021" y="379484"/>
                    <a:pt x="544530" y="402288"/>
                    <a:pt x="515835" y="418842"/>
                  </a:cubicBezTo>
                  <a:cubicBezTo>
                    <a:pt x="504412" y="422603"/>
                    <a:pt x="501340" y="418027"/>
                    <a:pt x="500604" y="417338"/>
                  </a:cubicBezTo>
                  <a:cubicBezTo>
                    <a:pt x="492189" y="406846"/>
                    <a:pt x="493674" y="378479"/>
                    <a:pt x="491986" y="356003"/>
                  </a:cubicBezTo>
                  <a:lnTo>
                    <a:pt x="489169" y="354097"/>
                  </a:lnTo>
                  <a:lnTo>
                    <a:pt x="416824" y="419983"/>
                  </a:lnTo>
                  <a:cubicBezTo>
                    <a:pt x="414946" y="419983"/>
                    <a:pt x="410021" y="421237"/>
                    <a:pt x="408359" y="418040"/>
                  </a:cubicBezTo>
                  <a:cubicBezTo>
                    <a:pt x="402734" y="406208"/>
                    <a:pt x="399327" y="393467"/>
                    <a:pt x="398307" y="380434"/>
                  </a:cubicBezTo>
                  <a:cubicBezTo>
                    <a:pt x="379269" y="391515"/>
                    <a:pt x="363112" y="409165"/>
                    <a:pt x="344137" y="420246"/>
                  </a:cubicBezTo>
                  <a:cubicBezTo>
                    <a:pt x="333730" y="421086"/>
                    <a:pt x="329046" y="408463"/>
                    <a:pt x="325454" y="400014"/>
                  </a:cubicBezTo>
                  <a:cubicBezTo>
                    <a:pt x="317319" y="379444"/>
                    <a:pt x="316570" y="374668"/>
                    <a:pt x="310681" y="359036"/>
                  </a:cubicBezTo>
                  <a:lnTo>
                    <a:pt x="242144" y="419331"/>
                  </a:lnTo>
                  <a:cubicBezTo>
                    <a:pt x="234529" y="423017"/>
                    <a:pt x="230137" y="414869"/>
                    <a:pt x="228183" y="408864"/>
                  </a:cubicBezTo>
                  <a:cubicBezTo>
                    <a:pt x="224332" y="392180"/>
                    <a:pt x="221602" y="375262"/>
                    <a:pt x="220009" y="358222"/>
                  </a:cubicBezTo>
                  <a:lnTo>
                    <a:pt x="216202" y="359149"/>
                  </a:lnTo>
                  <a:lnTo>
                    <a:pt x="149607" y="419469"/>
                  </a:lnTo>
                  <a:cubicBezTo>
                    <a:pt x="142550" y="421575"/>
                    <a:pt x="139986" y="418817"/>
                    <a:pt x="136470" y="410920"/>
                  </a:cubicBezTo>
                  <a:cubicBezTo>
                    <a:pt x="130416" y="397332"/>
                    <a:pt x="130696" y="366946"/>
                    <a:pt x="127586" y="346188"/>
                  </a:cubicBezTo>
                  <a:lnTo>
                    <a:pt x="123778" y="346188"/>
                  </a:lnTo>
                  <a:cubicBezTo>
                    <a:pt x="92404" y="370268"/>
                    <a:pt x="64722" y="401882"/>
                    <a:pt x="29616" y="420309"/>
                  </a:cubicBezTo>
                  <a:cubicBezTo>
                    <a:pt x="24895" y="421186"/>
                    <a:pt x="21151" y="416548"/>
                    <a:pt x="19298" y="412713"/>
                  </a:cubicBezTo>
                  <a:cubicBezTo>
                    <a:pt x="-11265" y="346839"/>
                    <a:pt x="-6619" y="252261"/>
                    <a:pt x="41090" y="197431"/>
                  </a:cubicBezTo>
                  <a:cubicBezTo>
                    <a:pt x="46839" y="191364"/>
                    <a:pt x="63859" y="170656"/>
                    <a:pt x="83177" y="178829"/>
                  </a:cubicBezTo>
                  <a:cubicBezTo>
                    <a:pt x="94066" y="182589"/>
                    <a:pt x="99181" y="191226"/>
                    <a:pt x="102380" y="208287"/>
                  </a:cubicBezTo>
                  <a:cubicBezTo>
                    <a:pt x="105640" y="218355"/>
                    <a:pt x="105542" y="229191"/>
                    <a:pt x="102100" y="239199"/>
                  </a:cubicBezTo>
                  <a:lnTo>
                    <a:pt x="36368" y="299506"/>
                  </a:lnTo>
                  <a:cubicBezTo>
                    <a:pt x="31849" y="327984"/>
                    <a:pt x="35177" y="357137"/>
                    <a:pt x="46002" y="383906"/>
                  </a:cubicBezTo>
                  <a:cubicBezTo>
                    <a:pt x="48926" y="387796"/>
                    <a:pt x="54488" y="388610"/>
                    <a:pt x="58427" y="385724"/>
                  </a:cubicBezTo>
                  <a:cubicBezTo>
                    <a:pt x="59086" y="385249"/>
                    <a:pt x="59671" y="384684"/>
                    <a:pt x="60166" y="384044"/>
                  </a:cubicBezTo>
                  <a:lnTo>
                    <a:pt x="127891" y="320866"/>
                  </a:lnTo>
                  <a:cubicBezTo>
                    <a:pt x="138235" y="220734"/>
                    <a:pt x="157082" y="123460"/>
                    <a:pt x="202240" y="37681"/>
                  </a:cubicBezTo>
                  <a:cubicBezTo>
                    <a:pt x="207584" y="27791"/>
                    <a:pt x="225314" y="752"/>
                    <a:pt x="242956" y="0"/>
                  </a:cubicBezTo>
                  <a:cubicBezTo>
                    <a:pt x="244613" y="600"/>
                    <a:pt x="245466" y="2412"/>
                    <a:pt x="244860" y="4049"/>
                  </a:cubicBezTo>
                  <a:cubicBezTo>
                    <a:pt x="244685" y="4513"/>
                    <a:pt x="244408" y="4933"/>
                    <a:pt x="244048" y="5277"/>
                  </a:cubicBezTo>
                  <a:close/>
                  <a:moveTo>
                    <a:pt x="77123" y="185523"/>
                  </a:moveTo>
                  <a:cubicBezTo>
                    <a:pt x="72174" y="187387"/>
                    <a:pt x="67656" y="190212"/>
                    <a:pt x="63834" y="193833"/>
                  </a:cubicBezTo>
                  <a:cubicBezTo>
                    <a:pt x="49780" y="221191"/>
                    <a:pt x="41473" y="251072"/>
                    <a:pt x="39415" y="281681"/>
                  </a:cubicBezTo>
                  <a:cubicBezTo>
                    <a:pt x="54543" y="269772"/>
                    <a:pt x="67959" y="257588"/>
                    <a:pt x="80346" y="246444"/>
                  </a:cubicBezTo>
                  <a:lnTo>
                    <a:pt x="86451" y="197795"/>
                  </a:lnTo>
                  <a:cubicBezTo>
                    <a:pt x="89383" y="190324"/>
                    <a:pt x="84738" y="185598"/>
                    <a:pt x="77123" y="185523"/>
                  </a:cubicBezTo>
                  <a:close/>
                  <a:moveTo>
                    <a:pt x="415022" y="203548"/>
                  </a:moveTo>
                  <a:cubicBezTo>
                    <a:pt x="401860" y="195939"/>
                    <a:pt x="388623" y="202759"/>
                    <a:pt x="378126" y="212574"/>
                  </a:cubicBezTo>
                  <a:cubicBezTo>
                    <a:pt x="347665" y="241405"/>
                    <a:pt x="343414" y="289039"/>
                    <a:pt x="346815" y="331283"/>
                  </a:cubicBezTo>
                  <a:cubicBezTo>
                    <a:pt x="346815" y="335320"/>
                    <a:pt x="349036" y="369528"/>
                    <a:pt x="360522" y="382001"/>
                  </a:cubicBezTo>
                  <a:cubicBezTo>
                    <a:pt x="374826" y="383255"/>
                    <a:pt x="386122" y="370055"/>
                    <a:pt x="395641" y="361706"/>
                  </a:cubicBezTo>
                  <a:cubicBezTo>
                    <a:pt x="400832" y="310224"/>
                    <a:pt x="406950" y="258754"/>
                    <a:pt x="415948" y="208237"/>
                  </a:cubicBezTo>
                  <a:close/>
                  <a:moveTo>
                    <a:pt x="566057" y="207710"/>
                  </a:moveTo>
                  <a:cubicBezTo>
                    <a:pt x="549631" y="213798"/>
                    <a:pt x="536740" y="226705"/>
                    <a:pt x="530798" y="243009"/>
                  </a:cubicBezTo>
                  <a:cubicBezTo>
                    <a:pt x="520036" y="286006"/>
                    <a:pt x="527118" y="334781"/>
                    <a:pt x="529529" y="378817"/>
                  </a:cubicBezTo>
                  <a:lnTo>
                    <a:pt x="533235" y="388244"/>
                  </a:lnTo>
                  <a:cubicBezTo>
                    <a:pt x="542526" y="387918"/>
                    <a:pt x="553695" y="376962"/>
                    <a:pt x="558810" y="371020"/>
                  </a:cubicBezTo>
                  <a:cubicBezTo>
                    <a:pt x="596467" y="329654"/>
                    <a:pt x="589880" y="272530"/>
                    <a:pt x="581795" y="223743"/>
                  </a:cubicBezTo>
                  <a:cubicBezTo>
                    <a:pt x="581160" y="219982"/>
                    <a:pt x="579257" y="203761"/>
                    <a:pt x="566095" y="20771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27790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nodePh="1" p14:presetBounceEnd="50000">
                                      <p:stCondLst>
                                        <p:cond delay="0"/>
                                      </p:stCondLst>
                                      <p:endCondLst>
                                        <p:cond evt="begin" delay="0">
                                          <p:tn val="5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nodePh="1" p14:presetBounceEnd="50000">
                                      <p:stCondLst>
                                        <p:cond delay="0"/>
                                      </p:stCondLst>
                                      <p:endCondLst>
                                        <p:cond evt="begin" delay="0">
                                          <p:tn val="9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7" grpId="0"/>
          <p:bldP spid="18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nodePh="1">
                                      <p:stCondLst>
                                        <p:cond delay="0"/>
                                      </p:stCondLst>
                                      <p:endCondLst>
                                        <p:cond evt="begin" delay="0">
                                          <p:tn val="5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nodePh="1">
                                      <p:stCondLst>
                                        <p:cond delay="0"/>
                                      </p:stCondLst>
                                      <p:endCondLst>
                                        <p:cond evt="begin" delay="0">
                                          <p:tn val="9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7" grpId="0"/>
          <p:bldP spid="18" grpId="0"/>
        </p:bldLst>
      </p:timing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gradFill rotWithShape="1">
          <a:gsLst>
            <a:gs pos="0">
              <a:srgbClr val="1F6898"/>
            </a:gs>
            <a:gs pos="100000">
              <a:srgbClr val="9EC9DF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15CFBE-F760-4F48-B75E-B18712DD62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456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15CFBE-F760-4F48-B75E-B18712DD6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oogle Shape;44;p6">
            <a:extLst>
              <a:ext uri="{FF2B5EF4-FFF2-40B4-BE49-F238E27FC236}">
                <a16:creationId xmlns:a16="http://schemas.microsoft.com/office/drawing/2014/main" id="{DCA0BB9B-89FA-A341-8BB8-A53C17DF4A2D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Google Shape;30;p4"/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5311200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solidFill>
                  <a:schemeClr val="bg1"/>
                </a:solidFill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5310188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339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gradFill rotWithShape="1">
          <a:gsLst>
            <a:gs pos="0">
              <a:srgbClr val="1F6898"/>
            </a:gs>
            <a:gs pos="100000">
              <a:srgbClr val="9EC9DF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74596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bg>
      <p:bgPr>
        <a:gradFill rotWithShape="1">
          <a:gsLst>
            <a:gs pos="0">
              <a:srgbClr val="1F6898"/>
            </a:gs>
            <a:gs pos="100000">
              <a:srgbClr val="9EC9DF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09DD70D-26DE-784B-B075-F60BD29C39E1}"/>
              </a:ext>
            </a:extLst>
          </p:cNvPr>
          <p:cNvSpPr txBox="1"/>
          <p:nvPr userDrawn="1"/>
        </p:nvSpPr>
        <p:spPr>
          <a:xfrm>
            <a:off x="610336" y="1447799"/>
            <a:ext cx="17928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b="0" dirty="0">
                <a:solidFill>
                  <a:schemeClr val="bg1"/>
                </a:solidFill>
                <a:latin typeface="+mn-lt"/>
              </a:rPr>
              <a:t>This is the Default Text box</a:t>
            </a:r>
          </a:p>
        </p:txBody>
      </p:sp>
    </p:spTree>
    <p:extLst>
      <p:ext uri="{BB962C8B-B14F-4D97-AF65-F5344CB8AC3E}">
        <p14:creationId xmlns:p14="http://schemas.microsoft.com/office/powerpoint/2010/main" val="17289802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9E59DC1-4428-4B57-8117-DD97273694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3404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9E59DC1-4428-4B57-8117-DD97273694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aphic 21">
            <a:extLst>
              <a:ext uri="{FF2B5EF4-FFF2-40B4-BE49-F238E27FC236}">
                <a16:creationId xmlns:a16="http://schemas.microsoft.com/office/drawing/2014/main" id="{94BCEA85-BAC3-A34D-9391-738DA7142C26}"/>
              </a:ext>
            </a:extLst>
          </p:cNvPr>
          <p:cNvSpPr/>
          <p:nvPr userDrawn="1"/>
        </p:nvSpPr>
        <p:spPr>
          <a:xfrm>
            <a:off x="4886325" y="0"/>
            <a:ext cx="1600200" cy="5716588"/>
          </a:xfrm>
          <a:custGeom>
            <a:avLst/>
            <a:gdLst>
              <a:gd name="connsiteX0" fmla="*/ 614793 w 2134480"/>
              <a:gd name="connsiteY0" fmla="*/ 0 h 6859123"/>
              <a:gd name="connsiteX1" fmla="*/ 1885457 w 2134480"/>
              <a:gd name="connsiteY1" fmla="*/ 3425825 h 6859123"/>
              <a:gd name="connsiteX2" fmla="*/ 0 w 2134480"/>
              <a:gd name="connsiteY2" fmla="*/ 6859124 h 6859123"/>
              <a:gd name="connsiteX3" fmla="*/ 605506 w 2134480"/>
              <a:gd name="connsiteY3" fmla="*/ 6859124 h 6859123"/>
              <a:gd name="connsiteX4" fmla="*/ 2134480 w 2134480"/>
              <a:gd name="connsiteY4" fmla="*/ 3425825 h 6859123"/>
              <a:gd name="connsiteX5" fmla="*/ 614793 w 2134480"/>
              <a:gd name="connsiteY5" fmla="*/ 0 h 685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34480" h="6859123">
                <a:moveTo>
                  <a:pt x="614793" y="0"/>
                </a:moveTo>
                <a:cubicBezTo>
                  <a:pt x="1531026" y="738315"/>
                  <a:pt x="1885457" y="1997075"/>
                  <a:pt x="1885457" y="3425825"/>
                </a:cubicBezTo>
                <a:cubicBezTo>
                  <a:pt x="1885457" y="4859427"/>
                  <a:pt x="921443" y="6121851"/>
                  <a:pt x="0" y="6859124"/>
                </a:cubicBezTo>
                <a:lnTo>
                  <a:pt x="605506" y="6859124"/>
                </a:lnTo>
                <a:cubicBezTo>
                  <a:pt x="1526949" y="6121851"/>
                  <a:pt x="2134480" y="4859427"/>
                  <a:pt x="2134480" y="3425825"/>
                </a:cubicBezTo>
                <a:cubicBezTo>
                  <a:pt x="2134474" y="1997075"/>
                  <a:pt x="1531026" y="738315"/>
                  <a:pt x="614793" y="0"/>
                </a:cubicBezTo>
                <a:close/>
              </a:path>
            </a:pathLst>
          </a:custGeom>
          <a:gradFill>
            <a:gsLst>
              <a:gs pos="0">
                <a:srgbClr val="1F6898">
                  <a:alpha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16800000" scaled="0"/>
          </a:gradFill>
          <a:ln w="6331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12" name="Graphic 8">
            <a:extLst>
              <a:ext uri="{FF2B5EF4-FFF2-40B4-BE49-F238E27FC236}">
                <a16:creationId xmlns:a16="http://schemas.microsoft.com/office/drawing/2014/main" id="{A8171E09-39D0-4D4E-BD0F-318BEC3C7097}"/>
              </a:ext>
            </a:extLst>
          </p:cNvPr>
          <p:cNvSpPr/>
          <p:nvPr userDrawn="1"/>
        </p:nvSpPr>
        <p:spPr>
          <a:xfrm>
            <a:off x="5285970" y="0"/>
            <a:ext cx="3858030" cy="5716122"/>
          </a:xfrm>
          <a:custGeom>
            <a:avLst/>
            <a:gdLst>
              <a:gd name="connsiteX0" fmla="*/ 6979 w 3858030"/>
              <a:gd name="connsiteY0" fmla="*/ 0 h 5716122"/>
              <a:gd name="connsiteX1" fmla="*/ 3858030 w 3858030"/>
              <a:gd name="connsiteY1" fmla="*/ 0 h 5716122"/>
              <a:gd name="connsiteX2" fmla="*/ 3858030 w 3858030"/>
              <a:gd name="connsiteY2" fmla="*/ 5716122 h 5716122"/>
              <a:gd name="connsiteX3" fmla="*/ 0 w 3858030"/>
              <a:gd name="connsiteY3" fmla="*/ 5716122 h 5716122"/>
              <a:gd name="connsiteX4" fmla="*/ 1148829 w 3858030"/>
              <a:gd name="connsiteY4" fmla="*/ 2854944 h 5716122"/>
              <a:gd name="connsiteX5" fmla="*/ 6979 w 3858030"/>
              <a:gd name="connsiteY5" fmla="*/ 0 h 5716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58030" h="5716122">
                <a:moveTo>
                  <a:pt x="6979" y="0"/>
                </a:moveTo>
                <a:lnTo>
                  <a:pt x="3858030" y="0"/>
                </a:lnTo>
                <a:lnTo>
                  <a:pt x="3858030" y="5716122"/>
                </a:lnTo>
                <a:lnTo>
                  <a:pt x="0" y="5716122"/>
                </a:lnTo>
                <a:cubicBezTo>
                  <a:pt x="692364" y="5101696"/>
                  <a:pt x="1148829" y="4049654"/>
                  <a:pt x="1148829" y="2854944"/>
                </a:cubicBezTo>
                <a:cubicBezTo>
                  <a:pt x="1148829" y="1664282"/>
                  <a:pt x="695420" y="615283"/>
                  <a:pt x="6979" y="0"/>
                </a:cubicBezTo>
                <a:close/>
              </a:path>
            </a:pathLst>
          </a:custGeom>
          <a:blipFill>
            <a:blip r:embed="rId5"/>
            <a:stretch>
              <a:fillRect l="-76904" r="-47044"/>
            </a:stretch>
          </a:blipFill>
          <a:ln w="5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5" name="Google Shape;44;p6">
            <a:extLst>
              <a:ext uri="{FF2B5EF4-FFF2-40B4-BE49-F238E27FC236}">
                <a16:creationId xmlns:a16="http://schemas.microsoft.com/office/drawing/2014/main" id="{4F66C56E-F466-C748-A1D3-14F5242DE2FF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971550" y="3327400"/>
            <a:ext cx="676275" cy="0"/>
          </a:xfrm>
          <a:prstGeom prst="straightConnector1">
            <a:avLst/>
          </a:prstGeom>
          <a:noFill/>
          <a:ln w="76200">
            <a:solidFill>
              <a:srgbClr val="CA053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Google Shape;30;p4">
            <a:extLst>
              <a:ext uri="{FF2B5EF4-FFF2-40B4-BE49-F238E27FC236}">
                <a16:creationId xmlns:a16="http://schemas.microsoft.com/office/drawing/2014/main" id="{C6F22909-A3F2-3343-A8FF-63B7794E6BB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74317" y="2336682"/>
            <a:ext cx="3638903" cy="63534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667" b="1" i="0">
                <a:solidFill>
                  <a:srgbClr val="1F6898"/>
                </a:solidFill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D4CC77E-1E0B-C047-BE7D-07E8EC029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74317" y="3683698"/>
            <a:ext cx="3638903" cy="38726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8185C137-CACC-F349-AA40-9E98429824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4315" y="4214681"/>
            <a:ext cx="2247500" cy="309269"/>
          </a:xfrm>
          <a:prstGeom prst="rect">
            <a:avLst/>
          </a:prstGeom>
        </p:spPr>
        <p:txBody>
          <a:bodyPr/>
          <a:lstStyle>
            <a:lvl1pPr algn="l">
              <a:buFont typeface="Arial" panose="020B0604020202020204" pitchFamily="34" charset="0"/>
              <a:buNone/>
              <a:defRPr sz="10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CEE9378-2D7C-C645-92EA-D9476E470D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74315" y="5505189"/>
            <a:ext cx="2247500" cy="210327"/>
          </a:xfrm>
          <a:prstGeom prst="rect">
            <a:avLst/>
          </a:prstGeom>
        </p:spPr>
        <p:txBody>
          <a:bodyPr/>
          <a:lstStyle>
            <a:lvl1pPr algn="l">
              <a:buFont typeface="Arial" panose="020B0604020202020204" pitchFamily="34" charset="0"/>
              <a:buNone/>
              <a:defRPr sz="600" b="0" i="1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pic>
        <p:nvPicPr>
          <p:cNvPr id="30" name="Picture 3" descr="Logo&#10;&#10;Description automatically generated">
            <a:extLst>
              <a:ext uri="{FF2B5EF4-FFF2-40B4-BE49-F238E27FC236}">
                <a16:creationId xmlns:a16="http://schemas.microsoft.com/office/drawing/2014/main" id="{DA217CD9-9EB2-4F53-BE27-31E849C9B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21"/>
          <a:stretch>
            <a:fillRect/>
          </a:stretch>
        </p:blipFill>
        <p:spPr bwMode="auto">
          <a:xfrm>
            <a:off x="874713" y="1112838"/>
            <a:ext cx="1233487" cy="868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89738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95D555F-EB0F-4CC0-ACEA-CD714B9A74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86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95D555F-EB0F-4CC0-ACEA-CD714B9A74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aphic 21">
            <a:extLst>
              <a:ext uri="{FF2B5EF4-FFF2-40B4-BE49-F238E27FC236}">
                <a16:creationId xmlns:a16="http://schemas.microsoft.com/office/drawing/2014/main" id="{94BCEA85-BAC3-A34D-9391-738DA7142C26}"/>
              </a:ext>
            </a:extLst>
          </p:cNvPr>
          <p:cNvSpPr/>
          <p:nvPr userDrawn="1"/>
        </p:nvSpPr>
        <p:spPr>
          <a:xfrm>
            <a:off x="4886325" y="0"/>
            <a:ext cx="1600200" cy="5716588"/>
          </a:xfrm>
          <a:custGeom>
            <a:avLst/>
            <a:gdLst>
              <a:gd name="connsiteX0" fmla="*/ 614793 w 2134480"/>
              <a:gd name="connsiteY0" fmla="*/ 0 h 6859123"/>
              <a:gd name="connsiteX1" fmla="*/ 1885457 w 2134480"/>
              <a:gd name="connsiteY1" fmla="*/ 3425825 h 6859123"/>
              <a:gd name="connsiteX2" fmla="*/ 0 w 2134480"/>
              <a:gd name="connsiteY2" fmla="*/ 6859124 h 6859123"/>
              <a:gd name="connsiteX3" fmla="*/ 605506 w 2134480"/>
              <a:gd name="connsiteY3" fmla="*/ 6859124 h 6859123"/>
              <a:gd name="connsiteX4" fmla="*/ 2134480 w 2134480"/>
              <a:gd name="connsiteY4" fmla="*/ 3425825 h 6859123"/>
              <a:gd name="connsiteX5" fmla="*/ 614793 w 2134480"/>
              <a:gd name="connsiteY5" fmla="*/ 0 h 685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34480" h="6859123">
                <a:moveTo>
                  <a:pt x="614793" y="0"/>
                </a:moveTo>
                <a:cubicBezTo>
                  <a:pt x="1531026" y="738315"/>
                  <a:pt x="1885457" y="1997075"/>
                  <a:pt x="1885457" y="3425825"/>
                </a:cubicBezTo>
                <a:cubicBezTo>
                  <a:pt x="1885457" y="4859427"/>
                  <a:pt x="921443" y="6121851"/>
                  <a:pt x="0" y="6859124"/>
                </a:cubicBezTo>
                <a:lnTo>
                  <a:pt x="605506" y="6859124"/>
                </a:lnTo>
                <a:cubicBezTo>
                  <a:pt x="1526949" y="6121851"/>
                  <a:pt x="2134480" y="4859427"/>
                  <a:pt x="2134480" y="3425825"/>
                </a:cubicBezTo>
                <a:cubicBezTo>
                  <a:pt x="2134474" y="1997075"/>
                  <a:pt x="1531026" y="738315"/>
                  <a:pt x="614793" y="0"/>
                </a:cubicBezTo>
                <a:close/>
              </a:path>
            </a:pathLst>
          </a:custGeom>
          <a:gradFill>
            <a:gsLst>
              <a:gs pos="0">
                <a:srgbClr val="1F6898">
                  <a:alpha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16800000" scaled="0"/>
          </a:gradFill>
          <a:ln w="6331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8" name="Graphic 8">
            <a:extLst>
              <a:ext uri="{FF2B5EF4-FFF2-40B4-BE49-F238E27FC236}">
                <a16:creationId xmlns:a16="http://schemas.microsoft.com/office/drawing/2014/main" id="{1E3F33A5-A716-4545-9060-C51E2535FCC2}"/>
              </a:ext>
            </a:extLst>
          </p:cNvPr>
          <p:cNvSpPr/>
          <p:nvPr userDrawn="1"/>
        </p:nvSpPr>
        <p:spPr>
          <a:xfrm>
            <a:off x="5285970" y="0"/>
            <a:ext cx="3858030" cy="5716122"/>
          </a:xfrm>
          <a:custGeom>
            <a:avLst/>
            <a:gdLst>
              <a:gd name="connsiteX0" fmla="*/ 6979 w 3858030"/>
              <a:gd name="connsiteY0" fmla="*/ 0 h 5716122"/>
              <a:gd name="connsiteX1" fmla="*/ 3858030 w 3858030"/>
              <a:gd name="connsiteY1" fmla="*/ 0 h 5716122"/>
              <a:gd name="connsiteX2" fmla="*/ 3858030 w 3858030"/>
              <a:gd name="connsiteY2" fmla="*/ 5716122 h 5716122"/>
              <a:gd name="connsiteX3" fmla="*/ 0 w 3858030"/>
              <a:gd name="connsiteY3" fmla="*/ 5716122 h 5716122"/>
              <a:gd name="connsiteX4" fmla="*/ 1148829 w 3858030"/>
              <a:gd name="connsiteY4" fmla="*/ 2854944 h 5716122"/>
              <a:gd name="connsiteX5" fmla="*/ 6979 w 3858030"/>
              <a:gd name="connsiteY5" fmla="*/ 0 h 5716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58030" h="5716122">
                <a:moveTo>
                  <a:pt x="6979" y="0"/>
                </a:moveTo>
                <a:lnTo>
                  <a:pt x="3858030" y="0"/>
                </a:lnTo>
                <a:lnTo>
                  <a:pt x="3858030" y="5716122"/>
                </a:lnTo>
                <a:lnTo>
                  <a:pt x="0" y="5716122"/>
                </a:lnTo>
                <a:cubicBezTo>
                  <a:pt x="692364" y="5101696"/>
                  <a:pt x="1148829" y="4049654"/>
                  <a:pt x="1148829" y="2854944"/>
                </a:cubicBezTo>
                <a:cubicBezTo>
                  <a:pt x="1148829" y="1664282"/>
                  <a:pt x="695420" y="615283"/>
                  <a:pt x="6979" y="0"/>
                </a:cubicBezTo>
                <a:close/>
              </a:path>
            </a:pathLst>
          </a:custGeom>
          <a:blipFill>
            <a:blip r:embed="rId5"/>
            <a:stretch>
              <a:fillRect l="-48910" r="-75038"/>
            </a:stretch>
          </a:blipFill>
          <a:ln w="5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5" name="Google Shape;44;p6">
            <a:extLst>
              <a:ext uri="{FF2B5EF4-FFF2-40B4-BE49-F238E27FC236}">
                <a16:creationId xmlns:a16="http://schemas.microsoft.com/office/drawing/2014/main" id="{2040788B-1529-A54A-8354-4E71AA8B3307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971550" y="3327400"/>
            <a:ext cx="676275" cy="0"/>
          </a:xfrm>
          <a:prstGeom prst="straightConnector1">
            <a:avLst/>
          </a:prstGeom>
          <a:noFill/>
          <a:ln w="76200">
            <a:solidFill>
              <a:srgbClr val="CA053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Google Shape;30;p4">
            <a:extLst>
              <a:ext uri="{FF2B5EF4-FFF2-40B4-BE49-F238E27FC236}">
                <a16:creationId xmlns:a16="http://schemas.microsoft.com/office/drawing/2014/main" id="{40A0EA0C-E7CC-FB46-B80F-8BD09262EF7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74317" y="2336682"/>
            <a:ext cx="3638903" cy="63534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667" b="0" i="0">
                <a:solidFill>
                  <a:srgbClr val="1F6898"/>
                </a:solidFill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33A6440-67D3-6844-A14C-3985E0CBCF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74317" y="3683698"/>
            <a:ext cx="3638903" cy="387269"/>
          </a:xfrm>
          <a:prstGeom prst="rect">
            <a:avLst/>
          </a:prstGeom>
        </p:spPr>
        <p:txBody>
          <a:bodyPr/>
          <a:lstStyle>
            <a:lvl1pPr>
              <a:buNone/>
              <a:defRPr sz="1167" b="0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38EC70EC-140A-0646-BC27-4A3F5042FF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4315" y="4214681"/>
            <a:ext cx="2247500" cy="309269"/>
          </a:xfrm>
          <a:prstGeom prst="rect">
            <a:avLst/>
          </a:prstGeom>
        </p:spPr>
        <p:txBody>
          <a:bodyPr/>
          <a:lstStyle>
            <a:lvl1pPr algn="l">
              <a:buFont typeface="Arial" panose="020B0604020202020204" pitchFamily="34" charset="0"/>
              <a:buNone/>
              <a:defRPr sz="10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29832FE1-2BBB-3B4D-A817-B4D1C82B51F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74315" y="5505189"/>
            <a:ext cx="2247500" cy="210327"/>
          </a:xfrm>
          <a:prstGeom prst="rect">
            <a:avLst/>
          </a:prstGeom>
        </p:spPr>
        <p:txBody>
          <a:bodyPr/>
          <a:lstStyle>
            <a:lvl1pPr algn="l">
              <a:buFont typeface="Arial" panose="020B0604020202020204" pitchFamily="34" charset="0"/>
              <a:buNone/>
              <a:defRPr sz="600" b="0" i="1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pic>
        <p:nvPicPr>
          <p:cNvPr id="11" name="Picture 3" descr="Logo&#10;&#10;Description automatically generated">
            <a:extLst>
              <a:ext uri="{FF2B5EF4-FFF2-40B4-BE49-F238E27FC236}">
                <a16:creationId xmlns:a16="http://schemas.microsoft.com/office/drawing/2014/main" id="{271EC943-E313-49FF-9029-5B016106AD2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21"/>
          <a:stretch>
            <a:fillRect/>
          </a:stretch>
        </p:blipFill>
        <p:spPr bwMode="auto">
          <a:xfrm>
            <a:off x="874713" y="1112838"/>
            <a:ext cx="1233487" cy="868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03768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30B5DC-A3A0-4141-B656-FC8A42A96B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5486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30B5DC-A3A0-4141-B656-FC8A42A96B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aphic 21">
            <a:extLst>
              <a:ext uri="{FF2B5EF4-FFF2-40B4-BE49-F238E27FC236}">
                <a16:creationId xmlns:a16="http://schemas.microsoft.com/office/drawing/2014/main" id="{94BCEA85-BAC3-A34D-9391-738DA7142C26}"/>
              </a:ext>
            </a:extLst>
          </p:cNvPr>
          <p:cNvSpPr/>
          <p:nvPr userDrawn="1"/>
        </p:nvSpPr>
        <p:spPr>
          <a:xfrm>
            <a:off x="4886325" y="0"/>
            <a:ext cx="1600200" cy="5716588"/>
          </a:xfrm>
          <a:custGeom>
            <a:avLst/>
            <a:gdLst>
              <a:gd name="connsiteX0" fmla="*/ 614793 w 2134480"/>
              <a:gd name="connsiteY0" fmla="*/ 0 h 6859123"/>
              <a:gd name="connsiteX1" fmla="*/ 1885457 w 2134480"/>
              <a:gd name="connsiteY1" fmla="*/ 3425825 h 6859123"/>
              <a:gd name="connsiteX2" fmla="*/ 0 w 2134480"/>
              <a:gd name="connsiteY2" fmla="*/ 6859124 h 6859123"/>
              <a:gd name="connsiteX3" fmla="*/ 605506 w 2134480"/>
              <a:gd name="connsiteY3" fmla="*/ 6859124 h 6859123"/>
              <a:gd name="connsiteX4" fmla="*/ 2134480 w 2134480"/>
              <a:gd name="connsiteY4" fmla="*/ 3425825 h 6859123"/>
              <a:gd name="connsiteX5" fmla="*/ 614793 w 2134480"/>
              <a:gd name="connsiteY5" fmla="*/ 0 h 685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34480" h="6859123">
                <a:moveTo>
                  <a:pt x="614793" y="0"/>
                </a:moveTo>
                <a:cubicBezTo>
                  <a:pt x="1531026" y="738315"/>
                  <a:pt x="1885457" y="1997075"/>
                  <a:pt x="1885457" y="3425825"/>
                </a:cubicBezTo>
                <a:cubicBezTo>
                  <a:pt x="1885457" y="4859427"/>
                  <a:pt x="921443" y="6121851"/>
                  <a:pt x="0" y="6859124"/>
                </a:cubicBezTo>
                <a:lnTo>
                  <a:pt x="605506" y="6859124"/>
                </a:lnTo>
                <a:cubicBezTo>
                  <a:pt x="1526949" y="6121851"/>
                  <a:pt x="2134480" y="4859427"/>
                  <a:pt x="2134480" y="3425825"/>
                </a:cubicBezTo>
                <a:cubicBezTo>
                  <a:pt x="2134474" y="1997075"/>
                  <a:pt x="1531026" y="738315"/>
                  <a:pt x="614793" y="0"/>
                </a:cubicBezTo>
                <a:close/>
              </a:path>
            </a:pathLst>
          </a:custGeom>
          <a:gradFill>
            <a:gsLst>
              <a:gs pos="0">
                <a:srgbClr val="1F6898">
                  <a:alpha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16800000" scaled="0"/>
          </a:gradFill>
          <a:ln w="6331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6EF0B0D7-8088-6449-A8CD-6F32973925C3}"/>
              </a:ext>
            </a:extLst>
          </p:cNvPr>
          <p:cNvSpPr/>
          <p:nvPr userDrawn="1"/>
        </p:nvSpPr>
        <p:spPr>
          <a:xfrm>
            <a:off x="5285970" y="0"/>
            <a:ext cx="3858030" cy="5716122"/>
          </a:xfrm>
          <a:custGeom>
            <a:avLst/>
            <a:gdLst>
              <a:gd name="connsiteX0" fmla="*/ 6979 w 3858030"/>
              <a:gd name="connsiteY0" fmla="*/ 0 h 5716122"/>
              <a:gd name="connsiteX1" fmla="*/ 3858030 w 3858030"/>
              <a:gd name="connsiteY1" fmla="*/ 0 h 5716122"/>
              <a:gd name="connsiteX2" fmla="*/ 3858030 w 3858030"/>
              <a:gd name="connsiteY2" fmla="*/ 5716122 h 5716122"/>
              <a:gd name="connsiteX3" fmla="*/ 0 w 3858030"/>
              <a:gd name="connsiteY3" fmla="*/ 5716122 h 5716122"/>
              <a:gd name="connsiteX4" fmla="*/ 1148829 w 3858030"/>
              <a:gd name="connsiteY4" fmla="*/ 2854944 h 5716122"/>
              <a:gd name="connsiteX5" fmla="*/ 6979 w 3858030"/>
              <a:gd name="connsiteY5" fmla="*/ 0 h 5716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58030" h="5716122">
                <a:moveTo>
                  <a:pt x="6979" y="0"/>
                </a:moveTo>
                <a:lnTo>
                  <a:pt x="3858030" y="0"/>
                </a:lnTo>
                <a:lnTo>
                  <a:pt x="3858030" y="5716122"/>
                </a:lnTo>
                <a:lnTo>
                  <a:pt x="0" y="5716122"/>
                </a:lnTo>
                <a:cubicBezTo>
                  <a:pt x="692364" y="5101696"/>
                  <a:pt x="1148829" y="4049654"/>
                  <a:pt x="1148829" y="2854944"/>
                </a:cubicBezTo>
                <a:cubicBezTo>
                  <a:pt x="1148829" y="1664282"/>
                  <a:pt x="695420" y="615283"/>
                  <a:pt x="6979" y="0"/>
                </a:cubicBezTo>
                <a:close/>
              </a:path>
            </a:pathLst>
          </a:custGeom>
          <a:blipFill>
            <a:blip r:embed="rId5"/>
            <a:stretch>
              <a:fillRect l="-96966" t="-69" r="-76438" b="-69"/>
            </a:stretch>
          </a:blipFill>
          <a:ln w="5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7" name="Google Shape;44;p6">
            <a:extLst>
              <a:ext uri="{FF2B5EF4-FFF2-40B4-BE49-F238E27FC236}">
                <a16:creationId xmlns:a16="http://schemas.microsoft.com/office/drawing/2014/main" id="{B6592823-7653-484C-BA48-F79680EEAD62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971550" y="3327400"/>
            <a:ext cx="676275" cy="0"/>
          </a:xfrm>
          <a:prstGeom prst="straightConnector1">
            <a:avLst/>
          </a:prstGeom>
          <a:noFill/>
          <a:ln w="76200">
            <a:solidFill>
              <a:srgbClr val="CA053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Google Shape;30;p4">
            <a:extLst>
              <a:ext uri="{FF2B5EF4-FFF2-40B4-BE49-F238E27FC236}">
                <a16:creationId xmlns:a16="http://schemas.microsoft.com/office/drawing/2014/main" id="{98CB27A0-C2CC-514C-B064-CD66229BE3C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74317" y="2336682"/>
            <a:ext cx="3638903" cy="63534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667" b="1" i="0">
                <a:solidFill>
                  <a:srgbClr val="1F6898"/>
                </a:solidFill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11EA52E-0476-5341-BFAE-9250B7F5A6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74317" y="3683698"/>
            <a:ext cx="3638903" cy="38726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FD18B7DC-E29D-B742-B5E4-98FA6476C40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4315" y="4214681"/>
            <a:ext cx="2247500" cy="309269"/>
          </a:xfrm>
          <a:prstGeom prst="rect">
            <a:avLst/>
          </a:prstGeom>
        </p:spPr>
        <p:txBody>
          <a:bodyPr/>
          <a:lstStyle>
            <a:lvl1pPr algn="l">
              <a:buFont typeface="Arial" panose="020B0604020202020204" pitchFamily="34" charset="0"/>
              <a:buNone/>
              <a:defRPr sz="10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A40A8B57-93B7-D644-B1CD-47E4969C8F6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74315" y="5505189"/>
            <a:ext cx="2247500" cy="210327"/>
          </a:xfrm>
          <a:prstGeom prst="rect">
            <a:avLst/>
          </a:prstGeom>
        </p:spPr>
        <p:txBody>
          <a:bodyPr/>
          <a:lstStyle>
            <a:lvl1pPr algn="l">
              <a:buFont typeface="Arial" panose="020B0604020202020204" pitchFamily="34" charset="0"/>
              <a:buNone/>
              <a:defRPr sz="600" b="0" i="1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pic>
        <p:nvPicPr>
          <p:cNvPr id="13" name="Picture 3" descr="Logo&#10;&#10;Description automatically generated">
            <a:extLst>
              <a:ext uri="{FF2B5EF4-FFF2-40B4-BE49-F238E27FC236}">
                <a16:creationId xmlns:a16="http://schemas.microsoft.com/office/drawing/2014/main" id="{5AA48DD8-766C-405A-8C92-4213AF1923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21"/>
          <a:stretch>
            <a:fillRect/>
          </a:stretch>
        </p:blipFill>
        <p:spPr bwMode="auto">
          <a:xfrm>
            <a:off x="874713" y="1112838"/>
            <a:ext cx="1233487" cy="868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67241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5D0FAAC-ED81-4E0D-8DE6-164A5A7F99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043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5D0FAAC-ED81-4E0D-8DE6-164A5A7F99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oogle Shape;44;p6">
            <a:extLst>
              <a:ext uri="{FF2B5EF4-FFF2-40B4-BE49-F238E27FC236}">
                <a16:creationId xmlns:a16="http://schemas.microsoft.com/office/drawing/2014/main" id="{E8A866C3-021A-A44F-A0FB-300DE24C5FF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" name="Google Shape;44;p6">
            <a:extLst>
              <a:ext uri="{FF2B5EF4-FFF2-40B4-BE49-F238E27FC236}">
                <a16:creationId xmlns:a16="http://schemas.microsoft.com/office/drawing/2014/main" id="{FBEA1038-71E6-764C-919F-F09F7A36C6C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Google Shape;30;p4">
            <a:extLst>
              <a:ext uri="{FF2B5EF4-FFF2-40B4-BE49-F238E27FC236}">
                <a16:creationId xmlns:a16="http://schemas.microsoft.com/office/drawing/2014/main" id="{D486970D-7945-7A4A-B7FE-72F639514F3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6" y="502922"/>
            <a:ext cx="6901671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9B077DC-11E7-0C4D-8DA5-CE4B184F68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6900356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4007FFA-6B7B-7640-B621-EEAA99909B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8092230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3076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AB303-24FD-4E92-937C-3554CDDD4F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2782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AB303-24FD-4E92-937C-3554CDDD4F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aphic 21">
            <a:extLst>
              <a:ext uri="{FF2B5EF4-FFF2-40B4-BE49-F238E27FC236}">
                <a16:creationId xmlns:a16="http://schemas.microsoft.com/office/drawing/2014/main" id="{94BCEA85-BAC3-A34D-9391-738DA7142C26}"/>
              </a:ext>
            </a:extLst>
          </p:cNvPr>
          <p:cNvSpPr/>
          <p:nvPr userDrawn="1"/>
        </p:nvSpPr>
        <p:spPr>
          <a:xfrm>
            <a:off x="4886325" y="0"/>
            <a:ext cx="1600200" cy="5716588"/>
          </a:xfrm>
          <a:custGeom>
            <a:avLst/>
            <a:gdLst>
              <a:gd name="connsiteX0" fmla="*/ 614793 w 2134480"/>
              <a:gd name="connsiteY0" fmla="*/ 0 h 6859123"/>
              <a:gd name="connsiteX1" fmla="*/ 1885457 w 2134480"/>
              <a:gd name="connsiteY1" fmla="*/ 3425825 h 6859123"/>
              <a:gd name="connsiteX2" fmla="*/ 0 w 2134480"/>
              <a:gd name="connsiteY2" fmla="*/ 6859124 h 6859123"/>
              <a:gd name="connsiteX3" fmla="*/ 605506 w 2134480"/>
              <a:gd name="connsiteY3" fmla="*/ 6859124 h 6859123"/>
              <a:gd name="connsiteX4" fmla="*/ 2134480 w 2134480"/>
              <a:gd name="connsiteY4" fmla="*/ 3425825 h 6859123"/>
              <a:gd name="connsiteX5" fmla="*/ 614793 w 2134480"/>
              <a:gd name="connsiteY5" fmla="*/ 0 h 685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34480" h="6859123">
                <a:moveTo>
                  <a:pt x="614793" y="0"/>
                </a:moveTo>
                <a:cubicBezTo>
                  <a:pt x="1531026" y="738315"/>
                  <a:pt x="1885457" y="1997075"/>
                  <a:pt x="1885457" y="3425825"/>
                </a:cubicBezTo>
                <a:cubicBezTo>
                  <a:pt x="1885457" y="4859427"/>
                  <a:pt x="921443" y="6121851"/>
                  <a:pt x="0" y="6859124"/>
                </a:cubicBezTo>
                <a:lnTo>
                  <a:pt x="605506" y="6859124"/>
                </a:lnTo>
                <a:cubicBezTo>
                  <a:pt x="1526949" y="6121851"/>
                  <a:pt x="2134480" y="4859427"/>
                  <a:pt x="2134480" y="3425825"/>
                </a:cubicBezTo>
                <a:cubicBezTo>
                  <a:pt x="2134474" y="1997075"/>
                  <a:pt x="1531026" y="738315"/>
                  <a:pt x="614793" y="0"/>
                </a:cubicBezTo>
                <a:close/>
              </a:path>
            </a:pathLst>
          </a:custGeom>
          <a:gradFill>
            <a:gsLst>
              <a:gs pos="0">
                <a:srgbClr val="1F6898">
                  <a:alpha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16800000" scaled="0"/>
          </a:gradFill>
          <a:ln w="6331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97DCB973-8CFF-954D-9C98-0461BF549A12}"/>
              </a:ext>
            </a:extLst>
          </p:cNvPr>
          <p:cNvSpPr/>
          <p:nvPr userDrawn="1"/>
        </p:nvSpPr>
        <p:spPr>
          <a:xfrm>
            <a:off x="5285970" y="0"/>
            <a:ext cx="3858030" cy="5716122"/>
          </a:xfrm>
          <a:custGeom>
            <a:avLst/>
            <a:gdLst>
              <a:gd name="connsiteX0" fmla="*/ 6979 w 3858030"/>
              <a:gd name="connsiteY0" fmla="*/ 0 h 5716122"/>
              <a:gd name="connsiteX1" fmla="*/ 3858030 w 3858030"/>
              <a:gd name="connsiteY1" fmla="*/ 0 h 5716122"/>
              <a:gd name="connsiteX2" fmla="*/ 3858030 w 3858030"/>
              <a:gd name="connsiteY2" fmla="*/ 5716122 h 5716122"/>
              <a:gd name="connsiteX3" fmla="*/ 0 w 3858030"/>
              <a:gd name="connsiteY3" fmla="*/ 5716122 h 5716122"/>
              <a:gd name="connsiteX4" fmla="*/ 1148829 w 3858030"/>
              <a:gd name="connsiteY4" fmla="*/ 2854944 h 5716122"/>
              <a:gd name="connsiteX5" fmla="*/ 6979 w 3858030"/>
              <a:gd name="connsiteY5" fmla="*/ 0 h 5716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58030" h="5716122">
                <a:moveTo>
                  <a:pt x="6979" y="0"/>
                </a:moveTo>
                <a:lnTo>
                  <a:pt x="3858030" y="0"/>
                </a:lnTo>
                <a:lnTo>
                  <a:pt x="3858030" y="5716122"/>
                </a:lnTo>
                <a:lnTo>
                  <a:pt x="0" y="5716122"/>
                </a:lnTo>
                <a:cubicBezTo>
                  <a:pt x="692364" y="5101696"/>
                  <a:pt x="1148829" y="4049654"/>
                  <a:pt x="1148829" y="2854944"/>
                </a:cubicBezTo>
                <a:cubicBezTo>
                  <a:pt x="1148829" y="1664282"/>
                  <a:pt x="695420" y="615283"/>
                  <a:pt x="6979" y="0"/>
                </a:cubicBezTo>
                <a:close/>
              </a:path>
            </a:pathLst>
          </a:custGeom>
          <a:blipFill>
            <a:blip r:embed="rId5"/>
            <a:stretch>
              <a:fillRect l="-6920" r="-117028"/>
            </a:stretch>
          </a:blipFill>
          <a:ln w="5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7" name="Google Shape;44;p6">
            <a:extLst>
              <a:ext uri="{FF2B5EF4-FFF2-40B4-BE49-F238E27FC236}">
                <a16:creationId xmlns:a16="http://schemas.microsoft.com/office/drawing/2014/main" id="{BA82C6A4-B5C3-6047-B2D7-8A24AFA92E24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971550" y="3327400"/>
            <a:ext cx="676275" cy="0"/>
          </a:xfrm>
          <a:prstGeom prst="straightConnector1">
            <a:avLst/>
          </a:prstGeom>
          <a:noFill/>
          <a:ln w="76200">
            <a:solidFill>
              <a:srgbClr val="CA053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Google Shape;30;p4">
            <a:extLst>
              <a:ext uri="{FF2B5EF4-FFF2-40B4-BE49-F238E27FC236}">
                <a16:creationId xmlns:a16="http://schemas.microsoft.com/office/drawing/2014/main" id="{46E7AE3C-C671-C049-8EC5-721354321A1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74317" y="2336682"/>
            <a:ext cx="3638903" cy="63534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667" b="1" i="0">
                <a:solidFill>
                  <a:srgbClr val="1F6898"/>
                </a:solidFill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1EF279B-EF7F-CE4A-92D1-19EC8238C8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74317" y="3683698"/>
            <a:ext cx="3638903" cy="38726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05FAB9BB-E30A-5E4A-B676-5CF84442C9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4315" y="4214681"/>
            <a:ext cx="2247500" cy="309269"/>
          </a:xfrm>
          <a:prstGeom prst="rect">
            <a:avLst/>
          </a:prstGeom>
        </p:spPr>
        <p:txBody>
          <a:bodyPr/>
          <a:lstStyle>
            <a:lvl1pPr algn="l">
              <a:buFont typeface="Arial" panose="020B0604020202020204" pitchFamily="34" charset="0"/>
              <a:buNone/>
              <a:defRPr sz="10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D6717D06-C5D6-0A4B-AC81-611A78B4BE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74315" y="5505189"/>
            <a:ext cx="2247500" cy="210327"/>
          </a:xfrm>
          <a:prstGeom prst="rect">
            <a:avLst/>
          </a:prstGeom>
        </p:spPr>
        <p:txBody>
          <a:bodyPr/>
          <a:lstStyle>
            <a:lvl1pPr algn="l">
              <a:buFont typeface="Arial" panose="020B0604020202020204" pitchFamily="34" charset="0"/>
              <a:buNone/>
              <a:defRPr sz="600" b="0" i="1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pic>
        <p:nvPicPr>
          <p:cNvPr id="13" name="Picture 3" descr="Logo&#10;&#10;Description automatically generated">
            <a:extLst>
              <a:ext uri="{FF2B5EF4-FFF2-40B4-BE49-F238E27FC236}">
                <a16:creationId xmlns:a16="http://schemas.microsoft.com/office/drawing/2014/main" id="{2839489A-91BE-4DAE-919B-9DC61495A8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21"/>
          <a:stretch>
            <a:fillRect/>
          </a:stretch>
        </p:blipFill>
        <p:spPr bwMode="auto">
          <a:xfrm>
            <a:off x="874713" y="1112838"/>
            <a:ext cx="1233487" cy="868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3895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1ED5A99-417F-46FD-8BCE-47B4D462A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557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1ED5A99-417F-46FD-8BCE-47B4D462A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aphic 21">
            <a:extLst>
              <a:ext uri="{FF2B5EF4-FFF2-40B4-BE49-F238E27FC236}">
                <a16:creationId xmlns:a16="http://schemas.microsoft.com/office/drawing/2014/main" id="{94BCEA85-BAC3-A34D-9391-738DA7142C26}"/>
              </a:ext>
            </a:extLst>
          </p:cNvPr>
          <p:cNvSpPr/>
          <p:nvPr userDrawn="1"/>
        </p:nvSpPr>
        <p:spPr>
          <a:xfrm>
            <a:off x="4886325" y="0"/>
            <a:ext cx="1600200" cy="5716588"/>
          </a:xfrm>
          <a:custGeom>
            <a:avLst/>
            <a:gdLst>
              <a:gd name="connsiteX0" fmla="*/ 614793 w 2134480"/>
              <a:gd name="connsiteY0" fmla="*/ 0 h 6859123"/>
              <a:gd name="connsiteX1" fmla="*/ 1885457 w 2134480"/>
              <a:gd name="connsiteY1" fmla="*/ 3425825 h 6859123"/>
              <a:gd name="connsiteX2" fmla="*/ 0 w 2134480"/>
              <a:gd name="connsiteY2" fmla="*/ 6859124 h 6859123"/>
              <a:gd name="connsiteX3" fmla="*/ 605506 w 2134480"/>
              <a:gd name="connsiteY3" fmla="*/ 6859124 h 6859123"/>
              <a:gd name="connsiteX4" fmla="*/ 2134480 w 2134480"/>
              <a:gd name="connsiteY4" fmla="*/ 3425825 h 6859123"/>
              <a:gd name="connsiteX5" fmla="*/ 614793 w 2134480"/>
              <a:gd name="connsiteY5" fmla="*/ 0 h 685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34480" h="6859123">
                <a:moveTo>
                  <a:pt x="614793" y="0"/>
                </a:moveTo>
                <a:cubicBezTo>
                  <a:pt x="1531026" y="738315"/>
                  <a:pt x="1885457" y="1997075"/>
                  <a:pt x="1885457" y="3425825"/>
                </a:cubicBezTo>
                <a:cubicBezTo>
                  <a:pt x="1885457" y="4859427"/>
                  <a:pt x="921443" y="6121851"/>
                  <a:pt x="0" y="6859124"/>
                </a:cubicBezTo>
                <a:lnTo>
                  <a:pt x="605506" y="6859124"/>
                </a:lnTo>
                <a:cubicBezTo>
                  <a:pt x="1526949" y="6121851"/>
                  <a:pt x="2134480" y="4859427"/>
                  <a:pt x="2134480" y="3425825"/>
                </a:cubicBezTo>
                <a:cubicBezTo>
                  <a:pt x="2134474" y="1997075"/>
                  <a:pt x="1531026" y="738315"/>
                  <a:pt x="614793" y="0"/>
                </a:cubicBezTo>
                <a:close/>
              </a:path>
            </a:pathLst>
          </a:custGeom>
          <a:gradFill>
            <a:gsLst>
              <a:gs pos="0">
                <a:srgbClr val="1F6898">
                  <a:alpha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16800000" scaled="0"/>
          </a:gradFill>
          <a:ln w="6331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A56A6970-8F8A-B847-8AD7-E166E733AC94}"/>
              </a:ext>
            </a:extLst>
          </p:cNvPr>
          <p:cNvSpPr/>
          <p:nvPr userDrawn="1"/>
        </p:nvSpPr>
        <p:spPr>
          <a:xfrm>
            <a:off x="5285970" y="0"/>
            <a:ext cx="3858030" cy="5716122"/>
          </a:xfrm>
          <a:custGeom>
            <a:avLst/>
            <a:gdLst>
              <a:gd name="connsiteX0" fmla="*/ 6979 w 3858030"/>
              <a:gd name="connsiteY0" fmla="*/ 0 h 5716122"/>
              <a:gd name="connsiteX1" fmla="*/ 3858030 w 3858030"/>
              <a:gd name="connsiteY1" fmla="*/ 0 h 5716122"/>
              <a:gd name="connsiteX2" fmla="*/ 3858030 w 3858030"/>
              <a:gd name="connsiteY2" fmla="*/ 5716122 h 5716122"/>
              <a:gd name="connsiteX3" fmla="*/ 0 w 3858030"/>
              <a:gd name="connsiteY3" fmla="*/ 5716122 h 5716122"/>
              <a:gd name="connsiteX4" fmla="*/ 1148829 w 3858030"/>
              <a:gd name="connsiteY4" fmla="*/ 2854944 h 5716122"/>
              <a:gd name="connsiteX5" fmla="*/ 6979 w 3858030"/>
              <a:gd name="connsiteY5" fmla="*/ 0 h 5716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58030" h="5716122">
                <a:moveTo>
                  <a:pt x="6979" y="0"/>
                </a:moveTo>
                <a:lnTo>
                  <a:pt x="3858030" y="0"/>
                </a:lnTo>
                <a:lnTo>
                  <a:pt x="3858030" y="5716122"/>
                </a:lnTo>
                <a:lnTo>
                  <a:pt x="0" y="5716122"/>
                </a:lnTo>
                <a:cubicBezTo>
                  <a:pt x="692364" y="5101696"/>
                  <a:pt x="1148829" y="4049654"/>
                  <a:pt x="1148829" y="2854944"/>
                </a:cubicBezTo>
                <a:cubicBezTo>
                  <a:pt x="1148829" y="1664282"/>
                  <a:pt x="695420" y="615283"/>
                  <a:pt x="6979" y="0"/>
                </a:cubicBezTo>
                <a:close/>
              </a:path>
            </a:pathLst>
          </a:custGeom>
          <a:blipFill>
            <a:blip r:embed="rId5"/>
            <a:stretch>
              <a:fillRect l="-69439" r="-54509"/>
            </a:stretch>
          </a:blipFill>
          <a:ln w="5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8" name="Google Shape;44;p6">
            <a:extLst>
              <a:ext uri="{FF2B5EF4-FFF2-40B4-BE49-F238E27FC236}">
                <a16:creationId xmlns:a16="http://schemas.microsoft.com/office/drawing/2014/main" id="{57856AE0-C9A5-C34C-BE96-06C2C79F505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971550" y="3327400"/>
            <a:ext cx="676275" cy="0"/>
          </a:xfrm>
          <a:prstGeom prst="straightConnector1">
            <a:avLst/>
          </a:prstGeom>
          <a:noFill/>
          <a:ln w="76200">
            <a:solidFill>
              <a:srgbClr val="CA053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Google Shape;30;p4">
            <a:extLst>
              <a:ext uri="{FF2B5EF4-FFF2-40B4-BE49-F238E27FC236}">
                <a16:creationId xmlns:a16="http://schemas.microsoft.com/office/drawing/2014/main" id="{D6D7E635-278A-764D-96A7-F464DC1577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74317" y="2336682"/>
            <a:ext cx="3638903" cy="63534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667" b="1" i="0">
                <a:solidFill>
                  <a:srgbClr val="1F6898"/>
                </a:solidFill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473C6CF-1CF1-3F44-8D24-10C510F6DD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74317" y="3683698"/>
            <a:ext cx="3638903" cy="38726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5587A4B2-A78C-B14D-9C10-C169985244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4315" y="4214681"/>
            <a:ext cx="2247500" cy="309269"/>
          </a:xfrm>
          <a:prstGeom prst="rect">
            <a:avLst/>
          </a:prstGeom>
        </p:spPr>
        <p:txBody>
          <a:bodyPr/>
          <a:lstStyle>
            <a:lvl1pPr algn="l">
              <a:buFont typeface="Arial" panose="020B0604020202020204" pitchFamily="34" charset="0"/>
              <a:buNone/>
              <a:defRPr sz="10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EF96806F-4949-2248-A03E-36560A5FC4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74315" y="5505189"/>
            <a:ext cx="2247500" cy="210327"/>
          </a:xfrm>
          <a:prstGeom prst="rect">
            <a:avLst/>
          </a:prstGeom>
        </p:spPr>
        <p:txBody>
          <a:bodyPr/>
          <a:lstStyle>
            <a:lvl1pPr algn="l">
              <a:buFont typeface="Arial" panose="020B0604020202020204" pitchFamily="34" charset="0"/>
              <a:buNone/>
              <a:defRPr sz="600" b="0" i="1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pic>
        <p:nvPicPr>
          <p:cNvPr id="14" name="Picture 3" descr="Logo&#10;&#10;Description automatically generated">
            <a:extLst>
              <a:ext uri="{FF2B5EF4-FFF2-40B4-BE49-F238E27FC236}">
                <a16:creationId xmlns:a16="http://schemas.microsoft.com/office/drawing/2014/main" id="{BC787B7D-962C-48D3-A83B-09179AEB52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21"/>
          <a:stretch>
            <a:fillRect/>
          </a:stretch>
        </p:blipFill>
        <p:spPr bwMode="auto">
          <a:xfrm>
            <a:off x="874713" y="1112838"/>
            <a:ext cx="1233487" cy="868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74360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AD1C3E-946D-4D3D-901C-B6E5F38D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7852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CAD1C3E-946D-4D3D-901C-B6E5F38D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aphic 21">
            <a:extLst>
              <a:ext uri="{FF2B5EF4-FFF2-40B4-BE49-F238E27FC236}">
                <a16:creationId xmlns:a16="http://schemas.microsoft.com/office/drawing/2014/main" id="{94BCEA85-BAC3-A34D-9391-738DA7142C26}"/>
              </a:ext>
            </a:extLst>
          </p:cNvPr>
          <p:cNvSpPr/>
          <p:nvPr userDrawn="1"/>
        </p:nvSpPr>
        <p:spPr>
          <a:xfrm>
            <a:off x="4886325" y="0"/>
            <a:ext cx="1600200" cy="5716588"/>
          </a:xfrm>
          <a:custGeom>
            <a:avLst/>
            <a:gdLst>
              <a:gd name="connsiteX0" fmla="*/ 614793 w 2134480"/>
              <a:gd name="connsiteY0" fmla="*/ 0 h 6859123"/>
              <a:gd name="connsiteX1" fmla="*/ 1885457 w 2134480"/>
              <a:gd name="connsiteY1" fmla="*/ 3425825 h 6859123"/>
              <a:gd name="connsiteX2" fmla="*/ 0 w 2134480"/>
              <a:gd name="connsiteY2" fmla="*/ 6859124 h 6859123"/>
              <a:gd name="connsiteX3" fmla="*/ 605506 w 2134480"/>
              <a:gd name="connsiteY3" fmla="*/ 6859124 h 6859123"/>
              <a:gd name="connsiteX4" fmla="*/ 2134480 w 2134480"/>
              <a:gd name="connsiteY4" fmla="*/ 3425825 h 6859123"/>
              <a:gd name="connsiteX5" fmla="*/ 614793 w 2134480"/>
              <a:gd name="connsiteY5" fmla="*/ 0 h 685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34480" h="6859123">
                <a:moveTo>
                  <a:pt x="614793" y="0"/>
                </a:moveTo>
                <a:cubicBezTo>
                  <a:pt x="1531026" y="738315"/>
                  <a:pt x="1885457" y="1997075"/>
                  <a:pt x="1885457" y="3425825"/>
                </a:cubicBezTo>
                <a:cubicBezTo>
                  <a:pt x="1885457" y="4859427"/>
                  <a:pt x="921443" y="6121851"/>
                  <a:pt x="0" y="6859124"/>
                </a:cubicBezTo>
                <a:lnTo>
                  <a:pt x="605506" y="6859124"/>
                </a:lnTo>
                <a:cubicBezTo>
                  <a:pt x="1526949" y="6121851"/>
                  <a:pt x="2134480" y="4859427"/>
                  <a:pt x="2134480" y="3425825"/>
                </a:cubicBezTo>
                <a:cubicBezTo>
                  <a:pt x="2134474" y="1997075"/>
                  <a:pt x="1531026" y="738315"/>
                  <a:pt x="614793" y="0"/>
                </a:cubicBezTo>
                <a:close/>
              </a:path>
            </a:pathLst>
          </a:custGeom>
          <a:gradFill>
            <a:gsLst>
              <a:gs pos="0">
                <a:srgbClr val="1F6898">
                  <a:alpha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16800000" scaled="0"/>
          </a:gradFill>
          <a:ln w="6331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24CC0158-8CCF-284A-98B3-A713193CAD17}"/>
              </a:ext>
            </a:extLst>
          </p:cNvPr>
          <p:cNvSpPr/>
          <p:nvPr userDrawn="1"/>
        </p:nvSpPr>
        <p:spPr>
          <a:xfrm>
            <a:off x="5285970" y="0"/>
            <a:ext cx="3858030" cy="5716122"/>
          </a:xfrm>
          <a:custGeom>
            <a:avLst/>
            <a:gdLst>
              <a:gd name="connsiteX0" fmla="*/ 6979 w 3858030"/>
              <a:gd name="connsiteY0" fmla="*/ 0 h 5716122"/>
              <a:gd name="connsiteX1" fmla="*/ 3858030 w 3858030"/>
              <a:gd name="connsiteY1" fmla="*/ 0 h 5716122"/>
              <a:gd name="connsiteX2" fmla="*/ 3858030 w 3858030"/>
              <a:gd name="connsiteY2" fmla="*/ 5716122 h 5716122"/>
              <a:gd name="connsiteX3" fmla="*/ 0 w 3858030"/>
              <a:gd name="connsiteY3" fmla="*/ 5716122 h 5716122"/>
              <a:gd name="connsiteX4" fmla="*/ 1148829 w 3858030"/>
              <a:gd name="connsiteY4" fmla="*/ 2854944 h 5716122"/>
              <a:gd name="connsiteX5" fmla="*/ 6979 w 3858030"/>
              <a:gd name="connsiteY5" fmla="*/ 0 h 5716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58030" h="5716122">
                <a:moveTo>
                  <a:pt x="6979" y="0"/>
                </a:moveTo>
                <a:lnTo>
                  <a:pt x="3858030" y="0"/>
                </a:lnTo>
                <a:lnTo>
                  <a:pt x="3858030" y="5716122"/>
                </a:lnTo>
                <a:lnTo>
                  <a:pt x="0" y="5716122"/>
                </a:lnTo>
                <a:cubicBezTo>
                  <a:pt x="692364" y="5101696"/>
                  <a:pt x="1148829" y="4049654"/>
                  <a:pt x="1148829" y="2854944"/>
                </a:cubicBezTo>
                <a:cubicBezTo>
                  <a:pt x="1148829" y="1664282"/>
                  <a:pt x="695420" y="615283"/>
                  <a:pt x="6979" y="0"/>
                </a:cubicBezTo>
                <a:close/>
              </a:path>
            </a:pathLst>
          </a:custGeom>
          <a:blipFill>
            <a:blip r:embed="rId5"/>
            <a:stretch>
              <a:fillRect l="-59175" r="-64773"/>
            </a:stretch>
          </a:blipFill>
          <a:ln w="5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7" name="Google Shape;44;p6">
            <a:extLst>
              <a:ext uri="{FF2B5EF4-FFF2-40B4-BE49-F238E27FC236}">
                <a16:creationId xmlns:a16="http://schemas.microsoft.com/office/drawing/2014/main" id="{3B04ACAD-C812-AB45-8F92-5CF96CC72097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971550" y="3327400"/>
            <a:ext cx="676275" cy="0"/>
          </a:xfrm>
          <a:prstGeom prst="straightConnector1">
            <a:avLst/>
          </a:prstGeom>
          <a:noFill/>
          <a:ln w="76200">
            <a:solidFill>
              <a:srgbClr val="CA053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Google Shape;30;p4">
            <a:extLst>
              <a:ext uri="{FF2B5EF4-FFF2-40B4-BE49-F238E27FC236}">
                <a16:creationId xmlns:a16="http://schemas.microsoft.com/office/drawing/2014/main" id="{ADF152F0-147C-0A4D-BA93-BF85D44DA1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74317" y="2336682"/>
            <a:ext cx="3638903" cy="63534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667" b="1" i="0">
                <a:solidFill>
                  <a:srgbClr val="1F6898"/>
                </a:solidFill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076E9CE-2677-1B44-BA7C-3B3AE525DD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74317" y="3683698"/>
            <a:ext cx="3638903" cy="38726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FFD0B37D-DF14-FE47-B277-E64607567C8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4315" y="4214681"/>
            <a:ext cx="2247500" cy="309269"/>
          </a:xfrm>
          <a:prstGeom prst="rect">
            <a:avLst/>
          </a:prstGeom>
        </p:spPr>
        <p:txBody>
          <a:bodyPr/>
          <a:lstStyle>
            <a:lvl1pPr algn="l">
              <a:buFont typeface="Arial" panose="020B0604020202020204" pitchFamily="34" charset="0"/>
              <a:buNone/>
              <a:defRPr sz="10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47D08879-9D90-A54D-85CD-3DCF606D413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74315" y="5505189"/>
            <a:ext cx="2247500" cy="210327"/>
          </a:xfrm>
          <a:prstGeom prst="rect">
            <a:avLst/>
          </a:prstGeom>
        </p:spPr>
        <p:txBody>
          <a:bodyPr/>
          <a:lstStyle>
            <a:lvl1pPr algn="l">
              <a:buFont typeface="Arial" panose="020B0604020202020204" pitchFamily="34" charset="0"/>
              <a:buNone/>
              <a:defRPr sz="600" b="0" i="1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pic>
        <p:nvPicPr>
          <p:cNvPr id="13" name="Picture 3" descr="Logo&#10;&#10;Description automatically generated">
            <a:extLst>
              <a:ext uri="{FF2B5EF4-FFF2-40B4-BE49-F238E27FC236}">
                <a16:creationId xmlns:a16="http://schemas.microsoft.com/office/drawing/2014/main" id="{AE8A9700-3BE5-42D9-A304-12DFA2A592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21"/>
          <a:stretch>
            <a:fillRect/>
          </a:stretch>
        </p:blipFill>
        <p:spPr bwMode="auto">
          <a:xfrm>
            <a:off x="874713" y="1112838"/>
            <a:ext cx="1233487" cy="868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278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6329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1">
            <a:extLst>
              <a:ext uri="{FF2B5EF4-FFF2-40B4-BE49-F238E27FC236}">
                <a16:creationId xmlns:a16="http://schemas.microsoft.com/office/drawing/2014/main" id="{0F928625-91C9-4C47-AEAE-D81BC4BF9A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65850" y="4930775"/>
            <a:ext cx="2978150" cy="430213"/>
          </a:xfrm>
          <a:prstGeom prst="rect">
            <a:avLst/>
          </a:prstGeom>
        </p:spPr>
      </p:pic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400970"/>
            <a:ext cx="9144000" cy="2913063"/>
          </a:xfrm>
          <a:prstGeom prst="rect">
            <a:avLst/>
          </a:prstGeom>
          <a:solidFill>
            <a:srgbClr val="1F6898"/>
          </a:solidFill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Click icon to add picture</a:t>
            </a:r>
            <a:endParaRPr lang="en-US" noProof="0" dirty="0"/>
          </a:p>
        </p:txBody>
      </p:sp>
      <p:grpSp>
        <p:nvGrpSpPr>
          <p:cNvPr id="4" name="Graphic 100">
            <a:extLst>
              <a:ext uri="{FF2B5EF4-FFF2-40B4-BE49-F238E27FC236}">
                <a16:creationId xmlns:a16="http://schemas.microsoft.com/office/drawing/2014/main" id="{E388DC5D-3C79-504C-BD31-E90BB9A9DF24}"/>
              </a:ext>
            </a:extLst>
          </p:cNvPr>
          <p:cNvGrpSpPr/>
          <p:nvPr userDrawn="1"/>
        </p:nvGrpSpPr>
        <p:grpSpPr>
          <a:xfrm>
            <a:off x="7611200" y="284166"/>
            <a:ext cx="1112606" cy="739028"/>
            <a:chOff x="7611200" y="284166"/>
            <a:chExt cx="1112606" cy="739028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D875509-E5F0-2747-BEA6-0F29FBC15911}"/>
                </a:ext>
              </a:extLst>
            </p:cNvPr>
            <p:cNvSpPr/>
            <p:nvPr/>
          </p:nvSpPr>
          <p:spPr>
            <a:xfrm>
              <a:off x="8065090" y="981314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39A086D7-BF25-9D40-94C2-38F23ECE1A9C}"/>
                </a:ext>
              </a:extLst>
            </p:cNvPr>
            <p:cNvSpPr/>
            <p:nvPr/>
          </p:nvSpPr>
          <p:spPr>
            <a:xfrm>
              <a:off x="8065090" y="284175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18415A1-6B03-284E-B662-2DAADFCCDDBC}"/>
                </a:ext>
              </a:extLst>
            </p:cNvPr>
            <p:cNvSpPr/>
            <p:nvPr/>
          </p:nvSpPr>
          <p:spPr>
            <a:xfrm>
              <a:off x="7611200" y="284166"/>
              <a:ext cx="928953" cy="738998"/>
            </a:xfrm>
            <a:custGeom>
              <a:avLst/>
              <a:gdLst>
                <a:gd name="connsiteX0" fmla="*/ 835856 w 928953"/>
                <a:gd name="connsiteY0" fmla="*/ 129348 h 738998"/>
                <a:gd name="connsiteX1" fmla="*/ 928952 w 928953"/>
                <a:gd name="connsiteY1" fmla="*/ 373724 h 738998"/>
                <a:gd name="connsiteX2" fmla="*/ 687905 w 928953"/>
                <a:gd name="connsiteY2" fmla="*/ 707088 h 738998"/>
                <a:gd name="connsiteX3" fmla="*/ 422261 w 928953"/>
                <a:gd name="connsiteY3" fmla="*/ 738739 h 738998"/>
                <a:gd name="connsiteX4" fmla="*/ 59346 w 928953"/>
                <a:gd name="connsiteY4" fmla="*/ 566442 h 738998"/>
                <a:gd name="connsiteX5" fmla="*/ 36221 w 928953"/>
                <a:gd name="connsiteY5" fmla="*/ 210589 h 738998"/>
                <a:gd name="connsiteX6" fmla="*/ 317565 w 928953"/>
                <a:gd name="connsiteY6" fmla="*/ 11729 h 738998"/>
                <a:gd name="connsiteX7" fmla="*/ 681889 w 928953"/>
                <a:gd name="connsiteY7" fmla="*/ 31485 h 738998"/>
                <a:gd name="connsiteX8" fmla="*/ 835856 w 928953"/>
                <a:gd name="connsiteY8" fmla="*/ 129348 h 73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3" h="738998">
                  <a:moveTo>
                    <a:pt x="835856" y="129348"/>
                  </a:moveTo>
                  <a:cubicBezTo>
                    <a:pt x="896114" y="196814"/>
                    <a:pt x="929236" y="283759"/>
                    <a:pt x="928952" y="373724"/>
                  </a:cubicBezTo>
                  <a:cubicBezTo>
                    <a:pt x="925917" y="523314"/>
                    <a:pt x="830184" y="655711"/>
                    <a:pt x="687905" y="707088"/>
                  </a:cubicBezTo>
                  <a:cubicBezTo>
                    <a:pt x="605509" y="733926"/>
                    <a:pt x="513834" y="740469"/>
                    <a:pt x="422261" y="738739"/>
                  </a:cubicBezTo>
                  <a:cubicBezTo>
                    <a:pt x="276874" y="734728"/>
                    <a:pt x="140410" y="684838"/>
                    <a:pt x="59346" y="566442"/>
                  </a:cubicBezTo>
                  <a:cubicBezTo>
                    <a:pt x="-7731" y="467563"/>
                    <a:pt x="-21426" y="316651"/>
                    <a:pt x="36221" y="210589"/>
                  </a:cubicBezTo>
                  <a:cubicBezTo>
                    <a:pt x="85377" y="102522"/>
                    <a:pt x="197486" y="29968"/>
                    <a:pt x="317565" y="11729"/>
                  </a:cubicBezTo>
                  <a:cubicBezTo>
                    <a:pt x="438958" y="-8966"/>
                    <a:pt x="563521" y="-2211"/>
                    <a:pt x="681889" y="31485"/>
                  </a:cubicBezTo>
                  <a:cubicBezTo>
                    <a:pt x="740531" y="51203"/>
                    <a:pt x="793392" y="84802"/>
                    <a:pt x="835856" y="129348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F7660C02-D812-DF4F-BD4B-79EDFF8BAA13}"/>
                </a:ext>
              </a:extLst>
            </p:cNvPr>
            <p:cNvSpPr/>
            <p:nvPr/>
          </p:nvSpPr>
          <p:spPr>
            <a:xfrm>
              <a:off x="7648818" y="292586"/>
              <a:ext cx="513653" cy="722735"/>
            </a:xfrm>
            <a:custGeom>
              <a:avLst/>
              <a:gdLst>
                <a:gd name="connsiteX0" fmla="*/ 501893 w 513653"/>
                <a:gd name="connsiteY0" fmla="*/ 722736 h 722735"/>
                <a:gd name="connsiteX1" fmla="*/ 419052 w 513653"/>
                <a:gd name="connsiteY1" fmla="*/ 722736 h 722735"/>
                <a:gd name="connsiteX2" fmla="*/ 0 w 513653"/>
                <a:gd name="connsiteY2" fmla="*/ 361368 h 722735"/>
                <a:gd name="connsiteX3" fmla="*/ 419052 w 513653"/>
                <a:gd name="connsiteY3" fmla="*/ 0 h 722735"/>
                <a:gd name="connsiteX4" fmla="*/ 491524 w 513653"/>
                <a:gd name="connsiteY4" fmla="*/ 0 h 722735"/>
                <a:gd name="connsiteX5" fmla="*/ 497075 w 513653"/>
                <a:gd name="connsiteY5" fmla="*/ 6964 h 722735"/>
                <a:gd name="connsiteX6" fmla="*/ 491524 w 513653"/>
                <a:gd name="connsiteY6" fmla="*/ 12448 h 722735"/>
                <a:gd name="connsiteX7" fmla="*/ 82841 w 513653"/>
                <a:gd name="connsiteY7" fmla="*/ 361368 h 722735"/>
                <a:gd name="connsiteX8" fmla="*/ 491524 w 513653"/>
                <a:gd name="connsiteY8" fmla="*/ 710301 h 722735"/>
                <a:gd name="connsiteX9" fmla="*/ 502502 w 513653"/>
                <a:gd name="connsiteY9" fmla="*/ 710150 h 722735"/>
                <a:gd name="connsiteX10" fmla="*/ 507985 w 513653"/>
                <a:gd name="connsiteY10" fmla="*/ 710226 h 722735"/>
                <a:gd name="connsiteX11" fmla="*/ 513617 w 513653"/>
                <a:gd name="connsiteY11" fmla="*/ 717127 h 722735"/>
                <a:gd name="connsiteX12" fmla="*/ 508214 w 513653"/>
                <a:gd name="connsiteY12" fmla="*/ 722661 h 722735"/>
                <a:gd name="connsiteX13" fmla="*/ 501893 w 513653"/>
                <a:gd name="connsiteY13" fmla="*/ 722736 h 722735"/>
                <a:gd name="connsiteX14" fmla="*/ 372219 w 513653"/>
                <a:gd name="connsiteY14" fmla="*/ 14754 h 722735"/>
                <a:gd name="connsiteX15" fmla="*/ 12603 w 513653"/>
                <a:gd name="connsiteY15" fmla="*/ 361368 h 722735"/>
                <a:gd name="connsiteX16" fmla="*/ 372219 w 513653"/>
                <a:gd name="connsiteY16" fmla="*/ 707994 h 722735"/>
                <a:gd name="connsiteX17" fmla="*/ 70187 w 513653"/>
                <a:gd name="connsiteY17" fmla="*/ 361368 h 722735"/>
                <a:gd name="connsiteX18" fmla="*/ 372219 w 513653"/>
                <a:gd name="connsiteY18" fmla="*/ 14754 h 722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3653" h="722735">
                  <a:moveTo>
                    <a:pt x="501893" y="722736"/>
                  </a:moveTo>
                  <a:lnTo>
                    <a:pt x="419052" y="722736"/>
                  </a:lnTo>
                  <a:cubicBezTo>
                    <a:pt x="187981" y="722736"/>
                    <a:pt x="0" y="560679"/>
                    <a:pt x="0" y="361368"/>
                  </a:cubicBezTo>
                  <a:cubicBezTo>
                    <a:pt x="0" y="162056"/>
                    <a:pt x="187981" y="0"/>
                    <a:pt x="419052" y="0"/>
                  </a:cubicBezTo>
                  <a:lnTo>
                    <a:pt x="491524" y="0"/>
                  </a:lnTo>
                  <a:cubicBezTo>
                    <a:pt x="495004" y="409"/>
                    <a:pt x="497490" y="3527"/>
                    <a:pt x="497075" y="6964"/>
                  </a:cubicBezTo>
                  <a:cubicBezTo>
                    <a:pt x="496730" y="9839"/>
                    <a:pt x="494434" y="12106"/>
                    <a:pt x="491524" y="12448"/>
                  </a:cubicBezTo>
                  <a:cubicBezTo>
                    <a:pt x="266151" y="12448"/>
                    <a:pt x="82841" y="168976"/>
                    <a:pt x="82841" y="361368"/>
                  </a:cubicBezTo>
                  <a:cubicBezTo>
                    <a:pt x="82841" y="553760"/>
                    <a:pt x="266190" y="710301"/>
                    <a:pt x="491524" y="710301"/>
                  </a:cubicBezTo>
                  <a:cubicBezTo>
                    <a:pt x="495192" y="710301"/>
                    <a:pt x="498872" y="710301"/>
                    <a:pt x="502502" y="710150"/>
                  </a:cubicBezTo>
                  <a:cubicBezTo>
                    <a:pt x="504622" y="710213"/>
                    <a:pt x="506462" y="710326"/>
                    <a:pt x="507985" y="710226"/>
                  </a:cubicBezTo>
                  <a:cubicBezTo>
                    <a:pt x="511470" y="710595"/>
                    <a:pt x="513991" y="713685"/>
                    <a:pt x="513617" y="717127"/>
                  </a:cubicBezTo>
                  <a:cubicBezTo>
                    <a:pt x="513306" y="719974"/>
                    <a:pt x="511082" y="722252"/>
                    <a:pt x="508214" y="722661"/>
                  </a:cubicBezTo>
                  <a:cubicBezTo>
                    <a:pt x="506107" y="722736"/>
                    <a:pt x="504025" y="722736"/>
                    <a:pt x="501893" y="722736"/>
                  </a:cubicBezTo>
                  <a:close/>
                  <a:moveTo>
                    <a:pt x="372219" y="14754"/>
                  </a:moveTo>
                  <a:cubicBezTo>
                    <a:pt x="170086" y="34760"/>
                    <a:pt x="12603" y="182577"/>
                    <a:pt x="12603" y="361368"/>
                  </a:cubicBezTo>
                  <a:cubicBezTo>
                    <a:pt x="12603" y="540159"/>
                    <a:pt x="170098" y="687988"/>
                    <a:pt x="372219" y="707994"/>
                  </a:cubicBezTo>
                  <a:cubicBezTo>
                    <a:pt x="197818" y="663757"/>
                    <a:pt x="70187" y="525104"/>
                    <a:pt x="70187" y="361368"/>
                  </a:cubicBezTo>
                  <a:cubicBezTo>
                    <a:pt x="70187" y="197632"/>
                    <a:pt x="197818" y="58991"/>
                    <a:pt x="372219" y="147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A78F37FC-50F5-F641-9B38-FCDFFA303431}"/>
                </a:ext>
              </a:extLst>
            </p:cNvPr>
            <p:cNvSpPr/>
            <p:nvPr/>
          </p:nvSpPr>
          <p:spPr>
            <a:xfrm>
              <a:off x="7725312" y="298816"/>
              <a:ext cx="426223" cy="710288"/>
            </a:xfrm>
            <a:custGeom>
              <a:avLst/>
              <a:gdLst>
                <a:gd name="connsiteX0" fmla="*/ 38 w 426223"/>
                <a:gd name="connsiteY0" fmla="*/ 355138 h 710288"/>
                <a:gd name="connsiteX1" fmla="*/ 415067 w 426223"/>
                <a:gd name="connsiteY1" fmla="*/ 710288 h 710288"/>
                <a:gd name="connsiteX2" fmla="*/ 426223 w 426223"/>
                <a:gd name="connsiteY2" fmla="*/ 710138 h 710288"/>
                <a:gd name="connsiteX3" fmla="*/ 22427 w 426223"/>
                <a:gd name="connsiteY3" fmla="*/ 355138 h 710288"/>
                <a:gd name="connsiteX4" fmla="*/ 426185 w 426223"/>
                <a:gd name="connsiteY4" fmla="*/ 125 h 710288"/>
                <a:gd name="connsiteX5" fmla="*/ 415029 w 426223"/>
                <a:gd name="connsiteY5" fmla="*/ 0 h 710288"/>
                <a:gd name="connsiteX6" fmla="*/ 0 w 426223"/>
                <a:gd name="connsiteY6" fmla="*/ 355138 h 71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223" h="710288">
                  <a:moveTo>
                    <a:pt x="38" y="355138"/>
                  </a:moveTo>
                  <a:cubicBezTo>
                    <a:pt x="38" y="551178"/>
                    <a:pt x="185951" y="710288"/>
                    <a:pt x="415067" y="710288"/>
                  </a:cubicBezTo>
                  <a:cubicBezTo>
                    <a:pt x="418798" y="710288"/>
                    <a:pt x="422530" y="710288"/>
                    <a:pt x="426223" y="710138"/>
                  </a:cubicBezTo>
                  <a:cubicBezTo>
                    <a:pt x="202323" y="705124"/>
                    <a:pt x="22427" y="547956"/>
                    <a:pt x="22427" y="355138"/>
                  </a:cubicBezTo>
                  <a:cubicBezTo>
                    <a:pt x="22427" y="162320"/>
                    <a:pt x="202285" y="5202"/>
                    <a:pt x="426185" y="125"/>
                  </a:cubicBezTo>
                  <a:cubicBezTo>
                    <a:pt x="422492" y="50"/>
                    <a:pt x="418760" y="0"/>
                    <a:pt x="415029" y="0"/>
                  </a:cubicBezTo>
                  <a:cubicBezTo>
                    <a:pt x="185951" y="0"/>
                    <a:pt x="0" y="159111"/>
                    <a:pt x="0" y="355138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BED137F6-C8DD-1445-9978-0A818F823709}"/>
                </a:ext>
              </a:extLst>
            </p:cNvPr>
            <p:cNvSpPr/>
            <p:nvPr/>
          </p:nvSpPr>
          <p:spPr>
            <a:xfrm>
              <a:off x="7722216" y="295708"/>
              <a:ext cx="429383" cy="716505"/>
            </a:xfrm>
            <a:custGeom>
              <a:avLst/>
              <a:gdLst>
                <a:gd name="connsiteX0" fmla="*/ 418164 w 429383"/>
                <a:gd name="connsiteY0" fmla="*/ 716506 h 716505"/>
                <a:gd name="connsiteX1" fmla="*/ 0 w 429383"/>
                <a:gd name="connsiteY1" fmla="*/ 360503 h 716505"/>
                <a:gd name="connsiteX2" fmla="*/ 0 w 429383"/>
                <a:gd name="connsiteY2" fmla="*/ 360503 h 716505"/>
                <a:gd name="connsiteX3" fmla="*/ 0 w 429383"/>
                <a:gd name="connsiteY3" fmla="*/ 358247 h 716505"/>
                <a:gd name="connsiteX4" fmla="*/ 418126 w 429383"/>
                <a:gd name="connsiteY4" fmla="*/ 0 h 716505"/>
                <a:gd name="connsiteX5" fmla="*/ 429345 w 429383"/>
                <a:gd name="connsiteY5" fmla="*/ 125 h 716505"/>
                <a:gd name="connsiteX6" fmla="*/ 429345 w 429383"/>
                <a:gd name="connsiteY6" fmla="*/ 6393 h 716505"/>
                <a:gd name="connsiteX7" fmla="*/ 145527 w 429383"/>
                <a:gd name="connsiteY7" fmla="*/ 112667 h 716505"/>
                <a:gd name="connsiteX8" fmla="*/ 28659 w 429383"/>
                <a:gd name="connsiteY8" fmla="*/ 358247 h 716505"/>
                <a:gd name="connsiteX9" fmla="*/ 145539 w 429383"/>
                <a:gd name="connsiteY9" fmla="*/ 603851 h 716505"/>
                <a:gd name="connsiteX10" fmla="*/ 429383 w 429383"/>
                <a:gd name="connsiteY10" fmla="*/ 710150 h 716505"/>
                <a:gd name="connsiteX11" fmla="*/ 429383 w 429383"/>
                <a:gd name="connsiteY11" fmla="*/ 716343 h 716505"/>
                <a:gd name="connsiteX12" fmla="*/ 418164 w 429383"/>
                <a:gd name="connsiteY12" fmla="*/ 716506 h 716505"/>
                <a:gd name="connsiteX13" fmla="*/ 6244 w 429383"/>
                <a:gd name="connsiteY13" fmla="*/ 356354 h 716505"/>
                <a:gd name="connsiteX14" fmla="*/ 6244 w 429383"/>
                <a:gd name="connsiteY14" fmla="*/ 358259 h 716505"/>
                <a:gd name="connsiteX15" fmla="*/ 294252 w 429383"/>
                <a:gd name="connsiteY15" fmla="*/ 694042 h 716505"/>
                <a:gd name="connsiteX16" fmla="*/ 141338 w 429383"/>
                <a:gd name="connsiteY16" fmla="*/ 608502 h 716505"/>
                <a:gd name="connsiteX17" fmla="*/ 22376 w 429383"/>
                <a:gd name="connsiteY17" fmla="*/ 358247 h 716505"/>
                <a:gd name="connsiteX18" fmla="*/ 141351 w 429383"/>
                <a:gd name="connsiteY18" fmla="*/ 108017 h 716505"/>
                <a:gd name="connsiteX19" fmla="*/ 294391 w 429383"/>
                <a:gd name="connsiteY19" fmla="*/ 22438 h 716505"/>
                <a:gd name="connsiteX20" fmla="*/ 6244 w 429383"/>
                <a:gd name="connsiteY20" fmla="*/ 356354 h 7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9383" h="716505">
                  <a:moveTo>
                    <a:pt x="418164" y="716506"/>
                  </a:moveTo>
                  <a:cubicBezTo>
                    <a:pt x="188438" y="716506"/>
                    <a:pt x="1409" y="557006"/>
                    <a:pt x="0" y="360503"/>
                  </a:cubicBezTo>
                  <a:lnTo>
                    <a:pt x="0" y="360503"/>
                  </a:lnTo>
                  <a:lnTo>
                    <a:pt x="0" y="358247"/>
                  </a:lnTo>
                  <a:cubicBezTo>
                    <a:pt x="-38" y="160715"/>
                    <a:pt x="187550" y="0"/>
                    <a:pt x="418126" y="0"/>
                  </a:cubicBezTo>
                  <a:cubicBezTo>
                    <a:pt x="421933" y="0"/>
                    <a:pt x="425627" y="0"/>
                    <a:pt x="429345" y="125"/>
                  </a:cubicBezTo>
                  <a:lnTo>
                    <a:pt x="429345" y="6393"/>
                  </a:lnTo>
                  <a:cubicBezTo>
                    <a:pt x="324993" y="7564"/>
                    <a:pt x="224437" y="45217"/>
                    <a:pt x="145527" y="112667"/>
                  </a:cubicBezTo>
                  <a:cubicBezTo>
                    <a:pt x="72436" y="173976"/>
                    <a:pt x="29812" y="263544"/>
                    <a:pt x="28659" y="358247"/>
                  </a:cubicBezTo>
                  <a:cubicBezTo>
                    <a:pt x="29815" y="452958"/>
                    <a:pt x="72442" y="542534"/>
                    <a:pt x="145539" y="603851"/>
                  </a:cubicBezTo>
                  <a:cubicBezTo>
                    <a:pt x="224451" y="671320"/>
                    <a:pt x="325018" y="708982"/>
                    <a:pt x="429383" y="710150"/>
                  </a:cubicBezTo>
                  <a:lnTo>
                    <a:pt x="429383" y="716343"/>
                  </a:lnTo>
                  <a:cubicBezTo>
                    <a:pt x="425715" y="716506"/>
                    <a:pt x="421933" y="716506"/>
                    <a:pt x="418164" y="716506"/>
                  </a:cubicBezTo>
                  <a:close/>
                  <a:moveTo>
                    <a:pt x="6244" y="356354"/>
                  </a:moveTo>
                  <a:lnTo>
                    <a:pt x="6244" y="358259"/>
                  </a:lnTo>
                  <a:cubicBezTo>
                    <a:pt x="6244" y="515515"/>
                    <a:pt x="127466" y="649003"/>
                    <a:pt x="294252" y="694042"/>
                  </a:cubicBezTo>
                  <a:cubicBezTo>
                    <a:pt x="237836" y="676287"/>
                    <a:pt x="185767" y="647159"/>
                    <a:pt x="141338" y="608502"/>
                  </a:cubicBezTo>
                  <a:cubicBezTo>
                    <a:pt x="66896" y="546008"/>
                    <a:pt x="23508" y="454733"/>
                    <a:pt x="22376" y="358247"/>
                  </a:cubicBezTo>
                  <a:cubicBezTo>
                    <a:pt x="23520" y="261766"/>
                    <a:pt x="66912" y="170503"/>
                    <a:pt x="141351" y="108017"/>
                  </a:cubicBezTo>
                  <a:cubicBezTo>
                    <a:pt x="185811" y="69329"/>
                    <a:pt x="237927" y="40186"/>
                    <a:pt x="294391" y="22438"/>
                  </a:cubicBezTo>
                  <a:cubicBezTo>
                    <a:pt x="128215" y="67264"/>
                    <a:pt x="7209" y="199901"/>
                    <a:pt x="6244" y="3563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F12BEFD-622C-304B-96A7-B25742CD49CD}"/>
                </a:ext>
              </a:extLst>
            </p:cNvPr>
            <p:cNvSpPr/>
            <p:nvPr/>
          </p:nvSpPr>
          <p:spPr>
            <a:xfrm>
              <a:off x="7734489" y="466915"/>
              <a:ext cx="600154" cy="22200"/>
            </a:xfrm>
            <a:custGeom>
              <a:avLst/>
              <a:gdLst>
                <a:gd name="connsiteX0" fmla="*/ 600154 w 600154"/>
                <a:gd name="connsiteY0" fmla="*/ 11094 h 22200"/>
                <a:gd name="connsiteX1" fmla="*/ 300065 w 600154"/>
                <a:gd name="connsiteY1" fmla="*/ 22200 h 22200"/>
                <a:gd name="connsiteX2" fmla="*/ 0 w 600154"/>
                <a:gd name="connsiteY2" fmla="*/ 11094 h 22200"/>
                <a:gd name="connsiteX3" fmla="*/ 300065 w 600154"/>
                <a:gd name="connsiteY3" fmla="*/ 0 h 22200"/>
                <a:gd name="connsiteX4" fmla="*/ 600154 w 600154"/>
                <a:gd name="connsiteY4" fmla="*/ 11094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54" h="22200">
                  <a:moveTo>
                    <a:pt x="600154" y="11094"/>
                  </a:moveTo>
                  <a:cubicBezTo>
                    <a:pt x="600154" y="17198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94"/>
                  </a:cubicBezTo>
                  <a:cubicBezTo>
                    <a:pt x="0" y="5002"/>
                    <a:pt x="134434" y="0"/>
                    <a:pt x="300065" y="0"/>
                  </a:cubicBezTo>
                  <a:cubicBezTo>
                    <a:pt x="465695" y="0"/>
                    <a:pt x="600154" y="4964"/>
                    <a:pt x="600154" y="1109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5305352E-3332-5C45-BE55-25F3F03809B7}"/>
                </a:ext>
              </a:extLst>
            </p:cNvPr>
            <p:cNvSpPr/>
            <p:nvPr/>
          </p:nvSpPr>
          <p:spPr>
            <a:xfrm>
              <a:off x="7731341" y="463844"/>
              <a:ext cx="606437" cy="28405"/>
            </a:xfrm>
            <a:custGeom>
              <a:avLst/>
              <a:gdLst>
                <a:gd name="connsiteX0" fmla="*/ 303212 w 606437"/>
                <a:gd name="connsiteY0" fmla="*/ 28405 h 28405"/>
                <a:gd name="connsiteX1" fmla="*/ 90938 w 606437"/>
                <a:gd name="connsiteY1" fmla="*/ 25146 h 28405"/>
                <a:gd name="connsiteX2" fmla="*/ 0 w 606437"/>
                <a:gd name="connsiteY2" fmla="*/ 14203 h 28405"/>
                <a:gd name="connsiteX3" fmla="*/ 90951 w 606437"/>
                <a:gd name="connsiteY3" fmla="*/ 3272 h 28405"/>
                <a:gd name="connsiteX4" fmla="*/ 303212 w 606437"/>
                <a:gd name="connsiteY4" fmla="*/ 0 h 28405"/>
                <a:gd name="connsiteX5" fmla="*/ 515486 w 606437"/>
                <a:gd name="connsiteY5" fmla="*/ 3259 h 28405"/>
                <a:gd name="connsiteX6" fmla="*/ 606437 w 606437"/>
                <a:gd name="connsiteY6" fmla="*/ 14203 h 28405"/>
                <a:gd name="connsiteX7" fmla="*/ 515486 w 606437"/>
                <a:gd name="connsiteY7" fmla="*/ 25146 h 28405"/>
                <a:gd name="connsiteX8" fmla="*/ 303212 w 606437"/>
                <a:gd name="connsiteY8" fmla="*/ 28405 h 28405"/>
                <a:gd name="connsiteX9" fmla="*/ 14799 w 606437"/>
                <a:gd name="connsiteY9" fmla="*/ 14165 h 28405"/>
                <a:gd name="connsiteX10" fmla="*/ 303212 w 606437"/>
                <a:gd name="connsiteY10" fmla="*/ 22162 h 28405"/>
                <a:gd name="connsiteX11" fmla="*/ 591803 w 606437"/>
                <a:gd name="connsiteY11" fmla="*/ 14152 h 28405"/>
                <a:gd name="connsiteX12" fmla="*/ 303212 w 606437"/>
                <a:gd name="connsiteY12" fmla="*/ 6167 h 28405"/>
                <a:gd name="connsiteX13" fmla="*/ 14799 w 606437"/>
                <a:gd name="connsiteY13" fmla="*/ 14165 h 28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37" h="28405">
                  <a:moveTo>
                    <a:pt x="303212" y="28405"/>
                  </a:moveTo>
                  <a:cubicBezTo>
                    <a:pt x="223176" y="28405"/>
                    <a:pt x="147786" y="27252"/>
                    <a:pt x="90938" y="25146"/>
                  </a:cubicBezTo>
                  <a:cubicBezTo>
                    <a:pt x="0" y="21761"/>
                    <a:pt x="0" y="18088"/>
                    <a:pt x="0" y="14203"/>
                  </a:cubicBezTo>
                  <a:cubicBezTo>
                    <a:pt x="0" y="10317"/>
                    <a:pt x="0" y="6681"/>
                    <a:pt x="90951" y="3272"/>
                  </a:cubicBezTo>
                  <a:cubicBezTo>
                    <a:pt x="147786" y="1166"/>
                    <a:pt x="223164" y="0"/>
                    <a:pt x="303212" y="0"/>
                  </a:cubicBezTo>
                  <a:cubicBezTo>
                    <a:pt x="383261" y="0"/>
                    <a:pt x="458753" y="1166"/>
                    <a:pt x="515486" y="3259"/>
                  </a:cubicBezTo>
                  <a:cubicBezTo>
                    <a:pt x="606437" y="6619"/>
                    <a:pt x="606437" y="10304"/>
                    <a:pt x="606437" y="14203"/>
                  </a:cubicBezTo>
                  <a:cubicBezTo>
                    <a:pt x="606437" y="18101"/>
                    <a:pt x="606437" y="21724"/>
                    <a:pt x="515486" y="25146"/>
                  </a:cubicBezTo>
                  <a:cubicBezTo>
                    <a:pt x="458677" y="27214"/>
                    <a:pt x="383286" y="28405"/>
                    <a:pt x="303212" y="28405"/>
                  </a:cubicBezTo>
                  <a:close/>
                  <a:moveTo>
                    <a:pt x="14799" y="14165"/>
                  </a:moveTo>
                  <a:cubicBezTo>
                    <a:pt x="47455" y="18314"/>
                    <a:pt x="158028" y="22162"/>
                    <a:pt x="303212" y="22162"/>
                  </a:cubicBezTo>
                  <a:cubicBezTo>
                    <a:pt x="448650" y="22162"/>
                    <a:pt x="559337" y="18302"/>
                    <a:pt x="591803" y="14152"/>
                  </a:cubicBezTo>
                  <a:cubicBezTo>
                    <a:pt x="560073" y="10016"/>
                    <a:pt x="452978" y="6167"/>
                    <a:pt x="303212" y="6167"/>
                  </a:cubicBezTo>
                  <a:cubicBezTo>
                    <a:pt x="158016" y="6167"/>
                    <a:pt x="47455" y="10016"/>
                    <a:pt x="14799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13A7190F-891B-7A4C-9D78-807F08A6E093}"/>
                </a:ext>
              </a:extLst>
            </p:cNvPr>
            <p:cNvSpPr/>
            <p:nvPr/>
          </p:nvSpPr>
          <p:spPr>
            <a:xfrm>
              <a:off x="7744744" y="835014"/>
              <a:ext cx="600116" cy="22200"/>
            </a:xfrm>
            <a:custGeom>
              <a:avLst/>
              <a:gdLst>
                <a:gd name="connsiteX0" fmla="*/ 600116 w 600116"/>
                <a:gd name="connsiteY0" fmla="*/ 11081 h 22200"/>
                <a:gd name="connsiteX1" fmla="*/ 300065 w 600116"/>
                <a:gd name="connsiteY1" fmla="*/ 22200 h 22200"/>
                <a:gd name="connsiteX2" fmla="*/ 0 w 600116"/>
                <a:gd name="connsiteY2" fmla="*/ 11081 h 22200"/>
                <a:gd name="connsiteX3" fmla="*/ 300065 w 600116"/>
                <a:gd name="connsiteY3" fmla="*/ 0 h 22200"/>
                <a:gd name="connsiteX4" fmla="*/ 600116 w 600116"/>
                <a:gd name="connsiteY4" fmla="*/ 11081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16" h="22200">
                  <a:moveTo>
                    <a:pt x="600116" y="11081"/>
                  </a:moveTo>
                  <a:cubicBezTo>
                    <a:pt x="600116" y="17236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81"/>
                  </a:cubicBezTo>
                  <a:cubicBezTo>
                    <a:pt x="0" y="4977"/>
                    <a:pt x="134434" y="0"/>
                    <a:pt x="300065" y="0"/>
                  </a:cubicBezTo>
                  <a:cubicBezTo>
                    <a:pt x="465695" y="0"/>
                    <a:pt x="600116" y="5014"/>
                    <a:pt x="600116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FF820D35-BEF6-3743-86F9-1B07E2C4498D}"/>
                </a:ext>
              </a:extLst>
            </p:cNvPr>
            <p:cNvSpPr/>
            <p:nvPr/>
          </p:nvSpPr>
          <p:spPr>
            <a:xfrm>
              <a:off x="7741596" y="831918"/>
              <a:ext cx="606398" cy="28392"/>
            </a:xfrm>
            <a:custGeom>
              <a:avLst/>
              <a:gdLst>
                <a:gd name="connsiteX0" fmla="*/ 303212 w 606398"/>
                <a:gd name="connsiteY0" fmla="*/ 28393 h 28392"/>
                <a:gd name="connsiteX1" fmla="*/ 90938 w 606398"/>
                <a:gd name="connsiteY1" fmla="*/ 25121 h 28392"/>
                <a:gd name="connsiteX2" fmla="*/ 0 w 606398"/>
                <a:gd name="connsiteY2" fmla="*/ 14177 h 28392"/>
                <a:gd name="connsiteX3" fmla="*/ 90951 w 606398"/>
                <a:gd name="connsiteY3" fmla="*/ 3247 h 28392"/>
                <a:gd name="connsiteX4" fmla="*/ 303212 w 606398"/>
                <a:gd name="connsiteY4" fmla="*/ 0 h 28392"/>
                <a:gd name="connsiteX5" fmla="*/ 515473 w 606398"/>
                <a:gd name="connsiteY5" fmla="*/ 3259 h 28392"/>
                <a:gd name="connsiteX6" fmla="*/ 606399 w 606398"/>
                <a:gd name="connsiteY6" fmla="*/ 14177 h 28392"/>
                <a:gd name="connsiteX7" fmla="*/ 515473 w 606398"/>
                <a:gd name="connsiteY7" fmla="*/ 25146 h 28392"/>
                <a:gd name="connsiteX8" fmla="*/ 303212 w 606398"/>
                <a:gd name="connsiteY8" fmla="*/ 28393 h 28392"/>
                <a:gd name="connsiteX9" fmla="*/ 14672 w 606398"/>
                <a:gd name="connsiteY9" fmla="*/ 14165 h 28392"/>
                <a:gd name="connsiteX10" fmla="*/ 303212 w 606398"/>
                <a:gd name="connsiteY10" fmla="*/ 22200 h 28392"/>
                <a:gd name="connsiteX11" fmla="*/ 591740 w 606398"/>
                <a:gd name="connsiteY11" fmla="*/ 14203 h 28392"/>
                <a:gd name="connsiteX12" fmla="*/ 303212 w 606398"/>
                <a:gd name="connsiteY12" fmla="*/ 6192 h 28392"/>
                <a:gd name="connsiteX13" fmla="*/ 14672 w 606398"/>
                <a:gd name="connsiteY13" fmla="*/ 14165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398" h="28392">
                  <a:moveTo>
                    <a:pt x="303212" y="28393"/>
                  </a:moveTo>
                  <a:cubicBezTo>
                    <a:pt x="223138" y="28393"/>
                    <a:pt x="147760" y="27239"/>
                    <a:pt x="90938" y="25121"/>
                  </a:cubicBezTo>
                  <a:cubicBezTo>
                    <a:pt x="0" y="21749"/>
                    <a:pt x="0" y="18063"/>
                    <a:pt x="0" y="14177"/>
                  </a:cubicBezTo>
                  <a:cubicBezTo>
                    <a:pt x="0" y="10292"/>
                    <a:pt x="0" y="6656"/>
                    <a:pt x="90951" y="3247"/>
                  </a:cubicBezTo>
                  <a:cubicBezTo>
                    <a:pt x="147697" y="1153"/>
                    <a:pt x="223087" y="0"/>
                    <a:pt x="303212" y="0"/>
                  </a:cubicBezTo>
                  <a:cubicBezTo>
                    <a:pt x="383337" y="0"/>
                    <a:pt x="458600" y="1153"/>
                    <a:pt x="515473" y="3259"/>
                  </a:cubicBezTo>
                  <a:cubicBezTo>
                    <a:pt x="606399" y="6619"/>
                    <a:pt x="606399" y="10292"/>
                    <a:pt x="606399" y="14177"/>
                  </a:cubicBezTo>
                  <a:cubicBezTo>
                    <a:pt x="606399" y="18063"/>
                    <a:pt x="606399" y="21774"/>
                    <a:pt x="515473" y="25146"/>
                  </a:cubicBezTo>
                  <a:cubicBezTo>
                    <a:pt x="458804" y="27239"/>
                    <a:pt x="383426" y="28393"/>
                    <a:pt x="303212" y="28393"/>
                  </a:cubicBezTo>
                  <a:close/>
                  <a:moveTo>
                    <a:pt x="14672" y="14165"/>
                  </a:moveTo>
                  <a:cubicBezTo>
                    <a:pt x="47164" y="18327"/>
                    <a:pt x="157825" y="22200"/>
                    <a:pt x="303212" y="22200"/>
                  </a:cubicBezTo>
                  <a:cubicBezTo>
                    <a:pt x="452978" y="22200"/>
                    <a:pt x="559984" y="18339"/>
                    <a:pt x="591740" y="14203"/>
                  </a:cubicBezTo>
                  <a:cubicBezTo>
                    <a:pt x="559274" y="10053"/>
                    <a:pt x="448599" y="6192"/>
                    <a:pt x="303212" y="6192"/>
                  </a:cubicBezTo>
                  <a:cubicBezTo>
                    <a:pt x="153497" y="6192"/>
                    <a:pt x="46453" y="10066"/>
                    <a:pt x="14672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F1606F5-8EF1-324C-B3B6-DE05C0B28F1B}"/>
                </a:ext>
              </a:extLst>
            </p:cNvPr>
            <p:cNvSpPr/>
            <p:nvPr/>
          </p:nvSpPr>
          <p:spPr>
            <a:xfrm>
              <a:off x="7680662" y="649366"/>
              <a:ext cx="600141" cy="22187"/>
            </a:xfrm>
            <a:custGeom>
              <a:avLst/>
              <a:gdLst>
                <a:gd name="connsiteX0" fmla="*/ 600142 w 600141"/>
                <a:gd name="connsiteY0" fmla="*/ 11081 h 22187"/>
                <a:gd name="connsiteX1" fmla="*/ 300065 w 600141"/>
                <a:gd name="connsiteY1" fmla="*/ 22187 h 22187"/>
                <a:gd name="connsiteX2" fmla="*/ 0 w 600141"/>
                <a:gd name="connsiteY2" fmla="*/ 11081 h 22187"/>
                <a:gd name="connsiteX3" fmla="*/ 300065 w 600141"/>
                <a:gd name="connsiteY3" fmla="*/ 0 h 22187"/>
                <a:gd name="connsiteX4" fmla="*/ 600142 w 600141"/>
                <a:gd name="connsiteY4" fmla="*/ 11081 h 2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41" h="22187">
                  <a:moveTo>
                    <a:pt x="600142" y="11081"/>
                  </a:moveTo>
                  <a:cubicBezTo>
                    <a:pt x="600142" y="17211"/>
                    <a:pt x="465708" y="22187"/>
                    <a:pt x="300065" y="22187"/>
                  </a:cubicBezTo>
                  <a:cubicBezTo>
                    <a:pt x="134421" y="22187"/>
                    <a:pt x="0" y="17173"/>
                    <a:pt x="0" y="11081"/>
                  </a:cubicBezTo>
                  <a:cubicBezTo>
                    <a:pt x="0" y="4989"/>
                    <a:pt x="134434" y="0"/>
                    <a:pt x="300065" y="0"/>
                  </a:cubicBezTo>
                  <a:cubicBezTo>
                    <a:pt x="465695" y="0"/>
                    <a:pt x="600142" y="5014"/>
                    <a:pt x="600142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9577772C-4E81-5344-A9F3-AA9A6506F280}"/>
                </a:ext>
              </a:extLst>
            </p:cNvPr>
            <p:cNvSpPr/>
            <p:nvPr/>
          </p:nvSpPr>
          <p:spPr>
            <a:xfrm>
              <a:off x="7677514" y="646257"/>
              <a:ext cx="606424" cy="28392"/>
            </a:xfrm>
            <a:custGeom>
              <a:avLst/>
              <a:gdLst>
                <a:gd name="connsiteX0" fmla="*/ 303212 w 606424"/>
                <a:gd name="connsiteY0" fmla="*/ 28392 h 28392"/>
                <a:gd name="connsiteX1" fmla="*/ 90938 w 606424"/>
                <a:gd name="connsiteY1" fmla="*/ 25121 h 28392"/>
                <a:gd name="connsiteX2" fmla="*/ 0 w 606424"/>
                <a:gd name="connsiteY2" fmla="*/ 14190 h 28392"/>
                <a:gd name="connsiteX3" fmla="*/ 90951 w 606424"/>
                <a:gd name="connsiteY3" fmla="*/ 3259 h 28392"/>
                <a:gd name="connsiteX4" fmla="*/ 303212 w 606424"/>
                <a:gd name="connsiteY4" fmla="*/ 0 h 28392"/>
                <a:gd name="connsiteX5" fmla="*/ 515486 w 606424"/>
                <a:gd name="connsiteY5" fmla="*/ 3272 h 28392"/>
                <a:gd name="connsiteX6" fmla="*/ 606424 w 606424"/>
                <a:gd name="connsiteY6" fmla="*/ 14190 h 28392"/>
                <a:gd name="connsiteX7" fmla="*/ 515486 w 606424"/>
                <a:gd name="connsiteY7" fmla="*/ 25133 h 28392"/>
                <a:gd name="connsiteX8" fmla="*/ 303212 w 606424"/>
                <a:gd name="connsiteY8" fmla="*/ 28392 h 28392"/>
                <a:gd name="connsiteX9" fmla="*/ 14812 w 606424"/>
                <a:gd name="connsiteY9" fmla="*/ 14190 h 28392"/>
                <a:gd name="connsiteX10" fmla="*/ 303212 w 606424"/>
                <a:gd name="connsiteY10" fmla="*/ 22188 h 28392"/>
                <a:gd name="connsiteX11" fmla="*/ 591740 w 606424"/>
                <a:gd name="connsiteY11" fmla="*/ 14215 h 28392"/>
                <a:gd name="connsiteX12" fmla="*/ 303212 w 606424"/>
                <a:gd name="connsiteY12" fmla="*/ 6205 h 28392"/>
                <a:gd name="connsiteX13" fmla="*/ 14812 w 606424"/>
                <a:gd name="connsiteY13" fmla="*/ 14190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24" h="28392">
                  <a:moveTo>
                    <a:pt x="303212" y="28392"/>
                  </a:moveTo>
                  <a:cubicBezTo>
                    <a:pt x="223176" y="28392"/>
                    <a:pt x="147786" y="27227"/>
                    <a:pt x="90938" y="25121"/>
                  </a:cubicBezTo>
                  <a:cubicBezTo>
                    <a:pt x="0" y="21749"/>
                    <a:pt x="0" y="18076"/>
                    <a:pt x="0" y="14190"/>
                  </a:cubicBezTo>
                  <a:cubicBezTo>
                    <a:pt x="0" y="10304"/>
                    <a:pt x="0" y="6669"/>
                    <a:pt x="90951" y="3259"/>
                  </a:cubicBezTo>
                  <a:cubicBezTo>
                    <a:pt x="147748" y="1153"/>
                    <a:pt x="223138" y="0"/>
                    <a:pt x="303212" y="0"/>
                  </a:cubicBezTo>
                  <a:cubicBezTo>
                    <a:pt x="383286" y="0"/>
                    <a:pt x="458575" y="1166"/>
                    <a:pt x="515486" y="3272"/>
                  </a:cubicBezTo>
                  <a:cubicBezTo>
                    <a:pt x="606424" y="6644"/>
                    <a:pt x="606424" y="10304"/>
                    <a:pt x="606424" y="14190"/>
                  </a:cubicBezTo>
                  <a:cubicBezTo>
                    <a:pt x="606424" y="18076"/>
                    <a:pt x="606424" y="21774"/>
                    <a:pt x="515486" y="25133"/>
                  </a:cubicBezTo>
                  <a:cubicBezTo>
                    <a:pt x="458740" y="27239"/>
                    <a:pt x="383362" y="28392"/>
                    <a:pt x="303212" y="28392"/>
                  </a:cubicBezTo>
                  <a:close/>
                  <a:moveTo>
                    <a:pt x="14812" y="14190"/>
                  </a:moveTo>
                  <a:cubicBezTo>
                    <a:pt x="47481" y="18339"/>
                    <a:pt x="158041" y="22188"/>
                    <a:pt x="303212" y="22188"/>
                  </a:cubicBezTo>
                  <a:cubicBezTo>
                    <a:pt x="452914" y="22188"/>
                    <a:pt x="559933" y="18339"/>
                    <a:pt x="591740" y="14215"/>
                  </a:cubicBezTo>
                  <a:cubicBezTo>
                    <a:pt x="559210" y="10053"/>
                    <a:pt x="448561" y="6205"/>
                    <a:pt x="303212" y="6205"/>
                  </a:cubicBezTo>
                  <a:cubicBezTo>
                    <a:pt x="157863" y="6205"/>
                    <a:pt x="47481" y="10041"/>
                    <a:pt x="14812" y="1419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A0F59E0-A396-DA4B-85F9-355014F1051E}"/>
                </a:ext>
              </a:extLst>
            </p:cNvPr>
            <p:cNvSpPr/>
            <p:nvPr/>
          </p:nvSpPr>
          <p:spPr>
            <a:xfrm>
              <a:off x="7794847" y="284166"/>
              <a:ext cx="928959" cy="738994"/>
            </a:xfrm>
            <a:custGeom>
              <a:avLst/>
              <a:gdLst>
                <a:gd name="connsiteX0" fmla="*/ 835862 w 928959"/>
                <a:gd name="connsiteY0" fmla="*/ 129348 h 738994"/>
                <a:gd name="connsiteX1" fmla="*/ 928958 w 928959"/>
                <a:gd name="connsiteY1" fmla="*/ 373724 h 738994"/>
                <a:gd name="connsiteX2" fmla="*/ 687886 w 928959"/>
                <a:gd name="connsiteY2" fmla="*/ 707075 h 738994"/>
                <a:gd name="connsiteX3" fmla="*/ 422255 w 928959"/>
                <a:gd name="connsiteY3" fmla="*/ 738739 h 738994"/>
                <a:gd name="connsiteX4" fmla="*/ 59340 w 928959"/>
                <a:gd name="connsiteY4" fmla="*/ 566442 h 738994"/>
                <a:gd name="connsiteX5" fmla="*/ 36227 w 928959"/>
                <a:gd name="connsiteY5" fmla="*/ 210589 h 738994"/>
                <a:gd name="connsiteX6" fmla="*/ 317571 w 928959"/>
                <a:gd name="connsiteY6" fmla="*/ 11729 h 738994"/>
                <a:gd name="connsiteX7" fmla="*/ 681946 w 928959"/>
                <a:gd name="connsiteY7" fmla="*/ 31485 h 738994"/>
                <a:gd name="connsiteX8" fmla="*/ 835862 w 928959"/>
                <a:gd name="connsiteY8" fmla="*/ 129348 h 73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9" h="738994">
                  <a:moveTo>
                    <a:pt x="835862" y="129348"/>
                  </a:moveTo>
                  <a:cubicBezTo>
                    <a:pt x="896115" y="196817"/>
                    <a:pt x="929237" y="283760"/>
                    <a:pt x="928958" y="373724"/>
                  </a:cubicBezTo>
                  <a:cubicBezTo>
                    <a:pt x="925921" y="523318"/>
                    <a:pt x="830175" y="655713"/>
                    <a:pt x="687886" y="707075"/>
                  </a:cubicBezTo>
                  <a:cubicBezTo>
                    <a:pt x="605502" y="733913"/>
                    <a:pt x="513828" y="740457"/>
                    <a:pt x="422255" y="738739"/>
                  </a:cubicBezTo>
                  <a:cubicBezTo>
                    <a:pt x="276855" y="734716"/>
                    <a:pt x="140403" y="684838"/>
                    <a:pt x="59340" y="566442"/>
                  </a:cubicBezTo>
                  <a:cubicBezTo>
                    <a:pt x="-7725" y="467563"/>
                    <a:pt x="-21432" y="316650"/>
                    <a:pt x="36227" y="210589"/>
                  </a:cubicBezTo>
                  <a:cubicBezTo>
                    <a:pt x="85422" y="102522"/>
                    <a:pt x="197479" y="29968"/>
                    <a:pt x="317571" y="11729"/>
                  </a:cubicBezTo>
                  <a:cubicBezTo>
                    <a:pt x="438981" y="-8966"/>
                    <a:pt x="563560" y="-2211"/>
                    <a:pt x="681946" y="31485"/>
                  </a:cubicBezTo>
                  <a:cubicBezTo>
                    <a:pt x="740568" y="51213"/>
                    <a:pt x="793411" y="84811"/>
                    <a:pt x="835862" y="129348"/>
                  </a:cubicBezTo>
                  <a:close/>
                </a:path>
              </a:pathLst>
            </a:custGeom>
            <a:solidFill>
              <a:srgbClr val="CA0538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F5FF349F-B108-B04A-9C37-2F3E75ABB047}"/>
                </a:ext>
              </a:extLst>
            </p:cNvPr>
            <p:cNvSpPr/>
            <p:nvPr/>
          </p:nvSpPr>
          <p:spPr>
            <a:xfrm>
              <a:off x="7833276" y="310649"/>
              <a:ext cx="674105" cy="476179"/>
            </a:xfrm>
            <a:custGeom>
              <a:avLst/>
              <a:gdLst>
                <a:gd name="connsiteX0" fmla="*/ 674105 w 674105"/>
                <a:gd name="connsiteY0" fmla="*/ 47259 h 476179"/>
                <a:gd name="connsiteX1" fmla="*/ 53199 w 674105"/>
                <a:gd name="connsiteY1" fmla="*/ 164301 h 476179"/>
                <a:gd name="connsiteX2" fmla="*/ 23043 w 674105"/>
                <a:gd name="connsiteY2" fmla="*/ 476180 h 476179"/>
                <a:gd name="connsiteX3" fmla="*/ 674105 w 674105"/>
                <a:gd name="connsiteY3" fmla="*/ 47259 h 47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4105" h="476179">
                  <a:moveTo>
                    <a:pt x="674105" y="47259"/>
                  </a:moveTo>
                  <a:cubicBezTo>
                    <a:pt x="674105" y="47259"/>
                    <a:pt x="245737" y="-115976"/>
                    <a:pt x="53199" y="164301"/>
                  </a:cubicBezTo>
                  <a:cubicBezTo>
                    <a:pt x="-45202" y="307555"/>
                    <a:pt x="23043" y="476180"/>
                    <a:pt x="23043" y="476180"/>
                  </a:cubicBezTo>
                  <a:cubicBezTo>
                    <a:pt x="23043" y="476180"/>
                    <a:pt x="9323" y="-76226"/>
                    <a:pt x="674105" y="47259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4212E1D5-CBB5-984A-A670-2B536441C0EE}"/>
                </a:ext>
              </a:extLst>
            </p:cNvPr>
            <p:cNvSpPr/>
            <p:nvPr/>
          </p:nvSpPr>
          <p:spPr>
            <a:xfrm>
              <a:off x="7952138" y="416172"/>
              <a:ext cx="622117" cy="420341"/>
            </a:xfrm>
            <a:custGeom>
              <a:avLst/>
              <a:gdLst>
                <a:gd name="connsiteX0" fmla="*/ 244162 w 622117"/>
                <a:gd name="connsiteY0" fmla="*/ 5265 h 420341"/>
                <a:gd name="connsiteX1" fmla="*/ 190234 w 622117"/>
                <a:gd name="connsiteY1" fmla="*/ 115337 h 420341"/>
                <a:gd name="connsiteX2" fmla="*/ 166119 w 622117"/>
                <a:gd name="connsiteY2" fmla="*/ 372750 h 420341"/>
                <a:gd name="connsiteX3" fmla="*/ 174546 w 622117"/>
                <a:gd name="connsiteY3" fmla="*/ 380271 h 420341"/>
                <a:gd name="connsiteX4" fmla="*/ 219273 w 622117"/>
                <a:gd name="connsiteY4" fmla="*/ 341336 h 420341"/>
                <a:gd name="connsiteX5" fmla="*/ 302545 w 622117"/>
                <a:gd name="connsiteY5" fmla="*/ 23617 h 420341"/>
                <a:gd name="connsiteX6" fmla="*/ 333806 w 622117"/>
                <a:gd name="connsiteY6" fmla="*/ 464 h 420341"/>
                <a:gd name="connsiteX7" fmla="*/ 335633 w 622117"/>
                <a:gd name="connsiteY7" fmla="*/ 7032 h 420341"/>
                <a:gd name="connsiteX8" fmla="*/ 302964 w 622117"/>
                <a:gd name="connsiteY8" fmla="*/ 48950 h 420341"/>
                <a:gd name="connsiteX9" fmla="*/ 293445 w 622117"/>
                <a:gd name="connsiteY9" fmla="*/ 78772 h 420341"/>
                <a:gd name="connsiteX10" fmla="*/ 257717 w 622117"/>
                <a:gd name="connsiteY10" fmla="*/ 371697 h 420341"/>
                <a:gd name="connsiteX11" fmla="*/ 269927 w 622117"/>
                <a:gd name="connsiteY11" fmla="*/ 380221 h 420341"/>
                <a:gd name="connsiteX12" fmla="*/ 308980 w 622117"/>
                <a:gd name="connsiteY12" fmla="*/ 342176 h 420341"/>
                <a:gd name="connsiteX13" fmla="*/ 378228 w 622117"/>
                <a:gd name="connsiteY13" fmla="*/ 200628 h 420341"/>
                <a:gd name="connsiteX14" fmla="*/ 448161 w 622117"/>
                <a:gd name="connsiteY14" fmla="*/ 198221 h 420341"/>
                <a:gd name="connsiteX15" fmla="*/ 429681 w 622117"/>
                <a:gd name="connsiteY15" fmla="*/ 360127 h 420341"/>
                <a:gd name="connsiteX16" fmla="*/ 437030 w 622117"/>
                <a:gd name="connsiteY16" fmla="*/ 382690 h 420341"/>
                <a:gd name="connsiteX17" fmla="*/ 444645 w 622117"/>
                <a:gd name="connsiteY17" fmla="*/ 380885 h 420341"/>
                <a:gd name="connsiteX18" fmla="*/ 491339 w 622117"/>
                <a:gd name="connsiteY18" fmla="*/ 333527 h 420341"/>
                <a:gd name="connsiteX19" fmla="*/ 528362 w 622117"/>
                <a:gd name="connsiteY19" fmla="*/ 108054 h 420341"/>
                <a:gd name="connsiteX20" fmla="*/ 593332 w 622117"/>
                <a:gd name="connsiteY20" fmla="*/ 24331 h 420341"/>
                <a:gd name="connsiteX21" fmla="*/ 580031 w 622117"/>
                <a:gd name="connsiteY21" fmla="*/ 39536 h 420341"/>
                <a:gd name="connsiteX22" fmla="*/ 525455 w 622117"/>
                <a:gd name="connsiteY22" fmla="*/ 215770 h 420341"/>
                <a:gd name="connsiteX23" fmla="*/ 546295 w 622117"/>
                <a:gd name="connsiteY23" fmla="*/ 207522 h 420341"/>
                <a:gd name="connsiteX24" fmla="*/ 590083 w 622117"/>
                <a:gd name="connsiteY24" fmla="*/ 171383 h 420341"/>
                <a:gd name="connsiteX25" fmla="*/ 609717 w 622117"/>
                <a:gd name="connsiteY25" fmla="*/ 190299 h 420341"/>
                <a:gd name="connsiteX26" fmla="*/ 587481 w 622117"/>
                <a:gd name="connsiteY26" fmla="*/ 352167 h 420341"/>
                <a:gd name="connsiteX27" fmla="*/ 515873 w 622117"/>
                <a:gd name="connsiteY27" fmla="*/ 418817 h 420341"/>
                <a:gd name="connsiteX28" fmla="*/ 500642 w 622117"/>
                <a:gd name="connsiteY28" fmla="*/ 417313 h 420341"/>
                <a:gd name="connsiteX29" fmla="*/ 492024 w 622117"/>
                <a:gd name="connsiteY29" fmla="*/ 355990 h 420341"/>
                <a:gd name="connsiteX30" fmla="*/ 489207 w 622117"/>
                <a:gd name="connsiteY30" fmla="*/ 354085 h 420341"/>
                <a:gd name="connsiteX31" fmla="*/ 416862 w 622117"/>
                <a:gd name="connsiteY31" fmla="*/ 419958 h 420341"/>
                <a:gd name="connsiteX32" fmla="*/ 408397 w 622117"/>
                <a:gd name="connsiteY32" fmla="*/ 418015 h 420341"/>
                <a:gd name="connsiteX33" fmla="*/ 398345 w 622117"/>
                <a:gd name="connsiteY33" fmla="*/ 380409 h 420341"/>
                <a:gd name="connsiteX34" fmla="*/ 344175 w 622117"/>
                <a:gd name="connsiteY34" fmla="*/ 420221 h 420341"/>
                <a:gd name="connsiteX35" fmla="*/ 325493 w 622117"/>
                <a:gd name="connsiteY35" fmla="*/ 399989 h 420341"/>
                <a:gd name="connsiteX36" fmla="*/ 310719 w 622117"/>
                <a:gd name="connsiteY36" fmla="*/ 359011 h 420341"/>
                <a:gd name="connsiteX37" fmla="*/ 242182 w 622117"/>
                <a:gd name="connsiteY37" fmla="*/ 419306 h 420341"/>
                <a:gd name="connsiteX38" fmla="*/ 228221 w 622117"/>
                <a:gd name="connsiteY38" fmla="*/ 408852 h 420341"/>
                <a:gd name="connsiteX39" fmla="*/ 220047 w 622117"/>
                <a:gd name="connsiteY39" fmla="*/ 358222 h 420341"/>
                <a:gd name="connsiteX40" fmla="*/ 216240 w 622117"/>
                <a:gd name="connsiteY40" fmla="*/ 359124 h 420341"/>
                <a:gd name="connsiteX41" fmla="*/ 149607 w 622117"/>
                <a:gd name="connsiteY41" fmla="*/ 419406 h 420341"/>
                <a:gd name="connsiteX42" fmla="*/ 136470 w 622117"/>
                <a:gd name="connsiteY42" fmla="*/ 410857 h 420341"/>
                <a:gd name="connsiteX43" fmla="*/ 127586 w 622117"/>
                <a:gd name="connsiteY43" fmla="*/ 346138 h 420341"/>
                <a:gd name="connsiteX44" fmla="*/ 123778 w 622117"/>
                <a:gd name="connsiteY44" fmla="*/ 346138 h 420341"/>
                <a:gd name="connsiteX45" fmla="*/ 29616 w 622117"/>
                <a:gd name="connsiteY45" fmla="*/ 420234 h 420341"/>
                <a:gd name="connsiteX46" fmla="*/ 19298 w 622117"/>
                <a:gd name="connsiteY46" fmla="*/ 412637 h 420341"/>
                <a:gd name="connsiteX47" fmla="*/ 41090 w 622117"/>
                <a:gd name="connsiteY47" fmla="*/ 197368 h 420341"/>
                <a:gd name="connsiteX48" fmla="*/ 83177 w 622117"/>
                <a:gd name="connsiteY48" fmla="*/ 178766 h 420341"/>
                <a:gd name="connsiteX49" fmla="*/ 102367 w 622117"/>
                <a:gd name="connsiteY49" fmla="*/ 208224 h 420341"/>
                <a:gd name="connsiteX50" fmla="*/ 102100 w 622117"/>
                <a:gd name="connsiteY50" fmla="*/ 239136 h 420341"/>
                <a:gd name="connsiteX51" fmla="*/ 36368 w 622117"/>
                <a:gd name="connsiteY51" fmla="*/ 299443 h 420341"/>
                <a:gd name="connsiteX52" fmla="*/ 46167 w 622117"/>
                <a:gd name="connsiteY52" fmla="*/ 383831 h 420341"/>
                <a:gd name="connsiteX53" fmla="*/ 58592 w 622117"/>
                <a:gd name="connsiteY53" fmla="*/ 385649 h 420341"/>
                <a:gd name="connsiteX54" fmla="*/ 60331 w 622117"/>
                <a:gd name="connsiteY54" fmla="*/ 383969 h 420341"/>
                <a:gd name="connsiteX55" fmla="*/ 127954 w 622117"/>
                <a:gd name="connsiteY55" fmla="*/ 320866 h 420341"/>
                <a:gd name="connsiteX56" fmla="*/ 202291 w 622117"/>
                <a:gd name="connsiteY56" fmla="*/ 37681 h 420341"/>
                <a:gd name="connsiteX57" fmla="*/ 243007 w 622117"/>
                <a:gd name="connsiteY57" fmla="*/ 0 h 420341"/>
                <a:gd name="connsiteX58" fmla="*/ 244974 w 622117"/>
                <a:gd name="connsiteY58" fmla="*/ 4024 h 420341"/>
                <a:gd name="connsiteX59" fmla="*/ 244162 w 622117"/>
                <a:gd name="connsiteY59" fmla="*/ 5265 h 420341"/>
                <a:gd name="connsiteX60" fmla="*/ 77224 w 622117"/>
                <a:gd name="connsiteY60" fmla="*/ 185510 h 420341"/>
                <a:gd name="connsiteX61" fmla="*/ 63936 w 622117"/>
                <a:gd name="connsiteY61" fmla="*/ 193821 h 420341"/>
                <a:gd name="connsiteX62" fmla="*/ 39516 w 622117"/>
                <a:gd name="connsiteY62" fmla="*/ 281656 h 420341"/>
                <a:gd name="connsiteX63" fmla="*/ 80448 w 622117"/>
                <a:gd name="connsiteY63" fmla="*/ 246419 h 420341"/>
                <a:gd name="connsiteX64" fmla="*/ 86553 w 622117"/>
                <a:gd name="connsiteY64" fmla="*/ 197770 h 420341"/>
                <a:gd name="connsiteX65" fmla="*/ 77224 w 622117"/>
                <a:gd name="connsiteY65" fmla="*/ 185510 h 420341"/>
                <a:gd name="connsiteX66" fmla="*/ 415111 w 622117"/>
                <a:gd name="connsiteY66" fmla="*/ 203536 h 420341"/>
                <a:gd name="connsiteX67" fmla="*/ 378215 w 622117"/>
                <a:gd name="connsiteY67" fmla="*/ 212574 h 420341"/>
                <a:gd name="connsiteX68" fmla="*/ 346891 w 622117"/>
                <a:gd name="connsiteY68" fmla="*/ 331271 h 420341"/>
                <a:gd name="connsiteX69" fmla="*/ 360611 w 622117"/>
                <a:gd name="connsiteY69" fmla="*/ 381976 h 420341"/>
                <a:gd name="connsiteX70" fmla="*/ 395730 w 622117"/>
                <a:gd name="connsiteY70" fmla="*/ 361681 h 420341"/>
                <a:gd name="connsiteX71" fmla="*/ 416037 w 622117"/>
                <a:gd name="connsiteY71" fmla="*/ 208224 h 420341"/>
                <a:gd name="connsiteX72" fmla="*/ 566146 w 622117"/>
                <a:gd name="connsiteY72" fmla="*/ 207698 h 420341"/>
                <a:gd name="connsiteX73" fmla="*/ 530887 w 622117"/>
                <a:gd name="connsiteY73" fmla="*/ 242997 h 420341"/>
                <a:gd name="connsiteX74" fmla="*/ 529618 w 622117"/>
                <a:gd name="connsiteY74" fmla="*/ 378792 h 420341"/>
                <a:gd name="connsiteX75" fmla="*/ 533324 w 622117"/>
                <a:gd name="connsiteY75" fmla="*/ 388219 h 420341"/>
                <a:gd name="connsiteX76" fmla="*/ 558899 w 622117"/>
                <a:gd name="connsiteY76" fmla="*/ 370995 h 420341"/>
                <a:gd name="connsiteX77" fmla="*/ 581871 w 622117"/>
                <a:gd name="connsiteY77" fmla="*/ 223730 h 420341"/>
                <a:gd name="connsiteX78" fmla="*/ 566158 w 622117"/>
                <a:gd name="connsiteY78" fmla="*/ 207710 h 420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117" h="420341">
                  <a:moveTo>
                    <a:pt x="244162" y="5265"/>
                  </a:moveTo>
                  <a:cubicBezTo>
                    <a:pt x="206086" y="28342"/>
                    <a:pt x="203801" y="76089"/>
                    <a:pt x="190234" y="115337"/>
                  </a:cubicBezTo>
                  <a:cubicBezTo>
                    <a:pt x="169685" y="194774"/>
                    <a:pt x="154696" y="286444"/>
                    <a:pt x="166119" y="372750"/>
                  </a:cubicBezTo>
                  <a:cubicBezTo>
                    <a:pt x="167666" y="376363"/>
                    <a:pt x="170752" y="379115"/>
                    <a:pt x="174546" y="380271"/>
                  </a:cubicBezTo>
                  <a:cubicBezTo>
                    <a:pt x="191170" y="369352"/>
                    <a:pt x="206217" y="356253"/>
                    <a:pt x="219273" y="341336"/>
                  </a:cubicBezTo>
                  <a:cubicBezTo>
                    <a:pt x="227904" y="228092"/>
                    <a:pt x="248807" y="118709"/>
                    <a:pt x="302545" y="23617"/>
                  </a:cubicBezTo>
                  <a:cubicBezTo>
                    <a:pt x="309823" y="12451"/>
                    <a:pt x="320916" y="4236"/>
                    <a:pt x="333806" y="464"/>
                  </a:cubicBezTo>
                  <a:cubicBezTo>
                    <a:pt x="336636" y="464"/>
                    <a:pt x="337613" y="5165"/>
                    <a:pt x="335633" y="7032"/>
                  </a:cubicBezTo>
                  <a:cubicBezTo>
                    <a:pt x="316443" y="13977"/>
                    <a:pt x="309780" y="30298"/>
                    <a:pt x="302964" y="48950"/>
                  </a:cubicBezTo>
                  <a:cubicBezTo>
                    <a:pt x="299197" y="58697"/>
                    <a:pt x="296018" y="68655"/>
                    <a:pt x="293445" y="78772"/>
                  </a:cubicBezTo>
                  <a:cubicBezTo>
                    <a:pt x="267185" y="170380"/>
                    <a:pt x="246358" y="270399"/>
                    <a:pt x="257717" y="371697"/>
                  </a:cubicBezTo>
                  <a:cubicBezTo>
                    <a:pt x="259570" y="376398"/>
                    <a:pt x="264241" y="382064"/>
                    <a:pt x="269927" y="380221"/>
                  </a:cubicBezTo>
                  <a:cubicBezTo>
                    <a:pt x="285184" y="369996"/>
                    <a:pt x="298419" y="357102"/>
                    <a:pt x="308980" y="342176"/>
                  </a:cubicBezTo>
                  <a:cubicBezTo>
                    <a:pt x="303214" y="285875"/>
                    <a:pt x="329984" y="231155"/>
                    <a:pt x="378228" y="200628"/>
                  </a:cubicBezTo>
                  <a:cubicBezTo>
                    <a:pt x="399780" y="188729"/>
                    <a:pt x="425822" y="187833"/>
                    <a:pt x="448161" y="198221"/>
                  </a:cubicBezTo>
                  <a:cubicBezTo>
                    <a:pt x="436742" y="251477"/>
                    <a:pt x="430553" y="305697"/>
                    <a:pt x="429681" y="360127"/>
                  </a:cubicBezTo>
                  <a:cubicBezTo>
                    <a:pt x="430316" y="366633"/>
                    <a:pt x="429529" y="377915"/>
                    <a:pt x="437030" y="382690"/>
                  </a:cubicBezTo>
                  <a:lnTo>
                    <a:pt x="444645" y="380885"/>
                  </a:lnTo>
                  <a:lnTo>
                    <a:pt x="491339" y="333527"/>
                  </a:lnTo>
                  <a:cubicBezTo>
                    <a:pt x="498793" y="257666"/>
                    <a:pt x="511159" y="182354"/>
                    <a:pt x="528362" y="108054"/>
                  </a:cubicBezTo>
                  <a:cubicBezTo>
                    <a:pt x="539048" y="74435"/>
                    <a:pt x="563899" y="27954"/>
                    <a:pt x="593332" y="24331"/>
                  </a:cubicBezTo>
                  <a:cubicBezTo>
                    <a:pt x="604171" y="33808"/>
                    <a:pt x="592228" y="28092"/>
                    <a:pt x="580031" y="39536"/>
                  </a:cubicBezTo>
                  <a:cubicBezTo>
                    <a:pt x="544722" y="77957"/>
                    <a:pt x="531725" y="152116"/>
                    <a:pt x="525455" y="215770"/>
                  </a:cubicBezTo>
                  <a:cubicBezTo>
                    <a:pt x="532702" y="217738"/>
                    <a:pt x="534073" y="216911"/>
                    <a:pt x="546295" y="207522"/>
                  </a:cubicBezTo>
                  <a:lnTo>
                    <a:pt x="590083" y="171383"/>
                  </a:lnTo>
                  <a:cubicBezTo>
                    <a:pt x="600465" y="170530"/>
                    <a:pt x="606011" y="182765"/>
                    <a:pt x="609717" y="190299"/>
                  </a:cubicBezTo>
                  <a:cubicBezTo>
                    <a:pt x="632199" y="244293"/>
                    <a:pt x="623715" y="306041"/>
                    <a:pt x="587481" y="352167"/>
                  </a:cubicBezTo>
                  <a:cubicBezTo>
                    <a:pt x="569051" y="379470"/>
                    <a:pt x="544562" y="402266"/>
                    <a:pt x="515873" y="418817"/>
                  </a:cubicBezTo>
                  <a:cubicBezTo>
                    <a:pt x="504450" y="422578"/>
                    <a:pt x="501378" y="418002"/>
                    <a:pt x="500642" y="417313"/>
                  </a:cubicBezTo>
                  <a:cubicBezTo>
                    <a:pt x="492227" y="406833"/>
                    <a:pt x="493712" y="378454"/>
                    <a:pt x="492024" y="355990"/>
                  </a:cubicBezTo>
                  <a:lnTo>
                    <a:pt x="489207" y="354085"/>
                  </a:lnTo>
                  <a:lnTo>
                    <a:pt x="416862" y="419958"/>
                  </a:lnTo>
                  <a:cubicBezTo>
                    <a:pt x="414984" y="419958"/>
                    <a:pt x="410059" y="421211"/>
                    <a:pt x="408397" y="418015"/>
                  </a:cubicBezTo>
                  <a:cubicBezTo>
                    <a:pt x="402772" y="406183"/>
                    <a:pt x="399365" y="393442"/>
                    <a:pt x="398345" y="380409"/>
                  </a:cubicBezTo>
                  <a:cubicBezTo>
                    <a:pt x="379307" y="391490"/>
                    <a:pt x="363150" y="409140"/>
                    <a:pt x="344175" y="420221"/>
                  </a:cubicBezTo>
                  <a:cubicBezTo>
                    <a:pt x="333768" y="421061"/>
                    <a:pt x="329084" y="408438"/>
                    <a:pt x="325493" y="399989"/>
                  </a:cubicBezTo>
                  <a:cubicBezTo>
                    <a:pt x="317357" y="379419"/>
                    <a:pt x="316608" y="374655"/>
                    <a:pt x="310719" y="359011"/>
                  </a:cubicBezTo>
                  <a:lnTo>
                    <a:pt x="242182" y="419306"/>
                  </a:lnTo>
                  <a:cubicBezTo>
                    <a:pt x="234567" y="423067"/>
                    <a:pt x="230176" y="414844"/>
                    <a:pt x="228221" y="408852"/>
                  </a:cubicBezTo>
                  <a:cubicBezTo>
                    <a:pt x="224377" y="392170"/>
                    <a:pt x="221646" y="375257"/>
                    <a:pt x="220047" y="358222"/>
                  </a:cubicBezTo>
                  <a:lnTo>
                    <a:pt x="216240" y="359124"/>
                  </a:lnTo>
                  <a:lnTo>
                    <a:pt x="149607" y="419406"/>
                  </a:lnTo>
                  <a:cubicBezTo>
                    <a:pt x="142550" y="421512"/>
                    <a:pt x="139986" y="418755"/>
                    <a:pt x="136470" y="410857"/>
                  </a:cubicBezTo>
                  <a:cubicBezTo>
                    <a:pt x="130416" y="397269"/>
                    <a:pt x="130696" y="366883"/>
                    <a:pt x="127586" y="346138"/>
                  </a:cubicBezTo>
                  <a:lnTo>
                    <a:pt x="123778" y="346138"/>
                  </a:lnTo>
                  <a:cubicBezTo>
                    <a:pt x="92404" y="370193"/>
                    <a:pt x="64722" y="401807"/>
                    <a:pt x="29616" y="420234"/>
                  </a:cubicBezTo>
                  <a:cubicBezTo>
                    <a:pt x="24895" y="421111"/>
                    <a:pt x="21151" y="416473"/>
                    <a:pt x="19298" y="412637"/>
                  </a:cubicBezTo>
                  <a:cubicBezTo>
                    <a:pt x="-11265" y="346777"/>
                    <a:pt x="-6619" y="252185"/>
                    <a:pt x="41090" y="197368"/>
                  </a:cubicBezTo>
                  <a:cubicBezTo>
                    <a:pt x="46839" y="191301"/>
                    <a:pt x="63859" y="170593"/>
                    <a:pt x="83177" y="178766"/>
                  </a:cubicBezTo>
                  <a:cubicBezTo>
                    <a:pt x="94066" y="182527"/>
                    <a:pt x="99169" y="191163"/>
                    <a:pt x="102367" y="208224"/>
                  </a:cubicBezTo>
                  <a:cubicBezTo>
                    <a:pt x="105644" y="218289"/>
                    <a:pt x="105550" y="229128"/>
                    <a:pt x="102100" y="239136"/>
                  </a:cubicBezTo>
                  <a:lnTo>
                    <a:pt x="36368" y="299443"/>
                  </a:lnTo>
                  <a:cubicBezTo>
                    <a:pt x="31891" y="327931"/>
                    <a:pt x="35276" y="357085"/>
                    <a:pt x="46167" y="383831"/>
                  </a:cubicBezTo>
                  <a:cubicBezTo>
                    <a:pt x="49091" y="387721"/>
                    <a:pt x="54653" y="388534"/>
                    <a:pt x="58592" y="385649"/>
                  </a:cubicBezTo>
                  <a:cubicBezTo>
                    <a:pt x="59251" y="385174"/>
                    <a:pt x="59836" y="384608"/>
                    <a:pt x="60331" y="383969"/>
                  </a:cubicBezTo>
                  <a:lnTo>
                    <a:pt x="127954" y="320866"/>
                  </a:lnTo>
                  <a:cubicBezTo>
                    <a:pt x="138298" y="220734"/>
                    <a:pt x="157146" y="123460"/>
                    <a:pt x="202291" y="37681"/>
                  </a:cubicBezTo>
                  <a:cubicBezTo>
                    <a:pt x="207634" y="27791"/>
                    <a:pt x="225365" y="752"/>
                    <a:pt x="243007" y="0"/>
                  </a:cubicBezTo>
                  <a:cubicBezTo>
                    <a:pt x="244671" y="580"/>
                    <a:pt x="245549" y="2377"/>
                    <a:pt x="244974" y="4024"/>
                  </a:cubicBezTo>
                  <a:cubicBezTo>
                    <a:pt x="244800" y="4491"/>
                    <a:pt x="244523" y="4916"/>
                    <a:pt x="244162" y="5265"/>
                  </a:cubicBezTo>
                  <a:close/>
                  <a:moveTo>
                    <a:pt x="77224" y="185510"/>
                  </a:moveTo>
                  <a:cubicBezTo>
                    <a:pt x="72275" y="187374"/>
                    <a:pt x="67757" y="190199"/>
                    <a:pt x="63936" y="193821"/>
                  </a:cubicBezTo>
                  <a:cubicBezTo>
                    <a:pt x="49883" y="221174"/>
                    <a:pt x="41576" y="251051"/>
                    <a:pt x="39516" y="281656"/>
                  </a:cubicBezTo>
                  <a:cubicBezTo>
                    <a:pt x="54645" y="269747"/>
                    <a:pt x="68060" y="257563"/>
                    <a:pt x="80448" y="246419"/>
                  </a:cubicBezTo>
                  <a:lnTo>
                    <a:pt x="86553" y="197770"/>
                  </a:lnTo>
                  <a:cubicBezTo>
                    <a:pt x="89459" y="190311"/>
                    <a:pt x="84776" y="185585"/>
                    <a:pt x="77224" y="185510"/>
                  </a:cubicBezTo>
                  <a:close/>
                  <a:moveTo>
                    <a:pt x="415111" y="203536"/>
                  </a:moveTo>
                  <a:cubicBezTo>
                    <a:pt x="401949" y="195927"/>
                    <a:pt x="388711" y="202746"/>
                    <a:pt x="378215" y="212574"/>
                  </a:cubicBezTo>
                  <a:cubicBezTo>
                    <a:pt x="347754" y="241405"/>
                    <a:pt x="343502" y="289039"/>
                    <a:pt x="346891" y="331271"/>
                  </a:cubicBezTo>
                  <a:cubicBezTo>
                    <a:pt x="346891" y="335307"/>
                    <a:pt x="349125" y="369503"/>
                    <a:pt x="360611" y="381976"/>
                  </a:cubicBezTo>
                  <a:cubicBezTo>
                    <a:pt x="374915" y="383229"/>
                    <a:pt x="386211" y="370030"/>
                    <a:pt x="395730" y="361681"/>
                  </a:cubicBezTo>
                  <a:cubicBezTo>
                    <a:pt x="400921" y="310211"/>
                    <a:pt x="407039" y="258741"/>
                    <a:pt x="416037" y="208224"/>
                  </a:cubicBezTo>
                  <a:close/>
                  <a:moveTo>
                    <a:pt x="566146" y="207698"/>
                  </a:moveTo>
                  <a:cubicBezTo>
                    <a:pt x="549725" y="213795"/>
                    <a:pt x="536837" y="226697"/>
                    <a:pt x="530887" y="242997"/>
                  </a:cubicBezTo>
                  <a:cubicBezTo>
                    <a:pt x="520125" y="285993"/>
                    <a:pt x="527207" y="334768"/>
                    <a:pt x="529618" y="378792"/>
                  </a:cubicBezTo>
                  <a:lnTo>
                    <a:pt x="533324" y="388219"/>
                  </a:lnTo>
                  <a:cubicBezTo>
                    <a:pt x="542615" y="387893"/>
                    <a:pt x="553784" y="376937"/>
                    <a:pt x="558899" y="370995"/>
                  </a:cubicBezTo>
                  <a:cubicBezTo>
                    <a:pt x="596556" y="329628"/>
                    <a:pt x="589969" y="272518"/>
                    <a:pt x="581871" y="223730"/>
                  </a:cubicBezTo>
                  <a:cubicBezTo>
                    <a:pt x="581224" y="219970"/>
                    <a:pt x="579333" y="203749"/>
                    <a:pt x="566158" y="207710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395448CD-B996-3741-9128-3874F1622930}"/>
                </a:ext>
              </a:extLst>
            </p:cNvPr>
            <p:cNvSpPr/>
            <p:nvPr/>
          </p:nvSpPr>
          <p:spPr>
            <a:xfrm>
              <a:off x="7944028" y="412486"/>
              <a:ext cx="622096" cy="420416"/>
            </a:xfrm>
            <a:custGeom>
              <a:avLst/>
              <a:gdLst>
                <a:gd name="connsiteX0" fmla="*/ 244048 w 622096"/>
                <a:gd name="connsiteY0" fmla="*/ 5277 h 420416"/>
                <a:gd name="connsiteX1" fmla="*/ 190170 w 622096"/>
                <a:gd name="connsiteY1" fmla="*/ 115337 h 420416"/>
                <a:gd name="connsiteX2" fmla="*/ 166055 w 622096"/>
                <a:gd name="connsiteY2" fmla="*/ 372775 h 420416"/>
                <a:gd name="connsiteX3" fmla="*/ 174496 w 622096"/>
                <a:gd name="connsiteY3" fmla="*/ 380296 h 420416"/>
                <a:gd name="connsiteX4" fmla="*/ 219273 w 622096"/>
                <a:gd name="connsiteY4" fmla="*/ 341437 h 420416"/>
                <a:gd name="connsiteX5" fmla="*/ 302545 w 622096"/>
                <a:gd name="connsiteY5" fmla="*/ 23667 h 420416"/>
                <a:gd name="connsiteX6" fmla="*/ 333806 w 622096"/>
                <a:gd name="connsiteY6" fmla="*/ 514 h 420416"/>
                <a:gd name="connsiteX7" fmla="*/ 335633 w 622096"/>
                <a:gd name="connsiteY7" fmla="*/ 7095 h 420416"/>
                <a:gd name="connsiteX8" fmla="*/ 302964 w 622096"/>
                <a:gd name="connsiteY8" fmla="*/ 49013 h 420416"/>
                <a:gd name="connsiteX9" fmla="*/ 293445 w 622096"/>
                <a:gd name="connsiteY9" fmla="*/ 78835 h 420416"/>
                <a:gd name="connsiteX10" fmla="*/ 257717 w 622096"/>
                <a:gd name="connsiteY10" fmla="*/ 371772 h 420416"/>
                <a:gd name="connsiteX11" fmla="*/ 269927 w 622096"/>
                <a:gd name="connsiteY11" fmla="*/ 380296 h 420416"/>
                <a:gd name="connsiteX12" fmla="*/ 308980 w 622096"/>
                <a:gd name="connsiteY12" fmla="*/ 342239 h 420416"/>
                <a:gd name="connsiteX13" fmla="*/ 378228 w 622096"/>
                <a:gd name="connsiteY13" fmla="*/ 200690 h 420416"/>
                <a:gd name="connsiteX14" fmla="*/ 448161 w 622096"/>
                <a:gd name="connsiteY14" fmla="*/ 198284 h 420416"/>
                <a:gd name="connsiteX15" fmla="*/ 429681 w 622096"/>
                <a:gd name="connsiteY15" fmla="*/ 360202 h 420416"/>
                <a:gd name="connsiteX16" fmla="*/ 437030 w 622096"/>
                <a:gd name="connsiteY16" fmla="*/ 382766 h 420416"/>
                <a:gd name="connsiteX17" fmla="*/ 444645 w 622096"/>
                <a:gd name="connsiteY17" fmla="*/ 380961 h 420416"/>
                <a:gd name="connsiteX18" fmla="*/ 491339 w 622096"/>
                <a:gd name="connsiteY18" fmla="*/ 333590 h 420416"/>
                <a:gd name="connsiteX19" fmla="*/ 528362 w 622096"/>
                <a:gd name="connsiteY19" fmla="*/ 108092 h 420416"/>
                <a:gd name="connsiteX20" fmla="*/ 593332 w 622096"/>
                <a:gd name="connsiteY20" fmla="*/ 24369 h 420416"/>
                <a:gd name="connsiteX21" fmla="*/ 580031 w 622096"/>
                <a:gd name="connsiteY21" fmla="*/ 39574 h 420416"/>
                <a:gd name="connsiteX22" fmla="*/ 525455 w 622096"/>
                <a:gd name="connsiteY22" fmla="*/ 215808 h 420416"/>
                <a:gd name="connsiteX23" fmla="*/ 546295 w 622096"/>
                <a:gd name="connsiteY23" fmla="*/ 207560 h 420416"/>
                <a:gd name="connsiteX24" fmla="*/ 590083 w 622096"/>
                <a:gd name="connsiteY24" fmla="*/ 171420 h 420416"/>
                <a:gd name="connsiteX25" fmla="*/ 609717 w 622096"/>
                <a:gd name="connsiteY25" fmla="*/ 190324 h 420416"/>
                <a:gd name="connsiteX26" fmla="*/ 587443 w 622096"/>
                <a:gd name="connsiteY26" fmla="*/ 352167 h 420416"/>
                <a:gd name="connsiteX27" fmla="*/ 515835 w 622096"/>
                <a:gd name="connsiteY27" fmla="*/ 418842 h 420416"/>
                <a:gd name="connsiteX28" fmla="*/ 500604 w 622096"/>
                <a:gd name="connsiteY28" fmla="*/ 417338 h 420416"/>
                <a:gd name="connsiteX29" fmla="*/ 491986 w 622096"/>
                <a:gd name="connsiteY29" fmla="*/ 356003 h 420416"/>
                <a:gd name="connsiteX30" fmla="*/ 489169 w 622096"/>
                <a:gd name="connsiteY30" fmla="*/ 354097 h 420416"/>
                <a:gd name="connsiteX31" fmla="*/ 416824 w 622096"/>
                <a:gd name="connsiteY31" fmla="*/ 419983 h 420416"/>
                <a:gd name="connsiteX32" fmla="*/ 408359 w 622096"/>
                <a:gd name="connsiteY32" fmla="*/ 418040 h 420416"/>
                <a:gd name="connsiteX33" fmla="*/ 398307 w 622096"/>
                <a:gd name="connsiteY33" fmla="*/ 380434 h 420416"/>
                <a:gd name="connsiteX34" fmla="*/ 344137 w 622096"/>
                <a:gd name="connsiteY34" fmla="*/ 420246 h 420416"/>
                <a:gd name="connsiteX35" fmla="*/ 325454 w 622096"/>
                <a:gd name="connsiteY35" fmla="*/ 400014 h 420416"/>
                <a:gd name="connsiteX36" fmla="*/ 310681 w 622096"/>
                <a:gd name="connsiteY36" fmla="*/ 359036 h 420416"/>
                <a:gd name="connsiteX37" fmla="*/ 242144 w 622096"/>
                <a:gd name="connsiteY37" fmla="*/ 419331 h 420416"/>
                <a:gd name="connsiteX38" fmla="*/ 228183 w 622096"/>
                <a:gd name="connsiteY38" fmla="*/ 408864 h 420416"/>
                <a:gd name="connsiteX39" fmla="*/ 220009 w 622096"/>
                <a:gd name="connsiteY39" fmla="*/ 358222 h 420416"/>
                <a:gd name="connsiteX40" fmla="*/ 216202 w 622096"/>
                <a:gd name="connsiteY40" fmla="*/ 359149 h 420416"/>
                <a:gd name="connsiteX41" fmla="*/ 149607 w 622096"/>
                <a:gd name="connsiteY41" fmla="*/ 419469 h 420416"/>
                <a:gd name="connsiteX42" fmla="*/ 136470 w 622096"/>
                <a:gd name="connsiteY42" fmla="*/ 410920 h 420416"/>
                <a:gd name="connsiteX43" fmla="*/ 127586 w 622096"/>
                <a:gd name="connsiteY43" fmla="*/ 346188 h 420416"/>
                <a:gd name="connsiteX44" fmla="*/ 123778 w 622096"/>
                <a:gd name="connsiteY44" fmla="*/ 346188 h 420416"/>
                <a:gd name="connsiteX45" fmla="*/ 29616 w 622096"/>
                <a:gd name="connsiteY45" fmla="*/ 420309 h 420416"/>
                <a:gd name="connsiteX46" fmla="*/ 19298 w 622096"/>
                <a:gd name="connsiteY46" fmla="*/ 412713 h 420416"/>
                <a:gd name="connsiteX47" fmla="*/ 41090 w 622096"/>
                <a:gd name="connsiteY47" fmla="*/ 197431 h 420416"/>
                <a:gd name="connsiteX48" fmla="*/ 83177 w 622096"/>
                <a:gd name="connsiteY48" fmla="*/ 178829 h 420416"/>
                <a:gd name="connsiteX49" fmla="*/ 102380 w 622096"/>
                <a:gd name="connsiteY49" fmla="*/ 208287 h 420416"/>
                <a:gd name="connsiteX50" fmla="*/ 102100 w 622096"/>
                <a:gd name="connsiteY50" fmla="*/ 239199 h 420416"/>
                <a:gd name="connsiteX51" fmla="*/ 36368 w 622096"/>
                <a:gd name="connsiteY51" fmla="*/ 299506 h 420416"/>
                <a:gd name="connsiteX52" fmla="*/ 46002 w 622096"/>
                <a:gd name="connsiteY52" fmla="*/ 383906 h 420416"/>
                <a:gd name="connsiteX53" fmla="*/ 58427 w 622096"/>
                <a:gd name="connsiteY53" fmla="*/ 385724 h 420416"/>
                <a:gd name="connsiteX54" fmla="*/ 60166 w 622096"/>
                <a:gd name="connsiteY54" fmla="*/ 384044 h 420416"/>
                <a:gd name="connsiteX55" fmla="*/ 127891 w 622096"/>
                <a:gd name="connsiteY55" fmla="*/ 320866 h 420416"/>
                <a:gd name="connsiteX56" fmla="*/ 202240 w 622096"/>
                <a:gd name="connsiteY56" fmla="*/ 37681 h 420416"/>
                <a:gd name="connsiteX57" fmla="*/ 242956 w 622096"/>
                <a:gd name="connsiteY57" fmla="*/ 0 h 420416"/>
                <a:gd name="connsiteX58" fmla="*/ 244860 w 622096"/>
                <a:gd name="connsiteY58" fmla="*/ 4049 h 420416"/>
                <a:gd name="connsiteX59" fmla="*/ 244048 w 622096"/>
                <a:gd name="connsiteY59" fmla="*/ 5277 h 420416"/>
                <a:gd name="connsiteX60" fmla="*/ 77123 w 622096"/>
                <a:gd name="connsiteY60" fmla="*/ 185523 h 420416"/>
                <a:gd name="connsiteX61" fmla="*/ 63834 w 622096"/>
                <a:gd name="connsiteY61" fmla="*/ 193833 h 420416"/>
                <a:gd name="connsiteX62" fmla="*/ 39415 w 622096"/>
                <a:gd name="connsiteY62" fmla="*/ 281681 h 420416"/>
                <a:gd name="connsiteX63" fmla="*/ 80346 w 622096"/>
                <a:gd name="connsiteY63" fmla="*/ 246444 h 420416"/>
                <a:gd name="connsiteX64" fmla="*/ 86451 w 622096"/>
                <a:gd name="connsiteY64" fmla="*/ 197795 h 420416"/>
                <a:gd name="connsiteX65" fmla="*/ 77123 w 622096"/>
                <a:gd name="connsiteY65" fmla="*/ 185523 h 420416"/>
                <a:gd name="connsiteX66" fmla="*/ 415022 w 622096"/>
                <a:gd name="connsiteY66" fmla="*/ 203548 h 420416"/>
                <a:gd name="connsiteX67" fmla="*/ 378126 w 622096"/>
                <a:gd name="connsiteY67" fmla="*/ 212574 h 420416"/>
                <a:gd name="connsiteX68" fmla="*/ 346815 w 622096"/>
                <a:gd name="connsiteY68" fmla="*/ 331283 h 420416"/>
                <a:gd name="connsiteX69" fmla="*/ 360522 w 622096"/>
                <a:gd name="connsiteY69" fmla="*/ 382001 h 420416"/>
                <a:gd name="connsiteX70" fmla="*/ 395641 w 622096"/>
                <a:gd name="connsiteY70" fmla="*/ 361706 h 420416"/>
                <a:gd name="connsiteX71" fmla="*/ 415948 w 622096"/>
                <a:gd name="connsiteY71" fmla="*/ 208237 h 420416"/>
                <a:gd name="connsiteX72" fmla="*/ 566057 w 622096"/>
                <a:gd name="connsiteY72" fmla="*/ 207710 h 420416"/>
                <a:gd name="connsiteX73" fmla="*/ 530798 w 622096"/>
                <a:gd name="connsiteY73" fmla="*/ 243009 h 420416"/>
                <a:gd name="connsiteX74" fmla="*/ 529529 w 622096"/>
                <a:gd name="connsiteY74" fmla="*/ 378817 h 420416"/>
                <a:gd name="connsiteX75" fmla="*/ 533235 w 622096"/>
                <a:gd name="connsiteY75" fmla="*/ 388244 h 420416"/>
                <a:gd name="connsiteX76" fmla="*/ 558810 w 622096"/>
                <a:gd name="connsiteY76" fmla="*/ 371020 h 420416"/>
                <a:gd name="connsiteX77" fmla="*/ 581795 w 622096"/>
                <a:gd name="connsiteY77" fmla="*/ 223743 h 420416"/>
                <a:gd name="connsiteX78" fmla="*/ 566095 w 622096"/>
                <a:gd name="connsiteY78" fmla="*/ 207710 h 42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096" h="420416">
                  <a:moveTo>
                    <a:pt x="244048" y="5277"/>
                  </a:moveTo>
                  <a:cubicBezTo>
                    <a:pt x="206061" y="28355"/>
                    <a:pt x="203738" y="76114"/>
                    <a:pt x="190170" y="115337"/>
                  </a:cubicBezTo>
                  <a:cubicBezTo>
                    <a:pt x="169609" y="194786"/>
                    <a:pt x="154633" y="286457"/>
                    <a:pt x="166055" y="372775"/>
                  </a:cubicBezTo>
                  <a:cubicBezTo>
                    <a:pt x="167605" y="376390"/>
                    <a:pt x="170696" y="379144"/>
                    <a:pt x="174496" y="380296"/>
                  </a:cubicBezTo>
                  <a:cubicBezTo>
                    <a:pt x="191129" y="369398"/>
                    <a:pt x="206191" y="356326"/>
                    <a:pt x="219273" y="341437"/>
                  </a:cubicBezTo>
                  <a:cubicBezTo>
                    <a:pt x="227853" y="228143"/>
                    <a:pt x="248757" y="118760"/>
                    <a:pt x="302545" y="23667"/>
                  </a:cubicBezTo>
                  <a:cubicBezTo>
                    <a:pt x="309829" y="12508"/>
                    <a:pt x="320920" y="4295"/>
                    <a:pt x="333806" y="514"/>
                  </a:cubicBezTo>
                  <a:cubicBezTo>
                    <a:pt x="336636" y="514"/>
                    <a:pt x="337613" y="5227"/>
                    <a:pt x="335633" y="7095"/>
                  </a:cubicBezTo>
                  <a:cubicBezTo>
                    <a:pt x="316443" y="14027"/>
                    <a:pt x="309780" y="30361"/>
                    <a:pt x="302964" y="49013"/>
                  </a:cubicBezTo>
                  <a:cubicBezTo>
                    <a:pt x="299197" y="58759"/>
                    <a:pt x="296018" y="68717"/>
                    <a:pt x="293445" y="78835"/>
                  </a:cubicBezTo>
                  <a:cubicBezTo>
                    <a:pt x="267185" y="170443"/>
                    <a:pt x="246358" y="270462"/>
                    <a:pt x="257717" y="371772"/>
                  </a:cubicBezTo>
                  <a:cubicBezTo>
                    <a:pt x="259570" y="376473"/>
                    <a:pt x="264241" y="382139"/>
                    <a:pt x="269927" y="380296"/>
                  </a:cubicBezTo>
                  <a:cubicBezTo>
                    <a:pt x="285184" y="370066"/>
                    <a:pt x="298419" y="357169"/>
                    <a:pt x="308980" y="342239"/>
                  </a:cubicBezTo>
                  <a:cubicBezTo>
                    <a:pt x="303214" y="285938"/>
                    <a:pt x="329984" y="231218"/>
                    <a:pt x="378228" y="200690"/>
                  </a:cubicBezTo>
                  <a:cubicBezTo>
                    <a:pt x="399780" y="188792"/>
                    <a:pt x="425822" y="187895"/>
                    <a:pt x="448161" y="198284"/>
                  </a:cubicBezTo>
                  <a:cubicBezTo>
                    <a:pt x="436742" y="251544"/>
                    <a:pt x="430553" y="305768"/>
                    <a:pt x="429681" y="360202"/>
                  </a:cubicBezTo>
                  <a:cubicBezTo>
                    <a:pt x="430316" y="366708"/>
                    <a:pt x="429529" y="377990"/>
                    <a:pt x="437030" y="382766"/>
                  </a:cubicBezTo>
                  <a:lnTo>
                    <a:pt x="444645" y="380961"/>
                  </a:lnTo>
                  <a:lnTo>
                    <a:pt x="491339" y="333590"/>
                  </a:lnTo>
                  <a:cubicBezTo>
                    <a:pt x="498791" y="257720"/>
                    <a:pt x="511158" y="182400"/>
                    <a:pt x="528362" y="108092"/>
                  </a:cubicBezTo>
                  <a:cubicBezTo>
                    <a:pt x="539048" y="74472"/>
                    <a:pt x="563963" y="27979"/>
                    <a:pt x="593332" y="24369"/>
                  </a:cubicBezTo>
                  <a:cubicBezTo>
                    <a:pt x="604171" y="33845"/>
                    <a:pt x="592228" y="28129"/>
                    <a:pt x="580031" y="39574"/>
                  </a:cubicBezTo>
                  <a:cubicBezTo>
                    <a:pt x="544722" y="77982"/>
                    <a:pt x="531725" y="152154"/>
                    <a:pt x="525455" y="215808"/>
                  </a:cubicBezTo>
                  <a:cubicBezTo>
                    <a:pt x="532702" y="217763"/>
                    <a:pt x="534073" y="216949"/>
                    <a:pt x="546295" y="207560"/>
                  </a:cubicBezTo>
                  <a:lnTo>
                    <a:pt x="590083" y="171420"/>
                  </a:lnTo>
                  <a:cubicBezTo>
                    <a:pt x="600465" y="170568"/>
                    <a:pt x="606011" y="182802"/>
                    <a:pt x="609717" y="190324"/>
                  </a:cubicBezTo>
                  <a:cubicBezTo>
                    <a:pt x="632177" y="244318"/>
                    <a:pt x="623681" y="306053"/>
                    <a:pt x="587443" y="352167"/>
                  </a:cubicBezTo>
                  <a:cubicBezTo>
                    <a:pt x="569021" y="379484"/>
                    <a:pt x="544530" y="402288"/>
                    <a:pt x="515835" y="418842"/>
                  </a:cubicBezTo>
                  <a:cubicBezTo>
                    <a:pt x="504412" y="422603"/>
                    <a:pt x="501340" y="418027"/>
                    <a:pt x="500604" y="417338"/>
                  </a:cubicBezTo>
                  <a:cubicBezTo>
                    <a:pt x="492189" y="406846"/>
                    <a:pt x="493674" y="378479"/>
                    <a:pt x="491986" y="356003"/>
                  </a:cubicBezTo>
                  <a:lnTo>
                    <a:pt x="489169" y="354097"/>
                  </a:lnTo>
                  <a:lnTo>
                    <a:pt x="416824" y="419983"/>
                  </a:lnTo>
                  <a:cubicBezTo>
                    <a:pt x="414946" y="419983"/>
                    <a:pt x="410021" y="421237"/>
                    <a:pt x="408359" y="418040"/>
                  </a:cubicBezTo>
                  <a:cubicBezTo>
                    <a:pt x="402734" y="406208"/>
                    <a:pt x="399327" y="393467"/>
                    <a:pt x="398307" y="380434"/>
                  </a:cubicBezTo>
                  <a:cubicBezTo>
                    <a:pt x="379269" y="391515"/>
                    <a:pt x="363112" y="409165"/>
                    <a:pt x="344137" y="420246"/>
                  </a:cubicBezTo>
                  <a:cubicBezTo>
                    <a:pt x="333730" y="421086"/>
                    <a:pt x="329046" y="408463"/>
                    <a:pt x="325454" y="400014"/>
                  </a:cubicBezTo>
                  <a:cubicBezTo>
                    <a:pt x="317319" y="379444"/>
                    <a:pt x="316570" y="374668"/>
                    <a:pt x="310681" y="359036"/>
                  </a:cubicBezTo>
                  <a:lnTo>
                    <a:pt x="242144" y="419331"/>
                  </a:lnTo>
                  <a:cubicBezTo>
                    <a:pt x="234529" y="423017"/>
                    <a:pt x="230137" y="414869"/>
                    <a:pt x="228183" y="408864"/>
                  </a:cubicBezTo>
                  <a:cubicBezTo>
                    <a:pt x="224332" y="392180"/>
                    <a:pt x="221602" y="375262"/>
                    <a:pt x="220009" y="358222"/>
                  </a:cubicBezTo>
                  <a:lnTo>
                    <a:pt x="216202" y="359149"/>
                  </a:lnTo>
                  <a:lnTo>
                    <a:pt x="149607" y="419469"/>
                  </a:lnTo>
                  <a:cubicBezTo>
                    <a:pt x="142550" y="421575"/>
                    <a:pt x="139986" y="418817"/>
                    <a:pt x="136470" y="410920"/>
                  </a:cubicBezTo>
                  <a:cubicBezTo>
                    <a:pt x="130416" y="397332"/>
                    <a:pt x="130696" y="366946"/>
                    <a:pt x="127586" y="346188"/>
                  </a:cubicBezTo>
                  <a:lnTo>
                    <a:pt x="123778" y="346188"/>
                  </a:lnTo>
                  <a:cubicBezTo>
                    <a:pt x="92404" y="370268"/>
                    <a:pt x="64722" y="401882"/>
                    <a:pt x="29616" y="420309"/>
                  </a:cubicBezTo>
                  <a:cubicBezTo>
                    <a:pt x="24895" y="421186"/>
                    <a:pt x="21151" y="416548"/>
                    <a:pt x="19298" y="412713"/>
                  </a:cubicBezTo>
                  <a:cubicBezTo>
                    <a:pt x="-11265" y="346839"/>
                    <a:pt x="-6619" y="252261"/>
                    <a:pt x="41090" y="197431"/>
                  </a:cubicBezTo>
                  <a:cubicBezTo>
                    <a:pt x="46839" y="191364"/>
                    <a:pt x="63859" y="170656"/>
                    <a:pt x="83177" y="178829"/>
                  </a:cubicBezTo>
                  <a:cubicBezTo>
                    <a:pt x="94066" y="182589"/>
                    <a:pt x="99181" y="191226"/>
                    <a:pt x="102380" y="208287"/>
                  </a:cubicBezTo>
                  <a:cubicBezTo>
                    <a:pt x="105640" y="218355"/>
                    <a:pt x="105542" y="229191"/>
                    <a:pt x="102100" y="239199"/>
                  </a:cubicBezTo>
                  <a:lnTo>
                    <a:pt x="36368" y="299506"/>
                  </a:lnTo>
                  <a:cubicBezTo>
                    <a:pt x="31849" y="327984"/>
                    <a:pt x="35177" y="357137"/>
                    <a:pt x="46002" y="383906"/>
                  </a:cubicBezTo>
                  <a:cubicBezTo>
                    <a:pt x="48926" y="387796"/>
                    <a:pt x="54488" y="388610"/>
                    <a:pt x="58427" y="385724"/>
                  </a:cubicBezTo>
                  <a:cubicBezTo>
                    <a:pt x="59086" y="385249"/>
                    <a:pt x="59671" y="384684"/>
                    <a:pt x="60166" y="384044"/>
                  </a:cubicBezTo>
                  <a:lnTo>
                    <a:pt x="127891" y="320866"/>
                  </a:lnTo>
                  <a:cubicBezTo>
                    <a:pt x="138235" y="220734"/>
                    <a:pt x="157082" y="123460"/>
                    <a:pt x="202240" y="37681"/>
                  </a:cubicBezTo>
                  <a:cubicBezTo>
                    <a:pt x="207584" y="27791"/>
                    <a:pt x="225314" y="752"/>
                    <a:pt x="242956" y="0"/>
                  </a:cubicBezTo>
                  <a:cubicBezTo>
                    <a:pt x="244613" y="600"/>
                    <a:pt x="245466" y="2412"/>
                    <a:pt x="244860" y="4049"/>
                  </a:cubicBezTo>
                  <a:cubicBezTo>
                    <a:pt x="244685" y="4513"/>
                    <a:pt x="244408" y="4933"/>
                    <a:pt x="244048" y="5277"/>
                  </a:cubicBezTo>
                  <a:close/>
                  <a:moveTo>
                    <a:pt x="77123" y="185523"/>
                  </a:moveTo>
                  <a:cubicBezTo>
                    <a:pt x="72174" y="187387"/>
                    <a:pt x="67656" y="190212"/>
                    <a:pt x="63834" y="193833"/>
                  </a:cubicBezTo>
                  <a:cubicBezTo>
                    <a:pt x="49780" y="221191"/>
                    <a:pt x="41473" y="251072"/>
                    <a:pt x="39415" y="281681"/>
                  </a:cubicBezTo>
                  <a:cubicBezTo>
                    <a:pt x="54543" y="269772"/>
                    <a:pt x="67959" y="257588"/>
                    <a:pt x="80346" y="246444"/>
                  </a:cubicBezTo>
                  <a:lnTo>
                    <a:pt x="86451" y="197795"/>
                  </a:lnTo>
                  <a:cubicBezTo>
                    <a:pt x="89383" y="190324"/>
                    <a:pt x="84738" y="185598"/>
                    <a:pt x="77123" y="185523"/>
                  </a:cubicBezTo>
                  <a:close/>
                  <a:moveTo>
                    <a:pt x="415022" y="203548"/>
                  </a:moveTo>
                  <a:cubicBezTo>
                    <a:pt x="401860" y="195939"/>
                    <a:pt x="388623" y="202759"/>
                    <a:pt x="378126" y="212574"/>
                  </a:cubicBezTo>
                  <a:cubicBezTo>
                    <a:pt x="347665" y="241405"/>
                    <a:pt x="343414" y="289039"/>
                    <a:pt x="346815" y="331283"/>
                  </a:cubicBezTo>
                  <a:cubicBezTo>
                    <a:pt x="346815" y="335320"/>
                    <a:pt x="349036" y="369528"/>
                    <a:pt x="360522" y="382001"/>
                  </a:cubicBezTo>
                  <a:cubicBezTo>
                    <a:pt x="374826" y="383255"/>
                    <a:pt x="386122" y="370055"/>
                    <a:pt x="395641" y="361706"/>
                  </a:cubicBezTo>
                  <a:cubicBezTo>
                    <a:pt x="400832" y="310224"/>
                    <a:pt x="406950" y="258754"/>
                    <a:pt x="415948" y="208237"/>
                  </a:cubicBezTo>
                  <a:close/>
                  <a:moveTo>
                    <a:pt x="566057" y="207710"/>
                  </a:moveTo>
                  <a:cubicBezTo>
                    <a:pt x="549631" y="213798"/>
                    <a:pt x="536740" y="226705"/>
                    <a:pt x="530798" y="243009"/>
                  </a:cubicBezTo>
                  <a:cubicBezTo>
                    <a:pt x="520036" y="286006"/>
                    <a:pt x="527118" y="334781"/>
                    <a:pt x="529529" y="378817"/>
                  </a:cubicBezTo>
                  <a:lnTo>
                    <a:pt x="533235" y="388244"/>
                  </a:lnTo>
                  <a:cubicBezTo>
                    <a:pt x="542526" y="387918"/>
                    <a:pt x="553695" y="376962"/>
                    <a:pt x="558810" y="371020"/>
                  </a:cubicBezTo>
                  <a:cubicBezTo>
                    <a:pt x="596467" y="329654"/>
                    <a:pt x="589880" y="272530"/>
                    <a:pt x="581795" y="223743"/>
                  </a:cubicBezTo>
                  <a:cubicBezTo>
                    <a:pt x="581160" y="219982"/>
                    <a:pt x="579257" y="203761"/>
                    <a:pt x="566095" y="20771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673027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F8526DD-4B37-428F-97E5-74F8263EB0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7559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F8526DD-4B37-428F-97E5-74F8263EB0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raphic 2">
            <a:extLst>
              <a:ext uri="{FF2B5EF4-FFF2-40B4-BE49-F238E27FC236}">
                <a16:creationId xmlns:a16="http://schemas.microsoft.com/office/drawing/2014/main" id="{57DADCFD-EC2F-A048-9FB0-2AC04A8AFAC6}"/>
              </a:ext>
            </a:extLst>
          </p:cNvPr>
          <p:cNvSpPr/>
          <p:nvPr userDrawn="1"/>
        </p:nvSpPr>
        <p:spPr>
          <a:xfrm>
            <a:off x="4845050" y="0"/>
            <a:ext cx="4298950" cy="3963988"/>
          </a:xfrm>
          <a:custGeom>
            <a:avLst/>
            <a:gdLst>
              <a:gd name="connsiteX0" fmla="*/ 7445899 w 7445898"/>
              <a:gd name="connsiteY0" fmla="*/ 0 h 6858311"/>
              <a:gd name="connsiteX1" fmla="*/ 814055 w 7445898"/>
              <a:gd name="connsiteY1" fmla="*/ 0 h 6858311"/>
              <a:gd name="connsiteX2" fmla="*/ 691476 w 7445898"/>
              <a:gd name="connsiteY2" fmla="*/ 70046 h 6858311"/>
              <a:gd name="connsiteX3" fmla="*/ 69433 w 7445898"/>
              <a:gd name="connsiteY3" fmla="*/ 678643 h 6858311"/>
              <a:gd name="connsiteX4" fmla="*/ 14093 w 7445898"/>
              <a:gd name="connsiteY4" fmla="*/ 1220462 h 6858311"/>
              <a:gd name="connsiteX5" fmla="*/ 1196590 w 7445898"/>
              <a:gd name="connsiteY5" fmla="*/ 2436198 h 6858311"/>
              <a:gd name="connsiteX6" fmla="*/ 1916738 w 7445898"/>
              <a:gd name="connsiteY6" fmla="*/ 2482043 h 6858311"/>
              <a:gd name="connsiteX7" fmla="*/ 3150397 w 7445898"/>
              <a:gd name="connsiteY7" fmla="*/ 3091829 h 6858311"/>
              <a:gd name="connsiteX8" fmla="*/ 4012367 w 7445898"/>
              <a:gd name="connsiteY8" fmla="*/ 4723248 h 6858311"/>
              <a:gd name="connsiteX9" fmla="*/ 5068468 w 7445898"/>
              <a:gd name="connsiteY9" fmla="*/ 6225771 h 6858311"/>
              <a:gd name="connsiteX10" fmla="*/ 6762342 w 7445898"/>
              <a:gd name="connsiteY10" fmla="*/ 6855353 h 6858311"/>
              <a:gd name="connsiteX11" fmla="*/ 7445899 w 7445898"/>
              <a:gd name="connsiteY11" fmla="*/ 6675706 h 685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45898" h="6858311">
                <a:moveTo>
                  <a:pt x="7445899" y="0"/>
                </a:moveTo>
                <a:lnTo>
                  <a:pt x="814055" y="0"/>
                </a:lnTo>
                <a:cubicBezTo>
                  <a:pt x="772956" y="22780"/>
                  <a:pt x="732096" y="46129"/>
                  <a:pt x="691476" y="70046"/>
                </a:cubicBezTo>
                <a:cubicBezTo>
                  <a:pt x="437089" y="220054"/>
                  <a:pt x="183450" y="406335"/>
                  <a:pt x="69433" y="678643"/>
                </a:cubicBezTo>
                <a:cubicBezTo>
                  <a:pt x="2750" y="851036"/>
                  <a:pt x="-16363" y="1038163"/>
                  <a:pt x="14093" y="1220462"/>
                </a:cubicBezTo>
                <a:cubicBezTo>
                  <a:pt x="99251" y="1818761"/>
                  <a:pt x="600495" y="2334263"/>
                  <a:pt x="1196590" y="2436198"/>
                </a:cubicBezTo>
                <a:cubicBezTo>
                  <a:pt x="1433845" y="2476815"/>
                  <a:pt x="1677297" y="2457475"/>
                  <a:pt x="1916738" y="2482043"/>
                </a:cubicBezTo>
                <a:cubicBezTo>
                  <a:pt x="2387473" y="2532139"/>
                  <a:pt x="2824896" y="2748353"/>
                  <a:pt x="3150397" y="3091829"/>
                </a:cubicBezTo>
                <a:cubicBezTo>
                  <a:pt x="3574268" y="3542460"/>
                  <a:pt x="3759732" y="4158656"/>
                  <a:pt x="4012367" y="4723248"/>
                </a:cubicBezTo>
                <a:cubicBezTo>
                  <a:pt x="4264419" y="5286494"/>
                  <a:pt x="4600948" y="5822741"/>
                  <a:pt x="5068468" y="6225771"/>
                </a:cubicBezTo>
                <a:cubicBezTo>
                  <a:pt x="5535988" y="6628800"/>
                  <a:pt x="6145756" y="6889261"/>
                  <a:pt x="6762342" y="6855353"/>
                </a:cubicBezTo>
                <a:cubicBezTo>
                  <a:pt x="7023697" y="6841023"/>
                  <a:pt x="7248596" y="6776961"/>
                  <a:pt x="7445899" y="6675706"/>
                </a:cubicBezTo>
                <a:close/>
              </a:path>
            </a:pathLst>
          </a:custGeom>
          <a:gradFill>
            <a:gsLst>
              <a:gs pos="0">
                <a:srgbClr val="9EC9DF">
                  <a:alpha val="0"/>
                </a:srgbClr>
              </a:gs>
              <a:gs pos="100000">
                <a:srgbClr val="1F6898"/>
              </a:gs>
            </a:gsLst>
            <a:lin ang="0" scaled="0"/>
          </a:gradFill>
          <a:ln w="7476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6" name="Graphic 2">
            <a:extLst>
              <a:ext uri="{FF2B5EF4-FFF2-40B4-BE49-F238E27FC236}">
                <a16:creationId xmlns:a16="http://schemas.microsoft.com/office/drawing/2014/main" id="{0A80AEC3-FA58-B041-B80C-F27287186F43}"/>
              </a:ext>
            </a:extLst>
          </p:cNvPr>
          <p:cNvSpPr/>
          <p:nvPr userDrawn="1"/>
        </p:nvSpPr>
        <p:spPr>
          <a:xfrm rot="10800000">
            <a:off x="0" y="3289300"/>
            <a:ext cx="2374900" cy="2425700"/>
          </a:xfrm>
          <a:custGeom>
            <a:avLst/>
            <a:gdLst>
              <a:gd name="connsiteX0" fmla="*/ 7445899 w 7445898"/>
              <a:gd name="connsiteY0" fmla="*/ 0 h 6858311"/>
              <a:gd name="connsiteX1" fmla="*/ 814055 w 7445898"/>
              <a:gd name="connsiteY1" fmla="*/ 0 h 6858311"/>
              <a:gd name="connsiteX2" fmla="*/ 691476 w 7445898"/>
              <a:gd name="connsiteY2" fmla="*/ 70046 h 6858311"/>
              <a:gd name="connsiteX3" fmla="*/ 69433 w 7445898"/>
              <a:gd name="connsiteY3" fmla="*/ 678643 h 6858311"/>
              <a:gd name="connsiteX4" fmla="*/ 14093 w 7445898"/>
              <a:gd name="connsiteY4" fmla="*/ 1220462 h 6858311"/>
              <a:gd name="connsiteX5" fmla="*/ 1196590 w 7445898"/>
              <a:gd name="connsiteY5" fmla="*/ 2436198 h 6858311"/>
              <a:gd name="connsiteX6" fmla="*/ 1916738 w 7445898"/>
              <a:gd name="connsiteY6" fmla="*/ 2482043 h 6858311"/>
              <a:gd name="connsiteX7" fmla="*/ 3150397 w 7445898"/>
              <a:gd name="connsiteY7" fmla="*/ 3091829 h 6858311"/>
              <a:gd name="connsiteX8" fmla="*/ 4012367 w 7445898"/>
              <a:gd name="connsiteY8" fmla="*/ 4723248 h 6858311"/>
              <a:gd name="connsiteX9" fmla="*/ 5068468 w 7445898"/>
              <a:gd name="connsiteY9" fmla="*/ 6225771 h 6858311"/>
              <a:gd name="connsiteX10" fmla="*/ 6762342 w 7445898"/>
              <a:gd name="connsiteY10" fmla="*/ 6855353 h 6858311"/>
              <a:gd name="connsiteX11" fmla="*/ 7445899 w 7445898"/>
              <a:gd name="connsiteY11" fmla="*/ 6675706 h 685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45898" h="6858311">
                <a:moveTo>
                  <a:pt x="7445899" y="0"/>
                </a:moveTo>
                <a:lnTo>
                  <a:pt x="814055" y="0"/>
                </a:lnTo>
                <a:cubicBezTo>
                  <a:pt x="772956" y="22780"/>
                  <a:pt x="732096" y="46129"/>
                  <a:pt x="691476" y="70046"/>
                </a:cubicBezTo>
                <a:cubicBezTo>
                  <a:pt x="437089" y="220054"/>
                  <a:pt x="183450" y="406335"/>
                  <a:pt x="69433" y="678643"/>
                </a:cubicBezTo>
                <a:cubicBezTo>
                  <a:pt x="2750" y="851036"/>
                  <a:pt x="-16363" y="1038163"/>
                  <a:pt x="14093" y="1220462"/>
                </a:cubicBezTo>
                <a:cubicBezTo>
                  <a:pt x="99251" y="1818761"/>
                  <a:pt x="600495" y="2334263"/>
                  <a:pt x="1196590" y="2436198"/>
                </a:cubicBezTo>
                <a:cubicBezTo>
                  <a:pt x="1433845" y="2476815"/>
                  <a:pt x="1677297" y="2457475"/>
                  <a:pt x="1916738" y="2482043"/>
                </a:cubicBezTo>
                <a:cubicBezTo>
                  <a:pt x="2387473" y="2532139"/>
                  <a:pt x="2824896" y="2748353"/>
                  <a:pt x="3150397" y="3091829"/>
                </a:cubicBezTo>
                <a:cubicBezTo>
                  <a:pt x="3574268" y="3542460"/>
                  <a:pt x="3759732" y="4158656"/>
                  <a:pt x="4012367" y="4723248"/>
                </a:cubicBezTo>
                <a:cubicBezTo>
                  <a:pt x="4264419" y="5286494"/>
                  <a:pt x="4600948" y="5822741"/>
                  <a:pt x="5068468" y="6225771"/>
                </a:cubicBezTo>
                <a:cubicBezTo>
                  <a:pt x="5535988" y="6628800"/>
                  <a:pt x="6145756" y="6889261"/>
                  <a:pt x="6762342" y="6855353"/>
                </a:cubicBezTo>
                <a:cubicBezTo>
                  <a:pt x="7023697" y="6841023"/>
                  <a:pt x="7248596" y="6776961"/>
                  <a:pt x="7445899" y="6675706"/>
                </a:cubicBezTo>
                <a:close/>
              </a:path>
            </a:pathLst>
          </a:custGeom>
          <a:gradFill flip="none" rotWithShape="1">
            <a:gsLst>
              <a:gs pos="0">
                <a:srgbClr val="9EC9DF">
                  <a:alpha val="0"/>
                </a:srgbClr>
              </a:gs>
              <a:gs pos="100000">
                <a:srgbClr val="1F6898"/>
              </a:gs>
            </a:gsLst>
            <a:lin ang="5400000" scaled="1"/>
            <a:tileRect/>
          </a:gradFill>
          <a:ln w="7476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31717B2-FF85-A548-A43C-EBACFFCF3CF1}"/>
              </a:ext>
            </a:extLst>
          </p:cNvPr>
          <p:cNvSpPr/>
          <p:nvPr userDrawn="1"/>
        </p:nvSpPr>
        <p:spPr>
          <a:xfrm>
            <a:off x="0" y="0"/>
            <a:ext cx="9144000" cy="5715000"/>
          </a:xfrm>
          <a:prstGeom prst="rect">
            <a:avLst/>
          </a:prstGeom>
          <a:gradFill>
            <a:gsLst>
              <a:gs pos="79000">
                <a:srgbClr val="0F9CD8">
                  <a:alpha val="40000"/>
                </a:srgbClr>
              </a:gs>
              <a:gs pos="43000">
                <a:srgbClr val="1F6898">
                  <a:alpha val="66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11" name="Google Shape;124;p20"/>
          <p:cNvSpPr txBox="1">
            <a:spLocks noGrp="1"/>
          </p:cNvSpPr>
          <p:nvPr>
            <p:ph type="title"/>
          </p:nvPr>
        </p:nvSpPr>
        <p:spPr>
          <a:xfrm>
            <a:off x="2521825" y="1610333"/>
            <a:ext cx="4100400" cy="1647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000" b="1" i="0">
                <a:solidFill>
                  <a:schemeClr val="bg1"/>
                </a:solidFill>
                <a:latin typeface="+mj-lt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9pPr>
          </a:lstStyle>
          <a:p>
            <a:endParaRPr dirty="0"/>
          </a:p>
        </p:txBody>
      </p:sp>
      <p:sp>
        <p:nvSpPr>
          <p:cNvPr id="12" name="Google Shape;125;p20"/>
          <p:cNvSpPr txBox="1">
            <a:spLocks noGrp="1"/>
          </p:cNvSpPr>
          <p:nvPr>
            <p:ph type="subTitle" idx="1"/>
          </p:nvPr>
        </p:nvSpPr>
        <p:spPr>
          <a:xfrm>
            <a:off x="2521875" y="3257335"/>
            <a:ext cx="4100350" cy="84733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556" b="0" i="0">
                <a:solidFill>
                  <a:schemeClr val="lt1"/>
                </a:solidFill>
                <a:latin typeface="+mn-lt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9pPr>
          </a:lstStyle>
          <a:p>
            <a:endParaRPr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2515544" y="1236254"/>
            <a:ext cx="4110535" cy="69453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200" b="1" i="0" cap="all" spc="150" baseline="0">
                <a:solidFill>
                  <a:srgbClr val="D2E7F6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edit Master text</a:t>
            </a:r>
            <a:endParaRPr lang="en-US" dirty="0"/>
          </a:p>
        </p:txBody>
      </p:sp>
      <p:grpSp>
        <p:nvGrpSpPr>
          <p:cNvPr id="101" name="Graphic 100">
            <a:extLst>
              <a:ext uri="{FF2B5EF4-FFF2-40B4-BE49-F238E27FC236}">
                <a16:creationId xmlns:a16="http://schemas.microsoft.com/office/drawing/2014/main" id="{80D4AD83-BA92-634C-A912-F7B443982DD6}"/>
              </a:ext>
            </a:extLst>
          </p:cNvPr>
          <p:cNvGrpSpPr/>
          <p:nvPr userDrawn="1"/>
        </p:nvGrpSpPr>
        <p:grpSpPr>
          <a:xfrm>
            <a:off x="7611200" y="284166"/>
            <a:ext cx="1112606" cy="739028"/>
            <a:chOff x="7611200" y="284166"/>
            <a:chExt cx="1112606" cy="739028"/>
          </a:xfrm>
        </p:grpSpPr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272766B3-164F-394F-8167-9F66A22C0D4F}"/>
                </a:ext>
              </a:extLst>
            </p:cNvPr>
            <p:cNvSpPr/>
            <p:nvPr/>
          </p:nvSpPr>
          <p:spPr>
            <a:xfrm>
              <a:off x="8065090" y="981314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F16512F6-6DD0-0941-905D-A601868DD025}"/>
                </a:ext>
              </a:extLst>
            </p:cNvPr>
            <p:cNvSpPr/>
            <p:nvPr/>
          </p:nvSpPr>
          <p:spPr>
            <a:xfrm>
              <a:off x="8065090" y="284175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7ED2A605-65F4-0A4E-A621-2FA7200977B6}"/>
                </a:ext>
              </a:extLst>
            </p:cNvPr>
            <p:cNvSpPr/>
            <p:nvPr/>
          </p:nvSpPr>
          <p:spPr>
            <a:xfrm>
              <a:off x="7611200" y="284166"/>
              <a:ext cx="928953" cy="738998"/>
            </a:xfrm>
            <a:custGeom>
              <a:avLst/>
              <a:gdLst>
                <a:gd name="connsiteX0" fmla="*/ 835856 w 928953"/>
                <a:gd name="connsiteY0" fmla="*/ 129348 h 738998"/>
                <a:gd name="connsiteX1" fmla="*/ 928952 w 928953"/>
                <a:gd name="connsiteY1" fmla="*/ 373724 h 738998"/>
                <a:gd name="connsiteX2" fmla="*/ 687905 w 928953"/>
                <a:gd name="connsiteY2" fmla="*/ 707088 h 738998"/>
                <a:gd name="connsiteX3" fmla="*/ 422261 w 928953"/>
                <a:gd name="connsiteY3" fmla="*/ 738739 h 738998"/>
                <a:gd name="connsiteX4" fmla="*/ 59346 w 928953"/>
                <a:gd name="connsiteY4" fmla="*/ 566442 h 738998"/>
                <a:gd name="connsiteX5" fmla="*/ 36221 w 928953"/>
                <a:gd name="connsiteY5" fmla="*/ 210589 h 738998"/>
                <a:gd name="connsiteX6" fmla="*/ 317565 w 928953"/>
                <a:gd name="connsiteY6" fmla="*/ 11729 h 738998"/>
                <a:gd name="connsiteX7" fmla="*/ 681889 w 928953"/>
                <a:gd name="connsiteY7" fmla="*/ 31485 h 738998"/>
                <a:gd name="connsiteX8" fmla="*/ 835856 w 928953"/>
                <a:gd name="connsiteY8" fmla="*/ 129348 h 73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3" h="738998">
                  <a:moveTo>
                    <a:pt x="835856" y="129348"/>
                  </a:moveTo>
                  <a:cubicBezTo>
                    <a:pt x="896114" y="196814"/>
                    <a:pt x="929236" y="283759"/>
                    <a:pt x="928952" y="373724"/>
                  </a:cubicBezTo>
                  <a:cubicBezTo>
                    <a:pt x="925917" y="523314"/>
                    <a:pt x="830184" y="655711"/>
                    <a:pt x="687905" y="707088"/>
                  </a:cubicBezTo>
                  <a:cubicBezTo>
                    <a:pt x="605509" y="733926"/>
                    <a:pt x="513834" y="740469"/>
                    <a:pt x="422261" y="738739"/>
                  </a:cubicBezTo>
                  <a:cubicBezTo>
                    <a:pt x="276874" y="734728"/>
                    <a:pt x="140410" y="684838"/>
                    <a:pt x="59346" y="566442"/>
                  </a:cubicBezTo>
                  <a:cubicBezTo>
                    <a:pt x="-7731" y="467563"/>
                    <a:pt x="-21426" y="316651"/>
                    <a:pt x="36221" y="210589"/>
                  </a:cubicBezTo>
                  <a:cubicBezTo>
                    <a:pt x="85377" y="102522"/>
                    <a:pt x="197486" y="29968"/>
                    <a:pt x="317565" y="11729"/>
                  </a:cubicBezTo>
                  <a:cubicBezTo>
                    <a:pt x="438958" y="-8966"/>
                    <a:pt x="563521" y="-2211"/>
                    <a:pt x="681889" y="31485"/>
                  </a:cubicBezTo>
                  <a:cubicBezTo>
                    <a:pt x="740531" y="51203"/>
                    <a:pt x="793392" y="84802"/>
                    <a:pt x="835856" y="129348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 104">
              <a:extLst>
                <a:ext uri="{FF2B5EF4-FFF2-40B4-BE49-F238E27FC236}">
                  <a16:creationId xmlns:a16="http://schemas.microsoft.com/office/drawing/2014/main" id="{DCCABBE8-7C50-8940-A44E-D93C45127ECB}"/>
                </a:ext>
              </a:extLst>
            </p:cNvPr>
            <p:cNvSpPr/>
            <p:nvPr/>
          </p:nvSpPr>
          <p:spPr>
            <a:xfrm>
              <a:off x="7648818" y="292586"/>
              <a:ext cx="513653" cy="722735"/>
            </a:xfrm>
            <a:custGeom>
              <a:avLst/>
              <a:gdLst>
                <a:gd name="connsiteX0" fmla="*/ 501893 w 513653"/>
                <a:gd name="connsiteY0" fmla="*/ 722736 h 722735"/>
                <a:gd name="connsiteX1" fmla="*/ 419052 w 513653"/>
                <a:gd name="connsiteY1" fmla="*/ 722736 h 722735"/>
                <a:gd name="connsiteX2" fmla="*/ 0 w 513653"/>
                <a:gd name="connsiteY2" fmla="*/ 361368 h 722735"/>
                <a:gd name="connsiteX3" fmla="*/ 419052 w 513653"/>
                <a:gd name="connsiteY3" fmla="*/ 0 h 722735"/>
                <a:gd name="connsiteX4" fmla="*/ 491524 w 513653"/>
                <a:gd name="connsiteY4" fmla="*/ 0 h 722735"/>
                <a:gd name="connsiteX5" fmla="*/ 497075 w 513653"/>
                <a:gd name="connsiteY5" fmla="*/ 6964 h 722735"/>
                <a:gd name="connsiteX6" fmla="*/ 491524 w 513653"/>
                <a:gd name="connsiteY6" fmla="*/ 12448 h 722735"/>
                <a:gd name="connsiteX7" fmla="*/ 82841 w 513653"/>
                <a:gd name="connsiteY7" fmla="*/ 361368 h 722735"/>
                <a:gd name="connsiteX8" fmla="*/ 491524 w 513653"/>
                <a:gd name="connsiteY8" fmla="*/ 710301 h 722735"/>
                <a:gd name="connsiteX9" fmla="*/ 502502 w 513653"/>
                <a:gd name="connsiteY9" fmla="*/ 710150 h 722735"/>
                <a:gd name="connsiteX10" fmla="*/ 507985 w 513653"/>
                <a:gd name="connsiteY10" fmla="*/ 710226 h 722735"/>
                <a:gd name="connsiteX11" fmla="*/ 513617 w 513653"/>
                <a:gd name="connsiteY11" fmla="*/ 717127 h 722735"/>
                <a:gd name="connsiteX12" fmla="*/ 508214 w 513653"/>
                <a:gd name="connsiteY12" fmla="*/ 722661 h 722735"/>
                <a:gd name="connsiteX13" fmla="*/ 501893 w 513653"/>
                <a:gd name="connsiteY13" fmla="*/ 722736 h 722735"/>
                <a:gd name="connsiteX14" fmla="*/ 372219 w 513653"/>
                <a:gd name="connsiteY14" fmla="*/ 14754 h 722735"/>
                <a:gd name="connsiteX15" fmla="*/ 12603 w 513653"/>
                <a:gd name="connsiteY15" fmla="*/ 361368 h 722735"/>
                <a:gd name="connsiteX16" fmla="*/ 372219 w 513653"/>
                <a:gd name="connsiteY16" fmla="*/ 707994 h 722735"/>
                <a:gd name="connsiteX17" fmla="*/ 70187 w 513653"/>
                <a:gd name="connsiteY17" fmla="*/ 361368 h 722735"/>
                <a:gd name="connsiteX18" fmla="*/ 372219 w 513653"/>
                <a:gd name="connsiteY18" fmla="*/ 14754 h 722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3653" h="722735">
                  <a:moveTo>
                    <a:pt x="501893" y="722736"/>
                  </a:moveTo>
                  <a:lnTo>
                    <a:pt x="419052" y="722736"/>
                  </a:lnTo>
                  <a:cubicBezTo>
                    <a:pt x="187981" y="722736"/>
                    <a:pt x="0" y="560679"/>
                    <a:pt x="0" y="361368"/>
                  </a:cubicBezTo>
                  <a:cubicBezTo>
                    <a:pt x="0" y="162056"/>
                    <a:pt x="187981" y="0"/>
                    <a:pt x="419052" y="0"/>
                  </a:cubicBezTo>
                  <a:lnTo>
                    <a:pt x="491524" y="0"/>
                  </a:lnTo>
                  <a:cubicBezTo>
                    <a:pt x="495004" y="409"/>
                    <a:pt x="497490" y="3527"/>
                    <a:pt x="497075" y="6964"/>
                  </a:cubicBezTo>
                  <a:cubicBezTo>
                    <a:pt x="496730" y="9839"/>
                    <a:pt x="494434" y="12106"/>
                    <a:pt x="491524" y="12448"/>
                  </a:cubicBezTo>
                  <a:cubicBezTo>
                    <a:pt x="266151" y="12448"/>
                    <a:pt x="82841" y="168976"/>
                    <a:pt x="82841" y="361368"/>
                  </a:cubicBezTo>
                  <a:cubicBezTo>
                    <a:pt x="82841" y="553760"/>
                    <a:pt x="266190" y="710301"/>
                    <a:pt x="491524" y="710301"/>
                  </a:cubicBezTo>
                  <a:cubicBezTo>
                    <a:pt x="495192" y="710301"/>
                    <a:pt x="498872" y="710301"/>
                    <a:pt x="502502" y="710150"/>
                  </a:cubicBezTo>
                  <a:cubicBezTo>
                    <a:pt x="504622" y="710213"/>
                    <a:pt x="506462" y="710326"/>
                    <a:pt x="507985" y="710226"/>
                  </a:cubicBezTo>
                  <a:cubicBezTo>
                    <a:pt x="511470" y="710595"/>
                    <a:pt x="513991" y="713685"/>
                    <a:pt x="513617" y="717127"/>
                  </a:cubicBezTo>
                  <a:cubicBezTo>
                    <a:pt x="513306" y="719974"/>
                    <a:pt x="511082" y="722252"/>
                    <a:pt x="508214" y="722661"/>
                  </a:cubicBezTo>
                  <a:cubicBezTo>
                    <a:pt x="506107" y="722736"/>
                    <a:pt x="504025" y="722736"/>
                    <a:pt x="501893" y="722736"/>
                  </a:cubicBezTo>
                  <a:close/>
                  <a:moveTo>
                    <a:pt x="372219" y="14754"/>
                  </a:moveTo>
                  <a:cubicBezTo>
                    <a:pt x="170086" y="34760"/>
                    <a:pt x="12603" y="182577"/>
                    <a:pt x="12603" y="361368"/>
                  </a:cubicBezTo>
                  <a:cubicBezTo>
                    <a:pt x="12603" y="540159"/>
                    <a:pt x="170098" y="687988"/>
                    <a:pt x="372219" y="707994"/>
                  </a:cubicBezTo>
                  <a:cubicBezTo>
                    <a:pt x="197818" y="663757"/>
                    <a:pt x="70187" y="525104"/>
                    <a:pt x="70187" y="361368"/>
                  </a:cubicBezTo>
                  <a:cubicBezTo>
                    <a:pt x="70187" y="197632"/>
                    <a:pt x="197818" y="58991"/>
                    <a:pt x="372219" y="147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3202044C-8424-0D47-82E6-04CEFE575F11}"/>
                </a:ext>
              </a:extLst>
            </p:cNvPr>
            <p:cNvSpPr/>
            <p:nvPr/>
          </p:nvSpPr>
          <p:spPr>
            <a:xfrm>
              <a:off x="7725312" y="298816"/>
              <a:ext cx="426223" cy="710288"/>
            </a:xfrm>
            <a:custGeom>
              <a:avLst/>
              <a:gdLst>
                <a:gd name="connsiteX0" fmla="*/ 38 w 426223"/>
                <a:gd name="connsiteY0" fmla="*/ 355138 h 710288"/>
                <a:gd name="connsiteX1" fmla="*/ 415067 w 426223"/>
                <a:gd name="connsiteY1" fmla="*/ 710288 h 710288"/>
                <a:gd name="connsiteX2" fmla="*/ 426223 w 426223"/>
                <a:gd name="connsiteY2" fmla="*/ 710138 h 710288"/>
                <a:gd name="connsiteX3" fmla="*/ 22427 w 426223"/>
                <a:gd name="connsiteY3" fmla="*/ 355138 h 710288"/>
                <a:gd name="connsiteX4" fmla="*/ 426185 w 426223"/>
                <a:gd name="connsiteY4" fmla="*/ 125 h 710288"/>
                <a:gd name="connsiteX5" fmla="*/ 415029 w 426223"/>
                <a:gd name="connsiteY5" fmla="*/ 0 h 710288"/>
                <a:gd name="connsiteX6" fmla="*/ 0 w 426223"/>
                <a:gd name="connsiteY6" fmla="*/ 355138 h 71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223" h="710288">
                  <a:moveTo>
                    <a:pt x="38" y="355138"/>
                  </a:moveTo>
                  <a:cubicBezTo>
                    <a:pt x="38" y="551178"/>
                    <a:pt x="185951" y="710288"/>
                    <a:pt x="415067" y="710288"/>
                  </a:cubicBezTo>
                  <a:cubicBezTo>
                    <a:pt x="418798" y="710288"/>
                    <a:pt x="422530" y="710288"/>
                    <a:pt x="426223" y="710138"/>
                  </a:cubicBezTo>
                  <a:cubicBezTo>
                    <a:pt x="202323" y="705124"/>
                    <a:pt x="22427" y="547956"/>
                    <a:pt x="22427" y="355138"/>
                  </a:cubicBezTo>
                  <a:cubicBezTo>
                    <a:pt x="22427" y="162320"/>
                    <a:pt x="202285" y="5202"/>
                    <a:pt x="426185" y="125"/>
                  </a:cubicBezTo>
                  <a:cubicBezTo>
                    <a:pt x="422492" y="50"/>
                    <a:pt x="418760" y="0"/>
                    <a:pt x="415029" y="0"/>
                  </a:cubicBezTo>
                  <a:cubicBezTo>
                    <a:pt x="185951" y="0"/>
                    <a:pt x="0" y="159111"/>
                    <a:pt x="0" y="355138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 106">
              <a:extLst>
                <a:ext uri="{FF2B5EF4-FFF2-40B4-BE49-F238E27FC236}">
                  <a16:creationId xmlns:a16="http://schemas.microsoft.com/office/drawing/2014/main" id="{4B47CCC6-E497-EE44-9B0F-98282714D406}"/>
                </a:ext>
              </a:extLst>
            </p:cNvPr>
            <p:cNvSpPr/>
            <p:nvPr/>
          </p:nvSpPr>
          <p:spPr>
            <a:xfrm>
              <a:off x="7722216" y="295708"/>
              <a:ext cx="429383" cy="716505"/>
            </a:xfrm>
            <a:custGeom>
              <a:avLst/>
              <a:gdLst>
                <a:gd name="connsiteX0" fmla="*/ 418164 w 429383"/>
                <a:gd name="connsiteY0" fmla="*/ 716506 h 716505"/>
                <a:gd name="connsiteX1" fmla="*/ 0 w 429383"/>
                <a:gd name="connsiteY1" fmla="*/ 360503 h 716505"/>
                <a:gd name="connsiteX2" fmla="*/ 0 w 429383"/>
                <a:gd name="connsiteY2" fmla="*/ 360503 h 716505"/>
                <a:gd name="connsiteX3" fmla="*/ 0 w 429383"/>
                <a:gd name="connsiteY3" fmla="*/ 358247 h 716505"/>
                <a:gd name="connsiteX4" fmla="*/ 418126 w 429383"/>
                <a:gd name="connsiteY4" fmla="*/ 0 h 716505"/>
                <a:gd name="connsiteX5" fmla="*/ 429345 w 429383"/>
                <a:gd name="connsiteY5" fmla="*/ 125 h 716505"/>
                <a:gd name="connsiteX6" fmla="*/ 429345 w 429383"/>
                <a:gd name="connsiteY6" fmla="*/ 6393 h 716505"/>
                <a:gd name="connsiteX7" fmla="*/ 145527 w 429383"/>
                <a:gd name="connsiteY7" fmla="*/ 112667 h 716505"/>
                <a:gd name="connsiteX8" fmla="*/ 28659 w 429383"/>
                <a:gd name="connsiteY8" fmla="*/ 358247 h 716505"/>
                <a:gd name="connsiteX9" fmla="*/ 145539 w 429383"/>
                <a:gd name="connsiteY9" fmla="*/ 603851 h 716505"/>
                <a:gd name="connsiteX10" fmla="*/ 429383 w 429383"/>
                <a:gd name="connsiteY10" fmla="*/ 710150 h 716505"/>
                <a:gd name="connsiteX11" fmla="*/ 429383 w 429383"/>
                <a:gd name="connsiteY11" fmla="*/ 716343 h 716505"/>
                <a:gd name="connsiteX12" fmla="*/ 418164 w 429383"/>
                <a:gd name="connsiteY12" fmla="*/ 716506 h 716505"/>
                <a:gd name="connsiteX13" fmla="*/ 6244 w 429383"/>
                <a:gd name="connsiteY13" fmla="*/ 356354 h 716505"/>
                <a:gd name="connsiteX14" fmla="*/ 6244 w 429383"/>
                <a:gd name="connsiteY14" fmla="*/ 358259 h 716505"/>
                <a:gd name="connsiteX15" fmla="*/ 294252 w 429383"/>
                <a:gd name="connsiteY15" fmla="*/ 694042 h 716505"/>
                <a:gd name="connsiteX16" fmla="*/ 141338 w 429383"/>
                <a:gd name="connsiteY16" fmla="*/ 608502 h 716505"/>
                <a:gd name="connsiteX17" fmla="*/ 22376 w 429383"/>
                <a:gd name="connsiteY17" fmla="*/ 358247 h 716505"/>
                <a:gd name="connsiteX18" fmla="*/ 141351 w 429383"/>
                <a:gd name="connsiteY18" fmla="*/ 108017 h 716505"/>
                <a:gd name="connsiteX19" fmla="*/ 294391 w 429383"/>
                <a:gd name="connsiteY19" fmla="*/ 22438 h 716505"/>
                <a:gd name="connsiteX20" fmla="*/ 6244 w 429383"/>
                <a:gd name="connsiteY20" fmla="*/ 356354 h 7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9383" h="716505">
                  <a:moveTo>
                    <a:pt x="418164" y="716506"/>
                  </a:moveTo>
                  <a:cubicBezTo>
                    <a:pt x="188438" y="716506"/>
                    <a:pt x="1409" y="557006"/>
                    <a:pt x="0" y="360503"/>
                  </a:cubicBezTo>
                  <a:lnTo>
                    <a:pt x="0" y="360503"/>
                  </a:lnTo>
                  <a:lnTo>
                    <a:pt x="0" y="358247"/>
                  </a:lnTo>
                  <a:cubicBezTo>
                    <a:pt x="-38" y="160715"/>
                    <a:pt x="187550" y="0"/>
                    <a:pt x="418126" y="0"/>
                  </a:cubicBezTo>
                  <a:cubicBezTo>
                    <a:pt x="421933" y="0"/>
                    <a:pt x="425627" y="0"/>
                    <a:pt x="429345" y="125"/>
                  </a:cubicBezTo>
                  <a:lnTo>
                    <a:pt x="429345" y="6393"/>
                  </a:lnTo>
                  <a:cubicBezTo>
                    <a:pt x="324993" y="7564"/>
                    <a:pt x="224437" y="45217"/>
                    <a:pt x="145527" y="112667"/>
                  </a:cubicBezTo>
                  <a:cubicBezTo>
                    <a:pt x="72436" y="173976"/>
                    <a:pt x="29812" y="263544"/>
                    <a:pt x="28659" y="358247"/>
                  </a:cubicBezTo>
                  <a:cubicBezTo>
                    <a:pt x="29815" y="452958"/>
                    <a:pt x="72442" y="542534"/>
                    <a:pt x="145539" y="603851"/>
                  </a:cubicBezTo>
                  <a:cubicBezTo>
                    <a:pt x="224451" y="671320"/>
                    <a:pt x="325018" y="708982"/>
                    <a:pt x="429383" y="710150"/>
                  </a:cubicBezTo>
                  <a:lnTo>
                    <a:pt x="429383" y="716343"/>
                  </a:lnTo>
                  <a:cubicBezTo>
                    <a:pt x="425715" y="716506"/>
                    <a:pt x="421933" y="716506"/>
                    <a:pt x="418164" y="716506"/>
                  </a:cubicBezTo>
                  <a:close/>
                  <a:moveTo>
                    <a:pt x="6244" y="356354"/>
                  </a:moveTo>
                  <a:lnTo>
                    <a:pt x="6244" y="358259"/>
                  </a:lnTo>
                  <a:cubicBezTo>
                    <a:pt x="6244" y="515515"/>
                    <a:pt x="127466" y="649003"/>
                    <a:pt x="294252" y="694042"/>
                  </a:cubicBezTo>
                  <a:cubicBezTo>
                    <a:pt x="237836" y="676287"/>
                    <a:pt x="185767" y="647159"/>
                    <a:pt x="141338" y="608502"/>
                  </a:cubicBezTo>
                  <a:cubicBezTo>
                    <a:pt x="66896" y="546008"/>
                    <a:pt x="23508" y="454733"/>
                    <a:pt x="22376" y="358247"/>
                  </a:cubicBezTo>
                  <a:cubicBezTo>
                    <a:pt x="23520" y="261766"/>
                    <a:pt x="66912" y="170503"/>
                    <a:pt x="141351" y="108017"/>
                  </a:cubicBezTo>
                  <a:cubicBezTo>
                    <a:pt x="185811" y="69329"/>
                    <a:pt x="237927" y="40186"/>
                    <a:pt x="294391" y="22438"/>
                  </a:cubicBezTo>
                  <a:cubicBezTo>
                    <a:pt x="128215" y="67264"/>
                    <a:pt x="7209" y="199901"/>
                    <a:pt x="6244" y="3563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77A528B8-6E6F-5A43-B0DF-7EE90149A7C8}"/>
                </a:ext>
              </a:extLst>
            </p:cNvPr>
            <p:cNvSpPr/>
            <p:nvPr/>
          </p:nvSpPr>
          <p:spPr>
            <a:xfrm>
              <a:off x="7734489" y="466915"/>
              <a:ext cx="600154" cy="22200"/>
            </a:xfrm>
            <a:custGeom>
              <a:avLst/>
              <a:gdLst>
                <a:gd name="connsiteX0" fmla="*/ 600154 w 600154"/>
                <a:gd name="connsiteY0" fmla="*/ 11094 h 22200"/>
                <a:gd name="connsiteX1" fmla="*/ 300065 w 600154"/>
                <a:gd name="connsiteY1" fmla="*/ 22200 h 22200"/>
                <a:gd name="connsiteX2" fmla="*/ 0 w 600154"/>
                <a:gd name="connsiteY2" fmla="*/ 11094 h 22200"/>
                <a:gd name="connsiteX3" fmla="*/ 300065 w 600154"/>
                <a:gd name="connsiteY3" fmla="*/ 0 h 22200"/>
                <a:gd name="connsiteX4" fmla="*/ 600154 w 600154"/>
                <a:gd name="connsiteY4" fmla="*/ 11094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54" h="22200">
                  <a:moveTo>
                    <a:pt x="600154" y="11094"/>
                  </a:moveTo>
                  <a:cubicBezTo>
                    <a:pt x="600154" y="17198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94"/>
                  </a:cubicBezTo>
                  <a:cubicBezTo>
                    <a:pt x="0" y="5002"/>
                    <a:pt x="134434" y="0"/>
                    <a:pt x="300065" y="0"/>
                  </a:cubicBezTo>
                  <a:cubicBezTo>
                    <a:pt x="465695" y="0"/>
                    <a:pt x="600154" y="4964"/>
                    <a:pt x="600154" y="1109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 108">
              <a:extLst>
                <a:ext uri="{FF2B5EF4-FFF2-40B4-BE49-F238E27FC236}">
                  <a16:creationId xmlns:a16="http://schemas.microsoft.com/office/drawing/2014/main" id="{6828B17A-9995-E645-93C5-2CD482B92C2C}"/>
                </a:ext>
              </a:extLst>
            </p:cNvPr>
            <p:cNvSpPr/>
            <p:nvPr/>
          </p:nvSpPr>
          <p:spPr>
            <a:xfrm>
              <a:off x="7731341" y="463844"/>
              <a:ext cx="606437" cy="28405"/>
            </a:xfrm>
            <a:custGeom>
              <a:avLst/>
              <a:gdLst>
                <a:gd name="connsiteX0" fmla="*/ 303212 w 606437"/>
                <a:gd name="connsiteY0" fmla="*/ 28405 h 28405"/>
                <a:gd name="connsiteX1" fmla="*/ 90938 w 606437"/>
                <a:gd name="connsiteY1" fmla="*/ 25146 h 28405"/>
                <a:gd name="connsiteX2" fmla="*/ 0 w 606437"/>
                <a:gd name="connsiteY2" fmla="*/ 14203 h 28405"/>
                <a:gd name="connsiteX3" fmla="*/ 90951 w 606437"/>
                <a:gd name="connsiteY3" fmla="*/ 3272 h 28405"/>
                <a:gd name="connsiteX4" fmla="*/ 303212 w 606437"/>
                <a:gd name="connsiteY4" fmla="*/ 0 h 28405"/>
                <a:gd name="connsiteX5" fmla="*/ 515486 w 606437"/>
                <a:gd name="connsiteY5" fmla="*/ 3259 h 28405"/>
                <a:gd name="connsiteX6" fmla="*/ 606437 w 606437"/>
                <a:gd name="connsiteY6" fmla="*/ 14203 h 28405"/>
                <a:gd name="connsiteX7" fmla="*/ 515486 w 606437"/>
                <a:gd name="connsiteY7" fmla="*/ 25146 h 28405"/>
                <a:gd name="connsiteX8" fmla="*/ 303212 w 606437"/>
                <a:gd name="connsiteY8" fmla="*/ 28405 h 28405"/>
                <a:gd name="connsiteX9" fmla="*/ 14799 w 606437"/>
                <a:gd name="connsiteY9" fmla="*/ 14165 h 28405"/>
                <a:gd name="connsiteX10" fmla="*/ 303212 w 606437"/>
                <a:gd name="connsiteY10" fmla="*/ 22162 h 28405"/>
                <a:gd name="connsiteX11" fmla="*/ 591803 w 606437"/>
                <a:gd name="connsiteY11" fmla="*/ 14152 h 28405"/>
                <a:gd name="connsiteX12" fmla="*/ 303212 w 606437"/>
                <a:gd name="connsiteY12" fmla="*/ 6167 h 28405"/>
                <a:gd name="connsiteX13" fmla="*/ 14799 w 606437"/>
                <a:gd name="connsiteY13" fmla="*/ 14165 h 28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37" h="28405">
                  <a:moveTo>
                    <a:pt x="303212" y="28405"/>
                  </a:moveTo>
                  <a:cubicBezTo>
                    <a:pt x="223176" y="28405"/>
                    <a:pt x="147786" y="27252"/>
                    <a:pt x="90938" y="25146"/>
                  </a:cubicBezTo>
                  <a:cubicBezTo>
                    <a:pt x="0" y="21761"/>
                    <a:pt x="0" y="18088"/>
                    <a:pt x="0" y="14203"/>
                  </a:cubicBezTo>
                  <a:cubicBezTo>
                    <a:pt x="0" y="10317"/>
                    <a:pt x="0" y="6681"/>
                    <a:pt x="90951" y="3272"/>
                  </a:cubicBezTo>
                  <a:cubicBezTo>
                    <a:pt x="147786" y="1166"/>
                    <a:pt x="223164" y="0"/>
                    <a:pt x="303212" y="0"/>
                  </a:cubicBezTo>
                  <a:cubicBezTo>
                    <a:pt x="383261" y="0"/>
                    <a:pt x="458753" y="1166"/>
                    <a:pt x="515486" y="3259"/>
                  </a:cubicBezTo>
                  <a:cubicBezTo>
                    <a:pt x="606437" y="6619"/>
                    <a:pt x="606437" y="10304"/>
                    <a:pt x="606437" y="14203"/>
                  </a:cubicBezTo>
                  <a:cubicBezTo>
                    <a:pt x="606437" y="18101"/>
                    <a:pt x="606437" y="21724"/>
                    <a:pt x="515486" y="25146"/>
                  </a:cubicBezTo>
                  <a:cubicBezTo>
                    <a:pt x="458677" y="27214"/>
                    <a:pt x="383286" y="28405"/>
                    <a:pt x="303212" y="28405"/>
                  </a:cubicBezTo>
                  <a:close/>
                  <a:moveTo>
                    <a:pt x="14799" y="14165"/>
                  </a:moveTo>
                  <a:cubicBezTo>
                    <a:pt x="47455" y="18314"/>
                    <a:pt x="158028" y="22162"/>
                    <a:pt x="303212" y="22162"/>
                  </a:cubicBezTo>
                  <a:cubicBezTo>
                    <a:pt x="448650" y="22162"/>
                    <a:pt x="559337" y="18302"/>
                    <a:pt x="591803" y="14152"/>
                  </a:cubicBezTo>
                  <a:cubicBezTo>
                    <a:pt x="560073" y="10016"/>
                    <a:pt x="452978" y="6167"/>
                    <a:pt x="303212" y="6167"/>
                  </a:cubicBezTo>
                  <a:cubicBezTo>
                    <a:pt x="158016" y="6167"/>
                    <a:pt x="47455" y="10016"/>
                    <a:pt x="14799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7B1D9373-2A89-224A-861A-976DED4476D3}"/>
                </a:ext>
              </a:extLst>
            </p:cNvPr>
            <p:cNvSpPr/>
            <p:nvPr/>
          </p:nvSpPr>
          <p:spPr>
            <a:xfrm>
              <a:off x="7744744" y="835014"/>
              <a:ext cx="600116" cy="22200"/>
            </a:xfrm>
            <a:custGeom>
              <a:avLst/>
              <a:gdLst>
                <a:gd name="connsiteX0" fmla="*/ 600116 w 600116"/>
                <a:gd name="connsiteY0" fmla="*/ 11081 h 22200"/>
                <a:gd name="connsiteX1" fmla="*/ 300065 w 600116"/>
                <a:gd name="connsiteY1" fmla="*/ 22200 h 22200"/>
                <a:gd name="connsiteX2" fmla="*/ 0 w 600116"/>
                <a:gd name="connsiteY2" fmla="*/ 11081 h 22200"/>
                <a:gd name="connsiteX3" fmla="*/ 300065 w 600116"/>
                <a:gd name="connsiteY3" fmla="*/ 0 h 22200"/>
                <a:gd name="connsiteX4" fmla="*/ 600116 w 600116"/>
                <a:gd name="connsiteY4" fmla="*/ 11081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16" h="22200">
                  <a:moveTo>
                    <a:pt x="600116" y="11081"/>
                  </a:moveTo>
                  <a:cubicBezTo>
                    <a:pt x="600116" y="17236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81"/>
                  </a:cubicBezTo>
                  <a:cubicBezTo>
                    <a:pt x="0" y="4977"/>
                    <a:pt x="134434" y="0"/>
                    <a:pt x="300065" y="0"/>
                  </a:cubicBezTo>
                  <a:cubicBezTo>
                    <a:pt x="465695" y="0"/>
                    <a:pt x="600116" y="5014"/>
                    <a:pt x="600116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CAAE3516-6ED9-0042-AD72-15F569C72C0B}"/>
                </a:ext>
              </a:extLst>
            </p:cNvPr>
            <p:cNvSpPr/>
            <p:nvPr/>
          </p:nvSpPr>
          <p:spPr>
            <a:xfrm>
              <a:off x="7741596" y="831918"/>
              <a:ext cx="606398" cy="28392"/>
            </a:xfrm>
            <a:custGeom>
              <a:avLst/>
              <a:gdLst>
                <a:gd name="connsiteX0" fmla="*/ 303212 w 606398"/>
                <a:gd name="connsiteY0" fmla="*/ 28393 h 28392"/>
                <a:gd name="connsiteX1" fmla="*/ 90938 w 606398"/>
                <a:gd name="connsiteY1" fmla="*/ 25121 h 28392"/>
                <a:gd name="connsiteX2" fmla="*/ 0 w 606398"/>
                <a:gd name="connsiteY2" fmla="*/ 14177 h 28392"/>
                <a:gd name="connsiteX3" fmla="*/ 90951 w 606398"/>
                <a:gd name="connsiteY3" fmla="*/ 3247 h 28392"/>
                <a:gd name="connsiteX4" fmla="*/ 303212 w 606398"/>
                <a:gd name="connsiteY4" fmla="*/ 0 h 28392"/>
                <a:gd name="connsiteX5" fmla="*/ 515473 w 606398"/>
                <a:gd name="connsiteY5" fmla="*/ 3259 h 28392"/>
                <a:gd name="connsiteX6" fmla="*/ 606399 w 606398"/>
                <a:gd name="connsiteY6" fmla="*/ 14177 h 28392"/>
                <a:gd name="connsiteX7" fmla="*/ 515473 w 606398"/>
                <a:gd name="connsiteY7" fmla="*/ 25146 h 28392"/>
                <a:gd name="connsiteX8" fmla="*/ 303212 w 606398"/>
                <a:gd name="connsiteY8" fmla="*/ 28393 h 28392"/>
                <a:gd name="connsiteX9" fmla="*/ 14672 w 606398"/>
                <a:gd name="connsiteY9" fmla="*/ 14165 h 28392"/>
                <a:gd name="connsiteX10" fmla="*/ 303212 w 606398"/>
                <a:gd name="connsiteY10" fmla="*/ 22200 h 28392"/>
                <a:gd name="connsiteX11" fmla="*/ 591740 w 606398"/>
                <a:gd name="connsiteY11" fmla="*/ 14203 h 28392"/>
                <a:gd name="connsiteX12" fmla="*/ 303212 w 606398"/>
                <a:gd name="connsiteY12" fmla="*/ 6192 h 28392"/>
                <a:gd name="connsiteX13" fmla="*/ 14672 w 606398"/>
                <a:gd name="connsiteY13" fmla="*/ 14165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398" h="28392">
                  <a:moveTo>
                    <a:pt x="303212" y="28393"/>
                  </a:moveTo>
                  <a:cubicBezTo>
                    <a:pt x="223138" y="28393"/>
                    <a:pt x="147760" y="27239"/>
                    <a:pt x="90938" y="25121"/>
                  </a:cubicBezTo>
                  <a:cubicBezTo>
                    <a:pt x="0" y="21749"/>
                    <a:pt x="0" y="18063"/>
                    <a:pt x="0" y="14177"/>
                  </a:cubicBezTo>
                  <a:cubicBezTo>
                    <a:pt x="0" y="10292"/>
                    <a:pt x="0" y="6656"/>
                    <a:pt x="90951" y="3247"/>
                  </a:cubicBezTo>
                  <a:cubicBezTo>
                    <a:pt x="147697" y="1153"/>
                    <a:pt x="223087" y="0"/>
                    <a:pt x="303212" y="0"/>
                  </a:cubicBezTo>
                  <a:cubicBezTo>
                    <a:pt x="383337" y="0"/>
                    <a:pt x="458600" y="1153"/>
                    <a:pt x="515473" y="3259"/>
                  </a:cubicBezTo>
                  <a:cubicBezTo>
                    <a:pt x="606399" y="6619"/>
                    <a:pt x="606399" y="10292"/>
                    <a:pt x="606399" y="14177"/>
                  </a:cubicBezTo>
                  <a:cubicBezTo>
                    <a:pt x="606399" y="18063"/>
                    <a:pt x="606399" y="21774"/>
                    <a:pt x="515473" y="25146"/>
                  </a:cubicBezTo>
                  <a:cubicBezTo>
                    <a:pt x="458804" y="27239"/>
                    <a:pt x="383426" y="28393"/>
                    <a:pt x="303212" y="28393"/>
                  </a:cubicBezTo>
                  <a:close/>
                  <a:moveTo>
                    <a:pt x="14672" y="14165"/>
                  </a:moveTo>
                  <a:cubicBezTo>
                    <a:pt x="47164" y="18327"/>
                    <a:pt x="157825" y="22200"/>
                    <a:pt x="303212" y="22200"/>
                  </a:cubicBezTo>
                  <a:cubicBezTo>
                    <a:pt x="452978" y="22200"/>
                    <a:pt x="559984" y="18339"/>
                    <a:pt x="591740" y="14203"/>
                  </a:cubicBezTo>
                  <a:cubicBezTo>
                    <a:pt x="559274" y="10053"/>
                    <a:pt x="448599" y="6192"/>
                    <a:pt x="303212" y="6192"/>
                  </a:cubicBezTo>
                  <a:cubicBezTo>
                    <a:pt x="153497" y="6192"/>
                    <a:pt x="46453" y="10066"/>
                    <a:pt x="14672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AEB72FB4-A112-A744-88C3-7882B4DD4C57}"/>
                </a:ext>
              </a:extLst>
            </p:cNvPr>
            <p:cNvSpPr/>
            <p:nvPr/>
          </p:nvSpPr>
          <p:spPr>
            <a:xfrm>
              <a:off x="7680662" y="649366"/>
              <a:ext cx="600141" cy="22187"/>
            </a:xfrm>
            <a:custGeom>
              <a:avLst/>
              <a:gdLst>
                <a:gd name="connsiteX0" fmla="*/ 600142 w 600141"/>
                <a:gd name="connsiteY0" fmla="*/ 11081 h 22187"/>
                <a:gd name="connsiteX1" fmla="*/ 300065 w 600141"/>
                <a:gd name="connsiteY1" fmla="*/ 22187 h 22187"/>
                <a:gd name="connsiteX2" fmla="*/ 0 w 600141"/>
                <a:gd name="connsiteY2" fmla="*/ 11081 h 22187"/>
                <a:gd name="connsiteX3" fmla="*/ 300065 w 600141"/>
                <a:gd name="connsiteY3" fmla="*/ 0 h 22187"/>
                <a:gd name="connsiteX4" fmla="*/ 600142 w 600141"/>
                <a:gd name="connsiteY4" fmla="*/ 11081 h 2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41" h="22187">
                  <a:moveTo>
                    <a:pt x="600142" y="11081"/>
                  </a:moveTo>
                  <a:cubicBezTo>
                    <a:pt x="600142" y="17211"/>
                    <a:pt x="465708" y="22187"/>
                    <a:pt x="300065" y="22187"/>
                  </a:cubicBezTo>
                  <a:cubicBezTo>
                    <a:pt x="134421" y="22187"/>
                    <a:pt x="0" y="17173"/>
                    <a:pt x="0" y="11081"/>
                  </a:cubicBezTo>
                  <a:cubicBezTo>
                    <a:pt x="0" y="4989"/>
                    <a:pt x="134434" y="0"/>
                    <a:pt x="300065" y="0"/>
                  </a:cubicBezTo>
                  <a:cubicBezTo>
                    <a:pt x="465695" y="0"/>
                    <a:pt x="600142" y="5014"/>
                    <a:pt x="600142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FCA2BBE1-06D8-F74D-AAF6-F0D1B62864E3}"/>
                </a:ext>
              </a:extLst>
            </p:cNvPr>
            <p:cNvSpPr/>
            <p:nvPr/>
          </p:nvSpPr>
          <p:spPr>
            <a:xfrm>
              <a:off x="7677514" y="646257"/>
              <a:ext cx="606424" cy="28392"/>
            </a:xfrm>
            <a:custGeom>
              <a:avLst/>
              <a:gdLst>
                <a:gd name="connsiteX0" fmla="*/ 303212 w 606424"/>
                <a:gd name="connsiteY0" fmla="*/ 28392 h 28392"/>
                <a:gd name="connsiteX1" fmla="*/ 90938 w 606424"/>
                <a:gd name="connsiteY1" fmla="*/ 25121 h 28392"/>
                <a:gd name="connsiteX2" fmla="*/ 0 w 606424"/>
                <a:gd name="connsiteY2" fmla="*/ 14190 h 28392"/>
                <a:gd name="connsiteX3" fmla="*/ 90951 w 606424"/>
                <a:gd name="connsiteY3" fmla="*/ 3259 h 28392"/>
                <a:gd name="connsiteX4" fmla="*/ 303212 w 606424"/>
                <a:gd name="connsiteY4" fmla="*/ 0 h 28392"/>
                <a:gd name="connsiteX5" fmla="*/ 515486 w 606424"/>
                <a:gd name="connsiteY5" fmla="*/ 3272 h 28392"/>
                <a:gd name="connsiteX6" fmla="*/ 606424 w 606424"/>
                <a:gd name="connsiteY6" fmla="*/ 14190 h 28392"/>
                <a:gd name="connsiteX7" fmla="*/ 515486 w 606424"/>
                <a:gd name="connsiteY7" fmla="*/ 25133 h 28392"/>
                <a:gd name="connsiteX8" fmla="*/ 303212 w 606424"/>
                <a:gd name="connsiteY8" fmla="*/ 28392 h 28392"/>
                <a:gd name="connsiteX9" fmla="*/ 14812 w 606424"/>
                <a:gd name="connsiteY9" fmla="*/ 14190 h 28392"/>
                <a:gd name="connsiteX10" fmla="*/ 303212 w 606424"/>
                <a:gd name="connsiteY10" fmla="*/ 22188 h 28392"/>
                <a:gd name="connsiteX11" fmla="*/ 591740 w 606424"/>
                <a:gd name="connsiteY11" fmla="*/ 14215 h 28392"/>
                <a:gd name="connsiteX12" fmla="*/ 303212 w 606424"/>
                <a:gd name="connsiteY12" fmla="*/ 6205 h 28392"/>
                <a:gd name="connsiteX13" fmla="*/ 14812 w 606424"/>
                <a:gd name="connsiteY13" fmla="*/ 14190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24" h="28392">
                  <a:moveTo>
                    <a:pt x="303212" y="28392"/>
                  </a:moveTo>
                  <a:cubicBezTo>
                    <a:pt x="223176" y="28392"/>
                    <a:pt x="147786" y="27227"/>
                    <a:pt x="90938" y="25121"/>
                  </a:cubicBezTo>
                  <a:cubicBezTo>
                    <a:pt x="0" y="21749"/>
                    <a:pt x="0" y="18076"/>
                    <a:pt x="0" y="14190"/>
                  </a:cubicBezTo>
                  <a:cubicBezTo>
                    <a:pt x="0" y="10304"/>
                    <a:pt x="0" y="6669"/>
                    <a:pt x="90951" y="3259"/>
                  </a:cubicBezTo>
                  <a:cubicBezTo>
                    <a:pt x="147748" y="1153"/>
                    <a:pt x="223138" y="0"/>
                    <a:pt x="303212" y="0"/>
                  </a:cubicBezTo>
                  <a:cubicBezTo>
                    <a:pt x="383286" y="0"/>
                    <a:pt x="458575" y="1166"/>
                    <a:pt x="515486" y="3272"/>
                  </a:cubicBezTo>
                  <a:cubicBezTo>
                    <a:pt x="606424" y="6644"/>
                    <a:pt x="606424" y="10304"/>
                    <a:pt x="606424" y="14190"/>
                  </a:cubicBezTo>
                  <a:cubicBezTo>
                    <a:pt x="606424" y="18076"/>
                    <a:pt x="606424" y="21774"/>
                    <a:pt x="515486" y="25133"/>
                  </a:cubicBezTo>
                  <a:cubicBezTo>
                    <a:pt x="458740" y="27239"/>
                    <a:pt x="383362" y="28392"/>
                    <a:pt x="303212" y="28392"/>
                  </a:cubicBezTo>
                  <a:close/>
                  <a:moveTo>
                    <a:pt x="14812" y="14190"/>
                  </a:moveTo>
                  <a:cubicBezTo>
                    <a:pt x="47481" y="18339"/>
                    <a:pt x="158041" y="22188"/>
                    <a:pt x="303212" y="22188"/>
                  </a:cubicBezTo>
                  <a:cubicBezTo>
                    <a:pt x="452914" y="22188"/>
                    <a:pt x="559933" y="18339"/>
                    <a:pt x="591740" y="14215"/>
                  </a:cubicBezTo>
                  <a:cubicBezTo>
                    <a:pt x="559210" y="10053"/>
                    <a:pt x="448561" y="6205"/>
                    <a:pt x="303212" y="6205"/>
                  </a:cubicBezTo>
                  <a:cubicBezTo>
                    <a:pt x="157863" y="6205"/>
                    <a:pt x="47481" y="10041"/>
                    <a:pt x="14812" y="1419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941AAAFA-A490-444B-9CB6-945812D64BE2}"/>
                </a:ext>
              </a:extLst>
            </p:cNvPr>
            <p:cNvSpPr/>
            <p:nvPr/>
          </p:nvSpPr>
          <p:spPr>
            <a:xfrm>
              <a:off x="7794847" y="284166"/>
              <a:ext cx="928959" cy="738994"/>
            </a:xfrm>
            <a:custGeom>
              <a:avLst/>
              <a:gdLst>
                <a:gd name="connsiteX0" fmla="*/ 835862 w 928959"/>
                <a:gd name="connsiteY0" fmla="*/ 129348 h 738994"/>
                <a:gd name="connsiteX1" fmla="*/ 928958 w 928959"/>
                <a:gd name="connsiteY1" fmla="*/ 373724 h 738994"/>
                <a:gd name="connsiteX2" fmla="*/ 687886 w 928959"/>
                <a:gd name="connsiteY2" fmla="*/ 707075 h 738994"/>
                <a:gd name="connsiteX3" fmla="*/ 422255 w 928959"/>
                <a:gd name="connsiteY3" fmla="*/ 738739 h 738994"/>
                <a:gd name="connsiteX4" fmla="*/ 59340 w 928959"/>
                <a:gd name="connsiteY4" fmla="*/ 566442 h 738994"/>
                <a:gd name="connsiteX5" fmla="*/ 36227 w 928959"/>
                <a:gd name="connsiteY5" fmla="*/ 210589 h 738994"/>
                <a:gd name="connsiteX6" fmla="*/ 317571 w 928959"/>
                <a:gd name="connsiteY6" fmla="*/ 11729 h 738994"/>
                <a:gd name="connsiteX7" fmla="*/ 681946 w 928959"/>
                <a:gd name="connsiteY7" fmla="*/ 31485 h 738994"/>
                <a:gd name="connsiteX8" fmla="*/ 835862 w 928959"/>
                <a:gd name="connsiteY8" fmla="*/ 129348 h 73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9" h="738994">
                  <a:moveTo>
                    <a:pt x="835862" y="129348"/>
                  </a:moveTo>
                  <a:cubicBezTo>
                    <a:pt x="896115" y="196817"/>
                    <a:pt x="929237" y="283760"/>
                    <a:pt x="928958" y="373724"/>
                  </a:cubicBezTo>
                  <a:cubicBezTo>
                    <a:pt x="925921" y="523318"/>
                    <a:pt x="830175" y="655713"/>
                    <a:pt x="687886" y="707075"/>
                  </a:cubicBezTo>
                  <a:cubicBezTo>
                    <a:pt x="605502" y="733913"/>
                    <a:pt x="513828" y="740457"/>
                    <a:pt x="422255" y="738739"/>
                  </a:cubicBezTo>
                  <a:cubicBezTo>
                    <a:pt x="276855" y="734716"/>
                    <a:pt x="140403" y="684838"/>
                    <a:pt x="59340" y="566442"/>
                  </a:cubicBezTo>
                  <a:cubicBezTo>
                    <a:pt x="-7725" y="467563"/>
                    <a:pt x="-21432" y="316650"/>
                    <a:pt x="36227" y="210589"/>
                  </a:cubicBezTo>
                  <a:cubicBezTo>
                    <a:pt x="85422" y="102522"/>
                    <a:pt x="197479" y="29968"/>
                    <a:pt x="317571" y="11729"/>
                  </a:cubicBezTo>
                  <a:cubicBezTo>
                    <a:pt x="438981" y="-8966"/>
                    <a:pt x="563560" y="-2211"/>
                    <a:pt x="681946" y="31485"/>
                  </a:cubicBezTo>
                  <a:cubicBezTo>
                    <a:pt x="740568" y="51213"/>
                    <a:pt x="793411" y="84811"/>
                    <a:pt x="835862" y="129348"/>
                  </a:cubicBezTo>
                  <a:close/>
                </a:path>
              </a:pathLst>
            </a:custGeom>
            <a:solidFill>
              <a:srgbClr val="CA0538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CCF36B16-B794-B64D-B0F7-165A28477429}"/>
                </a:ext>
              </a:extLst>
            </p:cNvPr>
            <p:cNvSpPr/>
            <p:nvPr/>
          </p:nvSpPr>
          <p:spPr>
            <a:xfrm>
              <a:off x="7833276" y="310649"/>
              <a:ext cx="674105" cy="476179"/>
            </a:xfrm>
            <a:custGeom>
              <a:avLst/>
              <a:gdLst>
                <a:gd name="connsiteX0" fmla="*/ 674105 w 674105"/>
                <a:gd name="connsiteY0" fmla="*/ 47259 h 476179"/>
                <a:gd name="connsiteX1" fmla="*/ 53199 w 674105"/>
                <a:gd name="connsiteY1" fmla="*/ 164301 h 476179"/>
                <a:gd name="connsiteX2" fmla="*/ 23043 w 674105"/>
                <a:gd name="connsiteY2" fmla="*/ 476180 h 476179"/>
                <a:gd name="connsiteX3" fmla="*/ 674105 w 674105"/>
                <a:gd name="connsiteY3" fmla="*/ 47259 h 47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4105" h="476179">
                  <a:moveTo>
                    <a:pt x="674105" y="47259"/>
                  </a:moveTo>
                  <a:cubicBezTo>
                    <a:pt x="674105" y="47259"/>
                    <a:pt x="245737" y="-115976"/>
                    <a:pt x="53199" y="164301"/>
                  </a:cubicBezTo>
                  <a:cubicBezTo>
                    <a:pt x="-45202" y="307555"/>
                    <a:pt x="23043" y="476180"/>
                    <a:pt x="23043" y="476180"/>
                  </a:cubicBezTo>
                  <a:cubicBezTo>
                    <a:pt x="23043" y="476180"/>
                    <a:pt x="9323" y="-76226"/>
                    <a:pt x="674105" y="47259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98C11CE3-155B-1D4E-B0D5-7D957FD2A8EA}"/>
                </a:ext>
              </a:extLst>
            </p:cNvPr>
            <p:cNvSpPr/>
            <p:nvPr/>
          </p:nvSpPr>
          <p:spPr>
            <a:xfrm>
              <a:off x="7952138" y="416172"/>
              <a:ext cx="622117" cy="420341"/>
            </a:xfrm>
            <a:custGeom>
              <a:avLst/>
              <a:gdLst>
                <a:gd name="connsiteX0" fmla="*/ 244162 w 622117"/>
                <a:gd name="connsiteY0" fmla="*/ 5265 h 420341"/>
                <a:gd name="connsiteX1" fmla="*/ 190234 w 622117"/>
                <a:gd name="connsiteY1" fmla="*/ 115337 h 420341"/>
                <a:gd name="connsiteX2" fmla="*/ 166119 w 622117"/>
                <a:gd name="connsiteY2" fmla="*/ 372750 h 420341"/>
                <a:gd name="connsiteX3" fmla="*/ 174546 w 622117"/>
                <a:gd name="connsiteY3" fmla="*/ 380271 h 420341"/>
                <a:gd name="connsiteX4" fmla="*/ 219273 w 622117"/>
                <a:gd name="connsiteY4" fmla="*/ 341336 h 420341"/>
                <a:gd name="connsiteX5" fmla="*/ 302545 w 622117"/>
                <a:gd name="connsiteY5" fmla="*/ 23617 h 420341"/>
                <a:gd name="connsiteX6" fmla="*/ 333806 w 622117"/>
                <a:gd name="connsiteY6" fmla="*/ 464 h 420341"/>
                <a:gd name="connsiteX7" fmla="*/ 335633 w 622117"/>
                <a:gd name="connsiteY7" fmla="*/ 7032 h 420341"/>
                <a:gd name="connsiteX8" fmla="*/ 302964 w 622117"/>
                <a:gd name="connsiteY8" fmla="*/ 48950 h 420341"/>
                <a:gd name="connsiteX9" fmla="*/ 293445 w 622117"/>
                <a:gd name="connsiteY9" fmla="*/ 78772 h 420341"/>
                <a:gd name="connsiteX10" fmla="*/ 257717 w 622117"/>
                <a:gd name="connsiteY10" fmla="*/ 371697 h 420341"/>
                <a:gd name="connsiteX11" fmla="*/ 269927 w 622117"/>
                <a:gd name="connsiteY11" fmla="*/ 380221 h 420341"/>
                <a:gd name="connsiteX12" fmla="*/ 308980 w 622117"/>
                <a:gd name="connsiteY12" fmla="*/ 342176 h 420341"/>
                <a:gd name="connsiteX13" fmla="*/ 378228 w 622117"/>
                <a:gd name="connsiteY13" fmla="*/ 200628 h 420341"/>
                <a:gd name="connsiteX14" fmla="*/ 448161 w 622117"/>
                <a:gd name="connsiteY14" fmla="*/ 198221 h 420341"/>
                <a:gd name="connsiteX15" fmla="*/ 429681 w 622117"/>
                <a:gd name="connsiteY15" fmla="*/ 360127 h 420341"/>
                <a:gd name="connsiteX16" fmla="*/ 437030 w 622117"/>
                <a:gd name="connsiteY16" fmla="*/ 382690 h 420341"/>
                <a:gd name="connsiteX17" fmla="*/ 444645 w 622117"/>
                <a:gd name="connsiteY17" fmla="*/ 380885 h 420341"/>
                <a:gd name="connsiteX18" fmla="*/ 491339 w 622117"/>
                <a:gd name="connsiteY18" fmla="*/ 333527 h 420341"/>
                <a:gd name="connsiteX19" fmla="*/ 528362 w 622117"/>
                <a:gd name="connsiteY19" fmla="*/ 108054 h 420341"/>
                <a:gd name="connsiteX20" fmla="*/ 593332 w 622117"/>
                <a:gd name="connsiteY20" fmla="*/ 24331 h 420341"/>
                <a:gd name="connsiteX21" fmla="*/ 580031 w 622117"/>
                <a:gd name="connsiteY21" fmla="*/ 39536 h 420341"/>
                <a:gd name="connsiteX22" fmla="*/ 525455 w 622117"/>
                <a:gd name="connsiteY22" fmla="*/ 215770 h 420341"/>
                <a:gd name="connsiteX23" fmla="*/ 546295 w 622117"/>
                <a:gd name="connsiteY23" fmla="*/ 207522 h 420341"/>
                <a:gd name="connsiteX24" fmla="*/ 590083 w 622117"/>
                <a:gd name="connsiteY24" fmla="*/ 171383 h 420341"/>
                <a:gd name="connsiteX25" fmla="*/ 609717 w 622117"/>
                <a:gd name="connsiteY25" fmla="*/ 190299 h 420341"/>
                <a:gd name="connsiteX26" fmla="*/ 587481 w 622117"/>
                <a:gd name="connsiteY26" fmla="*/ 352167 h 420341"/>
                <a:gd name="connsiteX27" fmla="*/ 515873 w 622117"/>
                <a:gd name="connsiteY27" fmla="*/ 418817 h 420341"/>
                <a:gd name="connsiteX28" fmla="*/ 500642 w 622117"/>
                <a:gd name="connsiteY28" fmla="*/ 417313 h 420341"/>
                <a:gd name="connsiteX29" fmla="*/ 492024 w 622117"/>
                <a:gd name="connsiteY29" fmla="*/ 355990 h 420341"/>
                <a:gd name="connsiteX30" fmla="*/ 489207 w 622117"/>
                <a:gd name="connsiteY30" fmla="*/ 354085 h 420341"/>
                <a:gd name="connsiteX31" fmla="*/ 416862 w 622117"/>
                <a:gd name="connsiteY31" fmla="*/ 419958 h 420341"/>
                <a:gd name="connsiteX32" fmla="*/ 408397 w 622117"/>
                <a:gd name="connsiteY32" fmla="*/ 418015 h 420341"/>
                <a:gd name="connsiteX33" fmla="*/ 398345 w 622117"/>
                <a:gd name="connsiteY33" fmla="*/ 380409 h 420341"/>
                <a:gd name="connsiteX34" fmla="*/ 344175 w 622117"/>
                <a:gd name="connsiteY34" fmla="*/ 420221 h 420341"/>
                <a:gd name="connsiteX35" fmla="*/ 325493 w 622117"/>
                <a:gd name="connsiteY35" fmla="*/ 399989 h 420341"/>
                <a:gd name="connsiteX36" fmla="*/ 310719 w 622117"/>
                <a:gd name="connsiteY36" fmla="*/ 359011 h 420341"/>
                <a:gd name="connsiteX37" fmla="*/ 242182 w 622117"/>
                <a:gd name="connsiteY37" fmla="*/ 419306 h 420341"/>
                <a:gd name="connsiteX38" fmla="*/ 228221 w 622117"/>
                <a:gd name="connsiteY38" fmla="*/ 408852 h 420341"/>
                <a:gd name="connsiteX39" fmla="*/ 220047 w 622117"/>
                <a:gd name="connsiteY39" fmla="*/ 358222 h 420341"/>
                <a:gd name="connsiteX40" fmla="*/ 216240 w 622117"/>
                <a:gd name="connsiteY40" fmla="*/ 359124 h 420341"/>
                <a:gd name="connsiteX41" fmla="*/ 149607 w 622117"/>
                <a:gd name="connsiteY41" fmla="*/ 419406 h 420341"/>
                <a:gd name="connsiteX42" fmla="*/ 136470 w 622117"/>
                <a:gd name="connsiteY42" fmla="*/ 410857 h 420341"/>
                <a:gd name="connsiteX43" fmla="*/ 127586 w 622117"/>
                <a:gd name="connsiteY43" fmla="*/ 346138 h 420341"/>
                <a:gd name="connsiteX44" fmla="*/ 123778 w 622117"/>
                <a:gd name="connsiteY44" fmla="*/ 346138 h 420341"/>
                <a:gd name="connsiteX45" fmla="*/ 29616 w 622117"/>
                <a:gd name="connsiteY45" fmla="*/ 420234 h 420341"/>
                <a:gd name="connsiteX46" fmla="*/ 19298 w 622117"/>
                <a:gd name="connsiteY46" fmla="*/ 412637 h 420341"/>
                <a:gd name="connsiteX47" fmla="*/ 41090 w 622117"/>
                <a:gd name="connsiteY47" fmla="*/ 197368 h 420341"/>
                <a:gd name="connsiteX48" fmla="*/ 83177 w 622117"/>
                <a:gd name="connsiteY48" fmla="*/ 178766 h 420341"/>
                <a:gd name="connsiteX49" fmla="*/ 102367 w 622117"/>
                <a:gd name="connsiteY49" fmla="*/ 208224 h 420341"/>
                <a:gd name="connsiteX50" fmla="*/ 102100 w 622117"/>
                <a:gd name="connsiteY50" fmla="*/ 239136 h 420341"/>
                <a:gd name="connsiteX51" fmla="*/ 36368 w 622117"/>
                <a:gd name="connsiteY51" fmla="*/ 299443 h 420341"/>
                <a:gd name="connsiteX52" fmla="*/ 46167 w 622117"/>
                <a:gd name="connsiteY52" fmla="*/ 383831 h 420341"/>
                <a:gd name="connsiteX53" fmla="*/ 58592 w 622117"/>
                <a:gd name="connsiteY53" fmla="*/ 385649 h 420341"/>
                <a:gd name="connsiteX54" fmla="*/ 60331 w 622117"/>
                <a:gd name="connsiteY54" fmla="*/ 383969 h 420341"/>
                <a:gd name="connsiteX55" fmla="*/ 127954 w 622117"/>
                <a:gd name="connsiteY55" fmla="*/ 320866 h 420341"/>
                <a:gd name="connsiteX56" fmla="*/ 202291 w 622117"/>
                <a:gd name="connsiteY56" fmla="*/ 37681 h 420341"/>
                <a:gd name="connsiteX57" fmla="*/ 243007 w 622117"/>
                <a:gd name="connsiteY57" fmla="*/ 0 h 420341"/>
                <a:gd name="connsiteX58" fmla="*/ 244974 w 622117"/>
                <a:gd name="connsiteY58" fmla="*/ 4024 h 420341"/>
                <a:gd name="connsiteX59" fmla="*/ 244162 w 622117"/>
                <a:gd name="connsiteY59" fmla="*/ 5265 h 420341"/>
                <a:gd name="connsiteX60" fmla="*/ 77224 w 622117"/>
                <a:gd name="connsiteY60" fmla="*/ 185510 h 420341"/>
                <a:gd name="connsiteX61" fmla="*/ 63936 w 622117"/>
                <a:gd name="connsiteY61" fmla="*/ 193821 h 420341"/>
                <a:gd name="connsiteX62" fmla="*/ 39516 w 622117"/>
                <a:gd name="connsiteY62" fmla="*/ 281656 h 420341"/>
                <a:gd name="connsiteX63" fmla="*/ 80448 w 622117"/>
                <a:gd name="connsiteY63" fmla="*/ 246419 h 420341"/>
                <a:gd name="connsiteX64" fmla="*/ 86553 w 622117"/>
                <a:gd name="connsiteY64" fmla="*/ 197770 h 420341"/>
                <a:gd name="connsiteX65" fmla="*/ 77224 w 622117"/>
                <a:gd name="connsiteY65" fmla="*/ 185510 h 420341"/>
                <a:gd name="connsiteX66" fmla="*/ 415111 w 622117"/>
                <a:gd name="connsiteY66" fmla="*/ 203536 h 420341"/>
                <a:gd name="connsiteX67" fmla="*/ 378215 w 622117"/>
                <a:gd name="connsiteY67" fmla="*/ 212574 h 420341"/>
                <a:gd name="connsiteX68" fmla="*/ 346891 w 622117"/>
                <a:gd name="connsiteY68" fmla="*/ 331271 h 420341"/>
                <a:gd name="connsiteX69" fmla="*/ 360611 w 622117"/>
                <a:gd name="connsiteY69" fmla="*/ 381976 h 420341"/>
                <a:gd name="connsiteX70" fmla="*/ 395730 w 622117"/>
                <a:gd name="connsiteY70" fmla="*/ 361681 h 420341"/>
                <a:gd name="connsiteX71" fmla="*/ 416037 w 622117"/>
                <a:gd name="connsiteY71" fmla="*/ 208224 h 420341"/>
                <a:gd name="connsiteX72" fmla="*/ 566146 w 622117"/>
                <a:gd name="connsiteY72" fmla="*/ 207698 h 420341"/>
                <a:gd name="connsiteX73" fmla="*/ 530887 w 622117"/>
                <a:gd name="connsiteY73" fmla="*/ 242997 h 420341"/>
                <a:gd name="connsiteX74" fmla="*/ 529618 w 622117"/>
                <a:gd name="connsiteY74" fmla="*/ 378792 h 420341"/>
                <a:gd name="connsiteX75" fmla="*/ 533324 w 622117"/>
                <a:gd name="connsiteY75" fmla="*/ 388219 h 420341"/>
                <a:gd name="connsiteX76" fmla="*/ 558899 w 622117"/>
                <a:gd name="connsiteY76" fmla="*/ 370995 h 420341"/>
                <a:gd name="connsiteX77" fmla="*/ 581871 w 622117"/>
                <a:gd name="connsiteY77" fmla="*/ 223730 h 420341"/>
                <a:gd name="connsiteX78" fmla="*/ 566158 w 622117"/>
                <a:gd name="connsiteY78" fmla="*/ 207710 h 420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117" h="420341">
                  <a:moveTo>
                    <a:pt x="244162" y="5265"/>
                  </a:moveTo>
                  <a:cubicBezTo>
                    <a:pt x="206086" y="28342"/>
                    <a:pt x="203801" y="76089"/>
                    <a:pt x="190234" y="115337"/>
                  </a:cubicBezTo>
                  <a:cubicBezTo>
                    <a:pt x="169685" y="194774"/>
                    <a:pt x="154696" y="286444"/>
                    <a:pt x="166119" y="372750"/>
                  </a:cubicBezTo>
                  <a:cubicBezTo>
                    <a:pt x="167666" y="376363"/>
                    <a:pt x="170752" y="379115"/>
                    <a:pt x="174546" y="380271"/>
                  </a:cubicBezTo>
                  <a:cubicBezTo>
                    <a:pt x="191170" y="369352"/>
                    <a:pt x="206217" y="356253"/>
                    <a:pt x="219273" y="341336"/>
                  </a:cubicBezTo>
                  <a:cubicBezTo>
                    <a:pt x="227904" y="228092"/>
                    <a:pt x="248807" y="118709"/>
                    <a:pt x="302545" y="23617"/>
                  </a:cubicBezTo>
                  <a:cubicBezTo>
                    <a:pt x="309823" y="12451"/>
                    <a:pt x="320916" y="4236"/>
                    <a:pt x="333806" y="464"/>
                  </a:cubicBezTo>
                  <a:cubicBezTo>
                    <a:pt x="336636" y="464"/>
                    <a:pt x="337613" y="5165"/>
                    <a:pt x="335633" y="7032"/>
                  </a:cubicBezTo>
                  <a:cubicBezTo>
                    <a:pt x="316443" y="13977"/>
                    <a:pt x="309780" y="30298"/>
                    <a:pt x="302964" y="48950"/>
                  </a:cubicBezTo>
                  <a:cubicBezTo>
                    <a:pt x="299197" y="58697"/>
                    <a:pt x="296018" y="68655"/>
                    <a:pt x="293445" y="78772"/>
                  </a:cubicBezTo>
                  <a:cubicBezTo>
                    <a:pt x="267185" y="170380"/>
                    <a:pt x="246358" y="270399"/>
                    <a:pt x="257717" y="371697"/>
                  </a:cubicBezTo>
                  <a:cubicBezTo>
                    <a:pt x="259570" y="376398"/>
                    <a:pt x="264241" y="382064"/>
                    <a:pt x="269927" y="380221"/>
                  </a:cubicBezTo>
                  <a:cubicBezTo>
                    <a:pt x="285184" y="369996"/>
                    <a:pt x="298419" y="357102"/>
                    <a:pt x="308980" y="342176"/>
                  </a:cubicBezTo>
                  <a:cubicBezTo>
                    <a:pt x="303214" y="285875"/>
                    <a:pt x="329984" y="231155"/>
                    <a:pt x="378228" y="200628"/>
                  </a:cubicBezTo>
                  <a:cubicBezTo>
                    <a:pt x="399780" y="188729"/>
                    <a:pt x="425822" y="187833"/>
                    <a:pt x="448161" y="198221"/>
                  </a:cubicBezTo>
                  <a:cubicBezTo>
                    <a:pt x="436742" y="251477"/>
                    <a:pt x="430553" y="305697"/>
                    <a:pt x="429681" y="360127"/>
                  </a:cubicBezTo>
                  <a:cubicBezTo>
                    <a:pt x="430316" y="366633"/>
                    <a:pt x="429529" y="377915"/>
                    <a:pt x="437030" y="382690"/>
                  </a:cubicBezTo>
                  <a:lnTo>
                    <a:pt x="444645" y="380885"/>
                  </a:lnTo>
                  <a:lnTo>
                    <a:pt x="491339" y="333527"/>
                  </a:lnTo>
                  <a:cubicBezTo>
                    <a:pt x="498793" y="257666"/>
                    <a:pt x="511159" y="182354"/>
                    <a:pt x="528362" y="108054"/>
                  </a:cubicBezTo>
                  <a:cubicBezTo>
                    <a:pt x="539048" y="74435"/>
                    <a:pt x="563899" y="27954"/>
                    <a:pt x="593332" y="24331"/>
                  </a:cubicBezTo>
                  <a:cubicBezTo>
                    <a:pt x="604171" y="33808"/>
                    <a:pt x="592228" y="28092"/>
                    <a:pt x="580031" y="39536"/>
                  </a:cubicBezTo>
                  <a:cubicBezTo>
                    <a:pt x="544722" y="77957"/>
                    <a:pt x="531725" y="152116"/>
                    <a:pt x="525455" y="215770"/>
                  </a:cubicBezTo>
                  <a:cubicBezTo>
                    <a:pt x="532702" y="217738"/>
                    <a:pt x="534073" y="216911"/>
                    <a:pt x="546295" y="207522"/>
                  </a:cubicBezTo>
                  <a:lnTo>
                    <a:pt x="590083" y="171383"/>
                  </a:lnTo>
                  <a:cubicBezTo>
                    <a:pt x="600465" y="170530"/>
                    <a:pt x="606011" y="182765"/>
                    <a:pt x="609717" y="190299"/>
                  </a:cubicBezTo>
                  <a:cubicBezTo>
                    <a:pt x="632199" y="244293"/>
                    <a:pt x="623715" y="306041"/>
                    <a:pt x="587481" y="352167"/>
                  </a:cubicBezTo>
                  <a:cubicBezTo>
                    <a:pt x="569051" y="379470"/>
                    <a:pt x="544562" y="402266"/>
                    <a:pt x="515873" y="418817"/>
                  </a:cubicBezTo>
                  <a:cubicBezTo>
                    <a:pt x="504450" y="422578"/>
                    <a:pt x="501378" y="418002"/>
                    <a:pt x="500642" y="417313"/>
                  </a:cubicBezTo>
                  <a:cubicBezTo>
                    <a:pt x="492227" y="406833"/>
                    <a:pt x="493712" y="378454"/>
                    <a:pt x="492024" y="355990"/>
                  </a:cubicBezTo>
                  <a:lnTo>
                    <a:pt x="489207" y="354085"/>
                  </a:lnTo>
                  <a:lnTo>
                    <a:pt x="416862" y="419958"/>
                  </a:lnTo>
                  <a:cubicBezTo>
                    <a:pt x="414984" y="419958"/>
                    <a:pt x="410059" y="421211"/>
                    <a:pt x="408397" y="418015"/>
                  </a:cubicBezTo>
                  <a:cubicBezTo>
                    <a:pt x="402772" y="406183"/>
                    <a:pt x="399365" y="393442"/>
                    <a:pt x="398345" y="380409"/>
                  </a:cubicBezTo>
                  <a:cubicBezTo>
                    <a:pt x="379307" y="391490"/>
                    <a:pt x="363150" y="409140"/>
                    <a:pt x="344175" y="420221"/>
                  </a:cubicBezTo>
                  <a:cubicBezTo>
                    <a:pt x="333768" y="421061"/>
                    <a:pt x="329084" y="408438"/>
                    <a:pt x="325493" y="399989"/>
                  </a:cubicBezTo>
                  <a:cubicBezTo>
                    <a:pt x="317357" y="379419"/>
                    <a:pt x="316608" y="374655"/>
                    <a:pt x="310719" y="359011"/>
                  </a:cubicBezTo>
                  <a:lnTo>
                    <a:pt x="242182" y="419306"/>
                  </a:lnTo>
                  <a:cubicBezTo>
                    <a:pt x="234567" y="423067"/>
                    <a:pt x="230176" y="414844"/>
                    <a:pt x="228221" y="408852"/>
                  </a:cubicBezTo>
                  <a:cubicBezTo>
                    <a:pt x="224377" y="392170"/>
                    <a:pt x="221646" y="375257"/>
                    <a:pt x="220047" y="358222"/>
                  </a:cubicBezTo>
                  <a:lnTo>
                    <a:pt x="216240" y="359124"/>
                  </a:lnTo>
                  <a:lnTo>
                    <a:pt x="149607" y="419406"/>
                  </a:lnTo>
                  <a:cubicBezTo>
                    <a:pt x="142550" y="421512"/>
                    <a:pt x="139986" y="418755"/>
                    <a:pt x="136470" y="410857"/>
                  </a:cubicBezTo>
                  <a:cubicBezTo>
                    <a:pt x="130416" y="397269"/>
                    <a:pt x="130696" y="366883"/>
                    <a:pt x="127586" y="346138"/>
                  </a:cubicBezTo>
                  <a:lnTo>
                    <a:pt x="123778" y="346138"/>
                  </a:lnTo>
                  <a:cubicBezTo>
                    <a:pt x="92404" y="370193"/>
                    <a:pt x="64722" y="401807"/>
                    <a:pt x="29616" y="420234"/>
                  </a:cubicBezTo>
                  <a:cubicBezTo>
                    <a:pt x="24895" y="421111"/>
                    <a:pt x="21151" y="416473"/>
                    <a:pt x="19298" y="412637"/>
                  </a:cubicBezTo>
                  <a:cubicBezTo>
                    <a:pt x="-11265" y="346777"/>
                    <a:pt x="-6619" y="252185"/>
                    <a:pt x="41090" y="197368"/>
                  </a:cubicBezTo>
                  <a:cubicBezTo>
                    <a:pt x="46839" y="191301"/>
                    <a:pt x="63859" y="170593"/>
                    <a:pt x="83177" y="178766"/>
                  </a:cubicBezTo>
                  <a:cubicBezTo>
                    <a:pt x="94066" y="182527"/>
                    <a:pt x="99169" y="191163"/>
                    <a:pt x="102367" y="208224"/>
                  </a:cubicBezTo>
                  <a:cubicBezTo>
                    <a:pt x="105644" y="218289"/>
                    <a:pt x="105550" y="229128"/>
                    <a:pt x="102100" y="239136"/>
                  </a:cubicBezTo>
                  <a:lnTo>
                    <a:pt x="36368" y="299443"/>
                  </a:lnTo>
                  <a:cubicBezTo>
                    <a:pt x="31891" y="327931"/>
                    <a:pt x="35276" y="357085"/>
                    <a:pt x="46167" y="383831"/>
                  </a:cubicBezTo>
                  <a:cubicBezTo>
                    <a:pt x="49091" y="387721"/>
                    <a:pt x="54653" y="388534"/>
                    <a:pt x="58592" y="385649"/>
                  </a:cubicBezTo>
                  <a:cubicBezTo>
                    <a:pt x="59251" y="385174"/>
                    <a:pt x="59836" y="384608"/>
                    <a:pt x="60331" y="383969"/>
                  </a:cubicBezTo>
                  <a:lnTo>
                    <a:pt x="127954" y="320866"/>
                  </a:lnTo>
                  <a:cubicBezTo>
                    <a:pt x="138298" y="220734"/>
                    <a:pt x="157146" y="123460"/>
                    <a:pt x="202291" y="37681"/>
                  </a:cubicBezTo>
                  <a:cubicBezTo>
                    <a:pt x="207634" y="27791"/>
                    <a:pt x="225365" y="752"/>
                    <a:pt x="243007" y="0"/>
                  </a:cubicBezTo>
                  <a:cubicBezTo>
                    <a:pt x="244671" y="580"/>
                    <a:pt x="245549" y="2377"/>
                    <a:pt x="244974" y="4024"/>
                  </a:cubicBezTo>
                  <a:cubicBezTo>
                    <a:pt x="244800" y="4491"/>
                    <a:pt x="244523" y="4916"/>
                    <a:pt x="244162" y="5265"/>
                  </a:cubicBezTo>
                  <a:close/>
                  <a:moveTo>
                    <a:pt x="77224" y="185510"/>
                  </a:moveTo>
                  <a:cubicBezTo>
                    <a:pt x="72275" y="187374"/>
                    <a:pt x="67757" y="190199"/>
                    <a:pt x="63936" y="193821"/>
                  </a:cubicBezTo>
                  <a:cubicBezTo>
                    <a:pt x="49883" y="221174"/>
                    <a:pt x="41576" y="251051"/>
                    <a:pt x="39516" y="281656"/>
                  </a:cubicBezTo>
                  <a:cubicBezTo>
                    <a:pt x="54645" y="269747"/>
                    <a:pt x="68060" y="257563"/>
                    <a:pt x="80448" y="246419"/>
                  </a:cubicBezTo>
                  <a:lnTo>
                    <a:pt x="86553" y="197770"/>
                  </a:lnTo>
                  <a:cubicBezTo>
                    <a:pt x="89459" y="190311"/>
                    <a:pt x="84776" y="185585"/>
                    <a:pt x="77224" y="185510"/>
                  </a:cubicBezTo>
                  <a:close/>
                  <a:moveTo>
                    <a:pt x="415111" y="203536"/>
                  </a:moveTo>
                  <a:cubicBezTo>
                    <a:pt x="401949" y="195927"/>
                    <a:pt x="388711" y="202746"/>
                    <a:pt x="378215" y="212574"/>
                  </a:cubicBezTo>
                  <a:cubicBezTo>
                    <a:pt x="347754" y="241405"/>
                    <a:pt x="343502" y="289039"/>
                    <a:pt x="346891" y="331271"/>
                  </a:cubicBezTo>
                  <a:cubicBezTo>
                    <a:pt x="346891" y="335307"/>
                    <a:pt x="349125" y="369503"/>
                    <a:pt x="360611" y="381976"/>
                  </a:cubicBezTo>
                  <a:cubicBezTo>
                    <a:pt x="374915" y="383229"/>
                    <a:pt x="386211" y="370030"/>
                    <a:pt x="395730" y="361681"/>
                  </a:cubicBezTo>
                  <a:cubicBezTo>
                    <a:pt x="400921" y="310211"/>
                    <a:pt x="407039" y="258741"/>
                    <a:pt x="416037" y="208224"/>
                  </a:cubicBezTo>
                  <a:close/>
                  <a:moveTo>
                    <a:pt x="566146" y="207698"/>
                  </a:moveTo>
                  <a:cubicBezTo>
                    <a:pt x="549725" y="213795"/>
                    <a:pt x="536837" y="226697"/>
                    <a:pt x="530887" y="242997"/>
                  </a:cubicBezTo>
                  <a:cubicBezTo>
                    <a:pt x="520125" y="285993"/>
                    <a:pt x="527207" y="334768"/>
                    <a:pt x="529618" y="378792"/>
                  </a:cubicBezTo>
                  <a:lnTo>
                    <a:pt x="533324" y="388219"/>
                  </a:lnTo>
                  <a:cubicBezTo>
                    <a:pt x="542615" y="387893"/>
                    <a:pt x="553784" y="376937"/>
                    <a:pt x="558899" y="370995"/>
                  </a:cubicBezTo>
                  <a:cubicBezTo>
                    <a:pt x="596556" y="329628"/>
                    <a:pt x="589969" y="272518"/>
                    <a:pt x="581871" y="223730"/>
                  </a:cubicBezTo>
                  <a:cubicBezTo>
                    <a:pt x="581224" y="219970"/>
                    <a:pt x="579333" y="203749"/>
                    <a:pt x="566158" y="207710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 116">
              <a:extLst>
                <a:ext uri="{FF2B5EF4-FFF2-40B4-BE49-F238E27FC236}">
                  <a16:creationId xmlns:a16="http://schemas.microsoft.com/office/drawing/2014/main" id="{0C90BF94-A2AE-6646-B864-8CDFB1064064}"/>
                </a:ext>
              </a:extLst>
            </p:cNvPr>
            <p:cNvSpPr/>
            <p:nvPr/>
          </p:nvSpPr>
          <p:spPr>
            <a:xfrm>
              <a:off x="7944028" y="412486"/>
              <a:ext cx="622096" cy="420416"/>
            </a:xfrm>
            <a:custGeom>
              <a:avLst/>
              <a:gdLst>
                <a:gd name="connsiteX0" fmla="*/ 244048 w 622096"/>
                <a:gd name="connsiteY0" fmla="*/ 5277 h 420416"/>
                <a:gd name="connsiteX1" fmla="*/ 190170 w 622096"/>
                <a:gd name="connsiteY1" fmla="*/ 115337 h 420416"/>
                <a:gd name="connsiteX2" fmla="*/ 166055 w 622096"/>
                <a:gd name="connsiteY2" fmla="*/ 372775 h 420416"/>
                <a:gd name="connsiteX3" fmla="*/ 174496 w 622096"/>
                <a:gd name="connsiteY3" fmla="*/ 380296 h 420416"/>
                <a:gd name="connsiteX4" fmla="*/ 219273 w 622096"/>
                <a:gd name="connsiteY4" fmla="*/ 341437 h 420416"/>
                <a:gd name="connsiteX5" fmla="*/ 302545 w 622096"/>
                <a:gd name="connsiteY5" fmla="*/ 23667 h 420416"/>
                <a:gd name="connsiteX6" fmla="*/ 333806 w 622096"/>
                <a:gd name="connsiteY6" fmla="*/ 514 h 420416"/>
                <a:gd name="connsiteX7" fmla="*/ 335633 w 622096"/>
                <a:gd name="connsiteY7" fmla="*/ 7095 h 420416"/>
                <a:gd name="connsiteX8" fmla="*/ 302964 w 622096"/>
                <a:gd name="connsiteY8" fmla="*/ 49013 h 420416"/>
                <a:gd name="connsiteX9" fmla="*/ 293445 w 622096"/>
                <a:gd name="connsiteY9" fmla="*/ 78835 h 420416"/>
                <a:gd name="connsiteX10" fmla="*/ 257717 w 622096"/>
                <a:gd name="connsiteY10" fmla="*/ 371772 h 420416"/>
                <a:gd name="connsiteX11" fmla="*/ 269927 w 622096"/>
                <a:gd name="connsiteY11" fmla="*/ 380296 h 420416"/>
                <a:gd name="connsiteX12" fmla="*/ 308980 w 622096"/>
                <a:gd name="connsiteY12" fmla="*/ 342239 h 420416"/>
                <a:gd name="connsiteX13" fmla="*/ 378228 w 622096"/>
                <a:gd name="connsiteY13" fmla="*/ 200690 h 420416"/>
                <a:gd name="connsiteX14" fmla="*/ 448161 w 622096"/>
                <a:gd name="connsiteY14" fmla="*/ 198284 h 420416"/>
                <a:gd name="connsiteX15" fmla="*/ 429681 w 622096"/>
                <a:gd name="connsiteY15" fmla="*/ 360202 h 420416"/>
                <a:gd name="connsiteX16" fmla="*/ 437030 w 622096"/>
                <a:gd name="connsiteY16" fmla="*/ 382766 h 420416"/>
                <a:gd name="connsiteX17" fmla="*/ 444645 w 622096"/>
                <a:gd name="connsiteY17" fmla="*/ 380961 h 420416"/>
                <a:gd name="connsiteX18" fmla="*/ 491339 w 622096"/>
                <a:gd name="connsiteY18" fmla="*/ 333590 h 420416"/>
                <a:gd name="connsiteX19" fmla="*/ 528362 w 622096"/>
                <a:gd name="connsiteY19" fmla="*/ 108092 h 420416"/>
                <a:gd name="connsiteX20" fmla="*/ 593332 w 622096"/>
                <a:gd name="connsiteY20" fmla="*/ 24369 h 420416"/>
                <a:gd name="connsiteX21" fmla="*/ 580031 w 622096"/>
                <a:gd name="connsiteY21" fmla="*/ 39574 h 420416"/>
                <a:gd name="connsiteX22" fmla="*/ 525455 w 622096"/>
                <a:gd name="connsiteY22" fmla="*/ 215808 h 420416"/>
                <a:gd name="connsiteX23" fmla="*/ 546295 w 622096"/>
                <a:gd name="connsiteY23" fmla="*/ 207560 h 420416"/>
                <a:gd name="connsiteX24" fmla="*/ 590083 w 622096"/>
                <a:gd name="connsiteY24" fmla="*/ 171420 h 420416"/>
                <a:gd name="connsiteX25" fmla="*/ 609717 w 622096"/>
                <a:gd name="connsiteY25" fmla="*/ 190324 h 420416"/>
                <a:gd name="connsiteX26" fmla="*/ 587443 w 622096"/>
                <a:gd name="connsiteY26" fmla="*/ 352167 h 420416"/>
                <a:gd name="connsiteX27" fmla="*/ 515835 w 622096"/>
                <a:gd name="connsiteY27" fmla="*/ 418842 h 420416"/>
                <a:gd name="connsiteX28" fmla="*/ 500604 w 622096"/>
                <a:gd name="connsiteY28" fmla="*/ 417338 h 420416"/>
                <a:gd name="connsiteX29" fmla="*/ 491986 w 622096"/>
                <a:gd name="connsiteY29" fmla="*/ 356003 h 420416"/>
                <a:gd name="connsiteX30" fmla="*/ 489169 w 622096"/>
                <a:gd name="connsiteY30" fmla="*/ 354097 h 420416"/>
                <a:gd name="connsiteX31" fmla="*/ 416824 w 622096"/>
                <a:gd name="connsiteY31" fmla="*/ 419983 h 420416"/>
                <a:gd name="connsiteX32" fmla="*/ 408359 w 622096"/>
                <a:gd name="connsiteY32" fmla="*/ 418040 h 420416"/>
                <a:gd name="connsiteX33" fmla="*/ 398307 w 622096"/>
                <a:gd name="connsiteY33" fmla="*/ 380434 h 420416"/>
                <a:gd name="connsiteX34" fmla="*/ 344137 w 622096"/>
                <a:gd name="connsiteY34" fmla="*/ 420246 h 420416"/>
                <a:gd name="connsiteX35" fmla="*/ 325454 w 622096"/>
                <a:gd name="connsiteY35" fmla="*/ 400014 h 420416"/>
                <a:gd name="connsiteX36" fmla="*/ 310681 w 622096"/>
                <a:gd name="connsiteY36" fmla="*/ 359036 h 420416"/>
                <a:gd name="connsiteX37" fmla="*/ 242144 w 622096"/>
                <a:gd name="connsiteY37" fmla="*/ 419331 h 420416"/>
                <a:gd name="connsiteX38" fmla="*/ 228183 w 622096"/>
                <a:gd name="connsiteY38" fmla="*/ 408864 h 420416"/>
                <a:gd name="connsiteX39" fmla="*/ 220009 w 622096"/>
                <a:gd name="connsiteY39" fmla="*/ 358222 h 420416"/>
                <a:gd name="connsiteX40" fmla="*/ 216202 w 622096"/>
                <a:gd name="connsiteY40" fmla="*/ 359149 h 420416"/>
                <a:gd name="connsiteX41" fmla="*/ 149607 w 622096"/>
                <a:gd name="connsiteY41" fmla="*/ 419469 h 420416"/>
                <a:gd name="connsiteX42" fmla="*/ 136470 w 622096"/>
                <a:gd name="connsiteY42" fmla="*/ 410920 h 420416"/>
                <a:gd name="connsiteX43" fmla="*/ 127586 w 622096"/>
                <a:gd name="connsiteY43" fmla="*/ 346188 h 420416"/>
                <a:gd name="connsiteX44" fmla="*/ 123778 w 622096"/>
                <a:gd name="connsiteY44" fmla="*/ 346188 h 420416"/>
                <a:gd name="connsiteX45" fmla="*/ 29616 w 622096"/>
                <a:gd name="connsiteY45" fmla="*/ 420309 h 420416"/>
                <a:gd name="connsiteX46" fmla="*/ 19298 w 622096"/>
                <a:gd name="connsiteY46" fmla="*/ 412713 h 420416"/>
                <a:gd name="connsiteX47" fmla="*/ 41090 w 622096"/>
                <a:gd name="connsiteY47" fmla="*/ 197431 h 420416"/>
                <a:gd name="connsiteX48" fmla="*/ 83177 w 622096"/>
                <a:gd name="connsiteY48" fmla="*/ 178829 h 420416"/>
                <a:gd name="connsiteX49" fmla="*/ 102380 w 622096"/>
                <a:gd name="connsiteY49" fmla="*/ 208287 h 420416"/>
                <a:gd name="connsiteX50" fmla="*/ 102100 w 622096"/>
                <a:gd name="connsiteY50" fmla="*/ 239199 h 420416"/>
                <a:gd name="connsiteX51" fmla="*/ 36368 w 622096"/>
                <a:gd name="connsiteY51" fmla="*/ 299506 h 420416"/>
                <a:gd name="connsiteX52" fmla="*/ 46002 w 622096"/>
                <a:gd name="connsiteY52" fmla="*/ 383906 h 420416"/>
                <a:gd name="connsiteX53" fmla="*/ 58427 w 622096"/>
                <a:gd name="connsiteY53" fmla="*/ 385724 h 420416"/>
                <a:gd name="connsiteX54" fmla="*/ 60166 w 622096"/>
                <a:gd name="connsiteY54" fmla="*/ 384044 h 420416"/>
                <a:gd name="connsiteX55" fmla="*/ 127891 w 622096"/>
                <a:gd name="connsiteY55" fmla="*/ 320866 h 420416"/>
                <a:gd name="connsiteX56" fmla="*/ 202240 w 622096"/>
                <a:gd name="connsiteY56" fmla="*/ 37681 h 420416"/>
                <a:gd name="connsiteX57" fmla="*/ 242956 w 622096"/>
                <a:gd name="connsiteY57" fmla="*/ 0 h 420416"/>
                <a:gd name="connsiteX58" fmla="*/ 244860 w 622096"/>
                <a:gd name="connsiteY58" fmla="*/ 4049 h 420416"/>
                <a:gd name="connsiteX59" fmla="*/ 244048 w 622096"/>
                <a:gd name="connsiteY59" fmla="*/ 5277 h 420416"/>
                <a:gd name="connsiteX60" fmla="*/ 77123 w 622096"/>
                <a:gd name="connsiteY60" fmla="*/ 185523 h 420416"/>
                <a:gd name="connsiteX61" fmla="*/ 63834 w 622096"/>
                <a:gd name="connsiteY61" fmla="*/ 193833 h 420416"/>
                <a:gd name="connsiteX62" fmla="*/ 39415 w 622096"/>
                <a:gd name="connsiteY62" fmla="*/ 281681 h 420416"/>
                <a:gd name="connsiteX63" fmla="*/ 80346 w 622096"/>
                <a:gd name="connsiteY63" fmla="*/ 246444 h 420416"/>
                <a:gd name="connsiteX64" fmla="*/ 86451 w 622096"/>
                <a:gd name="connsiteY64" fmla="*/ 197795 h 420416"/>
                <a:gd name="connsiteX65" fmla="*/ 77123 w 622096"/>
                <a:gd name="connsiteY65" fmla="*/ 185523 h 420416"/>
                <a:gd name="connsiteX66" fmla="*/ 415022 w 622096"/>
                <a:gd name="connsiteY66" fmla="*/ 203548 h 420416"/>
                <a:gd name="connsiteX67" fmla="*/ 378126 w 622096"/>
                <a:gd name="connsiteY67" fmla="*/ 212574 h 420416"/>
                <a:gd name="connsiteX68" fmla="*/ 346815 w 622096"/>
                <a:gd name="connsiteY68" fmla="*/ 331283 h 420416"/>
                <a:gd name="connsiteX69" fmla="*/ 360522 w 622096"/>
                <a:gd name="connsiteY69" fmla="*/ 382001 h 420416"/>
                <a:gd name="connsiteX70" fmla="*/ 395641 w 622096"/>
                <a:gd name="connsiteY70" fmla="*/ 361706 h 420416"/>
                <a:gd name="connsiteX71" fmla="*/ 415948 w 622096"/>
                <a:gd name="connsiteY71" fmla="*/ 208237 h 420416"/>
                <a:gd name="connsiteX72" fmla="*/ 566057 w 622096"/>
                <a:gd name="connsiteY72" fmla="*/ 207710 h 420416"/>
                <a:gd name="connsiteX73" fmla="*/ 530798 w 622096"/>
                <a:gd name="connsiteY73" fmla="*/ 243009 h 420416"/>
                <a:gd name="connsiteX74" fmla="*/ 529529 w 622096"/>
                <a:gd name="connsiteY74" fmla="*/ 378817 h 420416"/>
                <a:gd name="connsiteX75" fmla="*/ 533235 w 622096"/>
                <a:gd name="connsiteY75" fmla="*/ 388244 h 420416"/>
                <a:gd name="connsiteX76" fmla="*/ 558810 w 622096"/>
                <a:gd name="connsiteY76" fmla="*/ 371020 h 420416"/>
                <a:gd name="connsiteX77" fmla="*/ 581795 w 622096"/>
                <a:gd name="connsiteY77" fmla="*/ 223743 h 420416"/>
                <a:gd name="connsiteX78" fmla="*/ 566095 w 622096"/>
                <a:gd name="connsiteY78" fmla="*/ 207710 h 42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096" h="420416">
                  <a:moveTo>
                    <a:pt x="244048" y="5277"/>
                  </a:moveTo>
                  <a:cubicBezTo>
                    <a:pt x="206061" y="28355"/>
                    <a:pt x="203738" y="76114"/>
                    <a:pt x="190170" y="115337"/>
                  </a:cubicBezTo>
                  <a:cubicBezTo>
                    <a:pt x="169609" y="194786"/>
                    <a:pt x="154633" y="286457"/>
                    <a:pt x="166055" y="372775"/>
                  </a:cubicBezTo>
                  <a:cubicBezTo>
                    <a:pt x="167605" y="376390"/>
                    <a:pt x="170696" y="379144"/>
                    <a:pt x="174496" y="380296"/>
                  </a:cubicBezTo>
                  <a:cubicBezTo>
                    <a:pt x="191129" y="369398"/>
                    <a:pt x="206191" y="356326"/>
                    <a:pt x="219273" y="341437"/>
                  </a:cubicBezTo>
                  <a:cubicBezTo>
                    <a:pt x="227853" y="228143"/>
                    <a:pt x="248757" y="118760"/>
                    <a:pt x="302545" y="23667"/>
                  </a:cubicBezTo>
                  <a:cubicBezTo>
                    <a:pt x="309829" y="12508"/>
                    <a:pt x="320920" y="4295"/>
                    <a:pt x="333806" y="514"/>
                  </a:cubicBezTo>
                  <a:cubicBezTo>
                    <a:pt x="336636" y="514"/>
                    <a:pt x="337613" y="5227"/>
                    <a:pt x="335633" y="7095"/>
                  </a:cubicBezTo>
                  <a:cubicBezTo>
                    <a:pt x="316443" y="14027"/>
                    <a:pt x="309780" y="30361"/>
                    <a:pt x="302964" y="49013"/>
                  </a:cubicBezTo>
                  <a:cubicBezTo>
                    <a:pt x="299197" y="58759"/>
                    <a:pt x="296018" y="68717"/>
                    <a:pt x="293445" y="78835"/>
                  </a:cubicBezTo>
                  <a:cubicBezTo>
                    <a:pt x="267185" y="170443"/>
                    <a:pt x="246358" y="270462"/>
                    <a:pt x="257717" y="371772"/>
                  </a:cubicBezTo>
                  <a:cubicBezTo>
                    <a:pt x="259570" y="376473"/>
                    <a:pt x="264241" y="382139"/>
                    <a:pt x="269927" y="380296"/>
                  </a:cubicBezTo>
                  <a:cubicBezTo>
                    <a:pt x="285184" y="370066"/>
                    <a:pt x="298419" y="357169"/>
                    <a:pt x="308980" y="342239"/>
                  </a:cubicBezTo>
                  <a:cubicBezTo>
                    <a:pt x="303214" y="285938"/>
                    <a:pt x="329984" y="231218"/>
                    <a:pt x="378228" y="200690"/>
                  </a:cubicBezTo>
                  <a:cubicBezTo>
                    <a:pt x="399780" y="188792"/>
                    <a:pt x="425822" y="187895"/>
                    <a:pt x="448161" y="198284"/>
                  </a:cubicBezTo>
                  <a:cubicBezTo>
                    <a:pt x="436742" y="251544"/>
                    <a:pt x="430553" y="305768"/>
                    <a:pt x="429681" y="360202"/>
                  </a:cubicBezTo>
                  <a:cubicBezTo>
                    <a:pt x="430316" y="366708"/>
                    <a:pt x="429529" y="377990"/>
                    <a:pt x="437030" y="382766"/>
                  </a:cubicBezTo>
                  <a:lnTo>
                    <a:pt x="444645" y="380961"/>
                  </a:lnTo>
                  <a:lnTo>
                    <a:pt x="491339" y="333590"/>
                  </a:lnTo>
                  <a:cubicBezTo>
                    <a:pt x="498791" y="257720"/>
                    <a:pt x="511158" y="182400"/>
                    <a:pt x="528362" y="108092"/>
                  </a:cubicBezTo>
                  <a:cubicBezTo>
                    <a:pt x="539048" y="74472"/>
                    <a:pt x="563963" y="27979"/>
                    <a:pt x="593332" y="24369"/>
                  </a:cubicBezTo>
                  <a:cubicBezTo>
                    <a:pt x="604171" y="33845"/>
                    <a:pt x="592228" y="28129"/>
                    <a:pt x="580031" y="39574"/>
                  </a:cubicBezTo>
                  <a:cubicBezTo>
                    <a:pt x="544722" y="77982"/>
                    <a:pt x="531725" y="152154"/>
                    <a:pt x="525455" y="215808"/>
                  </a:cubicBezTo>
                  <a:cubicBezTo>
                    <a:pt x="532702" y="217763"/>
                    <a:pt x="534073" y="216949"/>
                    <a:pt x="546295" y="207560"/>
                  </a:cubicBezTo>
                  <a:lnTo>
                    <a:pt x="590083" y="171420"/>
                  </a:lnTo>
                  <a:cubicBezTo>
                    <a:pt x="600465" y="170568"/>
                    <a:pt x="606011" y="182802"/>
                    <a:pt x="609717" y="190324"/>
                  </a:cubicBezTo>
                  <a:cubicBezTo>
                    <a:pt x="632177" y="244318"/>
                    <a:pt x="623681" y="306053"/>
                    <a:pt x="587443" y="352167"/>
                  </a:cubicBezTo>
                  <a:cubicBezTo>
                    <a:pt x="569021" y="379484"/>
                    <a:pt x="544530" y="402288"/>
                    <a:pt x="515835" y="418842"/>
                  </a:cubicBezTo>
                  <a:cubicBezTo>
                    <a:pt x="504412" y="422603"/>
                    <a:pt x="501340" y="418027"/>
                    <a:pt x="500604" y="417338"/>
                  </a:cubicBezTo>
                  <a:cubicBezTo>
                    <a:pt x="492189" y="406846"/>
                    <a:pt x="493674" y="378479"/>
                    <a:pt x="491986" y="356003"/>
                  </a:cubicBezTo>
                  <a:lnTo>
                    <a:pt x="489169" y="354097"/>
                  </a:lnTo>
                  <a:lnTo>
                    <a:pt x="416824" y="419983"/>
                  </a:lnTo>
                  <a:cubicBezTo>
                    <a:pt x="414946" y="419983"/>
                    <a:pt x="410021" y="421237"/>
                    <a:pt x="408359" y="418040"/>
                  </a:cubicBezTo>
                  <a:cubicBezTo>
                    <a:pt x="402734" y="406208"/>
                    <a:pt x="399327" y="393467"/>
                    <a:pt x="398307" y="380434"/>
                  </a:cubicBezTo>
                  <a:cubicBezTo>
                    <a:pt x="379269" y="391515"/>
                    <a:pt x="363112" y="409165"/>
                    <a:pt x="344137" y="420246"/>
                  </a:cubicBezTo>
                  <a:cubicBezTo>
                    <a:pt x="333730" y="421086"/>
                    <a:pt x="329046" y="408463"/>
                    <a:pt x="325454" y="400014"/>
                  </a:cubicBezTo>
                  <a:cubicBezTo>
                    <a:pt x="317319" y="379444"/>
                    <a:pt x="316570" y="374668"/>
                    <a:pt x="310681" y="359036"/>
                  </a:cubicBezTo>
                  <a:lnTo>
                    <a:pt x="242144" y="419331"/>
                  </a:lnTo>
                  <a:cubicBezTo>
                    <a:pt x="234529" y="423017"/>
                    <a:pt x="230137" y="414869"/>
                    <a:pt x="228183" y="408864"/>
                  </a:cubicBezTo>
                  <a:cubicBezTo>
                    <a:pt x="224332" y="392180"/>
                    <a:pt x="221602" y="375262"/>
                    <a:pt x="220009" y="358222"/>
                  </a:cubicBezTo>
                  <a:lnTo>
                    <a:pt x="216202" y="359149"/>
                  </a:lnTo>
                  <a:lnTo>
                    <a:pt x="149607" y="419469"/>
                  </a:lnTo>
                  <a:cubicBezTo>
                    <a:pt x="142550" y="421575"/>
                    <a:pt x="139986" y="418817"/>
                    <a:pt x="136470" y="410920"/>
                  </a:cubicBezTo>
                  <a:cubicBezTo>
                    <a:pt x="130416" y="397332"/>
                    <a:pt x="130696" y="366946"/>
                    <a:pt x="127586" y="346188"/>
                  </a:cubicBezTo>
                  <a:lnTo>
                    <a:pt x="123778" y="346188"/>
                  </a:lnTo>
                  <a:cubicBezTo>
                    <a:pt x="92404" y="370268"/>
                    <a:pt x="64722" y="401882"/>
                    <a:pt x="29616" y="420309"/>
                  </a:cubicBezTo>
                  <a:cubicBezTo>
                    <a:pt x="24895" y="421186"/>
                    <a:pt x="21151" y="416548"/>
                    <a:pt x="19298" y="412713"/>
                  </a:cubicBezTo>
                  <a:cubicBezTo>
                    <a:pt x="-11265" y="346839"/>
                    <a:pt x="-6619" y="252261"/>
                    <a:pt x="41090" y="197431"/>
                  </a:cubicBezTo>
                  <a:cubicBezTo>
                    <a:pt x="46839" y="191364"/>
                    <a:pt x="63859" y="170656"/>
                    <a:pt x="83177" y="178829"/>
                  </a:cubicBezTo>
                  <a:cubicBezTo>
                    <a:pt x="94066" y="182589"/>
                    <a:pt x="99181" y="191226"/>
                    <a:pt x="102380" y="208287"/>
                  </a:cubicBezTo>
                  <a:cubicBezTo>
                    <a:pt x="105640" y="218355"/>
                    <a:pt x="105542" y="229191"/>
                    <a:pt x="102100" y="239199"/>
                  </a:cubicBezTo>
                  <a:lnTo>
                    <a:pt x="36368" y="299506"/>
                  </a:lnTo>
                  <a:cubicBezTo>
                    <a:pt x="31849" y="327984"/>
                    <a:pt x="35177" y="357137"/>
                    <a:pt x="46002" y="383906"/>
                  </a:cubicBezTo>
                  <a:cubicBezTo>
                    <a:pt x="48926" y="387796"/>
                    <a:pt x="54488" y="388610"/>
                    <a:pt x="58427" y="385724"/>
                  </a:cubicBezTo>
                  <a:cubicBezTo>
                    <a:pt x="59086" y="385249"/>
                    <a:pt x="59671" y="384684"/>
                    <a:pt x="60166" y="384044"/>
                  </a:cubicBezTo>
                  <a:lnTo>
                    <a:pt x="127891" y="320866"/>
                  </a:lnTo>
                  <a:cubicBezTo>
                    <a:pt x="138235" y="220734"/>
                    <a:pt x="157082" y="123460"/>
                    <a:pt x="202240" y="37681"/>
                  </a:cubicBezTo>
                  <a:cubicBezTo>
                    <a:pt x="207584" y="27791"/>
                    <a:pt x="225314" y="752"/>
                    <a:pt x="242956" y="0"/>
                  </a:cubicBezTo>
                  <a:cubicBezTo>
                    <a:pt x="244613" y="600"/>
                    <a:pt x="245466" y="2412"/>
                    <a:pt x="244860" y="4049"/>
                  </a:cubicBezTo>
                  <a:cubicBezTo>
                    <a:pt x="244685" y="4513"/>
                    <a:pt x="244408" y="4933"/>
                    <a:pt x="244048" y="5277"/>
                  </a:cubicBezTo>
                  <a:close/>
                  <a:moveTo>
                    <a:pt x="77123" y="185523"/>
                  </a:moveTo>
                  <a:cubicBezTo>
                    <a:pt x="72174" y="187387"/>
                    <a:pt x="67656" y="190212"/>
                    <a:pt x="63834" y="193833"/>
                  </a:cubicBezTo>
                  <a:cubicBezTo>
                    <a:pt x="49780" y="221191"/>
                    <a:pt x="41473" y="251072"/>
                    <a:pt x="39415" y="281681"/>
                  </a:cubicBezTo>
                  <a:cubicBezTo>
                    <a:pt x="54543" y="269772"/>
                    <a:pt x="67959" y="257588"/>
                    <a:pt x="80346" y="246444"/>
                  </a:cubicBezTo>
                  <a:lnTo>
                    <a:pt x="86451" y="197795"/>
                  </a:lnTo>
                  <a:cubicBezTo>
                    <a:pt x="89383" y="190324"/>
                    <a:pt x="84738" y="185598"/>
                    <a:pt x="77123" y="185523"/>
                  </a:cubicBezTo>
                  <a:close/>
                  <a:moveTo>
                    <a:pt x="415022" y="203548"/>
                  </a:moveTo>
                  <a:cubicBezTo>
                    <a:pt x="401860" y="195939"/>
                    <a:pt x="388623" y="202759"/>
                    <a:pt x="378126" y="212574"/>
                  </a:cubicBezTo>
                  <a:cubicBezTo>
                    <a:pt x="347665" y="241405"/>
                    <a:pt x="343414" y="289039"/>
                    <a:pt x="346815" y="331283"/>
                  </a:cubicBezTo>
                  <a:cubicBezTo>
                    <a:pt x="346815" y="335320"/>
                    <a:pt x="349036" y="369528"/>
                    <a:pt x="360522" y="382001"/>
                  </a:cubicBezTo>
                  <a:cubicBezTo>
                    <a:pt x="374826" y="383255"/>
                    <a:pt x="386122" y="370055"/>
                    <a:pt x="395641" y="361706"/>
                  </a:cubicBezTo>
                  <a:cubicBezTo>
                    <a:pt x="400832" y="310224"/>
                    <a:pt x="406950" y="258754"/>
                    <a:pt x="415948" y="208237"/>
                  </a:cubicBezTo>
                  <a:close/>
                  <a:moveTo>
                    <a:pt x="566057" y="207710"/>
                  </a:moveTo>
                  <a:cubicBezTo>
                    <a:pt x="549631" y="213798"/>
                    <a:pt x="536740" y="226705"/>
                    <a:pt x="530798" y="243009"/>
                  </a:cubicBezTo>
                  <a:cubicBezTo>
                    <a:pt x="520036" y="286006"/>
                    <a:pt x="527118" y="334781"/>
                    <a:pt x="529529" y="378817"/>
                  </a:cubicBezTo>
                  <a:lnTo>
                    <a:pt x="533235" y="388244"/>
                  </a:lnTo>
                  <a:cubicBezTo>
                    <a:pt x="542526" y="387918"/>
                    <a:pt x="553695" y="376962"/>
                    <a:pt x="558810" y="371020"/>
                  </a:cubicBezTo>
                  <a:cubicBezTo>
                    <a:pt x="596467" y="329654"/>
                    <a:pt x="589880" y="272530"/>
                    <a:pt x="581795" y="223743"/>
                  </a:cubicBezTo>
                  <a:cubicBezTo>
                    <a:pt x="581160" y="219982"/>
                    <a:pt x="579257" y="203761"/>
                    <a:pt x="566095" y="20771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590820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1C4CBE3-86DD-4617-822B-A8644160D7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2149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1C4CBE3-86DD-4617-822B-A8644160D7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28A58F1-F657-E147-A814-69D2AEF08E8C}"/>
              </a:ext>
            </a:extLst>
          </p:cNvPr>
          <p:cNvSpPr/>
          <p:nvPr userDrawn="1"/>
        </p:nvSpPr>
        <p:spPr>
          <a:xfrm>
            <a:off x="0" y="0"/>
            <a:ext cx="9144000" cy="5715000"/>
          </a:xfrm>
          <a:prstGeom prst="rect">
            <a:avLst/>
          </a:prstGeom>
          <a:gradFill>
            <a:gsLst>
              <a:gs pos="22000">
                <a:srgbClr val="1F6898">
                  <a:alpha val="53000"/>
                </a:srgbClr>
              </a:gs>
              <a:gs pos="100000">
                <a:srgbClr val="0F9CD8">
                  <a:alpha val="43000"/>
                </a:srgb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5" name="Graphic 2">
            <a:extLst>
              <a:ext uri="{FF2B5EF4-FFF2-40B4-BE49-F238E27FC236}">
                <a16:creationId xmlns:a16="http://schemas.microsoft.com/office/drawing/2014/main" id="{D4AFD6F8-5E7A-A144-B3E9-6C10BB416695}"/>
              </a:ext>
            </a:extLst>
          </p:cNvPr>
          <p:cNvSpPr/>
          <p:nvPr userDrawn="1"/>
        </p:nvSpPr>
        <p:spPr>
          <a:xfrm>
            <a:off x="4845050" y="0"/>
            <a:ext cx="4298950" cy="3963988"/>
          </a:xfrm>
          <a:custGeom>
            <a:avLst/>
            <a:gdLst>
              <a:gd name="connsiteX0" fmla="*/ 7445899 w 7445898"/>
              <a:gd name="connsiteY0" fmla="*/ 0 h 6858311"/>
              <a:gd name="connsiteX1" fmla="*/ 814055 w 7445898"/>
              <a:gd name="connsiteY1" fmla="*/ 0 h 6858311"/>
              <a:gd name="connsiteX2" fmla="*/ 691476 w 7445898"/>
              <a:gd name="connsiteY2" fmla="*/ 70046 h 6858311"/>
              <a:gd name="connsiteX3" fmla="*/ 69433 w 7445898"/>
              <a:gd name="connsiteY3" fmla="*/ 678643 h 6858311"/>
              <a:gd name="connsiteX4" fmla="*/ 14093 w 7445898"/>
              <a:gd name="connsiteY4" fmla="*/ 1220462 h 6858311"/>
              <a:gd name="connsiteX5" fmla="*/ 1196590 w 7445898"/>
              <a:gd name="connsiteY5" fmla="*/ 2436198 h 6858311"/>
              <a:gd name="connsiteX6" fmla="*/ 1916738 w 7445898"/>
              <a:gd name="connsiteY6" fmla="*/ 2482043 h 6858311"/>
              <a:gd name="connsiteX7" fmla="*/ 3150397 w 7445898"/>
              <a:gd name="connsiteY7" fmla="*/ 3091829 h 6858311"/>
              <a:gd name="connsiteX8" fmla="*/ 4012367 w 7445898"/>
              <a:gd name="connsiteY8" fmla="*/ 4723248 h 6858311"/>
              <a:gd name="connsiteX9" fmla="*/ 5068468 w 7445898"/>
              <a:gd name="connsiteY9" fmla="*/ 6225771 h 6858311"/>
              <a:gd name="connsiteX10" fmla="*/ 6762342 w 7445898"/>
              <a:gd name="connsiteY10" fmla="*/ 6855353 h 6858311"/>
              <a:gd name="connsiteX11" fmla="*/ 7445899 w 7445898"/>
              <a:gd name="connsiteY11" fmla="*/ 6675706 h 685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45898" h="6858311">
                <a:moveTo>
                  <a:pt x="7445899" y="0"/>
                </a:moveTo>
                <a:lnTo>
                  <a:pt x="814055" y="0"/>
                </a:lnTo>
                <a:cubicBezTo>
                  <a:pt x="772956" y="22780"/>
                  <a:pt x="732096" y="46129"/>
                  <a:pt x="691476" y="70046"/>
                </a:cubicBezTo>
                <a:cubicBezTo>
                  <a:pt x="437089" y="220054"/>
                  <a:pt x="183450" y="406335"/>
                  <a:pt x="69433" y="678643"/>
                </a:cubicBezTo>
                <a:cubicBezTo>
                  <a:pt x="2750" y="851036"/>
                  <a:pt x="-16363" y="1038163"/>
                  <a:pt x="14093" y="1220462"/>
                </a:cubicBezTo>
                <a:cubicBezTo>
                  <a:pt x="99251" y="1818761"/>
                  <a:pt x="600495" y="2334263"/>
                  <a:pt x="1196590" y="2436198"/>
                </a:cubicBezTo>
                <a:cubicBezTo>
                  <a:pt x="1433845" y="2476815"/>
                  <a:pt x="1677297" y="2457475"/>
                  <a:pt x="1916738" y="2482043"/>
                </a:cubicBezTo>
                <a:cubicBezTo>
                  <a:pt x="2387473" y="2532139"/>
                  <a:pt x="2824896" y="2748353"/>
                  <a:pt x="3150397" y="3091829"/>
                </a:cubicBezTo>
                <a:cubicBezTo>
                  <a:pt x="3574268" y="3542460"/>
                  <a:pt x="3759732" y="4158656"/>
                  <a:pt x="4012367" y="4723248"/>
                </a:cubicBezTo>
                <a:cubicBezTo>
                  <a:pt x="4264419" y="5286494"/>
                  <a:pt x="4600948" y="5822741"/>
                  <a:pt x="5068468" y="6225771"/>
                </a:cubicBezTo>
                <a:cubicBezTo>
                  <a:pt x="5535988" y="6628800"/>
                  <a:pt x="6145756" y="6889261"/>
                  <a:pt x="6762342" y="6855353"/>
                </a:cubicBezTo>
                <a:cubicBezTo>
                  <a:pt x="7023697" y="6841023"/>
                  <a:pt x="7248596" y="6776961"/>
                  <a:pt x="7445899" y="6675706"/>
                </a:cubicBezTo>
                <a:close/>
              </a:path>
            </a:pathLst>
          </a:custGeom>
          <a:gradFill>
            <a:gsLst>
              <a:gs pos="0">
                <a:srgbClr val="9EC9DF">
                  <a:alpha val="0"/>
                </a:srgbClr>
              </a:gs>
              <a:gs pos="100000">
                <a:srgbClr val="1F6898"/>
              </a:gs>
            </a:gsLst>
            <a:lin ang="0" scaled="0"/>
          </a:gradFill>
          <a:ln w="7476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6" name="Graphic 2">
            <a:extLst>
              <a:ext uri="{FF2B5EF4-FFF2-40B4-BE49-F238E27FC236}">
                <a16:creationId xmlns:a16="http://schemas.microsoft.com/office/drawing/2014/main" id="{39CAD37F-A867-0246-8B2B-07050E913462}"/>
              </a:ext>
            </a:extLst>
          </p:cNvPr>
          <p:cNvSpPr/>
          <p:nvPr userDrawn="1"/>
        </p:nvSpPr>
        <p:spPr>
          <a:xfrm rot="10800000">
            <a:off x="0" y="3289300"/>
            <a:ext cx="2374900" cy="2425700"/>
          </a:xfrm>
          <a:custGeom>
            <a:avLst/>
            <a:gdLst>
              <a:gd name="connsiteX0" fmla="*/ 7445899 w 7445898"/>
              <a:gd name="connsiteY0" fmla="*/ 0 h 6858311"/>
              <a:gd name="connsiteX1" fmla="*/ 814055 w 7445898"/>
              <a:gd name="connsiteY1" fmla="*/ 0 h 6858311"/>
              <a:gd name="connsiteX2" fmla="*/ 691476 w 7445898"/>
              <a:gd name="connsiteY2" fmla="*/ 70046 h 6858311"/>
              <a:gd name="connsiteX3" fmla="*/ 69433 w 7445898"/>
              <a:gd name="connsiteY3" fmla="*/ 678643 h 6858311"/>
              <a:gd name="connsiteX4" fmla="*/ 14093 w 7445898"/>
              <a:gd name="connsiteY4" fmla="*/ 1220462 h 6858311"/>
              <a:gd name="connsiteX5" fmla="*/ 1196590 w 7445898"/>
              <a:gd name="connsiteY5" fmla="*/ 2436198 h 6858311"/>
              <a:gd name="connsiteX6" fmla="*/ 1916738 w 7445898"/>
              <a:gd name="connsiteY6" fmla="*/ 2482043 h 6858311"/>
              <a:gd name="connsiteX7" fmla="*/ 3150397 w 7445898"/>
              <a:gd name="connsiteY7" fmla="*/ 3091829 h 6858311"/>
              <a:gd name="connsiteX8" fmla="*/ 4012367 w 7445898"/>
              <a:gd name="connsiteY8" fmla="*/ 4723248 h 6858311"/>
              <a:gd name="connsiteX9" fmla="*/ 5068468 w 7445898"/>
              <a:gd name="connsiteY9" fmla="*/ 6225771 h 6858311"/>
              <a:gd name="connsiteX10" fmla="*/ 6762342 w 7445898"/>
              <a:gd name="connsiteY10" fmla="*/ 6855353 h 6858311"/>
              <a:gd name="connsiteX11" fmla="*/ 7445899 w 7445898"/>
              <a:gd name="connsiteY11" fmla="*/ 6675706 h 685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45898" h="6858311">
                <a:moveTo>
                  <a:pt x="7445899" y="0"/>
                </a:moveTo>
                <a:lnTo>
                  <a:pt x="814055" y="0"/>
                </a:lnTo>
                <a:cubicBezTo>
                  <a:pt x="772956" y="22780"/>
                  <a:pt x="732096" y="46129"/>
                  <a:pt x="691476" y="70046"/>
                </a:cubicBezTo>
                <a:cubicBezTo>
                  <a:pt x="437089" y="220054"/>
                  <a:pt x="183450" y="406335"/>
                  <a:pt x="69433" y="678643"/>
                </a:cubicBezTo>
                <a:cubicBezTo>
                  <a:pt x="2750" y="851036"/>
                  <a:pt x="-16363" y="1038163"/>
                  <a:pt x="14093" y="1220462"/>
                </a:cubicBezTo>
                <a:cubicBezTo>
                  <a:pt x="99251" y="1818761"/>
                  <a:pt x="600495" y="2334263"/>
                  <a:pt x="1196590" y="2436198"/>
                </a:cubicBezTo>
                <a:cubicBezTo>
                  <a:pt x="1433845" y="2476815"/>
                  <a:pt x="1677297" y="2457475"/>
                  <a:pt x="1916738" y="2482043"/>
                </a:cubicBezTo>
                <a:cubicBezTo>
                  <a:pt x="2387473" y="2532139"/>
                  <a:pt x="2824896" y="2748353"/>
                  <a:pt x="3150397" y="3091829"/>
                </a:cubicBezTo>
                <a:cubicBezTo>
                  <a:pt x="3574268" y="3542460"/>
                  <a:pt x="3759732" y="4158656"/>
                  <a:pt x="4012367" y="4723248"/>
                </a:cubicBezTo>
                <a:cubicBezTo>
                  <a:pt x="4264419" y="5286494"/>
                  <a:pt x="4600948" y="5822741"/>
                  <a:pt x="5068468" y="6225771"/>
                </a:cubicBezTo>
                <a:cubicBezTo>
                  <a:pt x="5535988" y="6628800"/>
                  <a:pt x="6145756" y="6889261"/>
                  <a:pt x="6762342" y="6855353"/>
                </a:cubicBezTo>
                <a:cubicBezTo>
                  <a:pt x="7023697" y="6841023"/>
                  <a:pt x="7248596" y="6776961"/>
                  <a:pt x="7445899" y="6675706"/>
                </a:cubicBezTo>
                <a:close/>
              </a:path>
            </a:pathLst>
          </a:custGeom>
          <a:gradFill flip="none" rotWithShape="1">
            <a:gsLst>
              <a:gs pos="0">
                <a:srgbClr val="9EC9DF">
                  <a:alpha val="0"/>
                </a:srgbClr>
              </a:gs>
              <a:gs pos="100000">
                <a:srgbClr val="1F6898"/>
              </a:gs>
            </a:gsLst>
            <a:lin ang="5400000" scaled="1"/>
            <a:tileRect/>
          </a:gradFill>
          <a:ln w="7476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sp>
        <p:nvSpPr>
          <p:cNvPr id="7" name="Google Shape;124;p20">
            <a:extLst>
              <a:ext uri="{FF2B5EF4-FFF2-40B4-BE49-F238E27FC236}">
                <a16:creationId xmlns:a16="http://schemas.microsoft.com/office/drawing/2014/main" id="{5B5C416E-077C-5845-A384-5534A47390B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21825" y="1610333"/>
            <a:ext cx="4100400" cy="1647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000" b="1" i="0">
                <a:solidFill>
                  <a:schemeClr val="bg1"/>
                </a:solidFill>
                <a:latin typeface="+mj-lt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667"/>
            </a:lvl9pPr>
          </a:lstStyle>
          <a:p>
            <a:endParaRPr dirty="0"/>
          </a:p>
        </p:txBody>
      </p:sp>
      <p:sp>
        <p:nvSpPr>
          <p:cNvPr id="8" name="Google Shape;125;p20">
            <a:extLst>
              <a:ext uri="{FF2B5EF4-FFF2-40B4-BE49-F238E27FC236}">
                <a16:creationId xmlns:a16="http://schemas.microsoft.com/office/drawing/2014/main" id="{C785F0BF-9728-2A44-BF4B-9F79D3CCD01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56250" y="3257335"/>
            <a:ext cx="3831600" cy="84733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556" b="0" i="0">
                <a:solidFill>
                  <a:schemeClr val="lt1"/>
                </a:solidFill>
                <a:latin typeface="+mn-lt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333"/>
            </a:lvl9pPr>
          </a:lstStyle>
          <a:p>
            <a:endParaRPr dirty="0"/>
          </a:p>
        </p:txBody>
      </p:sp>
      <p:grpSp>
        <p:nvGrpSpPr>
          <p:cNvPr id="101" name="Graphic 100">
            <a:extLst>
              <a:ext uri="{FF2B5EF4-FFF2-40B4-BE49-F238E27FC236}">
                <a16:creationId xmlns:a16="http://schemas.microsoft.com/office/drawing/2014/main" id="{9806A9C6-2EC6-1143-9EC2-92CB7DE7F474}"/>
              </a:ext>
            </a:extLst>
          </p:cNvPr>
          <p:cNvGrpSpPr/>
          <p:nvPr userDrawn="1"/>
        </p:nvGrpSpPr>
        <p:grpSpPr>
          <a:xfrm>
            <a:off x="7611200" y="284166"/>
            <a:ext cx="1112606" cy="739028"/>
            <a:chOff x="7611200" y="284166"/>
            <a:chExt cx="1112606" cy="739028"/>
          </a:xfrm>
        </p:grpSpPr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1F3BCCA6-7C0B-A641-829D-29A684EE41CA}"/>
                </a:ext>
              </a:extLst>
            </p:cNvPr>
            <p:cNvSpPr/>
            <p:nvPr/>
          </p:nvSpPr>
          <p:spPr>
            <a:xfrm>
              <a:off x="8065090" y="981314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447C0F89-EE1F-B94E-A4A9-17147076104E}"/>
                </a:ext>
              </a:extLst>
            </p:cNvPr>
            <p:cNvSpPr/>
            <p:nvPr/>
          </p:nvSpPr>
          <p:spPr>
            <a:xfrm>
              <a:off x="8065090" y="284175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749C6967-2713-4449-B557-831BFA3A1D27}"/>
                </a:ext>
              </a:extLst>
            </p:cNvPr>
            <p:cNvSpPr/>
            <p:nvPr/>
          </p:nvSpPr>
          <p:spPr>
            <a:xfrm>
              <a:off x="7611200" y="284166"/>
              <a:ext cx="928953" cy="738998"/>
            </a:xfrm>
            <a:custGeom>
              <a:avLst/>
              <a:gdLst>
                <a:gd name="connsiteX0" fmla="*/ 835856 w 928953"/>
                <a:gd name="connsiteY0" fmla="*/ 129348 h 738998"/>
                <a:gd name="connsiteX1" fmla="*/ 928952 w 928953"/>
                <a:gd name="connsiteY1" fmla="*/ 373724 h 738998"/>
                <a:gd name="connsiteX2" fmla="*/ 687905 w 928953"/>
                <a:gd name="connsiteY2" fmla="*/ 707088 h 738998"/>
                <a:gd name="connsiteX3" fmla="*/ 422261 w 928953"/>
                <a:gd name="connsiteY3" fmla="*/ 738739 h 738998"/>
                <a:gd name="connsiteX4" fmla="*/ 59346 w 928953"/>
                <a:gd name="connsiteY4" fmla="*/ 566442 h 738998"/>
                <a:gd name="connsiteX5" fmla="*/ 36221 w 928953"/>
                <a:gd name="connsiteY5" fmla="*/ 210589 h 738998"/>
                <a:gd name="connsiteX6" fmla="*/ 317565 w 928953"/>
                <a:gd name="connsiteY6" fmla="*/ 11729 h 738998"/>
                <a:gd name="connsiteX7" fmla="*/ 681889 w 928953"/>
                <a:gd name="connsiteY7" fmla="*/ 31485 h 738998"/>
                <a:gd name="connsiteX8" fmla="*/ 835856 w 928953"/>
                <a:gd name="connsiteY8" fmla="*/ 129348 h 73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3" h="738998">
                  <a:moveTo>
                    <a:pt x="835856" y="129348"/>
                  </a:moveTo>
                  <a:cubicBezTo>
                    <a:pt x="896114" y="196814"/>
                    <a:pt x="929236" y="283759"/>
                    <a:pt x="928952" y="373724"/>
                  </a:cubicBezTo>
                  <a:cubicBezTo>
                    <a:pt x="925917" y="523314"/>
                    <a:pt x="830184" y="655711"/>
                    <a:pt x="687905" y="707088"/>
                  </a:cubicBezTo>
                  <a:cubicBezTo>
                    <a:pt x="605509" y="733926"/>
                    <a:pt x="513834" y="740469"/>
                    <a:pt x="422261" y="738739"/>
                  </a:cubicBezTo>
                  <a:cubicBezTo>
                    <a:pt x="276874" y="734728"/>
                    <a:pt x="140410" y="684838"/>
                    <a:pt x="59346" y="566442"/>
                  </a:cubicBezTo>
                  <a:cubicBezTo>
                    <a:pt x="-7731" y="467563"/>
                    <a:pt x="-21426" y="316651"/>
                    <a:pt x="36221" y="210589"/>
                  </a:cubicBezTo>
                  <a:cubicBezTo>
                    <a:pt x="85377" y="102522"/>
                    <a:pt x="197486" y="29968"/>
                    <a:pt x="317565" y="11729"/>
                  </a:cubicBezTo>
                  <a:cubicBezTo>
                    <a:pt x="438958" y="-8966"/>
                    <a:pt x="563521" y="-2211"/>
                    <a:pt x="681889" y="31485"/>
                  </a:cubicBezTo>
                  <a:cubicBezTo>
                    <a:pt x="740531" y="51203"/>
                    <a:pt x="793392" y="84802"/>
                    <a:pt x="835856" y="129348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 104">
              <a:extLst>
                <a:ext uri="{FF2B5EF4-FFF2-40B4-BE49-F238E27FC236}">
                  <a16:creationId xmlns:a16="http://schemas.microsoft.com/office/drawing/2014/main" id="{7698695D-AABC-4349-B7BA-FF958D7AC765}"/>
                </a:ext>
              </a:extLst>
            </p:cNvPr>
            <p:cNvSpPr/>
            <p:nvPr/>
          </p:nvSpPr>
          <p:spPr>
            <a:xfrm>
              <a:off x="7648818" y="292586"/>
              <a:ext cx="513653" cy="722735"/>
            </a:xfrm>
            <a:custGeom>
              <a:avLst/>
              <a:gdLst>
                <a:gd name="connsiteX0" fmla="*/ 501893 w 513653"/>
                <a:gd name="connsiteY0" fmla="*/ 722736 h 722735"/>
                <a:gd name="connsiteX1" fmla="*/ 419052 w 513653"/>
                <a:gd name="connsiteY1" fmla="*/ 722736 h 722735"/>
                <a:gd name="connsiteX2" fmla="*/ 0 w 513653"/>
                <a:gd name="connsiteY2" fmla="*/ 361368 h 722735"/>
                <a:gd name="connsiteX3" fmla="*/ 419052 w 513653"/>
                <a:gd name="connsiteY3" fmla="*/ 0 h 722735"/>
                <a:gd name="connsiteX4" fmla="*/ 491524 w 513653"/>
                <a:gd name="connsiteY4" fmla="*/ 0 h 722735"/>
                <a:gd name="connsiteX5" fmla="*/ 497075 w 513653"/>
                <a:gd name="connsiteY5" fmla="*/ 6964 h 722735"/>
                <a:gd name="connsiteX6" fmla="*/ 491524 w 513653"/>
                <a:gd name="connsiteY6" fmla="*/ 12448 h 722735"/>
                <a:gd name="connsiteX7" fmla="*/ 82841 w 513653"/>
                <a:gd name="connsiteY7" fmla="*/ 361368 h 722735"/>
                <a:gd name="connsiteX8" fmla="*/ 491524 w 513653"/>
                <a:gd name="connsiteY8" fmla="*/ 710301 h 722735"/>
                <a:gd name="connsiteX9" fmla="*/ 502502 w 513653"/>
                <a:gd name="connsiteY9" fmla="*/ 710150 h 722735"/>
                <a:gd name="connsiteX10" fmla="*/ 507985 w 513653"/>
                <a:gd name="connsiteY10" fmla="*/ 710226 h 722735"/>
                <a:gd name="connsiteX11" fmla="*/ 513617 w 513653"/>
                <a:gd name="connsiteY11" fmla="*/ 717127 h 722735"/>
                <a:gd name="connsiteX12" fmla="*/ 508214 w 513653"/>
                <a:gd name="connsiteY12" fmla="*/ 722661 h 722735"/>
                <a:gd name="connsiteX13" fmla="*/ 501893 w 513653"/>
                <a:gd name="connsiteY13" fmla="*/ 722736 h 722735"/>
                <a:gd name="connsiteX14" fmla="*/ 372219 w 513653"/>
                <a:gd name="connsiteY14" fmla="*/ 14754 h 722735"/>
                <a:gd name="connsiteX15" fmla="*/ 12603 w 513653"/>
                <a:gd name="connsiteY15" fmla="*/ 361368 h 722735"/>
                <a:gd name="connsiteX16" fmla="*/ 372219 w 513653"/>
                <a:gd name="connsiteY16" fmla="*/ 707994 h 722735"/>
                <a:gd name="connsiteX17" fmla="*/ 70187 w 513653"/>
                <a:gd name="connsiteY17" fmla="*/ 361368 h 722735"/>
                <a:gd name="connsiteX18" fmla="*/ 372219 w 513653"/>
                <a:gd name="connsiteY18" fmla="*/ 14754 h 722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3653" h="722735">
                  <a:moveTo>
                    <a:pt x="501893" y="722736"/>
                  </a:moveTo>
                  <a:lnTo>
                    <a:pt x="419052" y="722736"/>
                  </a:lnTo>
                  <a:cubicBezTo>
                    <a:pt x="187981" y="722736"/>
                    <a:pt x="0" y="560679"/>
                    <a:pt x="0" y="361368"/>
                  </a:cubicBezTo>
                  <a:cubicBezTo>
                    <a:pt x="0" y="162056"/>
                    <a:pt x="187981" y="0"/>
                    <a:pt x="419052" y="0"/>
                  </a:cubicBezTo>
                  <a:lnTo>
                    <a:pt x="491524" y="0"/>
                  </a:lnTo>
                  <a:cubicBezTo>
                    <a:pt x="495004" y="409"/>
                    <a:pt x="497490" y="3527"/>
                    <a:pt x="497075" y="6964"/>
                  </a:cubicBezTo>
                  <a:cubicBezTo>
                    <a:pt x="496730" y="9839"/>
                    <a:pt x="494434" y="12106"/>
                    <a:pt x="491524" y="12448"/>
                  </a:cubicBezTo>
                  <a:cubicBezTo>
                    <a:pt x="266151" y="12448"/>
                    <a:pt x="82841" y="168976"/>
                    <a:pt x="82841" y="361368"/>
                  </a:cubicBezTo>
                  <a:cubicBezTo>
                    <a:pt x="82841" y="553760"/>
                    <a:pt x="266190" y="710301"/>
                    <a:pt x="491524" y="710301"/>
                  </a:cubicBezTo>
                  <a:cubicBezTo>
                    <a:pt x="495192" y="710301"/>
                    <a:pt x="498872" y="710301"/>
                    <a:pt x="502502" y="710150"/>
                  </a:cubicBezTo>
                  <a:cubicBezTo>
                    <a:pt x="504622" y="710213"/>
                    <a:pt x="506462" y="710326"/>
                    <a:pt x="507985" y="710226"/>
                  </a:cubicBezTo>
                  <a:cubicBezTo>
                    <a:pt x="511470" y="710595"/>
                    <a:pt x="513991" y="713685"/>
                    <a:pt x="513617" y="717127"/>
                  </a:cubicBezTo>
                  <a:cubicBezTo>
                    <a:pt x="513306" y="719974"/>
                    <a:pt x="511082" y="722252"/>
                    <a:pt x="508214" y="722661"/>
                  </a:cubicBezTo>
                  <a:cubicBezTo>
                    <a:pt x="506107" y="722736"/>
                    <a:pt x="504025" y="722736"/>
                    <a:pt x="501893" y="722736"/>
                  </a:cubicBezTo>
                  <a:close/>
                  <a:moveTo>
                    <a:pt x="372219" y="14754"/>
                  </a:moveTo>
                  <a:cubicBezTo>
                    <a:pt x="170086" y="34760"/>
                    <a:pt x="12603" y="182577"/>
                    <a:pt x="12603" y="361368"/>
                  </a:cubicBezTo>
                  <a:cubicBezTo>
                    <a:pt x="12603" y="540159"/>
                    <a:pt x="170098" y="687988"/>
                    <a:pt x="372219" y="707994"/>
                  </a:cubicBezTo>
                  <a:cubicBezTo>
                    <a:pt x="197818" y="663757"/>
                    <a:pt x="70187" y="525104"/>
                    <a:pt x="70187" y="361368"/>
                  </a:cubicBezTo>
                  <a:cubicBezTo>
                    <a:pt x="70187" y="197632"/>
                    <a:pt x="197818" y="58991"/>
                    <a:pt x="372219" y="147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D436C94D-DE36-024F-891E-1D7EFB59EED2}"/>
                </a:ext>
              </a:extLst>
            </p:cNvPr>
            <p:cNvSpPr/>
            <p:nvPr/>
          </p:nvSpPr>
          <p:spPr>
            <a:xfrm>
              <a:off x="7725312" y="298816"/>
              <a:ext cx="426223" cy="710288"/>
            </a:xfrm>
            <a:custGeom>
              <a:avLst/>
              <a:gdLst>
                <a:gd name="connsiteX0" fmla="*/ 38 w 426223"/>
                <a:gd name="connsiteY0" fmla="*/ 355138 h 710288"/>
                <a:gd name="connsiteX1" fmla="*/ 415067 w 426223"/>
                <a:gd name="connsiteY1" fmla="*/ 710288 h 710288"/>
                <a:gd name="connsiteX2" fmla="*/ 426223 w 426223"/>
                <a:gd name="connsiteY2" fmla="*/ 710138 h 710288"/>
                <a:gd name="connsiteX3" fmla="*/ 22427 w 426223"/>
                <a:gd name="connsiteY3" fmla="*/ 355138 h 710288"/>
                <a:gd name="connsiteX4" fmla="*/ 426185 w 426223"/>
                <a:gd name="connsiteY4" fmla="*/ 125 h 710288"/>
                <a:gd name="connsiteX5" fmla="*/ 415029 w 426223"/>
                <a:gd name="connsiteY5" fmla="*/ 0 h 710288"/>
                <a:gd name="connsiteX6" fmla="*/ 0 w 426223"/>
                <a:gd name="connsiteY6" fmla="*/ 355138 h 71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223" h="710288">
                  <a:moveTo>
                    <a:pt x="38" y="355138"/>
                  </a:moveTo>
                  <a:cubicBezTo>
                    <a:pt x="38" y="551178"/>
                    <a:pt x="185951" y="710288"/>
                    <a:pt x="415067" y="710288"/>
                  </a:cubicBezTo>
                  <a:cubicBezTo>
                    <a:pt x="418798" y="710288"/>
                    <a:pt x="422530" y="710288"/>
                    <a:pt x="426223" y="710138"/>
                  </a:cubicBezTo>
                  <a:cubicBezTo>
                    <a:pt x="202323" y="705124"/>
                    <a:pt x="22427" y="547956"/>
                    <a:pt x="22427" y="355138"/>
                  </a:cubicBezTo>
                  <a:cubicBezTo>
                    <a:pt x="22427" y="162320"/>
                    <a:pt x="202285" y="5202"/>
                    <a:pt x="426185" y="125"/>
                  </a:cubicBezTo>
                  <a:cubicBezTo>
                    <a:pt x="422492" y="50"/>
                    <a:pt x="418760" y="0"/>
                    <a:pt x="415029" y="0"/>
                  </a:cubicBezTo>
                  <a:cubicBezTo>
                    <a:pt x="185951" y="0"/>
                    <a:pt x="0" y="159111"/>
                    <a:pt x="0" y="355138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 106">
              <a:extLst>
                <a:ext uri="{FF2B5EF4-FFF2-40B4-BE49-F238E27FC236}">
                  <a16:creationId xmlns:a16="http://schemas.microsoft.com/office/drawing/2014/main" id="{20B9F334-BE3D-0044-9DA7-1013EED26858}"/>
                </a:ext>
              </a:extLst>
            </p:cNvPr>
            <p:cNvSpPr/>
            <p:nvPr/>
          </p:nvSpPr>
          <p:spPr>
            <a:xfrm>
              <a:off x="7722216" y="295708"/>
              <a:ext cx="429383" cy="716505"/>
            </a:xfrm>
            <a:custGeom>
              <a:avLst/>
              <a:gdLst>
                <a:gd name="connsiteX0" fmla="*/ 418164 w 429383"/>
                <a:gd name="connsiteY0" fmla="*/ 716506 h 716505"/>
                <a:gd name="connsiteX1" fmla="*/ 0 w 429383"/>
                <a:gd name="connsiteY1" fmla="*/ 360503 h 716505"/>
                <a:gd name="connsiteX2" fmla="*/ 0 w 429383"/>
                <a:gd name="connsiteY2" fmla="*/ 360503 h 716505"/>
                <a:gd name="connsiteX3" fmla="*/ 0 w 429383"/>
                <a:gd name="connsiteY3" fmla="*/ 358247 h 716505"/>
                <a:gd name="connsiteX4" fmla="*/ 418126 w 429383"/>
                <a:gd name="connsiteY4" fmla="*/ 0 h 716505"/>
                <a:gd name="connsiteX5" fmla="*/ 429345 w 429383"/>
                <a:gd name="connsiteY5" fmla="*/ 125 h 716505"/>
                <a:gd name="connsiteX6" fmla="*/ 429345 w 429383"/>
                <a:gd name="connsiteY6" fmla="*/ 6393 h 716505"/>
                <a:gd name="connsiteX7" fmla="*/ 145527 w 429383"/>
                <a:gd name="connsiteY7" fmla="*/ 112667 h 716505"/>
                <a:gd name="connsiteX8" fmla="*/ 28659 w 429383"/>
                <a:gd name="connsiteY8" fmla="*/ 358247 h 716505"/>
                <a:gd name="connsiteX9" fmla="*/ 145539 w 429383"/>
                <a:gd name="connsiteY9" fmla="*/ 603851 h 716505"/>
                <a:gd name="connsiteX10" fmla="*/ 429383 w 429383"/>
                <a:gd name="connsiteY10" fmla="*/ 710150 h 716505"/>
                <a:gd name="connsiteX11" fmla="*/ 429383 w 429383"/>
                <a:gd name="connsiteY11" fmla="*/ 716343 h 716505"/>
                <a:gd name="connsiteX12" fmla="*/ 418164 w 429383"/>
                <a:gd name="connsiteY12" fmla="*/ 716506 h 716505"/>
                <a:gd name="connsiteX13" fmla="*/ 6244 w 429383"/>
                <a:gd name="connsiteY13" fmla="*/ 356354 h 716505"/>
                <a:gd name="connsiteX14" fmla="*/ 6244 w 429383"/>
                <a:gd name="connsiteY14" fmla="*/ 358259 h 716505"/>
                <a:gd name="connsiteX15" fmla="*/ 294252 w 429383"/>
                <a:gd name="connsiteY15" fmla="*/ 694042 h 716505"/>
                <a:gd name="connsiteX16" fmla="*/ 141338 w 429383"/>
                <a:gd name="connsiteY16" fmla="*/ 608502 h 716505"/>
                <a:gd name="connsiteX17" fmla="*/ 22376 w 429383"/>
                <a:gd name="connsiteY17" fmla="*/ 358247 h 716505"/>
                <a:gd name="connsiteX18" fmla="*/ 141351 w 429383"/>
                <a:gd name="connsiteY18" fmla="*/ 108017 h 716505"/>
                <a:gd name="connsiteX19" fmla="*/ 294391 w 429383"/>
                <a:gd name="connsiteY19" fmla="*/ 22438 h 716505"/>
                <a:gd name="connsiteX20" fmla="*/ 6244 w 429383"/>
                <a:gd name="connsiteY20" fmla="*/ 356354 h 7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9383" h="716505">
                  <a:moveTo>
                    <a:pt x="418164" y="716506"/>
                  </a:moveTo>
                  <a:cubicBezTo>
                    <a:pt x="188438" y="716506"/>
                    <a:pt x="1409" y="557006"/>
                    <a:pt x="0" y="360503"/>
                  </a:cubicBezTo>
                  <a:lnTo>
                    <a:pt x="0" y="360503"/>
                  </a:lnTo>
                  <a:lnTo>
                    <a:pt x="0" y="358247"/>
                  </a:lnTo>
                  <a:cubicBezTo>
                    <a:pt x="-38" y="160715"/>
                    <a:pt x="187550" y="0"/>
                    <a:pt x="418126" y="0"/>
                  </a:cubicBezTo>
                  <a:cubicBezTo>
                    <a:pt x="421933" y="0"/>
                    <a:pt x="425627" y="0"/>
                    <a:pt x="429345" y="125"/>
                  </a:cubicBezTo>
                  <a:lnTo>
                    <a:pt x="429345" y="6393"/>
                  </a:lnTo>
                  <a:cubicBezTo>
                    <a:pt x="324993" y="7564"/>
                    <a:pt x="224437" y="45217"/>
                    <a:pt x="145527" y="112667"/>
                  </a:cubicBezTo>
                  <a:cubicBezTo>
                    <a:pt x="72436" y="173976"/>
                    <a:pt x="29812" y="263544"/>
                    <a:pt x="28659" y="358247"/>
                  </a:cubicBezTo>
                  <a:cubicBezTo>
                    <a:pt x="29815" y="452958"/>
                    <a:pt x="72442" y="542534"/>
                    <a:pt x="145539" y="603851"/>
                  </a:cubicBezTo>
                  <a:cubicBezTo>
                    <a:pt x="224451" y="671320"/>
                    <a:pt x="325018" y="708982"/>
                    <a:pt x="429383" y="710150"/>
                  </a:cubicBezTo>
                  <a:lnTo>
                    <a:pt x="429383" y="716343"/>
                  </a:lnTo>
                  <a:cubicBezTo>
                    <a:pt x="425715" y="716506"/>
                    <a:pt x="421933" y="716506"/>
                    <a:pt x="418164" y="716506"/>
                  </a:cubicBezTo>
                  <a:close/>
                  <a:moveTo>
                    <a:pt x="6244" y="356354"/>
                  </a:moveTo>
                  <a:lnTo>
                    <a:pt x="6244" y="358259"/>
                  </a:lnTo>
                  <a:cubicBezTo>
                    <a:pt x="6244" y="515515"/>
                    <a:pt x="127466" y="649003"/>
                    <a:pt x="294252" y="694042"/>
                  </a:cubicBezTo>
                  <a:cubicBezTo>
                    <a:pt x="237836" y="676287"/>
                    <a:pt x="185767" y="647159"/>
                    <a:pt x="141338" y="608502"/>
                  </a:cubicBezTo>
                  <a:cubicBezTo>
                    <a:pt x="66896" y="546008"/>
                    <a:pt x="23508" y="454733"/>
                    <a:pt x="22376" y="358247"/>
                  </a:cubicBezTo>
                  <a:cubicBezTo>
                    <a:pt x="23520" y="261766"/>
                    <a:pt x="66912" y="170503"/>
                    <a:pt x="141351" y="108017"/>
                  </a:cubicBezTo>
                  <a:cubicBezTo>
                    <a:pt x="185811" y="69329"/>
                    <a:pt x="237927" y="40186"/>
                    <a:pt x="294391" y="22438"/>
                  </a:cubicBezTo>
                  <a:cubicBezTo>
                    <a:pt x="128215" y="67264"/>
                    <a:pt x="7209" y="199901"/>
                    <a:pt x="6244" y="3563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108B1661-F9C0-7B40-B869-572B39296A8F}"/>
                </a:ext>
              </a:extLst>
            </p:cNvPr>
            <p:cNvSpPr/>
            <p:nvPr/>
          </p:nvSpPr>
          <p:spPr>
            <a:xfrm>
              <a:off x="7734489" y="466915"/>
              <a:ext cx="600154" cy="22200"/>
            </a:xfrm>
            <a:custGeom>
              <a:avLst/>
              <a:gdLst>
                <a:gd name="connsiteX0" fmla="*/ 600154 w 600154"/>
                <a:gd name="connsiteY0" fmla="*/ 11094 h 22200"/>
                <a:gd name="connsiteX1" fmla="*/ 300065 w 600154"/>
                <a:gd name="connsiteY1" fmla="*/ 22200 h 22200"/>
                <a:gd name="connsiteX2" fmla="*/ 0 w 600154"/>
                <a:gd name="connsiteY2" fmla="*/ 11094 h 22200"/>
                <a:gd name="connsiteX3" fmla="*/ 300065 w 600154"/>
                <a:gd name="connsiteY3" fmla="*/ 0 h 22200"/>
                <a:gd name="connsiteX4" fmla="*/ 600154 w 600154"/>
                <a:gd name="connsiteY4" fmla="*/ 11094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54" h="22200">
                  <a:moveTo>
                    <a:pt x="600154" y="11094"/>
                  </a:moveTo>
                  <a:cubicBezTo>
                    <a:pt x="600154" y="17198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94"/>
                  </a:cubicBezTo>
                  <a:cubicBezTo>
                    <a:pt x="0" y="5002"/>
                    <a:pt x="134434" y="0"/>
                    <a:pt x="300065" y="0"/>
                  </a:cubicBezTo>
                  <a:cubicBezTo>
                    <a:pt x="465695" y="0"/>
                    <a:pt x="600154" y="4964"/>
                    <a:pt x="600154" y="1109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 108">
              <a:extLst>
                <a:ext uri="{FF2B5EF4-FFF2-40B4-BE49-F238E27FC236}">
                  <a16:creationId xmlns:a16="http://schemas.microsoft.com/office/drawing/2014/main" id="{145E9789-06F6-534B-90D2-52A81F22B554}"/>
                </a:ext>
              </a:extLst>
            </p:cNvPr>
            <p:cNvSpPr/>
            <p:nvPr/>
          </p:nvSpPr>
          <p:spPr>
            <a:xfrm>
              <a:off x="7731341" y="463844"/>
              <a:ext cx="606437" cy="28405"/>
            </a:xfrm>
            <a:custGeom>
              <a:avLst/>
              <a:gdLst>
                <a:gd name="connsiteX0" fmla="*/ 303212 w 606437"/>
                <a:gd name="connsiteY0" fmla="*/ 28405 h 28405"/>
                <a:gd name="connsiteX1" fmla="*/ 90938 w 606437"/>
                <a:gd name="connsiteY1" fmla="*/ 25146 h 28405"/>
                <a:gd name="connsiteX2" fmla="*/ 0 w 606437"/>
                <a:gd name="connsiteY2" fmla="*/ 14203 h 28405"/>
                <a:gd name="connsiteX3" fmla="*/ 90951 w 606437"/>
                <a:gd name="connsiteY3" fmla="*/ 3272 h 28405"/>
                <a:gd name="connsiteX4" fmla="*/ 303212 w 606437"/>
                <a:gd name="connsiteY4" fmla="*/ 0 h 28405"/>
                <a:gd name="connsiteX5" fmla="*/ 515486 w 606437"/>
                <a:gd name="connsiteY5" fmla="*/ 3259 h 28405"/>
                <a:gd name="connsiteX6" fmla="*/ 606437 w 606437"/>
                <a:gd name="connsiteY6" fmla="*/ 14203 h 28405"/>
                <a:gd name="connsiteX7" fmla="*/ 515486 w 606437"/>
                <a:gd name="connsiteY7" fmla="*/ 25146 h 28405"/>
                <a:gd name="connsiteX8" fmla="*/ 303212 w 606437"/>
                <a:gd name="connsiteY8" fmla="*/ 28405 h 28405"/>
                <a:gd name="connsiteX9" fmla="*/ 14799 w 606437"/>
                <a:gd name="connsiteY9" fmla="*/ 14165 h 28405"/>
                <a:gd name="connsiteX10" fmla="*/ 303212 w 606437"/>
                <a:gd name="connsiteY10" fmla="*/ 22162 h 28405"/>
                <a:gd name="connsiteX11" fmla="*/ 591803 w 606437"/>
                <a:gd name="connsiteY11" fmla="*/ 14152 h 28405"/>
                <a:gd name="connsiteX12" fmla="*/ 303212 w 606437"/>
                <a:gd name="connsiteY12" fmla="*/ 6167 h 28405"/>
                <a:gd name="connsiteX13" fmla="*/ 14799 w 606437"/>
                <a:gd name="connsiteY13" fmla="*/ 14165 h 28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37" h="28405">
                  <a:moveTo>
                    <a:pt x="303212" y="28405"/>
                  </a:moveTo>
                  <a:cubicBezTo>
                    <a:pt x="223176" y="28405"/>
                    <a:pt x="147786" y="27252"/>
                    <a:pt x="90938" y="25146"/>
                  </a:cubicBezTo>
                  <a:cubicBezTo>
                    <a:pt x="0" y="21761"/>
                    <a:pt x="0" y="18088"/>
                    <a:pt x="0" y="14203"/>
                  </a:cubicBezTo>
                  <a:cubicBezTo>
                    <a:pt x="0" y="10317"/>
                    <a:pt x="0" y="6681"/>
                    <a:pt x="90951" y="3272"/>
                  </a:cubicBezTo>
                  <a:cubicBezTo>
                    <a:pt x="147786" y="1166"/>
                    <a:pt x="223164" y="0"/>
                    <a:pt x="303212" y="0"/>
                  </a:cubicBezTo>
                  <a:cubicBezTo>
                    <a:pt x="383261" y="0"/>
                    <a:pt x="458753" y="1166"/>
                    <a:pt x="515486" y="3259"/>
                  </a:cubicBezTo>
                  <a:cubicBezTo>
                    <a:pt x="606437" y="6619"/>
                    <a:pt x="606437" y="10304"/>
                    <a:pt x="606437" y="14203"/>
                  </a:cubicBezTo>
                  <a:cubicBezTo>
                    <a:pt x="606437" y="18101"/>
                    <a:pt x="606437" y="21724"/>
                    <a:pt x="515486" y="25146"/>
                  </a:cubicBezTo>
                  <a:cubicBezTo>
                    <a:pt x="458677" y="27214"/>
                    <a:pt x="383286" y="28405"/>
                    <a:pt x="303212" y="28405"/>
                  </a:cubicBezTo>
                  <a:close/>
                  <a:moveTo>
                    <a:pt x="14799" y="14165"/>
                  </a:moveTo>
                  <a:cubicBezTo>
                    <a:pt x="47455" y="18314"/>
                    <a:pt x="158028" y="22162"/>
                    <a:pt x="303212" y="22162"/>
                  </a:cubicBezTo>
                  <a:cubicBezTo>
                    <a:pt x="448650" y="22162"/>
                    <a:pt x="559337" y="18302"/>
                    <a:pt x="591803" y="14152"/>
                  </a:cubicBezTo>
                  <a:cubicBezTo>
                    <a:pt x="560073" y="10016"/>
                    <a:pt x="452978" y="6167"/>
                    <a:pt x="303212" y="6167"/>
                  </a:cubicBezTo>
                  <a:cubicBezTo>
                    <a:pt x="158016" y="6167"/>
                    <a:pt x="47455" y="10016"/>
                    <a:pt x="14799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BE9673B5-6039-134D-88BB-923540FAFBC7}"/>
                </a:ext>
              </a:extLst>
            </p:cNvPr>
            <p:cNvSpPr/>
            <p:nvPr/>
          </p:nvSpPr>
          <p:spPr>
            <a:xfrm>
              <a:off x="7744744" y="835014"/>
              <a:ext cx="600116" cy="22200"/>
            </a:xfrm>
            <a:custGeom>
              <a:avLst/>
              <a:gdLst>
                <a:gd name="connsiteX0" fmla="*/ 600116 w 600116"/>
                <a:gd name="connsiteY0" fmla="*/ 11081 h 22200"/>
                <a:gd name="connsiteX1" fmla="*/ 300065 w 600116"/>
                <a:gd name="connsiteY1" fmla="*/ 22200 h 22200"/>
                <a:gd name="connsiteX2" fmla="*/ 0 w 600116"/>
                <a:gd name="connsiteY2" fmla="*/ 11081 h 22200"/>
                <a:gd name="connsiteX3" fmla="*/ 300065 w 600116"/>
                <a:gd name="connsiteY3" fmla="*/ 0 h 22200"/>
                <a:gd name="connsiteX4" fmla="*/ 600116 w 600116"/>
                <a:gd name="connsiteY4" fmla="*/ 11081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16" h="22200">
                  <a:moveTo>
                    <a:pt x="600116" y="11081"/>
                  </a:moveTo>
                  <a:cubicBezTo>
                    <a:pt x="600116" y="17236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81"/>
                  </a:cubicBezTo>
                  <a:cubicBezTo>
                    <a:pt x="0" y="4977"/>
                    <a:pt x="134434" y="0"/>
                    <a:pt x="300065" y="0"/>
                  </a:cubicBezTo>
                  <a:cubicBezTo>
                    <a:pt x="465695" y="0"/>
                    <a:pt x="600116" y="5014"/>
                    <a:pt x="600116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5000E6EE-49DC-454B-AA73-BE90BCA16F58}"/>
                </a:ext>
              </a:extLst>
            </p:cNvPr>
            <p:cNvSpPr/>
            <p:nvPr/>
          </p:nvSpPr>
          <p:spPr>
            <a:xfrm>
              <a:off x="7741596" y="831918"/>
              <a:ext cx="606398" cy="28392"/>
            </a:xfrm>
            <a:custGeom>
              <a:avLst/>
              <a:gdLst>
                <a:gd name="connsiteX0" fmla="*/ 303212 w 606398"/>
                <a:gd name="connsiteY0" fmla="*/ 28393 h 28392"/>
                <a:gd name="connsiteX1" fmla="*/ 90938 w 606398"/>
                <a:gd name="connsiteY1" fmla="*/ 25121 h 28392"/>
                <a:gd name="connsiteX2" fmla="*/ 0 w 606398"/>
                <a:gd name="connsiteY2" fmla="*/ 14177 h 28392"/>
                <a:gd name="connsiteX3" fmla="*/ 90951 w 606398"/>
                <a:gd name="connsiteY3" fmla="*/ 3247 h 28392"/>
                <a:gd name="connsiteX4" fmla="*/ 303212 w 606398"/>
                <a:gd name="connsiteY4" fmla="*/ 0 h 28392"/>
                <a:gd name="connsiteX5" fmla="*/ 515473 w 606398"/>
                <a:gd name="connsiteY5" fmla="*/ 3259 h 28392"/>
                <a:gd name="connsiteX6" fmla="*/ 606399 w 606398"/>
                <a:gd name="connsiteY6" fmla="*/ 14177 h 28392"/>
                <a:gd name="connsiteX7" fmla="*/ 515473 w 606398"/>
                <a:gd name="connsiteY7" fmla="*/ 25146 h 28392"/>
                <a:gd name="connsiteX8" fmla="*/ 303212 w 606398"/>
                <a:gd name="connsiteY8" fmla="*/ 28393 h 28392"/>
                <a:gd name="connsiteX9" fmla="*/ 14672 w 606398"/>
                <a:gd name="connsiteY9" fmla="*/ 14165 h 28392"/>
                <a:gd name="connsiteX10" fmla="*/ 303212 w 606398"/>
                <a:gd name="connsiteY10" fmla="*/ 22200 h 28392"/>
                <a:gd name="connsiteX11" fmla="*/ 591740 w 606398"/>
                <a:gd name="connsiteY11" fmla="*/ 14203 h 28392"/>
                <a:gd name="connsiteX12" fmla="*/ 303212 w 606398"/>
                <a:gd name="connsiteY12" fmla="*/ 6192 h 28392"/>
                <a:gd name="connsiteX13" fmla="*/ 14672 w 606398"/>
                <a:gd name="connsiteY13" fmla="*/ 14165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398" h="28392">
                  <a:moveTo>
                    <a:pt x="303212" y="28393"/>
                  </a:moveTo>
                  <a:cubicBezTo>
                    <a:pt x="223138" y="28393"/>
                    <a:pt x="147760" y="27239"/>
                    <a:pt x="90938" y="25121"/>
                  </a:cubicBezTo>
                  <a:cubicBezTo>
                    <a:pt x="0" y="21749"/>
                    <a:pt x="0" y="18063"/>
                    <a:pt x="0" y="14177"/>
                  </a:cubicBezTo>
                  <a:cubicBezTo>
                    <a:pt x="0" y="10292"/>
                    <a:pt x="0" y="6656"/>
                    <a:pt x="90951" y="3247"/>
                  </a:cubicBezTo>
                  <a:cubicBezTo>
                    <a:pt x="147697" y="1153"/>
                    <a:pt x="223087" y="0"/>
                    <a:pt x="303212" y="0"/>
                  </a:cubicBezTo>
                  <a:cubicBezTo>
                    <a:pt x="383337" y="0"/>
                    <a:pt x="458600" y="1153"/>
                    <a:pt x="515473" y="3259"/>
                  </a:cubicBezTo>
                  <a:cubicBezTo>
                    <a:pt x="606399" y="6619"/>
                    <a:pt x="606399" y="10292"/>
                    <a:pt x="606399" y="14177"/>
                  </a:cubicBezTo>
                  <a:cubicBezTo>
                    <a:pt x="606399" y="18063"/>
                    <a:pt x="606399" y="21774"/>
                    <a:pt x="515473" y="25146"/>
                  </a:cubicBezTo>
                  <a:cubicBezTo>
                    <a:pt x="458804" y="27239"/>
                    <a:pt x="383426" y="28393"/>
                    <a:pt x="303212" y="28393"/>
                  </a:cubicBezTo>
                  <a:close/>
                  <a:moveTo>
                    <a:pt x="14672" y="14165"/>
                  </a:moveTo>
                  <a:cubicBezTo>
                    <a:pt x="47164" y="18327"/>
                    <a:pt x="157825" y="22200"/>
                    <a:pt x="303212" y="22200"/>
                  </a:cubicBezTo>
                  <a:cubicBezTo>
                    <a:pt x="452978" y="22200"/>
                    <a:pt x="559984" y="18339"/>
                    <a:pt x="591740" y="14203"/>
                  </a:cubicBezTo>
                  <a:cubicBezTo>
                    <a:pt x="559274" y="10053"/>
                    <a:pt x="448599" y="6192"/>
                    <a:pt x="303212" y="6192"/>
                  </a:cubicBezTo>
                  <a:cubicBezTo>
                    <a:pt x="153497" y="6192"/>
                    <a:pt x="46453" y="10066"/>
                    <a:pt x="14672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B15C44AE-0AA6-8A48-B6EF-A9805F174BB4}"/>
                </a:ext>
              </a:extLst>
            </p:cNvPr>
            <p:cNvSpPr/>
            <p:nvPr/>
          </p:nvSpPr>
          <p:spPr>
            <a:xfrm>
              <a:off x="7680662" y="649366"/>
              <a:ext cx="600141" cy="22187"/>
            </a:xfrm>
            <a:custGeom>
              <a:avLst/>
              <a:gdLst>
                <a:gd name="connsiteX0" fmla="*/ 600142 w 600141"/>
                <a:gd name="connsiteY0" fmla="*/ 11081 h 22187"/>
                <a:gd name="connsiteX1" fmla="*/ 300065 w 600141"/>
                <a:gd name="connsiteY1" fmla="*/ 22187 h 22187"/>
                <a:gd name="connsiteX2" fmla="*/ 0 w 600141"/>
                <a:gd name="connsiteY2" fmla="*/ 11081 h 22187"/>
                <a:gd name="connsiteX3" fmla="*/ 300065 w 600141"/>
                <a:gd name="connsiteY3" fmla="*/ 0 h 22187"/>
                <a:gd name="connsiteX4" fmla="*/ 600142 w 600141"/>
                <a:gd name="connsiteY4" fmla="*/ 11081 h 2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41" h="22187">
                  <a:moveTo>
                    <a:pt x="600142" y="11081"/>
                  </a:moveTo>
                  <a:cubicBezTo>
                    <a:pt x="600142" y="17211"/>
                    <a:pt x="465708" y="22187"/>
                    <a:pt x="300065" y="22187"/>
                  </a:cubicBezTo>
                  <a:cubicBezTo>
                    <a:pt x="134421" y="22187"/>
                    <a:pt x="0" y="17173"/>
                    <a:pt x="0" y="11081"/>
                  </a:cubicBezTo>
                  <a:cubicBezTo>
                    <a:pt x="0" y="4989"/>
                    <a:pt x="134434" y="0"/>
                    <a:pt x="300065" y="0"/>
                  </a:cubicBezTo>
                  <a:cubicBezTo>
                    <a:pt x="465695" y="0"/>
                    <a:pt x="600142" y="5014"/>
                    <a:pt x="600142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E580D022-BD14-254E-9826-6CA4CD6AB40D}"/>
                </a:ext>
              </a:extLst>
            </p:cNvPr>
            <p:cNvSpPr/>
            <p:nvPr/>
          </p:nvSpPr>
          <p:spPr>
            <a:xfrm>
              <a:off x="7677514" y="646257"/>
              <a:ext cx="606424" cy="28392"/>
            </a:xfrm>
            <a:custGeom>
              <a:avLst/>
              <a:gdLst>
                <a:gd name="connsiteX0" fmla="*/ 303212 w 606424"/>
                <a:gd name="connsiteY0" fmla="*/ 28392 h 28392"/>
                <a:gd name="connsiteX1" fmla="*/ 90938 w 606424"/>
                <a:gd name="connsiteY1" fmla="*/ 25121 h 28392"/>
                <a:gd name="connsiteX2" fmla="*/ 0 w 606424"/>
                <a:gd name="connsiteY2" fmla="*/ 14190 h 28392"/>
                <a:gd name="connsiteX3" fmla="*/ 90951 w 606424"/>
                <a:gd name="connsiteY3" fmla="*/ 3259 h 28392"/>
                <a:gd name="connsiteX4" fmla="*/ 303212 w 606424"/>
                <a:gd name="connsiteY4" fmla="*/ 0 h 28392"/>
                <a:gd name="connsiteX5" fmla="*/ 515486 w 606424"/>
                <a:gd name="connsiteY5" fmla="*/ 3272 h 28392"/>
                <a:gd name="connsiteX6" fmla="*/ 606424 w 606424"/>
                <a:gd name="connsiteY6" fmla="*/ 14190 h 28392"/>
                <a:gd name="connsiteX7" fmla="*/ 515486 w 606424"/>
                <a:gd name="connsiteY7" fmla="*/ 25133 h 28392"/>
                <a:gd name="connsiteX8" fmla="*/ 303212 w 606424"/>
                <a:gd name="connsiteY8" fmla="*/ 28392 h 28392"/>
                <a:gd name="connsiteX9" fmla="*/ 14812 w 606424"/>
                <a:gd name="connsiteY9" fmla="*/ 14190 h 28392"/>
                <a:gd name="connsiteX10" fmla="*/ 303212 w 606424"/>
                <a:gd name="connsiteY10" fmla="*/ 22188 h 28392"/>
                <a:gd name="connsiteX11" fmla="*/ 591740 w 606424"/>
                <a:gd name="connsiteY11" fmla="*/ 14215 h 28392"/>
                <a:gd name="connsiteX12" fmla="*/ 303212 w 606424"/>
                <a:gd name="connsiteY12" fmla="*/ 6205 h 28392"/>
                <a:gd name="connsiteX13" fmla="*/ 14812 w 606424"/>
                <a:gd name="connsiteY13" fmla="*/ 14190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24" h="28392">
                  <a:moveTo>
                    <a:pt x="303212" y="28392"/>
                  </a:moveTo>
                  <a:cubicBezTo>
                    <a:pt x="223176" y="28392"/>
                    <a:pt x="147786" y="27227"/>
                    <a:pt x="90938" y="25121"/>
                  </a:cubicBezTo>
                  <a:cubicBezTo>
                    <a:pt x="0" y="21749"/>
                    <a:pt x="0" y="18076"/>
                    <a:pt x="0" y="14190"/>
                  </a:cubicBezTo>
                  <a:cubicBezTo>
                    <a:pt x="0" y="10304"/>
                    <a:pt x="0" y="6669"/>
                    <a:pt x="90951" y="3259"/>
                  </a:cubicBezTo>
                  <a:cubicBezTo>
                    <a:pt x="147748" y="1153"/>
                    <a:pt x="223138" y="0"/>
                    <a:pt x="303212" y="0"/>
                  </a:cubicBezTo>
                  <a:cubicBezTo>
                    <a:pt x="383286" y="0"/>
                    <a:pt x="458575" y="1166"/>
                    <a:pt x="515486" y="3272"/>
                  </a:cubicBezTo>
                  <a:cubicBezTo>
                    <a:pt x="606424" y="6644"/>
                    <a:pt x="606424" y="10304"/>
                    <a:pt x="606424" y="14190"/>
                  </a:cubicBezTo>
                  <a:cubicBezTo>
                    <a:pt x="606424" y="18076"/>
                    <a:pt x="606424" y="21774"/>
                    <a:pt x="515486" y="25133"/>
                  </a:cubicBezTo>
                  <a:cubicBezTo>
                    <a:pt x="458740" y="27239"/>
                    <a:pt x="383362" y="28392"/>
                    <a:pt x="303212" y="28392"/>
                  </a:cubicBezTo>
                  <a:close/>
                  <a:moveTo>
                    <a:pt x="14812" y="14190"/>
                  </a:moveTo>
                  <a:cubicBezTo>
                    <a:pt x="47481" y="18339"/>
                    <a:pt x="158041" y="22188"/>
                    <a:pt x="303212" y="22188"/>
                  </a:cubicBezTo>
                  <a:cubicBezTo>
                    <a:pt x="452914" y="22188"/>
                    <a:pt x="559933" y="18339"/>
                    <a:pt x="591740" y="14215"/>
                  </a:cubicBezTo>
                  <a:cubicBezTo>
                    <a:pt x="559210" y="10053"/>
                    <a:pt x="448561" y="6205"/>
                    <a:pt x="303212" y="6205"/>
                  </a:cubicBezTo>
                  <a:cubicBezTo>
                    <a:pt x="157863" y="6205"/>
                    <a:pt x="47481" y="10041"/>
                    <a:pt x="14812" y="1419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A9AF296C-C8B9-6A49-A8F0-0ACC2F1300A1}"/>
                </a:ext>
              </a:extLst>
            </p:cNvPr>
            <p:cNvSpPr/>
            <p:nvPr/>
          </p:nvSpPr>
          <p:spPr>
            <a:xfrm>
              <a:off x="7794847" y="284166"/>
              <a:ext cx="928959" cy="738994"/>
            </a:xfrm>
            <a:custGeom>
              <a:avLst/>
              <a:gdLst>
                <a:gd name="connsiteX0" fmla="*/ 835862 w 928959"/>
                <a:gd name="connsiteY0" fmla="*/ 129348 h 738994"/>
                <a:gd name="connsiteX1" fmla="*/ 928958 w 928959"/>
                <a:gd name="connsiteY1" fmla="*/ 373724 h 738994"/>
                <a:gd name="connsiteX2" fmla="*/ 687886 w 928959"/>
                <a:gd name="connsiteY2" fmla="*/ 707075 h 738994"/>
                <a:gd name="connsiteX3" fmla="*/ 422255 w 928959"/>
                <a:gd name="connsiteY3" fmla="*/ 738739 h 738994"/>
                <a:gd name="connsiteX4" fmla="*/ 59340 w 928959"/>
                <a:gd name="connsiteY4" fmla="*/ 566442 h 738994"/>
                <a:gd name="connsiteX5" fmla="*/ 36227 w 928959"/>
                <a:gd name="connsiteY5" fmla="*/ 210589 h 738994"/>
                <a:gd name="connsiteX6" fmla="*/ 317571 w 928959"/>
                <a:gd name="connsiteY6" fmla="*/ 11729 h 738994"/>
                <a:gd name="connsiteX7" fmla="*/ 681946 w 928959"/>
                <a:gd name="connsiteY7" fmla="*/ 31485 h 738994"/>
                <a:gd name="connsiteX8" fmla="*/ 835862 w 928959"/>
                <a:gd name="connsiteY8" fmla="*/ 129348 h 73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9" h="738994">
                  <a:moveTo>
                    <a:pt x="835862" y="129348"/>
                  </a:moveTo>
                  <a:cubicBezTo>
                    <a:pt x="896115" y="196817"/>
                    <a:pt x="929237" y="283760"/>
                    <a:pt x="928958" y="373724"/>
                  </a:cubicBezTo>
                  <a:cubicBezTo>
                    <a:pt x="925921" y="523318"/>
                    <a:pt x="830175" y="655713"/>
                    <a:pt x="687886" y="707075"/>
                  </a:cubicBezTo>
                  <a:cubicBezTo>
                    <a:pt x="605502" y="733913"/>
                    <a:pt x="513828" y="740457"/>
                    <a:pt x="422255" y="738739"/>
                  </a:cubicBezTo>
                  <a:cubicBezTo>
                    <a:pt x="276855" y="734716"/>
                    <a:pt x="140403" y="684838"/>
                    <a:pt x="59340" y="566442"/>
                  </a:cubicBezTo>
                  <a:cubicBezTo>
                    <a:pt x="-7725" y="467563"/>
                    <a:pt x="-21432" y="316650"/>
                    <a:pt x="36227" y="210589"/>
                  </a:cubicBezTo>
                  <a:cubicBezTo>
                    <a:pt x="85422" y="102522"/>
                    <a:pt x="197479" y="29968"/>
                    <a:pt x="317571" y="11729"/>
                  </a:cubicBezTo>
                  <a:cubicBezTo>
                    <a:pt x="438981" y="-8966"/>
                    <a:pt x="563560" y="-2211"/>
                    <a:pt x="681946" y="31485"/>
                  </a:cubicBezTo>
                  <a:cubicBezTo>
                    <a:pt x="740568" y="51213"/>
                    <a:pt x="793411" y="84811"/>
                    <a:pt x="835862" y="129348"/>
                  </a:cubicBezTo>
                  <a:close/>
                </a:path>
              </a:pathLst>
            </a:custGeom>
            <a:solidFill>
              <a:srgbClr val="CA0538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E1E19508-A8ED-4A41-A071-25134E58FDF0}"/>
                </a:ext>
              </a:extLst>
            </p:cNvPr>
            <p:cNvSpPr/>
            <p:nvPr/>
          </p:nvSpPr>
          <p:spPr>
            <a:xfrm>
              <a:off x="7833276" y="310649"/>
              <a:ext cx="674105" cy="476179"/>
            </a:xfrm>
            <a:custGeom>
              <a:avLst/>
              <a:gdLst>
                <a:gd name="connsiteX0" fmla="*/ 674105 w 674105"/>
                <a:gd name="connsiteY0" fmla="*/ 47259 h 476179"/>
                <a:gd name="connsiteX1" fmla="*/ 53199 w 674105"/>
                <a:gd name="connsiteY1" fmla="*/ 164301 h 476179"/>
                <a:gd name="connsiteX2" fmla="*/ 23043 w 674105"/>
                <a:gd name="connsiteY2" fmla="*/ 476180 h 476179"/>
                <a:gd name="connsiteX3" fmla="*/ 674105 w 674105"/>
                <a:gd name="connsiteY3" fmla="*/ 47259 h 47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4105" h="476179">
                  <a:moveTo>
                    <a:pt x="674105" y="47259"/>
                  </a:moveTo>
                  <a:cubicBezTo>
                    <a:pt x="674105" y="47259"/>
                    <a:pt x="245737" y="-115976"/>
                    <a:pt x="53199" y="164301"/>
                  </a:cubicBezTo>
                  <a:cubicBezTo>
                    <a:pt x="-45202" y="307555"/>
                    <a:pt x="23043" y="476180"/>
                    <a:pt x="23043" y="476180"/>
                  </a:cubicBezTo>
                  <a:cubicBezTo>
                    <a:pt x="23043" y="476180"/>
                    <a:pt x="9323" y="-76226"/>
                    <a:pt x="674105" y="47259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E8C6217F-4BCB-D541-8197-0D2678A9D573}"/>
                </a:ext>
              </a:extLst>
            </p:cNvPr>
            <p:cNvSpPr/>
            <p:nvPr/>
          </p:nvSpPr>
          <p:spPr>
            <a:xfrm>
              <a:off x="7952138" y="416172"/>
              <a:ext cx="622117" cy="420341"/>
            </a:xfrm>
            <a:custGeom>
              <a:avLst/>
              <a:gdLst>
                <a:gd name="connsiteX0" fmla="*/ 244162 w 622117"/>
                <a:gd name="connsiteY0" fmla="*/ 5265 h 420341"/>
                <a:gd name="connsiteX1" fmla="*/ 190234 w 622117"/>
                <a:gd name="connsiteY1" fmla="*/ 115337 h 420341"/>
                <a:gd name="connsiteX2" fmla="*/ 166119 w 622117"/>
                <a:gd name="connsiteY2" fmla="*/ 372750 h 420341"/>
                <a:gd name="connsiteX3" fmla="*/ 174546 w 622117"/>
                <a:gd name="connsiteY3" fmla="*/ 380271 h 420341"/>
                <a:gd name="connsiteX4" fmla="*/ 219273 w 622117"/>
                <a:gd name="connsiteY4" fmla="*/ 341336 h 420341"/>
                <a:gd name="connsiteX5" fmla="*/ 302545 w 622117"/>
                <a:gd name="connsiteY5" fmla="*/ 23617 h 420341"/>
                <a:gd name="connsiteX6" fmla="*/ 333806 w 622117"/>
                <a:gd name="connsiteY6" fmla="*/ 464 h 420341"/>
                <a:gd name="connsiteX7" fmla="*/ 335633 w 622117"/>
                <a:gd name="connsiteY7" fmla="*/ 7032 h 420341"/>
                <a:gd name="connsiteX8" fmla="*/ 302964 w 622117"/>
                <a:gd name="connsiteY8" fmla="*/ 48950 h 420341"/>
                <a:gd name="connsiteX9" fmla="*/ 293445 w 622117"/>
                <a:gd name="connsiteY9" fmla="*/ 78772 h 420341"/>
                <a:gd name="connsiteX10" fmla="*/ 257717 w 622117"/>
                <a:gd name="connsiteY10" fmla="*/ 371697 h 420341"/>
                <a:gd name="connsiteX11" fmla="*/ 269927 w 622117"/>
                <a:gd name="connsiteY11" fmla="*/ 380221 h 420341"/>
                <a:gd name="connsiteX12" fmla="*/ 308980 w 622117"/>
                <a:gd name="connsiteY12" fmla="*/ 342176 h 420341"/>
                <a:gd name="connsiteX13" fmla="*/ 378228 w 622117"/>
                <a:gd name="connsiteY13" fmla="*/ 200628 h 420341"/>
                <a:gd name="connsiteX14" fmla="*/ 448161 w 622117"/>
                <a:gd name="connsiteY14" fmla="*/ 198221 h 420341"/>
                <a:gd name="connsiteX15" fmla="*/ 429681 w 622117"/>
                <a:gd name="connsiteY15" fmla="*/ 360127 h 420341"/>
                <a:gd name="connsiteX16" fmla="*/ 437030 w 622117"/>
                <a:gd name="connsiteY16" fmla="*/ 382690 h 420341"/>
                <a:gd name="connsiteX17" fmla="*/ 444645 w 622117"/>
                <a:gd name="connsiteY17" fmla="*/ 380885 h 420341"/>
                <a:gd name="connsiteX18" fmla="*/ 491339 w 622117"/>
                <a:gd name="connsiteY18" fmla="*/ 333527 h 420341"/>
                <a:gd name="connsiteX19" fmla="*/ 528362 w 622117"/>
                <a:gd name="connsiteY19" fmla="*/ 108054 h 420341"/>
                <a:gd name="connsiteX20" fmla="*/ 593332 w 622117"/>
                <a:gd name="connsiteY20" fmla="*/ 24331 h 420341"/>
                <a:gd name="connsiteX21" fmla="*/ 580031 w 622117"/>
                <a:gd name="connsiteY21" fmla="*/ 39536 h 420341"/>
                <a:gd name="connsiteX22" fmla="*/ 525455 w 622117"/>
                <a:gd name="connsiteY22" fmla="*/ 215770 h 420341"/>
                <a:gd name="connsiteX23" fmla="*/ 546295 w 622117"/>
                <a:gd name="connsiteY23" fmla="*/ 207522 h 420341"/>
                <a:gd name="connsiteX24" fmla="*/ 590083 w 622117"/>
                <a:gd name="connsiteY24" fmla="*/ 171383 h 420341"/>
                <a:gd name="connsiteX25" fmla="*/ 609717 w 622117"/>
                <a:gd name="connsiteY25" fmla="*/ 190299 h 420341"/>
                <a:gd name="connsiteX26" fmla="*/ 587481 w 622117"/>
                <a:gd name="connsiteY26" fmla="*/ 352167 h 420341"/>
                <a:gd name="connsiteX27" fmla="*/ 515873 w 622117"/>
                <a:gd name="connsiteY27" fmla="*/ 418817 h 420341"/>
                <a:gd name="connsiteX28" fmla="*/ 500642 w 622117"/>
                <a:gd name="connsiteY28" fmla="*/ 417313 h 420341"/>
                <a:gd name="connsiteX29" fmla="*/ 492024 w 622117"/>
                <a:gd name="connsiteY29" fmla="*/ 355990 h 420341"/>
                <a:gd name="connsiteX30" fmla="*/ 489207 w 622117"/>
                <a:gd name="connsiteY30" fmla="*/ 354085 h 420341"/>
                <a:gd name="connsiteX31" fmla="*/ 416862 w 622117"/>
                <a:gd name="connsiteY31" fmla="*/ 419958 h 420341"/>
                <a:gd name="connsiteX32" fmla="*/ 408397 w 622117"/>
                <a:gd name="connsiteY32" fmla="*/ 418015 h 420341"/>
                <a:gd name="connsiteX33" fmla="*/ 398345 w 622117"/>
                <a:gd name="connsiteY33" fmla="*/ 380409 h 420341"/>
                <a:gd name="connsiteX34" fmla="*/ 344175 w 622117"/>
                <a:gd name="connsiteY34" fmla="*/ 420221 h 420341"/>
                <a:gd name="connsiteX35" fmla="*/ 325493 w 622117"/>
                <a:gd name="connsiteY35" fmla="*/ 399989 h 420341"/>
                <a:gd name="connsiteX36" fmla="*/ 310719 w 622117"/>
                <a:gd name="connsiteY36" fmla="*/ 359011 h 420341"/>
                <a:gd name="connsiteX37" fmla="*/ 242182 w 622117"/>
                <a:gd name="connsiteY37" fmla="*/ 419306 h 420341"/>
                <a:gd name="connsiteX38" fmla="*/ 228221 w 622117"/>
                <a:gd name="connsiteY38" fmla="*/ 408852 h 420341"/>
                <a:gd name="connsiteX39" fmla="*/ 220047 w 622117"/>
                <a:gd name="connsiteY39" fmla="*/ 358222 h 420341"/>
                <a:gd name="connsiteX40" fmla="*/ 216240 w 622117"/>
                <a:gd name="connsiteY40" fmla="*/ 359124 h 420341"/>
                <a:gd name="connsiteX41" fmla="*/ 149607 w 622117"/>
                <a:gd name="connsiteY41" fmla="*/ 419406 h 420341"/>
                <a:gd name="connsiteX42" fmla="*/ 136470 w 622117"/>
                <a:gd name="connsiteY42" fmla="*/ 410857 h 420341"/>
                <a:gd name="connsiteX43" fmla="*/ 127586 w 622117"/>
                <a:gd name="connsiteY43" fmla="*/ 346138 h 420341"/>
                <a:gd name="connsiteX44" fmla="*/ 123778 w 622117"/>
                <a:gd name="connsiteY44" fmla="*/ 346138 h 420341"/>
                <a:gd name="connsiteX45" fmla="*/ 29616 w 622117"/>
                <a:gd name="connsiteY45" fmla="*/ 420234 h 420341"/>
                <a:gd name="connsiteX46" fmla="*/ 19298 w 622117"/>
                <a:gd name="connsiteY46" fmla="*/ 412637 h 420341"/>
                <a:gd name="connsiteX47" fmla="*/ 41090 w 622117"/>
                <a:gd name="connsiteY47" fmla="*/ 197368 h 420341"/>
                <a:gd name="connsiteX48" fmla="*/ 83177 w 622117"/>
                <a:gd name="connsiteY48" fmla="*/ 178766 h 420341"/>
                <a:gd name="connsiteX49" fmla="*/ 102367 w 622117"/>
                <a:gd name="connsiteY49" fmla="*/ 208224 h 420341"/>
                <a:gd name="connsiteX50" fmla="*/ 102100 w 622117"/>
                <a:gd name="connsiteY50" fmla="*/ 239136 h 420341"/>
                <a:gd name="connsiteX51" fmla="*/ 36368 w 622117"/>
                <a:gd name="connsiteY51" fmla="*/ 299443 h 420341"/>
                <a:gd name="connsiteX52" fmla="*/ 46167 w 622117"/>
                <a:gd name="connsiteY52" fmla="*/ 383831 h 420341"/>
                <a:gd name="connsiteX53" fmla="*/ 58592 w 622117"/>
                <a:gd name="connsiteY53" fmla="*/ 385649 h 420341"/>
                <a:gd name="connsiteX54" fmla="*/ 60331 w 622117"/>
                <a:gd name="connsiteY54" fmla="*/ 383969 h 420341"/>
                <a:gd name="connsiteX55" fmla="*/ 127954 w 622117"/>
                <a:gd name="connsiteY55" fmla="*/ 320866 h 420341"/>
                <a:gd name="connsiteX56" fmla="*/ 202291 w 622117"/>
                <a:gd name="connsiteY56" fmla="*/ 37681 h 420341"/>
                <a:gd name="connsiteX57" fmla="*/ 243007 w 622117"/>
                <a:gd name="connsiteY57" fmla="*/ 0 h 420341"/>
                <a:gd name="connsiteX58" fmla="*/ 244974 w 622117"/>
                <a:gd name="connsiteY58" fmla="*/ 4024 h 420341"/>
                <a:gd name="connsiteX59" fmla="*/ 244162 w 622117"/>
                <a:gd name="connsiteY59" fmla="*/ 5265 h 420341"/>
                <a:gd name="connsiteX60" fmla="*/ 77224 w 622117"/>
                <a:gd name="connsiteY60" fmla="*/ 185510 h 420341"/>
                <a:gd name="connsiteX61" fmla="*/ 63936 w 622117"/>
                <a:gd name="connsiteY61" fmla="*/ 193821 h 420341"/>
                <a:gd name="connsiteX62" fmla="*/ 39516 w 622117"/>
                <a:gd name="connsiteY62" fmla="*/ 281656 h 420341"/>
                <a:gd name="connsiteX63" fmla="*/ 80448 w 622117"/>
                <a:gd name="connsiteY63" fmla="*/ 246419 h 420341"/>
                <a:gd name="connsiteX64" fmla="*/ 86553 w 622117"/>
                <a:gd name="connsiteY64" fmla="*/ 197770 h 420341"/>
                <a:gd name="connsiteX65" fmla="*/ 77224 w 622117"/>
                <a:gd name="connsiteY65" fmla="*/ 185510 h 420341"/>
                <a:gd name="connsiteX66" fmla="*/ 415111 w 622117"/>
                <a:gd name="connsiteY66" fmla="*/ 203536 h 420341"/>
                <a:gd name="connsiteX67" fmla="*/ 378215 w 622117"/>
                <a:gd name="connsiteY67" fmla="*/ 212574 h 420341"/>
                <a:gd name="connsiteX68" fmla="*/ 346891 w 622117"/>
                <a:gd name="connsiteY68" fmla="*/ 331271 h 420341"/>
                <a:gd name="connsiteX69" fmla="*/ 360611 w 622117"/>
                <a:gd name="connsiteY69" fmla="*/ 381976 h 420341"/>
                <a:gd name="connsiteX70" fmla="*/ 395730 w 622117"/>
                <a:gd name="connsiteY70" fmla="*/ 361681 h 420341"/>
                <a:gd name="connsiteX71" fmla="*/ 416037 w 622117"/>
                <a:gd name="connsiteY71" fmla="*/ 208224 h 420341"/>
                <a:gd name="connsiteX72" fmla="*/ 566146 w 622117"/>
                <a:gd name="connsiteY72" fmla="*/ 207698 h 420341"/>
                <a:gd name="connsiteX73" fmla="*/ 530887 w 622117"/>
                <a:gd name="connsiteY73" fmla="*/ 242997 h 420341"/>
                <a:gd name="connsiteX74" fmla="*/ 529618 w 622117"/>
                <a:gd name="connsiteY74" fmla="*/ 378792 h 420341"/>
                <a:gd name="connsiteX75" fmla="*/ 533324 w 622117"/>
                <a:gd name="connsiteY75" fmla="*/ 388219 h 420341"/>
                <a:gd name="connsiteX76" fmla="*/ 558899 w 622117"/>
                <a:gd name="connsiteY76" fmla="*/ 370995 h 420341"/>
                <a:gd name="connsiteX77" fmla="*/ 581871 w 622117"/>
                <a:gd name="connsiteY77" fmla="*/ 223730 h 420341"/>
                <a:gd name="connsiteX78" fmla="*/ 566158 w 622117"/>
                <a:gd name="connsiteY78" fmla="*/ 207710 h 420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117" h="420341">
                  <a:moveTo>
                    <a:pt x="244162" y="5265"/>
                  </a:moveTo>
                  <a:cubicBezTo>
                    <a:pt x="206086" y="28342"/>
                    <a:pt x="203801" y="76089"/>
                    <a:pt x="190234" y="115337"/>
                  </a:cubicBezTo>
                  <a:cubicBezTo>
                    <a:pt x="169685" y="194774"/>
                    <a:pt x="154696" y="286444"/>
                    <a:pt x="166119" y="372750"/>
                  </a:cubicBezTo>
                  <a:cubicBezTo>
                    <a:pt x="167666" y="376363"/>
                    <a:pt x="170752" y="379115"/>
                    <a:pt x="174546" y="380271"/>
                  </a:cubicBezTo>
                  <a:cubicBezTo>
                    <a:pt x="191170" y="369352"/>
                    <a:pt x="206217" y="356253"/>
                    <a:pt x="219273" y="341336"/>
                  </a:cubicBezTo>
                  <a:cubicBezTo>
                    <a:pt x="227904" y="228092"/>
                    <a:pt x="248807" y="118709"/>
                    <a:pt x="302545" y="23617"/>
                  </a:cubicBezTo>
                  <a:cubicBezTo>
                    <a:pt x="309823" y="12451"/>
                    <a:pt x="320916" y="4236"/>
                    <a:pt x="333806" y="464"/>
                  </a:cubicBezTo>
                  <a:cubicBezTo>
                    <a:pt x="336636" y="464"/>
                    <a:pt x="337613" y="5165"/>
                    <a:pt x="335633" y="7032"/>
                  </a:cubicBezTo>
                  <a:cubicBezTo>
                    <a:pt x="316443" y="13977"/>
                    <a:pt x="309780" y="30298"/>
                    <a:pt x="302964" y="48950"/>
                  </a:cubicBezTo>
                  <a:cubicBezTo>
                    <a:pt x="299197" y="58697"/>
                    <a:pt x="296018" y="68655"/>
                    <a:pt x="293445" y="78772"/>
                  </a:cubicBezTo>
                  <a:cubicBezTo>
                    <a:pt x="267185" y="170380"/>
                    <a:pt x="246358" y="270399"/>
                    <a:pt x="257717" y="371697"/>
                  </a:cubicBezTo>
                  <a:cubicBezTo>
                    <a:pt x="259570" y="376398"/>
                    <a:pt x="264241" y="382064"/>
                    <a:pt x="269927" y="380221"/>
                  </a:cubicBezTo>
                  <a:cubicBezTo>
                    <a:pt x="285184" y="369996"/>
                    <a:pt x="298419" y="357102"/>
                    <a:pt x="308980" y="342176"/>
                  </a:cubicBezTo>
                  <a:cubicBezTo>
                    <a:pt x="303214" y="285875"/>
                    <a:pt x="329984" y="231155"/>
                    <a:pt x="378228" y="200628"/>
                  </a:cubicBezTo>
                  <a:cubicBezTo>
                    <a:pt x="399780" y="188729"/>
                    <a:pt x="425822" y="187833"/>
                    <a:pt x="448161" y="198221"/>
                  </a:cubicBezTo>
                  <a:cubicBezTo>
                    <a:pt x="436742" y="251477"/>
                    <a:pt x="430553" y="305697"/>
                    <a:pt x="429681" y="360127"/>
                  </a:cubicBezTo>
                  <a:cubicBezTo>
                    <a:pt x="430316" y="366633"/>
                    <a:pt x="429529" y="377915"/>
                    <a:pt x="437030" y="382690"/>
                  </a:cubicBezTo>
                  <a:lnTo>
                    <a:pt x="444645" y="380885"/>
                  </a:lnTo>
                  <a:lnTo>
                    <a:pt x="491339" y="333527"/>
                  </a:lnTo>
                  <a:cubicBezTo>
                    <a:pt x="498793" y="257666"/>
                    <a:pt x="511159" y="182354"/>
                    <a:pt x="528362" y="108054"/>
                  </a:cubicBezTo>
                  <a:cubicBezTo>
                    <a:pt x="539048" y="74435"/>
                    <a:pt x="563899" y="27954"/>
                    <a:pt x="593332" y="24331"/>
                  </a:cubicBezTo>
                  <a:cubicBezTo>
                    <a:pt x="604171" y="33808"/>
                    <a:pt x="592228" y="28092"/>
                    <a:pt x="580031" y="39536"/>
                  </a:cubicBezTo>
                  <a:cubicBezTo>
                    <a:pt x="544722" y="77957"/>
                    <a:pt x="531725" y="152116"/>
                    <a:pt x="525455" y="215770"/>
                  </a:cubicBezTo>
                  <a:cubicBezTo>
                    <a:pt x="532702" y="217738"/>
                    <a:pt x="534073" y="216911"/>
                    <a:pt x="546295" y="207522"/>
                  </a:cubicBezTo>
                  <a:lnTo>
                    <a:pt x="590083" y="171383"/>
                  </a:lnTo>
                  <a:cubicBezTo>
                    <a:pt x="600465" y="170530"/>
                    <a:pt x="606011" y="182765"/>
                    <a:pt x="609717" y="190299"/>
                  </a:cubicBezTo>
                  <a:cubicBezTo>
                    <a:pt x="632199" y="244293"/>
                    <a:pt x="623715" y="306041"/>
                    <a:pt x="587481" y="352167"/>
                  </a:cubicBezTo>
                  <a:cubicBezTo>
                    <a:pt x="569051" y="379470"/>
                    <a:pt x="544562" y="402266"/>
                    <a:pt x="515873" y="418817"/>
                  </a:cubicBezTo>
                  <a:cubicBezTo>
                    <a:pt x="504450" y="422578"/>
                    <a:pt x="501378" y="418002"/>
                    <a:pt x="500642" y="417313"/>
                  </a:cubicBezTo>
                  <a:cubicBezTo>
                    <a:pt x="492227" y="406833"/>
                    <a:pt x="493712" y="378454"/>
                    <a:pt x="492024" y="355990"/>
                  </a:cubicBezTo>
                  <a:lnTo>
                    <a:pt x="489207" y="354085"/>
                  </a:lnTo>
                  <a:lnTo>
                    <a:pt x="416862" y="419958"/>
                  </a:lnTo>
                  <a:cubicBezTo>
                    <a:pt x="414984" y="419958"/>
                    <a:pt x="410059" y="421211"/>
                    <a:pt x="408397" y="418015"/>
                  </a:cubicBezTo>
                  <a:cubicBezTo>
                    <a:pt x="402772" y="406183"/>
                    <a:pt x="399365" y="393442"/>
                    <a:pt x="398345" y="380409"/>
                  </a:cubicBezTo>
                  <a:cubicBezTo>
                    <a:pt x="379307" y="391490"/>
                    <a:pt x="363150" y="409140"/>
                    <a:pt x="344175" y="420221"/>
                  </a:cubicBezTo>
                  <a:cubicBezTo>
                    <a:pt x="333768" y="421061"/>
                    <a:pt x="329084" y="408438"/>
                    <a:pt x="325493" y="399989"/>
                  </a:cubicBezTo>
                  <a:cubicBezTo>
                    <a:pt x="317357" y="379419"/>
                    <a:pt x="316608" y="374655"/>
                    <a:pt x="310719" y="359011"/>
                  </a:cubicBezTo>
                  <a:lnTo>
                    <a:pt x="242182" y="419306"/>
                  </a:lnTo>
                  <a:cubicBezTo>
                    <a:pt x="234567" y="423067"/>
                    <a:pt x="230176" y="414844"/>
                    <a:pt x="228221" y="408852"/>
                  </a:cubicBezTo>
                  <a:cubicBezTo>
                    <a:pt x="224377" y="392170"/>
                    <a:pt x="221646" y="375257"/>
                    <a:pt x="220047" y="358222"/>
                  </a:cubicBezTo>
                  <a:lnTo>
                    <a:pt x="216240" y="359124"/>
                  </a:lnTo>
                  <a:lnTo>
                    <a:pt x="149607" y="419406"/>
                  </a:lnTo>
                  <a:cubicBezTo>
                    <a:pt x="142550" y="421512"/>
                    <a:pt x="139986" y="418755"/>
                    <a:pt x="136470" y="410857"/>
                  </a:cubicBezTo>
                  <a:cubicBezTo>
                    <a:pt x="130416" y="397269"/>
                    <a:pt x="130696" y="366883"/>
                    <a:pt x="127586" y="346138"/>
                  </a:cubicBezTo>
                  <a:lnTo>
                    <a:pt x="123778" y="346138"/>
                  </a:lnTo>
                  <a:cubicBezTo>
                    <a:pt x="92404" y="370193"/>
                    <a:pt x="64722" y="401807"/>
                    <a:pt x="29616" y="420234"/>
                  </a:cubicBezTo>
                  <a:cubicBezTo>
                    <a:pt x="24895" y="421111"/>
                    <a:pt x="21151" y="416473"/>
                    <a:pt x="19298" y="412637"/>
                  </a:cubicBezTo>
                  <a:cubicBezTo>
                    <a:pt x="-11265" y="346777"/>
                    <a:pt x="-6619" y="252185"/>
                    <a:pt x="41090" y="197368"/>
                  </a:cubicBezTo>
                  <a:cubicBezTo>
                    <a:pt x="46839" y="191301"/>
                    <a:pt x="63859" y="170593"/>
                    <a:pt x="83177" y="178766"/>
                  </a:cubicBezTo>
                  <a:cubicBezTo>
                    <a:pt x="94066" y="182527"/>
                    <a:pt x="99169" y="191163"/>
                    <a:pt x="102367" y="208224"/>
                  </a:cubicBezTo>
                  <a:cubicBezTo>
                    <a:pt x="105644" y="218289"/>
                    <a:pt x="105550" y="229128"/>
                    <a:pt x="102100" y="239136"/>
                  </a:cubicBezTo>
                  <a:lnTo>
                    <a:pt x="36368" y="299443"/>
                  </a:lnTo>
                  <a:cubicBezTo>
                    <a:pt x="31891" y="327931"/>
                    <a:pt x="35276" y="357085"/>
                    <a:pt x="46167" y="383831"/>
                  </a:cubicBezTo>
                  <a:cubicBezTo>
                    <a:pt x="49091" y="387721"/>
                    <a:pt x="54653" y="388534"/>
                    <a:pt x="58592" y="385649"/>
                  </a:cubicBezTo>
                  <a:cubicBezTo>
                    <a:pt x="59251" y="385174"/>
                    <a:pt x="59836" y="384608"/>
                    <a:pt x="60331" y="383969"/>
                  </a:cubicBezTo>
                  <a:lnTo>
                    <a:pt x="127954" y="320866"/>
                  </a:lnTo>
                  <a:cubicBezTo>
                    <a:pt x="138298" y="220734"/>
                    <a:pt x="157146" y="123460"/>
                    <a:pt x="202291" y="37681"/>
                  </a:cubicBezTo>
                  <a:cubicBezTo>
                    <a:pt x="207634" y="27791"/>
                    <a:pt x="225365" y="752"/>
                    <a:pt x="243007" y="0"/>
                  </a:cubicBezTo>
                  <a:cubicBezTo>
                    <a:pt x="244671" y="580"/>
                    <a:pt x="245549" y="2377"/>
                    <a:pt x="244974" y="4024"/>
                  </a:cubicBezTo>
                  <a:cubicBezTo>
                    <a:pt x="244800" y="4491"/>
                    <a:pt x="244523" y="4916"/>
                    <a:pt x="244162" y="5265"/>
                  </a:cubicBezTo>
                  <a:close/>
                  <a:moveTo>
                    <a:pt x="77224" y="185510"/>
                  </a:moveTo>
                  <a:cubicBezTo>
                    <a:pt x="72275" y="187374"/>
                    <a:pt x="67757" y="190199"/>
                    <a:pt x="63936" y="193821"/>
                  </a:cubicBezTo>
                  <a:cubicBezTo>
                    <a:pt x="49883" y="221174"/>
                    <a:pt x="41576" y="251051"/>
                    <a:pt x="39516" y="281656"/>
                  </a:cubicBezTo>
                  <a:cubicBezTo>
                    <a:pt x="54645" y="269747"/>
                    <a:pt x="68060" y="257563"/>
                    <a:pt x="80448" y="246419"/>
                  </a:cubicBezTo>
                  <a:lnTo>
                    <a:pt x="86553" y="197770"/>
                  </a:lnTo>
                  <a:cubicBezTo>
                    <a:pt x="89459" y="190311"/>
                    <a:pt x="84776" y="185585"/>
                    <a:pt x="77224" y="185510"/>
                  </a:cubicBezTo>
                  <a:close/>
                  <a:moveTo>
                    <a:pt x="415111" y="203536"/>
                  </a:moveTo>
                  <a:cubicBezTo>
                    <a:pt x="401949" y="195927"/>
                    <a:pt x="388711" y="202746"/>
                    <a:pt x="378215" y="212574"/>
                  </a:cubicBezTo>
                  <a:cubicBezTo>
                    <a:pt x="347754" y="241405"/>
                    <a:pt x="343502" y="289039"/>
                    <a:pt x="346891" y="331271"/>
                  </a:cubicBezTo>
                  <a:cubicBezTo>
                    <a:pt x="346891" y="335307"/>
                    <a:pt x="349125" y="369503"/>
                    <a:pt x="360611" y="381976"/>
                  </a:cubicBezTo>
                  <a:cubicBezTo>
                    <a:pt x="374915" y="383229"/>
                    <a:pt x="386211" y="370030"/>
                    <a:pt x="395730" y="361681"/>
                  </a:cubicBezTo>
                  <a:cubicBezTo>
                    <a:pt x="400921" y="310211"/>
                    <a:pt x="407039" y="258741"/>
                    <a:pt x="416037" y="208224"/>
                  </a:cubicBezTo>
                  <a:close/>
                  <a:moveTo>
                    <a:pt x="566146" y="207698"/>
                  </a:moveTo>
                  <a:cubicBezTo>
                    <a:pt x="549725" y="213795"/>
                    <a:pt x="536837" y="226697"/>
                    <a:pt x="530887" y="242997"/>
                  </a:cubicBezTo>
                  <a:cubicBezTo>
                    <a:pt x="520125" y="285993"/>
                    <a:pt x="527207" y="334768"/>
                    <a:pt x="529618" y="378792"/>
                  </a:cubicBezTo>
                  <a:lnTo>
                    <a:pt x="533324" y="388219"/>
                  </a:lnTo>
                  <a:cubicBezTo>
                    <a:pt x="542615" y="387893"/>
                    <a:pt x="553784" y="376937"/>
                    <a:pt x="558899" y="370995"/>
                  </a:cubicBezTo>
                  <a:cubicBezTo>
                    <a:pt x="596556" y="329628"/>
                    <a:pt x="589969" y="272518"/>
                    <a:pt x="581871" y="223730"/>
                  </a:cubicBezTo>
                  <a:cubicBezTo>
                    <a:pt x="581224" y="219970"/>
                    <a:pt x="579333" y="203749"/>
                    <a:pt x="566158" y="207710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 116">
              <a:extLst>
                <a:ext uri="{FF2B5EF4-FFF2-40B4-BE49-F238E27FC236}">
                  <a16:creationId xmlns:a16="http://schemas.microsoft.com/office/drawing/2014/main" id="{F4019E6D-CE76-514E-964D-18A568388C34}"/>
                </a:ext>
              </a:extLst>
            </p:cNvPr>
            <p:cNvSpPr/>
            <p:nvPr/>
          </p:nvSpPr>
          <p:spPr>
            <a:xfrm>
              <a:off x="7944028" y="412486"/>
              <a:ext cx="622096" cy="420416"/>
            </a:xfrm>
            <a:custGeom>
              <a:avLst/>
              <a:gdLst>
                <a:gd name="connsiteX0" fmla="*/ 244048 w 622096"/>
                <a:gd name="connsiteY0" fmla="*/ 5277 h 420416"/>
                <a:gd name="connsiteX1" fmla="*/ 190170 w 622096"/>
                <a:gd name="connsiteY1" fmla="*/ 115337 h 420416"/>
                <a:gd name="connsiteX2" fmla="*/ 166055 w 622096"/>
                <a:gd name="connsiteY2" fmla="*/ 372775 h 420416"/>
                <a:gd name="connsiteX3" fmla="*/ 174496 w 622096"/>
                <a:gd name="connsiteY3" fmla="*/ 380296 h 420416"/>
                <a:gd name="connsiteX4" fmla="*/ 219273 w 622096"/>
                <a:gd name="connsiteY4" fmla="*/ 341437 h 420416"/>
                <a:gd name="connsiteX5" fmla="*/ 302545 w 622096"/>
                <a:gd name="connsiteY5" fmla="*/ 23667 h 420416"/>
                <a:gd name="connsiteX6" fmla="*/ 333806 w 622096"/>
                <a:gd name="connsiteY6" fmla="*/ 514 h 420416"/>
                <a:gd name="connsiteX7" fmla="*/ 335633 w 622096"/>
                <a:gd name="connsiteY7" fmla="*/ 7095 h 420416"/>
                <a:gd name="connsiteX8" fmla="*/ 302964 w 622096"/>
                <a:gd name="connsiteY8" fmla="*/ 49013 h 420416"/>
                <a:gd name="connsiteX9" fmla="*/ 293445 w 622096"/>
                <a:gd name="connsiteY9" fmla="*/ 78835 h 420416"/>
                <a:gd name="connsiteX10" fmla="*/ 257717 w 622096"/>
                <a:gd name="connsiteY10" fmla="*/ 371772 h 420416"/>
                <a:gd name="connsiteX11" fmla="*/ 269927 w 622096"/>
                <a:gd name="connsiteY11" fmla="*/ 380296 h 420416"/>
                <a:gd name="connsiteX12" fmla="*/ 308980 w 622096"/>
                <a:gd name="connsiteY12" fmla="*/ 342239 h 420416"/>
                <a:gd name="connsiteX13" fmla="*/ 378228 w 622096"/>
                <a:gd name="connsiteY13" fmla="*/ 200690 h 420416"/>
                <a:gd name="connsiteX14" fmla="*/ 448161 w 622096"/>
                <a:gd name="connsiteY14" fmla="*/ 198284 h 420416"/>
                <a:gd name="connsiteX15" fmla="*/ 429681 w 622096"/>
                <a:gd name="connsiteY15" fmla="*/ 360202 h 420416"/>
                <a:gd name="connsiteX16" fmla="*/ 437030 w 622096"/>
                <a:gd name="connsiteY16" fmla="*/ 382766 h 420416"/>
                <a:gd name="connsiteX17" fmla="*/ 444645 w 622096"/>
                <a:gd name="connsiteY17" fmla="*/ 380961 h 420416"/>
                <a:gd name="connsiteX18" fmla="*/ 491339 w 622096"/>
                <a:gd name="connsiteY18" fmla="*/ 333590 h 420416"/>
                <a:gd name="connsiteX19" fmla="*/ 528362 w 622096"/>
                <a:gd name="connsiteY19" fmla="*/ 108092 h 420416"/>
                <a:gd name="connsiteX20" fmla="*/ 593332 w 622096"/>
                <a:gd name="connsiteY20" fmla="*/ 24369 h 420416"/>
                <a:gd name="connsiteX21" fmla="*/ 580031 w 622096"/>
                <a:gd name="connsiteY21" fmla="*/ 39574 h 420416"/>
                <a:gd name="connsiteX22" fmla="*/ 525455 w 622096"/>
                <a:gd name="connsiteY22" fmla="*/ 215808 h 420416"/>
                <a:gd name="connsiteX23" fmla="*/ 546295 w 622096"/>
                <a:gd name="connsiteY23" fmla="*/ 207560 h 420416"/>
                <a:gd name="connsiteX24" fmla="*/ 590083 w 622096"/>
                <a:gd name="connsiteY24" fmla="*/ 171420 h 420416"/>
                <a:gd name="connsiteX25" fmla="*/ 609717 w 622096"/>
                <a:gd name="connsiteY25" fmla="*/ 190324 h 420416"/>
                <a:gd name="connsiteX26" fmla="*/ 587443 w 622096"/>
                <a:gd name="connsiteY26" fmla="*/ 352167 h 420416"/>
                <a:gd name="connsiteX27" fmla="*/ 515835 w 622096"/>
                <a:gd name="connsiteY27" fmla="*/ 418842 h 420416"/>
                <a:gd name="connsiteX28" fmla="*/ 500604 w 622096"/>
                <a:gd name="connsiteY28" fmla="*/ 417338 h 420416"/>
                <a:gd name="connsiteX29" fmla="*/ 491986 w 622096"/>
                <a:gd name="connsiteY29" fmla="*/ 356003 h 420416"/>
                <a:gd name="connsiteX30" fmla="*/ 489169 w 622096"/>
                <a:gd name="connsiteY30" fmla="*/ 354097 h 420416"/>
                <a:gd name="connsiteX31" fmla="*/ 416824 w 622096"/>
                <a:gd name="connsiteY31" fmla="*/ 419983 h 420416"/>
                <a:gd name="connsiteX32" fmla="*/ 408359 w 622096"/>
                <a:gd name="connsiteY32" fmla="*/ 418040 h 420416"/>
                <a:gd name="connsiteX33" fmla="*/ 398307 w 622096"/>
                <a:gd name="connsiteY33" fmla="*/ 380434 h 420416"/>
                <a:gd name="connsiteX34" fmla="*/ 344137 w 622096"/>
                <a:gd name="connsiteY34" fmla="*/ 420246 h 420416"/>
                <a:gd name="connsiteX35" fmla="*/ 325454 w 622096"/>
                <a:gd name="connsiteY35" fmla="*/ 400014 h 420416"/>
                <a:gd name="connsiteX36" fmla="*/ 310681 w 622096"/>
                <a:gd name="connsiteY36" fmla="*/ 359036 h 420416"/>
                <a:gd name="connsiteX37" fmla="*/ 242144 w 622096"/>
                <a:gd name="connsiteY37" fmla="*/ 419331 h 420416"/>
                <a:gd name="connsiteX38" fmla="*/ 228183 w 622096"/>
                <a:gd name="connsiteY38" fmla="*/ 408864 h 420416"/>
                <a:gd name="connsiteX39" fmla="*/ 220009 w 622096"/>
                <a:gd name="connsiteY39" fmla="*/ 358222 h 420416"/>
                <a:gd name="connsiteX40" fmla="*/ 216202 w 622096"/>
                <a:gd name="connsiteY40" fmla="*/ 359149 h 420416"/>
                <a:gd name="connsiteX41" fmla="*/ 149607 w 622096"/>
                <a:gd name="connsiteY41" fmla="*/ 419469 h 420416"/>
                <a:gd name="connsiteX42" fmla="*/ 136470 w 622096"/>
                <a:gd name="connsiteY42" fmla="*/ 410920 h 420416"/>
                <a:gd name="connsiteX43" fmla="*/ 127586 w 622096"/>
                <a:gd name="connsiteY43" fmla="*/ 346188 h 420416"/>
                <a:gd name="connsiteX44" fmla="*/ 123778 w 622096"/>
                <a:gd name="connsiteY44" fmla="*/ 346188 h 420416"/>
                <a:gd name="connsiteX45" fmla="*/ 29616 w 622096"/>
                <a:gd name="connsiteY45" fmla="*/ 420309 h 420416"/>
                <a:gd name="connsiteX46" fmla="*/ 19298 w 622096"/>
                <a:gd name="connsiteY46" fmla="*/ 412713 h 420416"/>
                <a:gd name="connsiteX47" fmla="*/ 41090 w 622096"/>
                <a:gd name="connsiteY47" fmla="*/ 197431 h 420416"/>
                <a:gd name="connsiteX48" fmla="*/ 83177 w 622096"/>
                <a:gd name="connsiteY48" fmla="*/ 178829 h 420416"/>
                <a:gd name="connsiteX49" fmla="*/ 102380 w 622096"/>
                <a:gd name="connsiteY49" fmla="*/ 208287 h 420416"/>
                <a:gd name="connsiteX50" fmla="*/ 102100 w 622096"/>
                <a:gd name="connsiteY50" fmla="*/ 239199 h 420416"/>
                <a:gd name="connsiteX51" fmla="*/ 36368 w 622096"/>
                <a:gd name="connsiteY51" fmla="*/ 299506 h 420416"/>
                <a:gd name="connsiteX52" fmla="*/ 46002 w 622096"/>
                <a:gd name="connsiteY52" fmla="*/ 383906 h 420416"/>
                <a:gd name="connsiteX53" fmla="*/ 58427 w 622096"/>
                <a:gd name="connsiteY53" fmla="*/ 385724 h 420416"/>
                <a:gd name="connsiteX54" fmla="*/ 60166 w 622096"/>
                <a:gd name="connsiteY54" fmla="*/ 384044 h 420416"/>
                <a:gd name="connsiteX55" fmla="*/ 127891 w 622096"/>
                <a:gd name="connsiteY55" fmla="*/ 320866 h 420416"/>
                <a:gd name="connsiteX56" fmla="*/ 202240 w 622096"/>
                <a:gd name="connsiteY56" fmla="*/ 37681 h 420416"/>
                <a:gd name="connsiteX57" fmla="*/ 242956 w 622096"/>
                <a:gd name="connsiteY57" fmla="*/ 0 h 420416"/>
                <a:gd name="connsiteX58" fmla="*/ 244860 w 622096"/>
                <a:gd name="connsiteY58" fmla="*/ 4049 h 420416"/>
                <a:gd name="connsiteX59" fmla="*/ 244048 w 622096"/>
                <a:gd name="connsiteY59" fmla="*/ 5277 h 420416"/>
                <a:gd name="connsiteX60" fmla="*/ 77123 w 622096"/>
                <a:gd name="connsiteY60" fmla="*/ 185523 h 420416"/>
                <a:gd name="connsiteX61" fmla="*/ 63834 w 622096"/>
                <a:gd name="connsiteY61" fmla="*/ 193833 h 420416"/>
                <a:gd name="connsiteX62" fmla="*/ 39415 w 622096"/>
                <a:gd name="connsiteY62" fmla="*/ 281681 h 420416"/>
                <a:gd name="connsiteX63" fmla="*/ 80346 w 622096"/>
                <a:gd name="connsiteY63" fmla="*/ 246444 h 420416"/>
                <a:gd name="connsiteX64" fmla="*/ 86451 w 622096"/>
                <a:gd name="connsiteY64" fmla="*/ 197795 h 420416"/>
                <a:gd name="connsiteX65" fmla="*/ 77123 w 622096"/>
                <a:gd name="connsiteY65" fmla="*/ 185523 h 420416"/>
                <a:gd name="connsiteX66" fmla="*/ 415022 w 622096"/>
                <a:gd name="connsiteY66" fmla="*/ 203548 h 420416"/>
                <a:gd name="connsiteX67" fmla="*/ 378126 w 622096"/>
                <a:gd name="connsiteY67" fmla="*/ 212574 h 420416"/>
                <a:gd name="connsiteX68" fmla="*/ 346815 w 622096"/>
                <a:gd name="connsiteY68" fmla="*/ 331283 h 420416"/>
                <a:gd name="connsiteX69" fmla="*/ 360522 w 622096"/>
                <a:gd name="connsiteY69" fmla="*/ 382001 h 420416"/>
                <a:gd name="connsiteX70" fmla="*/ 395641 w 622096"/>
                <a:gd name="connsiteY70" fmla="*/ 361706 h 420416"/>
                <a:gd name="connsiteX71" fmla="*/ 415948 w 622096"/>
                <a:gd name="connsiteY71" fmla="*/ 208237 h 420416"/>
                <a:gd name="connsiteX72" fmla="*/ 566057 w 622096"/>
                <a:gd name="connsiteY72" fmla="*/ 207710 h 420416"/>
                <a:gd name="connsiteX73" fmla="*/ 530798 w 622096"/>
                <a:gd name="connsiteY73" fmla="*/ 243009 h 420416"/>
                <a:gd name="connsiteX74" fmla="*/ 529529 w 622096"/>
                <a:gd name="connsiteY74" fmla="*/ 378817 h 420416"/>
                <a:gd name="connsiteX75" fmla="*/ 533235 w 622096"/>
                <a:gd name="connsiteY75" fmla="*/ 388244 h 420416"/>
                <a:gd name="connsiteX76" fmla="*/ 558810 w 622096"/>
                <a:gd name="connsiteY76" fmla="*/ 371020 h 420416"/>
                <a:gd name="connsiteX77" fmla="*/ 581795 w 622096"/>
                <a:gd name="connsiteY77" fmla="*/ 223743 h 420416"/>
                <a:gd name="connsiteX78" fmla="*/ 566095 w 622096"/>
                <a:gd name="connsiteY78" fmla="*/ 207710 h 42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096" h="420416">
                  <a:moveTo>
                    <a:pt x="244048" y="5277"/>
                  </a:moveTo>
                  <a:cubicBezTo>
                    <a:pt x="206061" y="28355"/>
                    <a:pt x="203738" y="76114"/>
                    <a:pt x="190170" y="115337"/>
                  </a:cubicBezTo>
                  <a:cubicBezTo>
                    <a:pt x="169609" y="194786"/>
                    <a:pt x="154633" y="286457"/>
                    <a:pt x="166055" y="372775"/>
                  </a:cubicBezTo>
                  <a:cubicBezTo>
                    <a:pt x="167605" y="376390"/>
                    <a:pt x="170696" y="379144"/>
                    <a:pt x="174496" y="380296"/>
                  </a:cubicBezTo>
                  <a:cubicBezTo>
                    <a:pt x="191129" y="369398"/>
                    <a:pt x="206191" y="356326"/>
                    <a:pt x="219273" y="341437"/>
                  </a:cubicBezTo>
                  <a:cubicBezTo>
                    <a:pt x="227853" y="228143"/>
                    <a:pt x="248757" y="118760"/>
                    <a:pt x="302545" y="23667"/>
                  </a:cubicBezTo>
                  <a:cubicBezTo>
                    <a:pt x="309829" y="12508"/>
                    <a:pt x="320920" y="4295"/>
                    <a:pt x="333806" y="514"/>
                  </a:cubicBezTo>
                  <a:cubicBezTo>
                    <a:pt x="336636" y="514"/>
                    <a:pt x="337613" y="5227"/>
                    <a:pt x="335633" y="7095"/>
                  </a:cubicBezTo>
                  <a:cubicBezTo>
                    <a:pt x="316443" y="14027"/>
                    <a:pt x="309780" y="30361"/>
                    <a:pt x="302964" y="49013"/>
                  </a:cubicBezTo>
                  <a:cubicBezTo>
                    <a:pt x="299197" y="58759"/>
                    <a:pt x="296018" y="68717"/>
                    <a:pt x="293445" y="78835"/>
                  </a:cubicBezTo>
                  <a:cubicBezTo>
                    <a:pt x="267185" y="170443"/>
                    <a:pt x="246358" y="270462"/>
                    <a:pt x="257717" y="371772"/>
                  </a:cubicBezTo>
                  <a:cubicBezTo>
                    <a:pt x="259570" y="376473"/>
                    <a:pt x="264241" y="382139"/>
                    <a:pt x="269927" y="380296"/>
                  </a:cubicBezTo>
                  <a:cubicBezTo>
                    <a:pt x="285184" y="370066"/>
                    <a:pt x="298419" y="357169"/>
                    <a:pt x="308980" y="342239"/>
                  </a:cubicBezTo>
                  <a:cubicBezTo>
                    <a:pt x="303214" y="285938"/>
                    <a:pt x="329984" y="231218"/>
                    <a:pt x="378228" y="200690"/>
                  </a:cubicBezTo>
                  <a:cubicBezTo>
                    <a:pt x="399780" y="188792"/>
                    <a:pt x="425822" y="187895"/>
                    <a:pt x="448161" y="198284"/>
                  </a:cubicBezTo>
                  <a:cubicBezTo>
                    <a:pt x="436742" y="251544"/>
                    <a:pt x="430553" y="305768"/>
                    <a:pt x="429681" y="360202"/>
                  </a:cubicBezTo>
                  <a:cubicBezTo>
                    <a:pt x="430316" y="366708"/>
                    <a:pt x="429529" y="377990"/>
                    <a:pt x="437030" y="382766"/>
                  </a:cubicBezTo>
                  <a:lnTo>
                    <a:pt x="444645" y="380961"/>
                  </a:lnTo>
                  <a:lnTo>
                    <a:pt x="491339" y="333590"/>
                  </a:lnTo>
                  <a:cubicBezTo>
                    <a:pt x="498791" y="257720"/>
                    <a:pt x="511158" y="182400"/>
                    <a:pt x="528362" y="108092"/>
                  </a:cubicBezTo>
                  <a:cubicBezTo>
                    <a:pt x="539048" y="74472"/>
                    <a:pt x="563963" y="27979"/>
                    <a:pt x="593332" y="24369"/>
                  </a:cubicBezTo>
                  <a:cubicBezTo>
                    <a:pt x="604171" y="33845"/>
                    <a:pt x="592228" y="28129"/>
                    <a:pt x="580031" y="39574"/>
                  </a:cubicBezTo>
                  <a:cubicBezTo>
                    <a:pt x="544722" y="77982"/>
                    <a:pt x="531725" y="152154"/>
                    <a:pt x="525455" y="215808"/>
                  </a:cubicBezTo>
                  <a:cubicBezTo>
                    <a:pt x="532702" y="217763"/>
                    <a:pt x="534073" y="216949"/>
                    <a:pt x="546295" y="207560"/>
                  </a:cubicBezTo>
                  <a:lnTo>
                    <a:pt x="590083" y="171420"/>
                  </a:lnTo>
                  <a:cubicBezTo>
                    <a:pt x="600465" y="170568"/>
                    <a:pt x="606011" y="182802"/>
                    <a:pt x="609717" y="190324"/>
                  </a:cubicBezTo>
                  <a:cubicBezTo>
                    <a:pt x="632177" y="244318"/>
                    <a:pt x="623681" y="306053"/>
                    <a:pt x="587443" y="352167"/>
                  </a:cubicBezTo>
                  <a:cubicBezTo>
                    <a:pt x="569021" y="379484"/>
                    <a:pt x="544530" y="402288"/>
                    <a:pt x="515835" y="418842"/>
                  </a:cubicBezTo>
                  <a:cubicBezTo>
                    <a:pt x="504412" y="422603"/>
                    <a:pt x="501340" y="418027"/>
                    <a:pt x="500604" y="417338"/>
                  </a:cubicBezTo>
                  <a:cubicBezTo>
                    <a:pt x="492189" y="406846"/>
                    <a:pt x="493674" y="378479"/>
                    <a:pt x="491986" y="356003"/>
                  </a:cubicBezTo>
                  <a:lnTo>
                    <a:pt x="489169" y="354097"/>
                  </a:lnTo>
                  <a:lnTo>
                    <a:pt x="416824" y="419983"/>
                  </a:lnTo>
                  <a:cubicBezTo>
                    <a:pt x="414946" y="419983"/>
                    <a:pt x="410021" y="421237"/>
                    <a:pt x="408359" y="418040"/>
                  </a:cubicBezTo>
                  <a:cubicBezTo>
                    <a:pt x="402734" y="406208"/>
                    <a:pt x="399327" y="393467"/>
                    <a:pt x="398307" y="380434"/>
                  </a:cubicBezTo>
                  <a:cubicBezTo>
                    <a:pt x="379269" y="391515"/>
                    <a:pt x="363112" y="409165"/>
                    <a:pt x="344137" y="420246"/>
                  </a:cubicBezTo>
                  <a:cubicBezTo>
                    <a:pt x="333730" y="421086"/>
                    <a:pt x="329046" y="408463"/>
                    <a:pt x="325454" y="400014"/>
                  </a:cubicBezTo>
                  <a:cubicBezTo>
                    <a:pt x="317319" y="379444"/>
                    <a:pt x="316570" y="374668"/>
                    <a:pt x="310681" y="359036"/>
                  </a:cubicBezTo>
                  <a:lnTo>
                    <a:pt x="242144" y="419331"/>
                  </a:lnTo>
                  <a:cubicBezTo>
                    <a:pt x="234529" y="423017"/>
                    <a:pt x="230137" y="414869"/>
                    <a:pt x="228183" y="408864"/>
                  </a:cubicBezTo>
                  <a:cubicBezTo>
                    <a:pt x="224332" y="392180"/>
                    <a:pt x="221602" y="375262"/>
                    <a:pt x="220009" y="358222"/>
                  </a:cubicBezTo>
                  <a:lnTo>
                    <a:pt x="216202" y="359149"/>
                  </a:lnTo>
                  <a:lnTo>
                    <a:pt x="149607" y="419469"/>
                  </a:lnTo>
                  <a:cubicBezTo>
                    <a:pt x="142550" y="421575"/>
                    <a:pt x="139986" y="418817"/>
                    <a:pt x="136470" y="410920"/>
                  </a:cubicBezTo>
                  <a:cubicBezTo>
                    <a:pt x="130416" y="397332"/>
                    <a:pt x="130696" y="366946"/>
                    <a:pt x="127586" y="346188"/>
                  </a:cubicBezTo>
                  <a:lnTo>
                    <a:pt x="123778" y="346188"/>
                  </a:lnTo>
                  <a:cubicBezTo>
                    <a:pt x="92404" y="370268"/>
                    <a:pt x="64722" y="401882"/>
                    <a:pt x="29616" y="420309"/>
                  </a:cubicBezTo>
                  <a:cubicBezTo>
                    <a:pt x="24895" y="421186"/>
                    <a:pt x="21151" y="416548"/>
                    <a:pt x="19298" y="412713"/>
                  </a:cubicBezTo>
                  <a:cubicBezTo>
                    <a:pt x="-11265" y="346839"/>
                    <a:pt x="-6619" y="252261"/>
                    <a:pt x="41090" y="197431"/>
                  </a:cubicBezTo>
                  <a:cubicBezTo>
                    <a:pt x="46839" y="191364"/>
                    <a:pt x="63859" y="170656"/>
                    <a:pt x="83177" y="178829"/>
                  </a:cubicBezTo>
                  <a:cubicBezTo>
                    <a:pt x="94066" y="182589"/>
                    <a:pt x="99181" y="191226"/>
                    <a:pt x="102380" y="208287"/>
                  </a:cubicBezTo>
                  <a:cubicBezTo>
                    <a:pt x="105640" y="218355"/>
                    <a:pt x="105542" y="229191"/>
                    <a:pt x="102100" y="239199"/>
                  </a:cubicBezTo>
                  <a:lnTo>
                    <a:pt x="36368" y="299506"/>
                  </a:lnTo>
                  <a:cubicBezTo>
                    <a:pt x="31849" y="327984"/>
                    <a:pt x="35177" y="357137"/>
                    <a:pt x="46002" y="383906"/>
                  </a:cubicBezTo>
                  <a:cubicBezTo>
                    <a:pt x="48926" y="387796"/>
                    <a:pt x="54488" y="388610"/>
                    <a:pt x="58427" y="385724"/>
                  </a:cubicBezTo>
                  <a:cubicBezTo>
                    <a:pt x="59086" y="385249"/>
                    <a:pt x="59671" y="384684"/>
                    <a:pt x="60166" y="384044"/>
                  </a:cubicBezTo>
                  <a:lnTo>
                    <a:pt x="127891" y="320866"/>
                  </a:lnTo>
                  <a:cubicBezTo>
                    <a:pt x="138235" y="220734"/>
                    <a:pt x="157082" y="123460"/>
                    <a:pt x="202240" y="37681"/>
                  </a:cubicBezTo>
                  <a:cubicBezTo>
                    <a:pt x="207584" y="27791"/>
                    <a:pt x="225314" y="752"/>
                    <a:pt x="242956" y="0"/>
                  </a:cubicBezTo>
                  <a:cubicBezTo>
                    <a:pt x="244613" y="600"/>
                    <a:pt x="245466" y="2412"/>
                    <a:pt x="244860" y="4049"/>
                  </a:cubicBezTo>
                  <a:cubicBezTo>
                    <a:pt x="244685" y="4513"/>
                    <a:pt x="244408" y="4933"/>
                    <a:pt x="244048" y="5277"/>
                  </a:cubicBezTo>
                  <a:close/>
                  <a:moveTo>
                    <a:pt x="77123" y="185523"/>
                  </a:moveTo>
                  <a:cubicBezTo>
                    <a:pt x="72174" y="187387"/>
                    <a:pt x="67656" y="190212"/>
                    <a:pt x="63834" y="193833"/>
                  </a:cubicBezTo>
                  <a:cubicBezTo>
                    <a:pt x="49780" y="221191"/>
                    <a:pt x="41473" y="251072"/>
                    <a:pt x="39415" y="281681"/>
                  </a:cubicBezTo>
                  <a:cubicBezTo>
                    <a:pt x="54543" y="269772"/>
                    <a:pt x="67959" y="257588"/>
                    <a:pt x="80346" y="246444"/>
                  </a:cubicBezTo>
                  <a:lnTo>
                    <a:pt x="86451" y="197795"/>
                  </a:lnTo>
                  <a:cubicBezTo>
                    <a:pt x="89383" y="190324"/>
                    <a:pt x="84738" y="185598"/>
                    <a:pt x="77123" y="185523"/>
                  </a:cubicBezTo>
                  <a:close/>
                  <a:moveTo>
                    <a:pt x="415022" y="203548"/>
                  </a:moveTo>
                  <a:cubicBezTo>
                    <a:pt x="401860" y="195939"/>
                    <a:pt x="388623" y="202759"/>
                    <a:pt x="378126" y="212574"/>
                  </a:cubicBezTo>
                  <a:cubicBezTo>
                    <a:pt x="347665" y="241405"/>
                    <a:pt x="343414" y="289039"/>
                    <a:pt x="346815" y="331283"/>
                  </a:cubicBezTo>
                  <a:cubicBezTo>
                    <a:pt x="346815" y="335320"/>
                    <a:pt x="349036" y="369528"/>
                    <a:pt x="360522" y="382001"/>
                  </a:cubicBezTo>
                  <a:cubicBezTo>
                    <a:pt x="374826" y="383255"/>
                    <a:pt x="386122" y="370055"/>
                    <a:pt x="395641" y="361706"/>
                  </a:cubicBezTo>
                  <a:cubicBezTo>
                    <a:pt x="400832" y="310224"/>
                    <a:pt x="406950" y="258754"/>
                    <a:pt x="415948" y="208237"/>
                  </a:cubicBezTo>
                  <a:close/>
                  <a:moveTo>
                    <a:pt x="566057" y="207710"/>
                  </a:moveTo>
                  <a:cubicBezTo>
                    <a:pt x="549631" y="213798"/>
                    <a:pt x="536740" y="226705"/>
                    <a:pt x="530798" y="243009"/>
                  </a:cubicBezTo>
                  <a:cubicBezTo>
                    <a:pt x="520036" y="286006"/>
                    <a:pt x="527118" y="334781"/>
                    <a:pt x="529529" y="378817"/>
                  </a:cubicBezTo>
                  <a:lnTo>
                    <a:pt x="533235" y="388244"/>
                  </a:lnTo>
                  <a:cubicBezTo>
                    <a:pt x="542526" y="387918"/>
                    <a:pt x="553695" y="376962"/>
                    <a:pt x="558810" y="371020"/>
                  </a:cubicBezTo>
                  <a:cubicBezTo>
                    <a:pt x="596467" y="329654"/>
                    <a:pt x="589880" y="272530"/>
                    <a:pt x="581795" y="223743"/>
                  </a:cubicBezTo>
                  <a:cubicBezTo>
                    <a:pt x="581160" y="219982"/>
                    <a:pt x="579257" y="203761"/>
                    <a:pt x="566095" y="20771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087125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A0332A8-9DE9-7E4E-A6D7-58C49DCD16AC}"/>
              </a:ext>
            </a:extLst>
          </p:cNvPr>
          <p:cNvSpPr txBox="1"/>
          <p:nvPr userDrawn="1"/>
        </p:nvSpPr>
        <p:spPr>
          <a:xfrm>
            <a:off x="1114425" y="2471738"/>
            <a:ext cx="1652588" cy="273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>
                <a:latin typeface="+mj-lt"/>
              </a:rPr>
              <a:t>Ellab Icon S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EAB214F-41D5-5546-989A-0E090508A953}"/>
              </a:ext>
            </a:extLst>
          </p:cNvPr>
          <p:cNvSpPr txBox="1"/>
          <p:nvPr userDrawn="1"/>
        </p:nvSpPr>
        <p:spPr>
          <a:xfrm>
            <a:off x="1119188" y="2017713"/>
            <a:ext cx="1652587" cy="2714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>
                <a:latin typeface="+mj-lt"/>
              </a:rPr>
              <a:t>Ellab Slide Assets</a:t>
            </a:r>
          </a:p>
        </p:txBody>
      </p:sp>
      <p:sp>
        <p:nvSpPr>
          <p:cNvPr id="4" name="Graphic 3" descr="Chemicals">
            <a:extLst>
              <a:ext uri="{FF2B5EF4-FFF2-40B4-BE49-F238E27FC236}">
                <a16:creationId xmlns:a16="http://schemas.microsoft.com/office/drawing/2014/main" id="{0EF6A4AF-AEE7-C542-A652-591B93C38DDA}"/>
              </a:ext>
            </a:extLst>
          </p:cNvPr>
          <p:cNvSpPr/>
          <p:nvPr userDrawn="1"/>
        </p:nvSpPr>
        <p:spPr>
          <a:xfrm>
            <a:off x="1196975" y="4151313"/>
            <a:ext cx="360363" cy="468312"/>
          </a:xfrm>
          <a:custGeom>
            <a:avLst/>
            <a:gdLst>
              <a:gd name="connsiteX0" fmla="*/ 483994 w 560984"/>
              <a:gd name="connsiteY0" fmla="*/ 385820 h 762057"/>
              <a:gd name="connsiteX1" fmla="*/ 560984 w 560984"/>
              <a:gd name="connsiteY1" fmla="*/ 252470 h 762057"/>
              <a:gd name="connsiteX2" fmla="*/ 478488 w 560984"/>
              <a:gd name="connsiteY2" fmla="*/ 109595 h 762057"/>
              <a:gd name="connsiteX3" fmla="*/ 324002 w 560984"/>
              <a:gd name="connsiteY3" fmla="*/ 109595 h 762057"/>
              <a:gd name="connsiteX4" fmla="*/ 260728 w 560984"/>
              <a:gd name="connsiteY4" fmla="*/ 0 h 762057"/>
              <a:gd name="connsiteX5" fmla="*/ 244221 w 560984"/>
              <a:gd name="connsiteY5" fmla="*/ 9525 h 762057"/>
              <a:gd name="connsiteX6" fmla="*/ 307762 w 560984"/>
              <a:gd name="connsiteY6" fmla="*/ 119567 h 762057"/>
              <a:gd name="connsiteX7" fmla="*/ 236525 w 560984"/>
              <a:gd name="connsiteY7" fmla="*/ 242945 h 762057"/>
              <a:gd name="connsiteX8" fmla="*/ 93412 w 560984"/>
              <a:gd name="connsiteY8" fmla="*/ 242945 h 762057"/>
              <a:gd name="connsiteX9" fmla="*/ 30175 w 560984"/>
              <a:gd name="connsiteY9" fmla="*/ 133407 h 762057"/>
              <a:gd name="connsiteX10" fmla="*/ 13668 w 560984"/>
              <a:gd name="connsiteY10" fmla="*/ 142932 h 762057"/>
              <a:gd name="connsiteX11" fmla="*/ 76952 w 560984"/>
              <a:gd name="connsiteY11" fmla="*/ 252546 h 762057"/>
              <a:gd name="connsiteX12" fmla="*/ 0 w 560984"/>
              <a:gd name="connsiteY12" fmla="*/ 385820 h 762057"/>
              <a:gd name="connsiteX13" fmla="*/ 82496 w 560984"/>
              <a:gd name="connsiteY13" fmla="*/ 528695 h 762057"/>
              <a:gd name="connsiteX14" fmla="*/ 236525 w 560984"/>
              <a:gd name="connsiteY14" fmla="*/ 528695 h 762057"/>
              <a:gd name="connsiteX15" fmla="*/ 313515 w 560984"/>
              <a:gd name="connsiteY15" fmla="*/ 662045 h 762057"/>
              <a:gd name="connsiteX16" fmla="*/ 467354 w 560984"/>
              <a:gd name="connsiteY16" fmla="*/ 662045 h 762057"/>
              <a:gd name="connsiteX17" fmla="*/ 525094 w 560984"/>
              <a:gd name="connsiteY17" fmla="*/ 762057 h 762057"/>
              <a:gd name="connsiteX18" fmla="*/ 541601 w 560984"/>
              <a:gd name="connsiteY18" fmla="*/ 752532 h 762057"/>
              <a:gd name="connsiteX19" fmla="*/ 483927 w 560984"/>
              <a:gd name="connsiteY19" fmla="*/ 652634 h 762057"/>
              <a:gd name="connsiteX20" fmla="*/ 560984 w 560984"/>
              <a:gd name="connsiteY20" fmla="*/ 519170 h 762057"/>
              <a:gd name="connsiteX21" fmla="*/ 324517 w 560984"/>
              <a:gd name="connsiteY21" fmla="*/ 128645 h 762057"/>
              <a:gd name="connsiteX22" fmla="*/ 467496 w 560984"/>
              <a:gd name="connsiteY22" fmla="*/ 128645 h 762057"/>
              <a:gd name="connsiteX23" fmla="*/ 538934 w 560984"/>
              <a:gd name="connsiteY23" fmla="*/ 252470 h 762057"/>
              <a:gd name="connsiteX24" fmla="*/ 467496 w 560984"/>
              <a:gd name="connsiteY24" fmla="*/ 376295 h 762057"/>
              <a:gd name="connsiteX25" fmla="*/ 324517 w 560984"/>
              <a:gd name="connsiteY25" fmla="*/ 376295 h 762057"/>
              <a:gd name="connsiteX26" fmla="*/ 253022 w 560984"/>
              <a:gd name="connsiteY26" fmla="*/ 252470 h 762057"/>
              <a:gd name="connsiteX27" fmla="*/ 22003 w 560984"/>
              <a:gd name="connsiteY27" fmla="*/ 385820 h 762057"/>
              <a:gd name="connsiteX28" fmla="*/ 93488 w 560984"/>
              <a:gd name="connsiteY28" fmla="*/ 261995 h 762057"/>
              <a:gd name="connsiteX29" fmla="*/ 236468 w 560984"/>
              <a:gd name="connsiteY29" fmla="*/ 261995 h 762057"/>
              <a:gd name="connsiteX30" fmla="*/ 307962 w 560984"/>
              <a:gd name="connsiteY30" fmla="*/ 385820 h 762057"/>
              <a:gd name="connsiteX31" fmla="*/ 236468 w 560984"/>
              <a:gd name="connsiteY31" fmla="*/ 509645 h 762057"/>
              <a:gd name="connsiteX32" fmla="*/ 93488 w 560984"/>
              <a:gd name="connsiteY32" fmla="*/ 509645 h 762057"/>
              <a:gd name="connsiteX33" fmla="*/ 253022 w 560984"/>
              <a:gd name="connsiteY33" fmla="*/ 519170 h 762057"/>
              <a:gd name="connsiteX34" fmla="*/ 324517 w 560984"/>
              <a:gd name="connsiteY34" fmla="*/ 395345 h 762057"/>
              <a:gd name="connsiteX35" fmla="*/ 467496 w 560984"/>
              <a:gd name="connsiteY35" fmla="*/ 395345 h 762057"/>
              <a:gd name="connsiteX36" fmla="*/ 538934 w 560984"/>
              <a:gd name="connsiteY36" fmla="*/ 519170 h 762057"/>
              <a:gd name="connsiteX37" fmla="*/ 467496 w 560984"/>
              <a:gd name="connsiteY37" fmla="*/ 642995 h 762057"/>
              <a:gd name="connsiteX38" fmla="*/ 324517 w 560984"/>
              <a:gd name="connsiteY38" fmla="*/ 642995 h 762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560984" h="762057">
                <a:moveTo>
                  <a:pt x="483994" y="385820"/>
                </a:moveTo>
                <a:lnTo>
                  <a:pt x="560984" y="252470"/>
                </a:lnTo>
                <a:lnTo>
                  <a:pt x="478488" y="109595"/>
                </a:lnTo>
                <a:lnTo>
                  <a:pt x="324002" y="109595"/>
                </a:lnTo>
                <a:lnTo>
                  <a:pt x="260728" y="0"/>
                </a:lnTo>
                <a:lnTo>
                  <a:pt x="244221" y="9525"/>
                </a:lnTo>
                <a:lnTo>
                  <a:pt x="307762" y="119567"/>
                </a:lnTo>
                <a:lnTo>
                  <a:pt x="236525" y="242945"/>
                </a:lnTo>
                <a:lnTo>
                  <a:pt x="93412" y="242945"/>
                </a:lnTo>
                <a:lnTo>
                  <a:pt x="30175" y="133407"/>
                </a:lnTo>
                <a:lnTo>
                  <a:pt x="13668" y="142932"/>
                </a:lnTo>
                <a:lnTo>
                  <a:pt x="76952" y="252546"/>
                </a:lnTo>
                <a:lnTo>
                  <a:pt x="0" y="385820"/>
                </a:lnTo>
                <a:lnTo>
                  <a:pt x="82496" y="528695"/>
                </a:lnTo>
                <a:lnTo>
                  <a:pt x="236525" y="528695"/>
                </a:lnTo>
                <a:lnTo>
                  <a:pt x="313515" y="662045"/>
                </a:lnTo>
                <a:lnTo>
                  <a:pt x="467354" y="662045"/>
                </a:lnTo>
                <a:lnTo>
                  <a:pt x="525094" y="762057"/>
                </a:lnTo>
                <a:lnTo>
                  <a:pt x="541601" y="752532"/>
                </a:lnTo>
                <a:lnTo>
                  <a:pt x="483927" y="652634"/>
                </a:lnTo>
                <a:lnTo>
                  <a:pt x="560984" y="519170"/>
                </a:lnTo>
                <a:close/>
                <a:moveTo>
                  <a:pt x="324517" y="128645"/>
                </a:moveTo>
                <a:lnTo>
                  <a:pt x="467496" y="128645"/>
                </a:lnTo>
                <a:lnTo>
                  <a:pt x="538934" y="252470"/>
                </a:lnTo>
                <a:lnTo>
                  <a:pt x="467496" y="376295"/>
                </a:lnTo>
                <a:lnTo>
                  <a:pt x="324517" y="376295"/>
                </a:lnTo>
                <a:lnTo>
                  <a:pt x="253022" y="252470"/>
                </a:lnTo>
                <a:close/>
                <a:moveTo>
                  <a:pt x="22003" y="385820"/>
                </a:moveTo>
                <a:lnTo>
                  <a:pt x="93488" y="261995"/>
                </a:lnTo>
                <a:lnTo>
                  <a:pt x="236468" y="261995"/>
                </a:lnTo>
                <a:lnTo>
                  <a:pt x="307962" y="385820"/>
                </a:lnTo>
                <a:lnTo>
                  <a:pt x="236468" y="509645"/>
                </a:lnTo>
                <a:lnTo>
                  <a:pt x="93488" y="509645"/>
                </a:lnTo>
                <a:close/>
                <a:moveTo>
                  <a:pt x="253022" y="519170"/>
                </a:moveTo>
                <a:lnTo>
                  <a:pt x="324517" y="395345"/>
                </a:lnTo>
                <a:lnTo>
                  <a:pt x="467496" y="395345"/>
                </a:lnTo>
                <a:lnTo>
                  <a:pt x="538934" y="519170"/>
                </a:lnTo>
                <a:lnTo>
                  <a:pt x="467496" y="642995"/>
                </a:lnTo>
                <a:lnTo>
                  <a:pt x="324517" y="642995"/>
                </a:lnTo>
                <a:close/>
              </a:path>
            </a:pathLst>
          </a:custGeom>
          <a:solidFill>
            <a:srgbClr val="1F6898"/>
          </a:solidFill>
          <a:ln w="9525" cap="flat">
            <a:solidFill>
              <a:srgbClr val="1F6898"/>
            </a:solidFill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grpSp>
        <p:nvGrpSpPr>
          <p:cNvPr id="5" name="Graphic 2" descr="Cell Tower">
            <a:extLst>
              <a:ext uri="{FF2B5EF4-FFF2-40B4-BE49-F238E27FC236}">
                <a16:creationId xmlns:a16="http://schemas.microsoft.com/office/drawing/2014/main" id="{0362D38C-40CF-1F43-94B8-6FF989B02853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714500" y="4129088"/>
            <a:ext cx="482600" cy="512762"/>
            <a:chOff x="2516569" y="4040506"/>
            <a:chExt cx="914400" cy="9144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F0723C39-6968-5B4F-A4C9-14BAB0E7E175}"/>
                </a:ext>
              </a:extLst>
            </p:cNvPr>
            <p:cNvSpPr/>
            <p:nvPr/>
          </p:nvSpPr>
          <p:spPr>
            <a:xfrm>
              <a:off x="2865485" y="4213194"/>
              <a:ext cx="60158" cy="161366"/>
            </a:xfrm>
            <a:custGeom>
              <a:avLst/>
              <a:gdLst>
                <a:gd name="connsiteX0" fmla="*/ 33343 w 60012"/>
                <a:gd name="connsiteY0" fmla="*/ 161925 h 161925"/>
                <a:gd name="connsiteX1" fmla="*/ 60013 w 60012"/>
                <a:gd name="connsiteY1" fmla="*/ 135255 h 161925"/>
                <a:gd name="connsiteX2" fmla="*/ 60013 w 60012"/>
                <a:gd name="connsiteY2" fmla="*/ 26670 h 161925"/>
                <a:gd name="connsiteX3" fmla="*/ 33343 w 60012"/>
                <a:gd name="connsiteY3" fmla="*/ 0 h 161925"/>
                <a:gd name="connsiteX4" fmla="*/ 33343 w 60012"/>
                <a:gd name="connsiteY4" fmla="*/ 1619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2" h="161925">
                  <a:moveTo>
                    <a:pt x="33343" y="161925"/>
                  </a:moveTo>
                  <a:lnTo>
                    <a:pt x="60013" y="135255"/>
                  </a:lnTo>
                  <a:cubicBezTo>
                    <a:pt x="30788" y="104960"/>
                    <a:pt x="30788" y="56965"/>
                    <a:pt x="60013" y="26670"/>
                  </a:cubicBezTo>
                  <a:lnTo>
                    <a:pt x="33343" y="0"/>
                  </a:lnTo>
                  <a:cubicBezTo>
                    <a:pt x="-11114" y="44821"/>
                    <a:pt x="-11114" y="117104"/>
                    <a:pt x="33343" y="161925"/>
                  </a:cubicBezTo>
                  <a:close/>
                </a:path>
              </a:pathLst>
            </a:custGeom>
            <a:solidFill>
              <a:srgbClr val="A9003C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6223D2B-1E69-8545-93AF-A9B1C37D33C6}"/>
                </a:ext>
              </a:extLst>
            </p:cNvPr>
            <p:cNvSpPr/>
            <p:nvPr/>
          </p:nvSpPr>
          <p:spPr>
            <a:xfrm>
              <a:off x="2787280" y="4159406"/>
              <a:ext cx="84221" cy="268941"/>
            </a:xfrm>
            <a:custGeom>
              <a:avLst/>
              <a:gdLst>
                <a:gd name="connsiteX0" fmla="*/ 56191 w 82860"/>
                <a:gd name="connsiteY0" fmla="*/ 268605 h 268604"/>
                <a:gd name="connsiteX1" fmla="*/ 82861 w 82860"/>
                <a:gd name="connsiteY1" fmla="*/ 241935 h 268604"/>
                <a:gd name="connsiteX2" fmla="*/ 82178 w 82860"/>
                <a:gd name="connsiteY2" fmla="*/ 27353 h 268604"/>
                <a:gd name="connsiteX3" fmla="*/ 82861 w 82860"/>
                <a:gd name="connsiteY3" fmla="*/ 26670 h 268604"/>
                <a:gd name="connsiteX4" fmla="*/ 56191 w 82860"/>
                <a:gd name="connsiteY4" fmla="*/ 0 h 268604"/>
                <a:gd name="connsiteX5" fmla="*/ 54292 w 82860"/>
                <a:gd name="connsiteY5" fmla="*/ 266707 h 268604"/>
                <a:gd name="connsiteX6" fmla="*/ 56191 w 82860"/>
                <a:gd name="connsiteY6" fmla="*/ 268605 h 26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860" h="268604">
                  <a:moveTo>
                    <a:pt x="56191" y="268605"/>
                  </a:moveTo>
                  <a:lnTo>
                    <a:pt x="82861" y="241935"/>
                  </a:lnTo>
                  <a:cubicBezTo>
                    <a:pt x="23417" y="182869"/>
                    <a:pt x="23111" y="86797"/>
                    <a:pt x="82178" y="27353"/>
                  </a:cubicBezTo>
                  <a:cubicBezTo>
                    <a:pt x="82404" y="27124"/>
                    <a:pt x="82632" y="26897"/>
                    <a:pt x="82861" y="26670"/>
                  </a:cubicBezTo>
                  <a:lnTo>
                    <a:pt x="56191" y="0"/>
                  </a:lnTo>
                  <a:cubicBezTo>
                    <a:pt x="-17983" y="73125"/>
                    <a:pt x="-18832" y="192534"/>
                    <a:pt x="54292" y="266707"/>
                  </a:cubicBezTo>
                  <a:cubicBezTo>
                    <a:pt x="54921" y="267344"/>
                    <a:pt x="55553" y="267976"/>
                    <a:pt x="56191" y="268605"/>
                  </a:cubicBezTo>
                  <a:close/>
                </a:path>
              </a:pathLst>
            </a:custGeom>
            <a:solidFill>
              <a:srgbClr val="A9003C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D32177AB-067C-5847-AE43-756548649E74}"/>
                </a:ext>
              </a:extLst>
            </p:cNvPr>
            <p:cNvSpPr/>
            <p:nvPr/>
          </p:nvSpPr>
          <p:spPr>
            <a:xfrm>
              <a:off x="2712083" y="4105617"/>
              <a:ext cx="105275" cy="376519"/>
            </a:xfrm>
            <a:custGeom>
              <a:avLst/>
              <a:gdLst>
                <a:gd name="connsiteX0" fmla="*/ 104794 w 104793"/>
                <a:gd name="connsiteY0" fmla="*/ 350520 h 377189"/>
                <a:gd name="connsiteX1" fmla="*/ 104794 w 104793"/>
                <a:gd name="connsiteY1" fmla="*/ 26670 h 377189"/>
                <a:gd name="connsiteX2" fmla="*/ 78124 w 104793"/>
                <a:gd name="connsiteY2" fmla="*/ 0 h 377189"/>
                <a:gd name="connsiteX3" fmla="*/ 78105 w 104793"/>
                <a:gd name="connsiteY3" fmla="*/ 377171 h 377189"/>
                <a:gd name="connsiteX4" fmla="*/ 78124 w 104793"/>
                <a:gd name="connsiteY4" fmla="*/ 377190 h 37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93" h="377189">
                  <a:moveTo>
                    <a:pt x="104794" y="350520"/>
                  </a:moveTo>
                  <a:cubicBezTo>
                    <a:pt x="15879" y="260879"/>
                    <a:pt x="15879" y="116311"/>
                    <a:pt x="104794" y="26670"/>
                  </a:cubicBezTo>
                  <a:lnTo>
                    <a:pt x="78124" y="0"/>
                  </a:lnTo>
                  <a:cubicBezTo>
                    <a:pt x="-26034" y="104147"/>
                    <a:pt x="-26042" y="273012"/>
                    <a:pt x="78105" y="377171"/>
                  </a:cubicBezTo>
                  <a:cubicBezTo>
                    <a:pt x="78112" y="377178"/>
                    <a:pt x="78117" y="377183"/>
                    <a:pt x="78124" y="377190"/>
                  </a:cubicBezTo>
                  <a:close/>
                </a:path>
              </a:pathLst>
            </a:custGeom>
            <a:solidFill>
              <a:srgbClr val="A9003C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54F2EA3-4D5D-2D42-9271-137AA48201A1}"/>
                </a:ext>
              </a:extLst>
            </p:cNvPr>
            <p:cNvSpPr/>
            <p:nvPr/>
          </p:nvSpPr>
          <p:spPr>
            <a:xfrm>
              <a:off x="3033927" y="4213194"/>
              <a:ext cx="60158" cy="161366"/>
            </a:xfrm>
            <a:custGeom>
              <a:avLst/>
              <a:gdLst>
                <a:gd name="connsiteX0" fmla="*/ 26670 w 60012"/>
                <a:gd name="connsiteY0" fmla="*/ 161925 h 161925"/>
                <a:gd name="connsiteX1" fmla="*/ 26670 w 60012"/>
                <a:gd name="connsiteY1" fmla="*/ 0 h 161925"/>
                <a:gd name="connsiteX2" fmla="*/ 0 w 60012"/>
                <a:gd name="connsiteY2" fmla="*/ 26670 h 161925"/>
                <a:gd name="connsiteX3" fmla="*/ 21907 w 60012"/>
                <a:gd name="connsiteY3" fmla="*/ 80963 h 161925"/>
                <a:gd name="connsiteX4" fmla="*/ 0 w 60012"/>
                <a:gd name="connsiteY4" fmla="*/ 13525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2" h="161925">
                  <a:moveTo>
                    <a:pt x="26670" y="161925"/>
                  </a:moveTo>
                  <a:cubicBezTo>
                    <a:pt x="71127" y="117104"/>
                    <a:pt x="71127" y="44821"/>
                    <a:pt x="26670" y="0"/>
                  </a:cubicBezTo>
                  <a:lnTo>
                    <a:pt x="0" y="26670"/>
                  </a:lnTo>
                  <a:cubicBezTo>
                    <a:pt x="14241" y="41128"/>
                    <a:pt x="22126" y="60669"/>
                    <a:pt x="21907" y="80963"/>
                  </a:cubicBezTo>
                  <a:cubicBezTo>
                    <a:pt x="21941" y="101219"/>
                    <a:pt x="14083" y="120693"/>
                    <a:pt x="0" y="135255"/>
                  </a:cubicBezTo>
                  <a:close/>
                </a:path>
              </a:pathLst>
            </a:custGeom>
            <a:solidFill>
              <a:srgbClr val="A9003C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38410B4-5290-9B49-BEF3-D08A2C24C79E}"/>
                </a:ext>
              </a:extLst>
            </p:cNvPr>
            <p:cNvSpPr/>
            <p:nvPr/>
          </p:nvSpPr>
          <p:spPr>
            <a:xfrm>
              <a:off x="3085062" y="4159406"/>
              <a:ext cx="84221" cy="268941"/>
            </a:xfrm>
            <a:custGeom>
              <a:avLst/>
              <a:gdLst>
                <a:gd name="connsiteX0" fmla="*/ 0 w 82860"/>
                <a:gd name="connsiteY0" fmla="*/ 241935 h 268604"/>
                <a:gd name="connsiteX1" fmla="*/ 26670 w 82860"/>
                <a:gd name="connsiteY1" fmla="*/ 268605 h 268604"/>
                <a:gd name="connsiteX2" fmla="*/ 28568 w 82860"/>
                <a:gd name="connsiteY2" fmla="*/ 1898 h 268604"/>
                <a:gd name="connsiteX3" fmla="*/ 26670 w 82860"/>
                <a:gd name="connsiteY3" fmla="*/ 0 h 268604"/>
                <a:gd name="connsiteX4" fmla="*/ 0 w 82860"/>
                <a:gd name="connsiteY4" fmla="*/ 26670 h 268604"/>
                <a:gd name="connsiteX5" fmla="*/ 683 w 82860"/>
                <a:gd name="connsiteY5" fmla="*/ 241252 h 268604"/>
                <a:gd name="connsiteX6" fmla="*/ 0 w 82860"/>
                <a:gd name="connsiteY6" fmla="*/ 241935 h 26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860" h="268604">
                  <a:moveTo>
                    <a:pt x="0" y="241935"/>
                  </a:moveTo>
                  <a:lnTo>
                    <a:pt x="26670" y="268605"/>
                  </a:lnTo>
                  <a:cubicBezTo>
                    <a:pt x="100843" y="195480"/>
                    <a:pt x="101693" y="76071"/>
                    <a:pt x="28568" y="1898"/>
                  </a:cubicBezTo>
                  <a:cubicBezTo>
                    <a:pt x="27940" y="1261"/>
                    <a:pt x="27307" y="629"/>
                    <a:pt x="26670" y="0"/>
                  </a:cubicBezTo>
                  <a:lnTo>
                    <a:pt x="0" y="26670"/>
                  </a:lnTo>
                  <a:cubicBezTo>
                    <a:pt x="59444" y="85736"/>
                    <a:pt x="59749" y="181808"/>
                    <a:pt x="683" y="241252"/>
                  </a:cubicBezTo>
                  <a:cubicBezTo>
                    <a:pt x="456" y="241481"/>
                    <a:pt x="229" y="241708"/>
                    <a:pt x="0" y="241935"/>
                  </a:cubicBezTo>
                  <a:close/>
                </a:path>
              </a:pathLst>
            </a:custGeom>
            <a:solidFill>
              <a:srgbClr val="A9003C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64AE587B-55DB-104A-8F3E-ABDC788DD33A}"/>
                </a:ext>
              </a:extLst>
            </p:cNvPr>
            <p:cNvSpPr/>
            <p:nvPr/>
          </p:nvSpPr>
          <p:spPr>
            <a:xfrm>
              <a:off x="3139204" y="4105617"/>
              <a:ext cx="105275" cy="376519"/>
            </a:xfrm>
            <a:custGeom>
              <a:avLst/>
              <a:gdLst>
                <a:gd name="connsiteX0" fmla="*/ 0 w 104793"/>
                <a:gd name="connsiteY0" fmla="*/ 350520 h 377189"/>
                <a:gd name="connsiteX1" fmla="*/ 26670 w 104793"/>
                <a:gd name="connsiteY1" fmla="*/ 377190 h 377189"/>
                <a:gd name="connsiteX2" fmla="*/ 26689 w 104793"/>
                <a:gd name="connsiteY2" fmla="*/ 19 h 377189"/>
                <a:gd name="connsiteX3" fmla="*/ 26670 w 104793"/>
                <a:gd name="connsiteY3" fmla="*/ 0 h 377189"/>
                <a:gd name="connsiteX4" fmla="*/ 0 w 104793"/>
                <a:gd name="connsiteY4" fmla="*/ 26670 h 377189"/>
                <a:gd name="connsiteX5" fmla="*/ 0 w 104793"/>
                <a:gd name="connsiteY5" fmla="*/ 350520 h 37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93" h="377189">
                  <a:moveTo>
                    <a:pt x="0" y="350520"/>
                  </a:moveTo>
                  <a:lnTo>
                    <a:pt x="26670" y="377190"/>
                  </a:lnTo>
                  <a:cubicBezTo>
                    <a:pt x="130828" y="273043"/>
                    <a:pt x="130836" y="104178"/>
                    <a:pt x="26689" y="19"/>
                  </a:cubicBezTo>
                  <a:cubicBezTo>
                    <a:pt x="26683" y="13"/>
                    <a:pt x="26677" y="6"/>
                    <a:pt x="26670" y="0"/>
                  </a:cubicBezTo>
                  <a:lnTo>
                    <a:pt x="0" y="26670"/>
                  </a:lnTo>
                  <a:cubicBezTo>
                    <a:pt x="88915" y="116311"/>
                    <a:pt x="88915" y="260879"/>
                    <a:pt x="0" y="350520"/>
                  </a:cubicBezTo>
                  <a:close/>
                </a:path>
              </a:pathLst>
            </a:custGeom>
            <a:solidFill>
              <a:srgbClr val="A9003C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DBB93E1-2BCB-8F4E-B9D1-53173097DB74}"/>
                </a:ext>
              </a:extLst>
            </p:cNvPr>
            <p:cNvSpPr/>
            <p:nvPr/>
          </p:nvSpPr>
          <p:spPr>
            <a:xfrm>
              <a:off x="2688020" y="4255659"/>
              <a:ext cx="580523" cy="631304"/>
            </a:xfrm>
            <a:custGeom>
              <a:avLst/>
              <a:gdLst>
                <a:gd name="connsiteX0" fmla="*/ 580631 w 580650"/>
                <a:gd name="connsiteY0" fmla="*/ 611687 h 633500"/>
                <a:gd name="connsiteX1" fmla="*/ 580631 w 580650"/>
                <a:gd name="connsiteY1" fmla="*/ 611687 h 633500"/>
                <a:gd name="connsiteX2" fmla="*/ 579012 w 580650"/>
                <a:gd name="connsiteY2" fmla="*/ 606830 h 633500"/>
                <a:gd name="connsiteX3" fmla="*/ 579012 w 580650"/>
                <a:gd name="connsiteY3" fmla="*/ 606258 h 633500"/>
                <a:gd name="connsiteX4" fmla="*/ 307550 w 580650"/>
                <a:gd name="connsiteY4" fmla="*/ 77621 h 633500"/>
                <a:gd name="connsiteX5" fmla="*/ 304406 w 580650"/>
                <a:gd name="connsiteY5" fmla="*/ 73430 h 633500"/>
                <a:gd name="connsiteX6" fmla="*/ 325439 w 580650"/>
                <a:gd name="connsiteY6" fmla="*/ 23822 h 633500"/>
                <a:gd name="connsiteX7" fmla="*/ 275831 w 580650"/>
                <a:gd name="connsiteY7" fmla="*/ 2790 h 633500"/>
                <a:gd name="connsiteX8" fmla="*/ 254799 w 580650"/>
                <a:gd name="connsiteY8" fmla="*/ 52397 h 633500"/>
                <a:gd name="connsiteX9" fmla="*/ 275831 w 580650"/>
                <a:gd name="connsiteY9" fmla="*/ 73430 h 633500"/>
                <a:gd name="connsiteX10" fmla="*/ 273260 w 580650"/>
                <a:gd name="connsiteY10" fmla="*/ 77144 h 633500"/>
                <a:gd name="connsiteX11" fmla="*/ 1797 w 580650"/>
                <a:gd name="connsiteY11" fmla="*/ 605782 h 633500"/>
                <a:gd name="connsiteX12" fmla="*/ 1797 w 580650"/>
                <a:gd name="connsiteY12" fmla="*/ 606353 h 633500"/>
                <a:gd name="connsiteX13" fmla="*/ 178 w 580650"/>
                <a:gd name="connsiteY13" fmla="*/ 611211 h 633500"/>
                <a:gd name="connsiteX14" fmla="*/ 178 w 580650"/>
                <a:gd name="connsiteY14" fmla="*/ 611211 h 633500"/>
                <a:gd name="connsiteX15" fmla="*/ 178 w 580650"/>
                <a:gd name="connsiteY15" fmla="*/ 615974 h 633500"/>
                <a:gd name="connsiteX16" fmla="*/ 178 w 580650"/>
                <a:gd name="connsiteY16" fmla="*/ 617117 h 633500"/>
                <a:gd name="connsiteX17" fmla="*/ 1511 w 580650"/>
                <a:gd name="connsiteY17" fmla="*/ 621593 h 633500"/>
                <a:gd name="connsiteX18" fmla="*/ 1511 w 580650"/>
                <a:gd name="connsiteY18" fmla="*/ 621593 h 633500"/>
                <a:gd name="connsiteX19" fmla="*/ 2845 w 580650"/>
                <a:gd name="connsiteY19" fmla="*/ 623689 h 633500"/>
                <a:gd name="connsiteX20" fmla="*/ 4750 w 580650"/>
                <a:gd name="connsiteY20" fmla="*/ 626451 h 633500"/>
                <a:gd name="connsiteX21" fmla="*/ 4750 w 580650"/>
                <a:gd name="connsiteY21" fmla="*/ 626451 h 633500"/>
                <a:gd name="connsiteX22" fmla="*/ 6274 w 580650"/>
                <a:gd name="connsiteY22" fmla="*/ 627594 h 633500"/>
                <a:gd name="connsiteX23" fmla="*/ 8941 w 580650"/>
                <a:gd name="connsiteY23" fmla="*/ 629690 h 633500"/>
                <a:gd name="connsiteX24" fmla="*/ 11227 w 580650"/>
                <a:gd name="connsiteY24" fmla="*/ 630737 h 633500"/>
                <a:gd name="connsiteX25" fmla="*/ 14084 w 580650"/>
                <a:gd name="connsiteY25" fmla="*/ 631785 h 633500"/>
                <a:gd name="connsiteX26" fmla="*/ 16561 w 580650"/>
                <a:gd name="connsiteY26" fmla="*/ 631785 h 633500"/>
                <a:gd name="connsiteX27" fmla="*/ 18656 w 580650"/>
                <a:gd name="connsiteY27" fmla="*/ 633500 h 633500"/>
                <a:gd name="connsiteX28" fmla="*/ 19990 w 580650"/>
                <a:gd name="connsiteY28" fmla="*/ 633500 h 633500"/>
                <a:gd name="connsiteX29" fmla="*/ 21228 w 580650"/>
                <a:gd name="connsiteY29" fmla="*/ 633500 h 633500"/>
                <a:gd name="connsiteX30" fmla="*/ 26276 w 580650"/>
                <a:gd name="connsiteY30" fmla="*/ 632166 h 633500"/>
                <a:gd name="connsiteX31" fmla="*/ 290309 w 580650"/>
                <a:gd name="connsiteY31" fmla="*/ 516056 h 633500"/>
                <a:gd name="connsiteX32" fmla="*/ 553961 w 580650"/>
                <a:gd name="connsiteY32" fmla="*/ 631880 h 633500"/>
                <a:gd name="connsiteX33" fmla="*/ 561581 w 580650"/>
                <a:gd name="connsiteY33" fmla="*/ 633500 h 633500"/>
                <a:gd name="connsiteX34" fmla="*/ 561581 w 580650"/>
                <a:gd name="connsiteY34" fmla="*/ 633500 h 633500"/>
                <a:gd name="connsiteX35" fmla="*/ 566249 w 580650"/>
                <a:gd name="connsiteY35" fmla="*/ 632833 h 633500"/>
                <a:gd name="connsiteX36" fmla="*/ 567582 w 580650"/>
                <a:gd name="connsiteY36" fmla="*/ 632833 h 633500"/>
                <a:gd name="connsiteX37" fmla="*/ 571106 w 580650"/>
                <a:gd name="connsiteY37" fmla="*/ 631214 h 633500"/>
                <a:gd name="connsiteX38" fmla="*/ 571964 w 580650"/>
                <a:gd name="connsiteY38" fmla="*/ 630642 h 633500"/>
                <a:gd name="connsiteX39" fmla="*/ 575393 w 580650"/>
                <a:gd name="connsiteY39" fmla="*/ 627880 h 633500"/>
                <a:gd name="connsiteX40" fmla="*/ 575393 w 580650"/>
                <a:gd name="connsiteY40" fmla="*/ 627880 h 633500"/>
                <a:gd name="connsiteX41" fmla="*/ 577393 w 580650"/>
                <a:gd name="connsiteY41" fmla="*/ 624927 h 633500"/>
                <a:gd name="connsiteX42" fmla="*/ 578536 w 580650"/>
                <a:gd name="connsiteY42" fmla="*/ 623022 h 633500"/>
                <a:gd name="connsiteX43" fmla="*/ 578536 w 580650"/>
                <a:gd name="connsiteY43" fmla="*/ 623022 h 633500"/>
                <a:gd name="connsiteX44" fmla="*/ 579869 w 580650"/>
                <a:gd name="connsiteY44" fmla="*/ 618450 h 633500"/>
                <a:gd name="connsiteX45" fmla="*/ 579869 w 580650"/>
                <a:gd name="connsiteY45" fmla="*/ 617402 h 633500"/>
                <a:gd name="connsiteX46" fmla="*/ 580631 w 580650"/>
                <a:gd name="connsiteY46" fmla="*/ 611687 h 633500"/>
                <a:gd name="connsiteX47" fmla="*/ 418706 w 580650"/>
                <a:gd name="connsiteY47" fmla="*/ 377849 h 633500"/>
                <a:gd name="connsiteX48" fmla="*/ 322504 w 580650"/>
                <a:gd name="connsiteY48" fmla="*/ 312793 h 633500"/>
                <a:gd name="connsiteX49" fmla="*/ 368891 w 580650"/>
                <a:gd name="connsiteY49" fmla="*/ 281075 h 633500"/>
                <a:gd name="connsiteX50" fmla="*/ 290119 w 580650"/>
                <a:gd name="connsiteY50" fmla="*/ 127532 h 633500"/>
                <a:gd name="connsiteX51" fmla="*/ 351365 w 580650"/>
                <a:gd name="connsiteY51" fmla="*/ 246689 h 633500"/>
                <a:gd name="connsiteX52" fmla="*/ 288690 w 580650"/>
                <a:gd name="connsiteY52" fmla="*/ 289838 h 633500"/>
                <a:gd name="connsiteX53" fmla="*/ 231540 w 580650"/>
                <a:gd name="connsiteY53" fmla="*/ 251738 h 633500"/>
                <a:gd name="connsiteX54" fmla="*/ 227540 w 580650"/>
                <a:gd name="connsiteY54" fmla="*/ 249642 h 633500"/>
                <a:gd name="connsiteX55" fmla="*/ 210299 w 580650"/>
                <a:gd name="connsiteY55" fmla="*/ 282884 h 633500"/>
                <a:gd name="connsiteX56" fmla="*/ 254972 w 580650"/>
                <a:gd name="connsiteY56" fmla="*/ 313079 h 633500"/>
                <a:gd name="connsiteX57" fmla="*/ 161531 w 580650"/>
                <a:gd name="connsiteY57" fmla="*/ 377182 h 633500"/>
                <a:gd name="connsiteX58" fmla="*/ 60090 w 580650"/>
                <a:gd name="connsiteY58" fmla="*/ 575492 h 633500"/>
                <a:gd name="connsiteX59" fmla="*/ 127337 w 580650"/>
                <a:gd name="connsiteY59" fmla="*/ 444428 h 633500"/>
                <a:gd name="connsiteX60" fmla="*/ 242875 w 580650"/>
                <a:gd name="connsiteY60" fmla="*/ 495197 h 633500"/>
                <a:gd name="connsiteX61" fmla="*/ 166675 w 580650"/>
                <a:gd name="connsiteY61" fmla="*/ 420140 h 633500"/>
                <a:gd name="connsiteX62" fmla="*/ 288881 w 580650"/>
                <a:gd name="connsiteY62" fmla="*/ 336034 h 633500"/>
                <a:gd name="connsiteX63" fmla="*/ 413468 w 580650"/>
                <a:gd name="connsiteY63" fmla="*/ 420330 h 633500"/>
                <a:gd name="connsiteX64" fmla="*/ 290309 w 580650"/>
                <a:gd name="connsiteY64" fmla="*/ 474432 h 633500"/>
                <a:gd name="connsiteX65" fmla="*/ 490525 w 580650"/>
                <a:gd name="connsiteY65" fmla="*/ 562443 h 633500"/>
                <a:gd name="connsiteX66" fmla="*/ 337649 w 580650"/>
                <a:gd name="connsiteY66" fmla="*/ 495292 h 633500"/>
                <a:gd name="connsiteX67" fmla="*/ 452996 w 580650"/>
                <a:gd name="connsiteY67" fmla="*/ 444619 h 633500"/>
                <a:gd name="connsiteX68" fmla="*/ 520148 w 580650"/>
                <a:gd name="connsiteY68" fmla="*/ 575397 h 6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580650" h="633500">
                  <a:moveTo>
                    <a:pt x="580631" y="611687"/>
                  </a:moveTo>
                  <a:lnTo>
                    <a:pt x="580631" y="611687"/>
                  </a:lnTo>
                  <a:cubicBezTo>
                    <a:pt x="580338" y="609996"/>
                    <a:pt x="579792" y="608358"/>
                    <a:pt x="579012" y="606830"/>
                  </a:cubicBezTo>
                  <a:cubicBezTo>
                    <a:pt x="579012" y="606830"/>
                    <a:pt x="579012" y="606830"/>
                    <a:pt x="579012" y="606258"/>
                  </a:cubicBezTo>
                  <a:lnTo>
                    <a:pt x="307550" y="77621"/>
                  </a:lnTo>
                  <a:cubicBezTo>
                    <a:pt x="306723" y="76071"/>
                    <a:pt x="305663" y="74657"/>
                    <a:pt x="304406" y="73430"/>
                  </a:cubicBezTo>
                  <a:cubicBezTo>
                    <a:pt x="323913" y="65539"/>
                    <a:pt x="333329" y="43329"/>
                    <a:pt x="325439" y="23822"/>
                  </a:cubicBezTo>
                  <a:cubicBezTo>
                    <a:pt x="317548" y="4316"/>
                    <a:pt x="295338" y="-5100"/>
                    <a:pt x="275831" y="2790"/>
                  </a:cubicBezTo>
                  <a:cubicBezTo>
                    <a:pt x="256325" y="10681"/>
                    <a:pt x="246909" y="32891"/>
                    <a:pt x="254799" y="52397"/>
                  </a:cubicBezTo>
                  <a:cubicBezTo>
                    <a:pt x="258671" y="61968"/>
                    <a:pt x="266261" y="69558"/>
                    <a:pt x="275831" y="73430"/>
                  </a:cubicBezTo>
                  <a:cubicBezTo>
                    <a:pt x="274814" y="74549"/>
                    <a:pt x="273949" y="75798"/>
                    <a:pt x="273260" y="77144"/>
                  </a:cubicBezTo>
                  <a:lnTo>
                    <a:pt x="1797" y="605782"/>
                  </a:lnTo>
                  <a:cubicBezTo>
                    <a:pt x="1797" y="605782"/>
                    <a:pt x="1797" y="605782"/>
                    <a:pt x="1797" y="606353"/>
                  </a:cubicBezTo>
                  <a:cubicBezTo>
                    <a:pt x="1017" y="607882"/>
                    <a:pt x="471" y="609520"/>
                    <a:pt x="178" y="611211"/>
                  </a:cubicBezTo>
                  <a:lnTo>
                    <a:pt x="178" y="611211"/>
                  </a:lnTo>
                  <a:cubicBezTo>
                    <a:pt x="-59" y="612789"/>
                    <a:pt x="-59" y="614395"/>
                    <a:pt x="178" y="615974"/>
                  </a:cubicBezTo>
                  <a:cubicBezTo>
                    <a:pt x="178" y="615974"/>
                    <a:pt x="178" y="616736"/>
                    <a:pt x="178" y="617117"/>
                  </a:cubicBezTo>
                  <a:cubicBezTo>
                    <a:pt x="437" y="618658"/>
                    <a:pt x="885" y="620162"/>
                    <a:pt x="1511" y="621593"/>
                  </a:cubicBezTo>
                  <a:cubicBezTo>
                    <a:pt x="1511" y="621593"/>
                    <a:pt x="1511" y="621593"/>
                    <a:pt x="1511" y="621593"/>
                  </a:cubicBezTo>
                  <a:cubicBezTo>
                    <a:pt x="1511" y="621593"/>
                    <a:pt x="2464" y="622927"/>
                    <a:pt x="2845" y="623689"/>
                  </a:cubicBezTo>
                  <a:cubicBezTo>
                    <a:pt x="3425" y="624646"/>
                    <a:pt x="4061" y="625568"/>
                    <a:pt x="4750" y="626451"/>
                  </a:cubicBezTo>
                  <a:lnTo>
                    <a:pt x="4750" y="626451"/>
                  </a:lnTo>
                  <a:cubicBezTo>
                    <a:pt x="5235" y="626863"/>
                    <a:pt x="5743" y="627244"/>
                    <a:pt x="6274" y="627594"/>
                  </a:cubicBezTo>
                  <a:cubicBezTo>
                    <a:pt x="7097" y="628373"/>
                    <a:pt x="7989" y="629075"/>
                    <a:pt x="8941" y="629690"/>
                  </a:cubicBezTo>
                  <a:cubicBezTo>
                    <a:pt x="9685" y="630078"/>
                    <a:pt x="10448" y="630428"/>
                    <a:pt x="11227" y="630737"/>
                  </a:cubicBezTo>
                  <a:lnTo>
                    <a:pt x="14084" y="631785"/>
                  </a:lnTo>
                  <a:lnTo>
                    <a:pt x="16561" y="631785"/>
                  </a:lnTo>
                  <a:lnTo>
                    <a:pt x="18656" y="633500"/>
                  </a:lnTo>
                  <a:lnTo>
                    <a:pt x="19990" y="633500"/>
                  </a:lnTo>
                  <a:lnTo>
                    <a:pt x="21228" y="633500"/>
                  </a:lnTo>
                  <a:cubicBezTo>
                    <a:pt x="22973" y="633336"/>
                    <a:pt x="24679" y="632885"/>
                    <a:pt x="26276" y="632166"/>
                  </a:cubicBezTo>
                  <a:lnTo>
                    <a:pt x="290309" y="516056"/>
                  </a:lnTo>
                  <a:lnTo>
                    <a:pt x="553961" y="631880"/>
                  </a:lnTo>
                  <a:cubicBezTo>
                    <a:pt x="556353" y="632970"/>
                    <a:pt x="558953" y="633523"/>
                    <a:pt x="561581" y="633500"/>
                  </a:cubicBezTo>
                  <a:lnTo>
                    <a:pt x="561581" y="633500"/>
                  </a:lnTo>
                  <a:cubicBezTo>
                    <a:pt x="563159" y="633471"/>
                    <a:pt x="564727" y="633247"/>
                    <a:pt x="566249" y="632833"/>
                  </a:cubicBezTo>
                  <a:lnTo>
                    <a:pt x="567582" y="632833"/>
                  </a:lnTo>
                  <a:cubicBezTo>
                    <a:pt x="568792" y="632374"/>
                    <a:pt x="569970" y="631833"/>
                    <a:pt x="571106" y="631214"/>
                  </a:cubicBezTo>
                  <a:lnTo>
                    <a:pt x="571964" y="630642"/>
                  </a:lnTo>
                  <a:cubicBezTo>
                    <a:pt x="573210" y="629857"/>
                    <a:pt x="574360" y="628931"/>
                    <a:pt x="575393" y="627880"/>
                  </a:cubicBezTo>
                  <a:lnTo>
                    <a:pt x="575393" y="627880"/>
                  </a:lnTo>
                  <a:cubicBezTo>
                    <a:pt x="576136" y="626949"/>
                    <a:pt x="576804" y="625962"/>
                    <a:pt x="577393" y="624927"/>
                  </a:cubicBezTo>
                  <a:cubicBezTo>
                    <a:pt x="577808" y="624314"/>
                    <a:pt x="578190" y="623677"/>
                    <a:pt x="578536" y="623022"/>
                  </a:cubicBezTo>
                  <a:cubicBezTo>
                    <a:pt x="578536" y="623022"/>
                    <a:pt x="578536" y="623022"/>
                    <a:pt x="578536" y="623022"/>
                  </a:cubicBezTo>
                  <a:cubicBezTo>
                    <a:pt x="579180" y="621564"/>
                    <a:pt x="579628" y="620027"/>
                    <a:pt x="579869" y="618450"/>
                  </a:cubicBezTo>
                  <a:cubicBezTo>
                    <a:pt x="579869" y="618450"/>
                    <a:pt x="579869" y="617783"/>
                    <a:pt x="579869" y="617402"/>
                  </a:cubicBezTo>
                  <a:cubicBezTo>
                    <a:pt x="580468" y="615559"/>
                    <a:pt x="580726" y="613623"/>
                    <a:pt x="580631" y="611687"/>
                  </a:cubicBezTo>
                  <a:close/>
                  <a:moveTo>
                    <a:pt x="418706" y="377849"/>
                  </a:moveTo>
                  <a:lnTo>
                    <a:pt x="322504" y="312793"/>
                  </a:lnTo>
                  <a:lnTo>
                    <a:pt x="368891" y="281075"/>
                  </a:lnTo>
                  <a:close/>
                  <a:moveTo>
                    <a:pt x="290119" y="127532"/>
                  </a:moveTo>
                  <a:lnTo>
                    <a:pt x="351365" y="246689"/>
                  </a:lnTo>
                  <a:lnTo>
                    <a:pt x="288690" y="289838"/>
                  </a:lnTo>
                  <a:lnTo>
                    <a:pt x="231540" y="251738"/>
                  </a:lnTo>
                  <a:cubicBezTo>
                    <a:pt x="230300" y="250873"/>
                    <a:pt x="228956" y="250169"/>
                    <a:pt x="227540" y="249642"/>
                  </a:cubicBezTo>
                  <a:close/>
                  <a:moveTo>
                    <a:pt x="210299" y="282884"/>
                  </a:moveTo>
                  <a:lnTo>
                    <a:pt x="254972" y="313079"/>
                  </a:lnTo>
                  <a:lnTo>
                    <a:pt x="161531" y="377182"/>
                  </a:lnTo>
                  <a:close/>
                  <a:moveTo>
                    <a:pt x="60090" y="575492"/>
                  </a:moveTo>
                  <a:lnTo>
                    <a:pt x="127337" y="444428"/>
                  </a:lnTo>
                  <a:lnTo>
                    <a:pt x="242875" y="495197"/>
                  </a:lnTo>
                  <a:close/>
                  <a:moveTo>
                    <a:pt x="166675" y="420140"/>
                  </a:moveTo>
                  <a:lnTo>
                    <a:pt x="288881" y="336034"/>
                  </a:lnTo>
                  <a:lnTo>
                    <a:pt x="413468" y="420330"/>
                  </a:lnTo>
                  <a:lnTo>
                    <a:pt x="290309" y="474432"/>
                  </a:lnTo>
                  <a:close/>
                  <a:moveTo>
                    <a:pt x="490525" y="562443"/>
                  </a:moveTo>
                  <a:lnTo>
                    <a:pt x="337649" y="495292"/>
                  </a:lnTo>
                  <a:lnTo>
                    <a:pt x="452996" y="444619"/>
                  </a:lnTo>
                  <a:lnTo>
                    <a:pt x="520148" y="575397"/>
                  </a:lnTo>
                  <a:close/>
                </a:path>
              </a:pathLst>
            </a:custGeom>
            <a:solidFill>
              <a:srgbClr val="1F6898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010F790-2F35-304F-8693-357E75A6F3C6}"/>
              </a:ext>
            </a:extLst>
          </p:cNvPr>
          <p:cNvSpPr txBox="1"/>
          <p:nvPr userDrawn="1"/>
        </p:nvSpPr>
        <p:spPr>
          <a:xfrm>
            <a:off x="1114425" y="3368675"/>
            <a:ext cx="1758950" cy="6318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67" dirty="0">
                <a:latin typeface="AvenirNext LT Pro Regular" panose="020B0504020202020204" pitchFamily="34" charset="77"/>
              </a:rPr>
              <a:t>+ </a:t>
            </a:r>
            <a:r>
              <a:rPr lang="en-US" sz="1167" dirty="0">
                <a:latin typeface="+mn-lt"/>
              </a:rPr>
              <a:t>PowerPoint’s</a:t>
            </a:r>
            <a:r>
              <a:rPr lang="en-US" sz="1167" dirty="0">
                <a:latin typeface="AvenirNext LT Pro Regular" panose="020B0504020202020204" pitchFamily="34" charset="77"/>
              </a:rPr>
              <a:t> stock icons in Ellab brand </a:t>
            </a:r>
            <a:r>
              <a:rPr lang="en-US" sz="1167" dirty="0" err="1">
                <a:latin typeface="AvenirNext LT Pro Regular" panose="020B0504020202020204" pitchFamily="34" charset="77"/>
              </a:rPr>
              <a:t>colours</a:t>
            </a:r>
            <a:r>
              <a:rPr lang="en-US" sz="1167" dirty="0">
                <a:latin typeface="AvenirNext LT Pro Regular" panose="020B0504020202020204" pitchFamily="34" charset="77"/>
              </a:rPr>
              <a:t>:</a:t>
            </a:r>
          </a:p>
        </p:txBody>
      </p:sp>
      <p:grpSp>
        <p:nvGrpSpPr>
          <p:cNvPr id="51" name="Graphic 51">
            <a:extLst>
              <a:ext uri="{FF2B5EF4-FFF2-40B4-BE49-F238E27FC236}">
                <a16:creationId xmlns:a16="http://schemas.microsoft.com/office/drawing/2014/main" id="{0D784ED5-AD98-C849-AECE-BEB43082EF12}"/>
              </a:ext>
            </a:extLst>
          </p:cNvPr>
          <p:cNvGrpSpPr/>
          <p:nvPr userDrawn="1"/>
        </p:nvGrpSpPr>
        <p:grpSpPr>
          <a:xfrm>
            <a:off x="3938588" y="771525"/>
            <a:ext cx="285750" cy="285750"/>
            <a:chOff x="3938588" y="404813"/>
            <a:chExt cx="285750" cy="285750"/>
          </a:xfrm>
        </p:grpSpPr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4D6A01FA-7EFB-F946-894F-42608441B616}"/>
                </a:ext>
              </a:extLst>
            </p:cNvPr>
            <p:cNvSpPr/>
            <p:nvPr/>
          </p:nvSpPr>
          <p:spPr>
            <a:xfrm>
              <a:off x="4081597" y="542040"/>
              <a:ext cx="147110" cy="147077"/>
            </a:xfrm>
            <a:custGeom>
              <a:avLst/>
              <a:gdLst>
                <a:gd name="connsiteX0" fmla="*/ 147077 w 147110"/>
                <a:gd name="connsiteY0" fmla="*/ 73539 h 147077"/>
                <a:gd name="connsiteX1" fmla="*/ 73539 w 147110"/>
                <a:gd name="connsiteY1" fmla="*/ 147077 h 147077"/>
                <a:gd name="connsiteX2" fmla="*/ 0 w 147110"/>
                <a:gd name="connsiteY2" fmla="*/ 73539 h 147077"/>
                <a:gd name="connsiteX3" fmla="*/ 5749 w 147110"/>
                <a:gd name="connsiteY3" fmla="*/ 67790 h 147077"/>
                <a:gd name="connsiteX4" fmla="*/ 11497 w 147110"/>
                <a:gd name="connsiteY4" fmla="*/ 73539 h 147077"/>
                <a:gd name="connsiteX5" fmla="*/ 73539 w 147110"/>
                <a:gd name="connsiteY5" fmla="*/ 135614 h 147077"/>
                <a:gd name="connsiteX6" fmla="*/ 135614 w 147110"/>
                <a:gd name="connsiteY6" fmla="*/ 73572 h 147077"/>
                <a:gd name="connsiteX7" fmla="*/ 73572 w 147110"/>
                <a:gd name="connsiteY7" fmla="*/ 11497 h 147077"/>
                <a:gd name="connsiteX8" fmla="*/ 73572 w 147110"/>
                <a:gd name="connsiteY8" fmla="*/ 11497 h 147077"/>
                <a:gd name="connsiteX9" fmla="*/ 67824 w 147110"/>
                <a:gd name="connsiteY9" fmla="*/ 5749 h 147077"/>
                <a:gd name="connsiteX10" fmla="*/ 73572 w 147110"/>
                <a:gd name="connsiteY10" fmla="*/ 0 h 147077"/>
                <a:gd name="connsiteX11" fmla="*/ 73572 w 147110"/>
                <a:gd name="connsiteY11" fmla="*/ 0 h 147077"/>
                <a:gd name="connsiteX12" fmla="*/ 147111 w 147110"/>
                <a:gd name="connsiteY12" fmla="*/ 73404 h 147077"/>
                <a:gd name="connsiteX13" fmla="*/ 147111 w 147110"/>
                <a:gd name="connsiteY13" fmla="*/ 73438 h 147077"/>
                <a:gd name="connsiteX14" fmla="*/ 46090 w 147110"/>
                <a:gd name="connsiteY14" fmla="*/ 17750 h 147077"/>
                <a:gd name="connsiteX15" fmla="*/ 53519 w 147110"/>
                <a:gd name="connsiteY15" fmla="*/ 14674 h 147077"/>
                <a:gd name="connsiteX16" fmla="*/ 57233 w 147110"/>
                <a:gd name="connsiteY16" fmla="*/ 7442 h 147077"/>
                <a:gd name="connsiteX17" fmla="*/ 50001 w 147110"/>
                <a:gd name="connsiteY17" fmla="*/ 3728 h 147077"/>
                <a:gd name="connsiteX18" fmla="*/ 49620 w 147110"/>
                <a:gd name="connsiteY18" fmla="*/ 3866 h 147077"/>
                <a:gd name="connsiteX19" fmla="*/ 49115 w 147110"/>
                <a:gd name="connsiteY19" fmla="*/ 4068 h 147077"/>
                <a:gd name="connsiteX20" fmla="*/ 41686 w 147110"/>
                <a:gd name="connsiteY20" fmla="*/ 7144 h 147077"/>
                <a:gd name="connsiteX21" fmla="*/ 37972 w 147110"/>
                <a:gd name="connsiteY21" fmla="*/ 14376 h 147077"/>
                <a:gd name="connsiteX22" fmla="*/ 45204 w 147110"/>
                <a:gd name="connsiteY22" fmla="*/ 18090 h 147077"/>
                <a:gd name="connsiteX23" fmla="*/ 45586 w 147110"/>
                <a:gd name="connsiteY23" fmla="*/ 17952 h 147077"/>
                <a:gd name="connsiteX24" fmla="*/ 26760 w 147110"/>
                <a:gd name="connsiteY24" fmla="*/ 32542 h 147077"/>
                <a:gd name="connsiteX25" fmla="*/ 32441 w 147110"/>
                <a:gd name="connsiteY25" fmla="*/ 26861 h 147077"/>
                <a:gd name="connsiteX26" fmla="*/ 32685 w 147110"/>
                <a:gd name="connsiteY26" fmla="*/ 18700 h 147077"/>
                <a:gd name="connsiteX27" fmla="*/ 24524 w 147110"/>
                <a:gd name="connsiteY27" fmla="*/ 18456 h 147077"/>
                <a:gd name="connsiteX28" fmla="*/ 24322 w 147110"/>
                <a:gd name="connsiteY28" fmla="*/ 18658 h 147077"/>
                <a:gd name="connsiteX29" fmla="*/ 18641 w 147110"/>
                <a:gd name="connsiteY29" fmla="*/ 24356 h 147077"/>
                <a:gd name="connsiteX30" fmla="*/ 18158 w 147110"/>
                <a:gd name="connsiteY30" fmla="*/ 32471 h 147077"/>
                <a:gd name="connsiteX31" fmla="*/ 26273 w 147110"/>
                <a:gd name="connsiteY31" fmla="*/ 32954 h 147077"/>
                <a:gd name="connsiteX32" fmla="*/ 26339 w 147110"/>
                <a:gd name="connsiteY32" fmla="*/ 32895 h 147077"/>
                <a:gd name="connsiteX33" fmla="*/ 7177 w 147110"/>
                <a:gd name="connsiteY33" fmla="*/ 56629 h 147077"/>
                <a:gd name="connsiteX34" fmla="*/ 14674 w 147110"/>
                <a:gd name="connsiteY34" fmla="*/ 53519 h 147077"/>
                <a:gd name="connsiteX35" fmla="*/ 17750 w 147110"/>
                <a:gd name="connsiteY35" fmla="*/ 46073 h 147077"/>
                <a:gd name="connsiteX36" fmla="*/ 14640 w 147110"/>
                <a:gd name="connsiteY36" fmla="*/ 38576 h 147077"/>
                <a:gd name="connsiteX37" fmla="*/ 7144 w 147110"/>
                <a:gd name="connsiteY37" fmla="*/ 41686 h 147077"/>
                <a:gd name="connsiteX38" fmla="*/ 4068 w 147110"/>
                <a:gd name="connsiteY38" fmla="*/ 49115 h 147077"/>
                <a:gd name="connsiteX39" fmla="*/ 7175 w 147110"/>
                <a:gd name="connsiteY39" fmla="*/ 56628 h 147077"/>
                <a:gd name="connsiteX40" fmla="*/ 7177 w 147110"/>
                <a:gd name="connsiteY40" fmla="*/ 56629 h 147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47110" h="147077">
                  <a:moveTo>
                    <a:pt x="147077" y="73539"/>
                  </a:moveTo>
                  <a:cubicBezTo>
                    <a:pt x="147077" y="114153"/>
                    <a:pt x="114153" y="147077"/>
                    <a:pt x="73539" y="147077"/>
                  </a:cubicBezTo>
                  <a:cubicBezTo>
                    <a:pt x="32924" y="147077"/>
                    <a:pt x="0" y="114153"/>
                    <a:pt x="0" y="73539"/>
                  </a:cubicBezTo>
                  <a:cubicBezTo>
                    <a:pt x="0" y="70364"/>
                    <a:pt x="2574" y="67790"/>
                    <a:pt x="5749" y="67790"/>
                  </a:cubicBezTo>
                  <a:cubicBezTo>
                    <a:pt x="8923" y="67790"/>
                    <a:pt x="11497" y="70364"/>
                    <a:pt x="11497" y="73539"/>
                  </a:cubicBezTo>
                  <a:cubicBezTo>
                    <a:pt x="11488" y="107812"/>
                    <a:pt x="39265" y="135604"/>
                    <a:pt x="73539" y="135614"/>
                  </a:cubicBezTo>
                  <a:cubicBezTo>
                    <a:pt x="107812" y="135623"/>
                    <a:pt x="135604" y="107846"/>
                    <a:pt x="135614" y="73572"/>
                  </a:cubicBezTo>
                  <a:cubicBezTo>
                    <a:pt x="135623" y="39298"/>
                    <a:pt x="107846" y="11507"/>
                    <a:pt x="73572" y="11497"/>
                  </a:cubicBezTo>
                  <a:lnTo>
                    <a:pt x="73572" y="11497"/>
                  </a:lnTo>
                  <a:cubicBezTo>
                    <a:pt x="70397" y="11497"/>
                    <a:pt x="67824" y="8924"/>
                    <a:pt x="67824" y="5749"/>
                  </a:cubicBezTo>
                  <a:cubicBezTo>
                    <a:pt x="67824" y="2574"/>
                    <a:pt x="70397" y="0"/>
                    <a:pt x="73572" y="0"/>
                  </a:cubicBezTo>
                  <a:lnTo>
                    <a:pt x="73572" y="0"/>
                  </a:lnTo>
                  <a:cubicBezTo>
                    <a:pt x="114149" y="-37"/>
                    <a:pt x="147074" y="32827"/>
                    <a:pt x="147111" y="73404"/>
                  </a:cubicBezTo>
                  <a:cubicBezTo>
                    <a:pt x="147111" y="73415"/>
                    <a:pt x="147111" y="73427"/>
                    <a:pt x="147111" y="73438"/>
                  </a:cubicBezTo>
                  <a:close/>
                  <a:moveTo>
                    <a:pt x="46090" y="17750"/>
                  </a:moveTo>
                  <a:lnTo>
                    <a:pt x="53519" y="14674"/>
                  </a:lnTo>
                  <a:cubicBezTo>
                    <a:pt x="56542" y="13703"/>
                    <a:pt x="58205" y="10465"/>
                    <a:pt x="57233" y="7442"/>
                  </a:cubicBezTo>
                  <a:cubicBezTo>
                    <a:pt x="56262" y="4420"/>
                    <a:pt x="53024" y="2757"/>
                    <a:pt x="50001" y="3728"/>
                  </a:cubicBezTo>
                  <a:cubicBezTo>
                    <a:pt x="49873" y="3770"/>
                    <a:pt x="49745" y="3816"/>
                    <a:pt x="49620" y="3866"/>
                  </a:cubicBezTo>
                  <a:lnTo>
                    <a:pt x="49115" y="4068"/>
                  </a:lnTo>
                  <a:lnTo>
                    <a:pt x="41686" y="7144"/>
                  </a:lnTo>
                  <a:cubicBezTo>
                    <a:pt x="38663" y="8115"/>
                    <a:pt x="37000" y="11353"/>
                    <a:pt x="37972" y="14376"/>
                  </a:cubicBezTo>
                  <a:cubicBezTo>
                    <a:pt x="38943" y="17398"/>
                    <a:pt x="42181" y="19061"/>
                    <a:pt x="45204" y="18090"/>
                  </a:cubicBezTo>
                  <a:cubicBezTo>
                    <a:pt x="45333" y="18048"/>
                    <a:pt x="45460" y="18002"/>
                    <a:pt x="45586" y="17952"/>
                  </a:cubicBezTo>
                  <a:close/>
                  <a:moveTo>
                    <a:pt x="26760" y="32542"/>
                  </a:moveTo>
                  <a:lnTo>
                    <a:pt x="32441" y="26861"/>
                  </a:lnTo>
                  <a:cubicBezTo>
                    <a:pt x="34762" y="24674"/>
                    <a:pt x="34871" y="21021"/>
                    <a:pt x="32685" y="18700"/>
                  </a:cubicBezTo>
                  <a:cubicBezTo>
                    <a:pt x="30499" y="16379"/>
                    <a:pt x="26845" y="16270"/>
                    <a:pt x="24524" y="18456"/>
                  </a:cubicBezTo>
                  <a:lnTo>
                    <a:pt x="24322" y="18658"/>
                  </a:lnTo>
                  <a:lnTo>
                    <a:pt x="18641" y="24356"/>
                  </a:lnTo>
                  <a:cubicBezTo>
                    <a:pt x="16267" y="26464"/>
                    <a:pt x="16050" y="30097"/>
                    <a:pt x="18158" y="32471"/>
                  </a:cubicBezTo>
                  <a:cubicBezTo>
                    <a:pt x="20266" y="34846"/>
                    <a:pt x="23899" y="35062"/>
                    <a:pt x="26273" y="32954"/>
                  </a:cubicBezTo>
                  <a:cubicBezTo>
                    <a:pt x="26296" y="32935"/>
                    <a:pt x="26318" y="32915"/>
                    <a:pt x="26339" y="32895"/>
                  </a:cubicBezTo>
                  <a:close/>
                  <a:moveTo>
                    <a:pt x="7177" y="56629"/>
                  </a:moveTo>
                  <a:cubicBezTo>
                    <a:pt x="10106" y="57835"/>
                    <a:pt x="13459" y="56444"/>
                    <a:pt x="14674" y="53519"/>
                  </a:cubicBezTo>
                  <a:lnTo>
                    <a:pt x="17750" y="46073"/>
                  </a:lnTo>
                  <a:cubicBezTo>
                    <a:pt x="18962" y="43144"/>
                    <a:pt x="17569" y="39788"/>
                    <a:pt x="14640" y="38576"/>
                  </a:cubicBezTo>
                  <a:cubicBezTo>
                    <a:pt x="11712" y="37365"/>
                    <a:pt x="8355" y="38757"/>
                    <a:pt x="7144" y="41686"/>
                  </a:cubicBezTo>
                  <a:lnTo>
                    <a:pt x="4068" y="49115"/>
                  </a:lnTo>
                  <a:cubicBezTo>
                    <a:pt x="2851" y="52048"/>
                    <a:pt x="4242" y="55411"/>
                    <a:pt x="7175" y="56628"/>
                  </a:cubicBezTo>
                  <a:cubicBezTo>
                    <a:pt x="7176" y="56628"/>
                    <a:pt x="7177" y="56629"/>
                    <a:pt x="7177" y="56629"/>
                  </a:cubicBezTo>
                  <a:close/>
                </a:path>
              </a:pathLst>
            </a:custGeom>
            <a:solidFill>
              <a:srgbClr val="1F6898"/>
            </a:solidFill>
            <a:ln w="16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FAEA3780-1690-D24B-B9F9-185259A640A4}"/>
                </a:ext>
              </a:extLst>
            </p:cNvPr>
            <p:cNvSpPr/>
            <p:nvPr/>
          </p:nvSpPr>
          <p:spPr>
            <a:xfrm>
              <a:off x="4079025" y="404812"/>
              <a:ext cx="122385" cy="122401"/>
            </a:xfrm>
            <a:custGeom>
              <a:avLst/>
              <a:gdLst>
                <a:gd name="connsiteX0" fmla="*/ 115309 w 122385"/>
                <a:gd name="connsiteY0" fmla="*/ 122402 h 122401"/>
                <a:gd name="connsiteX1" fmla="*/ 7077 w 122385"/>
                <a:gd name="connsiteY1" fmla="*/ 122402 h 122401"/>
                <a:gd name="connsiteX2" fmla="*/ 0 w 122385"/>
                <a:gd name="connsiteY2" fmla="*/ 115359 h 122401"/>
                <a:gd name="connsiteX3" fmla="*/ 0 w 122385"/>
                <a:gd name="connsiteY3" fmla="*/ 115325 h 122401"/>
                <a:gd name="connsiteX4" fmla="*/ 0 w 122385"/>
                <a:gd name="connsiteY4" fmla="*/ 115325 h 122401"/>
                <a:gd name="connsiteX5" fmla="*/ 0 w 122385"/>
                <a:gd name="connsiteY5" fmla="*/ 7077 h 122401"/>
                <a:gd name="connsiteX6" fmla="*/ 7043 w 122385"/>
                <a:gd name="connsiteY6" fmla="*/ 0 h 122401"/>
                <a:gd name="connsiteX7" fmla="*/ 115309 w 122385"/>
                <a:gd name="connsiteY7" fmla="*/ 0 h 122401"/>
                <a:gd name="connsiteX8" fmla="*/ 122385 w 122385"/>
                <a:gd name="connsiteY8" fmla="*/ 7043 h 122401"/>
                <a:gd name="connsiteX9" fmla="*/ 122385 w 122385"/>
                <a:gd name="connsiteY9" fmla="*/ 7077 h 122401"/>
                <a:gd name="connsiteX10" fmla="*/ 122385 w 122385"/>
                <a:gd name="connsiteY10" fmla="*/ 115258 h 122401"/>
                <a:gd name="connsiteX11" fmla="*/ 115309 w 122385"/>
                <a:gd name="connsiteY11" fmla="*/ 122351 h 122401"/>
                <a:gd name="connsiteX12" fmla="*/ 14203 w 122385"/>
                <a:gd name="connsiteY12" fmla="*/ 108232 h 122401"/>
                <a:gd name="connsiteX13" fmla="*/ 108333 w 122385"/>
                <a:gd name="connsiteY13" fmla="*/ 108232 h 122401"/>
                <a:gd name="connsiteX14" fmla="*/ 108333 w 122385"/>
                <a:gd name="connsiteY14" fmla="*/ 14103 h 122401"/>
                <a:gd name="connsiteX15" fmla="*/ 14203 w 122385"/>
                <a:gd name="connsiteY15" fmla="*/ 14103 h 12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85" h="122401">
                  <a:moveTo>
                    <a:pt x="115309" y="122402"/>
                  </a:moveTo>
                  <a:lnTo>
                    <a:pt x="7077" y="122402"/>
                  </a:lnTo>
                  <a:cubicBezTo>
                    <a:pt x="3178" y="122411"/>
                    <a:pt x="9" y="119258"/>
                    <a:pt x="0" y="115359"/>
                  </a:cubicBezTo>
                  <a:cubicBezTo>
                    <a:pt x="0" y="115348"/>
                    <a:pt x="0" y="115337"/>
                    <a:pt x="0" y="115325"/>
                  </a:cubicBezTo>
                  <a:lnTo>
                    <a:pt x="0" y="115325"/>
                  </a:lnTo>
                  <a:lnTo>
                    <a:pt x="0" y="7077"/>
                  </a:lnTo>
                  <a:cubicBezTo>
                    <a:pt x="-9" y="3178"/>
                    <a:pt x="3144" y="9"/>
                    <a:pt x="7043" y="0"/>
                  </a:cubicBezTo>
                  <a:lnTo>
                    <a:pt x="115309" y="0"/>
                  </a:lnTo>
                  <a:cubicBezTo>
                    <a:pt x="119208" y="-9"/>
                    <a:pt x="122376" y="3144"/>
                    <a:pt x="122385" y="7043"/>
                  </a:cubicBezTo>
                  <a:cubicBezTo>
                    <a:pt x="122385" y="7054"/>
                    <a:pt x="122385" y="7065"/>
                    <a:pt x="122385" y="7077"/>
                  </a:cubicBezTo>
                  <a:lnTo>
                    <a:pt x="122385" y="115258"/>
                  </a:lnTo>
                  <a:cubicBezTo>
                    <a:pt x="122385" y="119169"/>
                    <a:pt x="119220" y="122342"/>
                    <a:pt x="115309" y="122351"/>
                  </a:cubicBezTo>
                  <a:close/>
                  <a:moveTo>
                    <a:pt x="14203" y="108232"/>
                  </a:moveTo>
                  <a:lnTo>
                    <a:pt x="108333" y="108232"/>
                  </a:lnTo>
                  <a:lnTo>
                    <a:pt x="108333" y="14103"/>
                  </a:lnTo>
                  <a:lnTo>
                    <a:pt x="14203" y="14103"/>
                  </a:lnTo>
                  <a:close/>
                </a:path>
              </a:pathLst>
            </a:custGeom>
            <a:solidFill>
              <a:srgbClr val="1F6898"/>
            </a:solidFill>
            <a:ln w="16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EA67A325-CEF2-5C40-A535-7C47FB26EC50}"/>
                </a:ext>
              </a:extLst>
            </p:cNvPr>
            <p:cNvSpPr/>
            <p:nvPr/>
          </p:nvSpPr>
          <p:spPr>
            <a:xfrm>
              <a:off x="3938587" y="404812"/>
              <a:ext cx="122385" cy="122401"/>
            </a:xfrm>
            <a:custGeom>
              <a:avLst/>
              <a:gdLst>
                <a:gd name="connsiteX0" fmla="*/ 115309 w 122385"/>
                <a:gd name="connsiteY0" fmla="*/ 122402 h 122401"/>
                <a:gd name="connsiteX1" fmla="*/ 7077 w 122385"/>
                <a:gd name="connsiteY1" fmla="*/ 122402 h 122401"/>
                <a:gd name="connsiteX2" fmla="*/ 0 w 122385"/>
                <a:gd name="connsiteY2" fmla="*/ 115359 h 122401"/>
                <a:gd name="connsiteX3" fmla="*/ 0 w 122385"/>
                <a:gd name="connsiteY3" fmla="*/ 115325 h 122401"/>
                <a:gd name="connsiteX4" fmla="*/ 0 w 122385"/>
                <a:gd name="connsiteY4" fmla="*/ 115325 h 122401"/>
                <a:gd name="connsiteX5" fmla="*/ 0 w 122385"/>
                <a:gd name="connsiteY5" fmla="*/ 7077 h 122401"/>
                <a:gd name="connsiteX6" fmla="*/ 7043 w 122385"/>
                <a:gd name="connsiteY6" fmla="*/ 0 h 122401"/>
                <a:gd name="connsiteX7" fmla="*/ 115309 w 122385"/>
                <a:gd name="connsiteY7" fmla="*/ 0 h 122401"/>
                <a:gd name="connsiteX8" fmla="*/ 122385 w 122385"/>
                <a:gd name="connsiteY8" fmla="*/ 7043 h 122401"/>
                <a:gd name="connsiteX9" fmla="*/ 122385 w 122385"/>
                <a:gd name="connsiteY9" fmla="*/ 7077 h 122401"/>
                <a:gd name="connsiteX10" fmla="*/ 122385 w 122385"/>
                <a:gd name="connsiteY10" fmla="*/ 7077 h 122401"/>
                <a:gd name="connsiteX11" fmla="*/ 122385 w 122385"/>
                <a:gd name="connsiteY11" fmla="*/ 115258 h 122401"/>
                <a:gd name="connsiteX12" fmla="*/ 115309 w 122385"/>
                <a:gd name="connsiteY12" fmla="*/ 122351 h 122401"/>
                <a:gd name="connsiteX13" fmla="*/ 14170 w 122385"/>
                <a:gd name="connsiteY13" fmla="*/ 108232 h 122401"/>
                <a:gd name="connsiteX14" fmla="*/ 108299 w 122385"/>
                <a:gd name="connsiteY14" fmla="*/ 108232 h 122401"/>
                <a:gd name="connsiteX15" fmla="*/ 108299 w 122385"/>
                <a:gd name="connsiteY15" fmla="*/ 14103 h 122401"/>
                <a:gd name="connsiteX16" fmla="*/ 14170 w 122385"/>
                <a:gd name="connsiteY16" fmla="*/ 14103 h 12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2385" h="122401">
                  <a:moveTo>
                    <a:pt x="115309" y="122402"/>
                  </a:moveTo>
                  <a:lnTo>
                    <a:pt x="7077" y="122402"/>
                  </a:lnTo>
                  <a:cubicBezTo>
                    <a:pt x="3178" y="122411"/>
                    <a:pt x="9" y="119258"/>
                    <a:pt x="0" y="115359"/>
                  </a:cubicBezTo>
                  <a:cubicBezTo>
                    <a:pt x="0" y="115348"/>
                    <a:pt x="0" y="115337"/>
                    <a:pt x="0" y="115325"/>
                  </a:cubicBezTo>
                  <a:lnTo>
                    <a:pt x="0" y="115325"/>
                  </a:lnTo>
                  <a:lnTo>
                    <a:pt x="0" y="7077"/>
                  </a:lnTo>
                  <a:cubicBezTo>
                    <a:pt x="-9" y="3178"/>
                    <a:pt x="3144" y="9"/>
                    <a:pt x="7043" y="0"/>
                  </a:cubicBezTo>
                  <a:lnTo>
                    <a:pt x="115309" y="0"/>
                  </a:lnTo>
                  <a:cubicBezTo>
                    <a:pt x="119208" y="-9"/>
                    <a:pt x="122376" y="3144"/>
                    <a:pt x="122385" y="7043"/>
                  </a:cubicBezTo>
                  <a:cubicBezTo>
                    <a:pt x="122385" y="7054"/>
                    <a:pt x="122385" y="7065"/>
                    <a:pt x="122385" y="7077"/>
                  </a:cubicBezTo>
                  <a:lnTo>
                    <a:pt x="122385" y="7077"/>
                  </a:lnTo>
                  <a:lnTo>
                    <a:pt x="122385" y="115258"/>
                  </a:lnTo>
                  <a:cubicBezTo>
                    <a:pt x="122385" y="119169"/>
                    <a:pt x="119220" y="122342"/>
                    <a:pt x="115309" y="122351"/>
                  </a:cubicBezTo>
                  <a:close/>
                  <a:moveTo>
                    <a:pt x="14170" y="108232"/>
                  </a:moveTo>
                  <a:lnTo>
                    <a:pt x="108299" y="108232"/>
                  </a:lnTo>
                  <a:lnTo>
                    <a:pt x="108299" y="14103"/>
                  </a:lnTo>
                  <a:lnTo>
                    <a:pt x="14170" y="14103"/>
                  </a:lnTo>
                  <a:close/>
                </a:path>
              </a:pathLst>
            </a:custGeom>
            <a:solidFill>
              <a:srgbClr val="1F6898"/>
            </a:solidFill>
            <a:ln w="16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1B3A18C7-A228-FB4A-9AF5-2B50D2DA921D}"/>
                </a:ext>
              </a:extLst>
            </p:cNvPr>
            <p:cNvSpPr/>
            <p:nvPr/>
          </p:nvSpPr>
          <p:spPr>
            <a:xfrm>
              <a:off x="3938587" y="541384"/>
              <a:ext cx="122401" cy="122401"/>
            </a:xfrm>
            <a:custGeom>
              <a:avLst/>
              <a:gdLst>
                <a:gd name="connsiteX0" fmla="*/ 115309 w 122401"/>
                <a:gd name="connsiteY0" fmla="*/ 122402 h 122401"/>
                <a:gd name="connsiteX1" fmla="*/ 7077 w 122401"/>
                <a:gd name="connsiteY1" fmla="*/ 122402 h 122401"/>
                <a:gd name="connsiteX2" fmla="*/ 0 w 122401"/>
                <a:gd name="connsiteY2" fmla="*/ 115359 h 122401"/>
                <a:gd name="connsiteX3" fmla="*/ 0 w 122401"/>
                <a:gd name="connsiteY3" fmla="*/ 115325 h 122401"/>
                <a:gd name="connsiteX4" fmla="*/ 0 w 122401"/>
                <a:gd name="connsiteY4" fmla="*/ 115325 h 122401"/>
                <a:gd name="connsiteX5" fmla="*/ 0 w 122401"/>
                <a:gd name="connsiteY5" fmla="*/ 7077 h 122401"/>
                <a:gd name="connsiteX6" fmla="*/ 7043 w 122401"/>
                <a:gd name="connsiteY6" fmla="*/ 0 h 122401"/>
                <a:gd name="connsiteX7" fmla="*/ 115309 w 122401"/>
                <a:gd name="connsiteY7" fmla="*/ 0 h 122401"/>
                <a:gd name="connsiteX8" fmla="*/ 122402 w 122401"/>
                <a:gd name="connsiteY8" fmla="*/ 7093 h 122401"/>
                <a:gd name="connsiteX9" fmla="*/ 122402 w 122401"/>
                <a:gd name="connsiteY9" fmla="*/ 115309 h 122401"/>
                <a:gd name="connsiteX10" fmla="*/ 115309 w 122401"/>
                <a:gd name="connsiteY10" fmla="*/ 122402 h 122401"/>
                <a:gd name="connsiteX11" fmla="*/ 14170 w 122401"/>
                <a:gd name="connsiteY11" fmla="*/ 108232 h 122401"/>
                <a:gd name="connsiteX12" fmla="*/ 108299 w 122401"/>
                <a:gd name="connsiteY12" fmla="*/ 108232 h 122401"/>
                <a:gd name="connsiteX13" fmla="*/ 108299 w 122401"/>
                <a:gd name="connsiteY13" fmla="*/ 14103 h 122401"/>
                <a:gd name="connsiteX14" fmla="*/ 14170 w 122401"/>
                <a:gd name="connsiteY14" fmla="*/ 14103 h 12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401" h="122401">
                  <a:moveTo>
                    <a:pt x="115309" y="122402"/>
                  </a:moveTo>
                  <a:lnTo>
                    <a:pt x="7077" y="122402"/>
                  </a:lnTo>
                  <a:cubicBezTo>
                    <a:pt x="3178" y="122411"/>
                    <a:pt x="9" y="119258"/>
                    <a:pt x="0" y="115359"/>
                  </a:cubicBezTo>
                  <a:cubicBezTo>
                    <a:pt x="0" y="115348"/>
                    <a:pt x="0" y="115337"/>
                    <a:pt x="0" y="115325"/>
                  </a:cubicBezTo>
                  <a:lnTo>
                    <a:pt x="0" y="115325"/>
                  </a:lnTo>
                  <a:lnTo>
                    <a:pt x="0" y="7077"/>
                  </a:lnTo>
                  <a:cubicBezTo>
                    <a:pt x="-9" y="3178"/>
                    <a:pt x="3144" y="9"/>
                    <a:pt x="7043" y="0"/>
                  </a:cubicBezTo>
                  <a:lnTo>
                    <a:pt x="115309" y="0"/>
                  </a:lnTo>
                  <a:cubicBezTo>
                    <a:pt x="119226" y="0"/>
                    <a:pt x="122402" y="3176"/>
                    <a:pt x="122402" y="7093"/>
                  </a:cubicBezTo>
                  <a:lnTo>
                    <a:pt x="122402" y="115309"/>
                  </a:lnTo>
                  <a:cubicBezTo>
                    <a:pt x="122393" y="119222"/>
                    <a:pt x="119222" y="122393"/>
                    <a:pt x="115309" y="122402"/>
                  </a:cubicBezTo>
                  <a:close/>
                  <a:moveTo>
                    <a:pt x="14170" y="108232"/>
                  </a:moveTo>
                  <a:lnTo>
                    <a:pt x="108299" y="108232"/>
                  </a:lnTo>
                  <a:lnTo>
                    <a:pt x="108299" y="14103"/>
                  </a:lnTo>
                  <a:lnTo>
                    <a:pt x="14170" y="14103"/>
                  </a:lnTo>
                  <a:close/>
                </a:path>
              </a:pathLst>
            </a:custGeom>
            <a:solidFill>
              <a:srgbClr val="1F6898"/>
            </a:solidFill>
            <a:ln w="16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B921C2EA-FD9D-CE4E-B54A-8149C12C07AE}"/>
                </a:ext>
              </a:extLst>
            </p:cNvPr>
            <p:cNvSpPr/>
            <p:nvPr/>
          </p:nvSpPr>
          <p:spPr>
            <a:xfrm>
              <a:off x="4126409" y="586852"/>
              <a:ext cx="57469" cy="57814"/>
            </a:xfrm>
            <a:custGeom>
              <a:avLst/>
              <a:gdLst>
                <a:gd name="connsiteX0" fmla="*/ 28726 w 57469"/>
                <a:gd name="connsiteY0" fmla="*/ 0 h 57814"/>
                <a:gd name="connsiteX1" fmla="*/ 22994 w 57469"/>
                <a:gd name="connsiteY1" fmla="*/ 5749 h 57814"/>
                <a:gd name="connsiteX2" fmla="*/ 22994 w 57469"/>
                <a:gd name="connsiteY2" fmla="*/ 23028 h 57814"/>
                <a:gd name="connsiteX3" fmla="*/ 5749 w 57469"/>
                <a:gd name="connsiteY3" fmla="*/ 23028 h 57814"/>
                <a:gd name="connsiteX4" fmla="*/ 0 w 57469"/>
                <a:gd name="connsiteY4" fmla="*/ 28777 h 57814"/>
                <a:gd name="connsiteX5" fmla="*/ 5749 w 57469"/>
                <a:gd name="connsiteY5" fmla="*/ 34525 h 57814"/>
                <a:gd name="connsiteX6" fmla="*/ 22994 w 57469"/>
                <a:gd name="connsiteY6" fmla="*/ 34525 h 57814"/>
                <a:gd name="connsiteX7" fmla="*/ 22994 w 57469"/>
                <a:gd name="connsiteY7" fmla="*/ 51754 h 57814"/>
                <a:gd name="connsiteX8" fmla="*/ 28424 w 57469"/>
                <a:gd name="connsiteY8" fmla="*/ 57806 h 57814"/>
                <a:gd name="connsiteX9" fmla="*/ 34475 w 57469"/>
                <a:gd name="connsiteY9" fmla="*/ 52376 h 57814"/>
                <a:gd name="connsiteX10" fmla="*/ 34475 w 57469"/>
                <a:gd name="connsiteY10" fmla="*/ 51754 h 57814"/>
                <a:gd name="connsiteX11" fmla="*/ 34475 w 57469"/>
                <a:gd name="connsiteY11" fmla="*/ 34475 h 57814"/>
                <a:gd name="connsiteX12" fmla="*/ 51721 w 57469"/>
                <a:gd name="connsiteY12" fmla="*/ 34475 h 57814"/>
                <a:gd name="connsiteX13" fmla="*/ 57469 w 57469"/>
                <a:gd name="connsiteY13" fmla="*/ 28726 h 57814"/>
                <a:gd name="connsiteX14" fmla="*/ 51721 w 57469"/>
                <a:gd name="connsiteY14" fmla="*/ 22978 h 57814"/>
                <a:gd name="connsiteX15" fmla="*/ 34542 w 57469"/>
                <a:gd name="connsiteY15" fmla="*/ 22978 h 57814"/>
                <a:gd name="connsiteX16" fmla="*/ 34542 w 57469"/>
                <a:gd name="connsiteY16" fmla="*/ 5749 h 57814"/>
                <a:gd name="connsiteX17" fmla="*/ 28794 w 57469"/>
                <a:gd name="connsiteY17" fmla="*/ 0 h 5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7469" h="57814">
                  <a:moveTo>
                    <a:pt x="28726" y="0"/>
                  </a:moveTo>
                  <a:cubicBezTo>
                    <a:pt x="25562" y="18"/>
                    <a:pt x="23004" y="2584"/>
                    <a:pt x="22994" y="5749"/>
                  </a:cubicBezTo>
                  <a:lnTo>
                    <a:pt x="22994" y="23028"/>
                  </a:lnTo>
                  <a:lnTo>
                    <a:pt x="5749" y="23028"/>
                  </a:lnTo>
                  <a:cubicBezTo>
                    <a:pt x="2574" y="23028"/>
                    <a:pt x="0" y="25602"/>
                    <a:pt x="0" y="28777"/>
                  </a:cubicBezTo>
                  <a:cubicBezTo>
                    <a:pt x="0" y="31952"/>
                    <a:pt x="2574" y="34525"/>
                    <a:pt x="5749" y="34525"/>
                  </a:cubicBezTo>
                  <a:lnTo>
                    <a:pt x="22994" y="34525"/>
                  </a:lnTo>
                  <a:lnTo>
                    <a:pt x="22994" y="51754"/>
                  </a:lnTo>
                  <a:cubicBezTo>
                    <a:pt x="22823" y="54925"/>
                    <a:pt x="25253" y="57634"/>
                    <a:pt x="28424" y="57806"/>
                  </a:cubicBezTo>
                  <a:cubicBezTo>
                    <a:pt x="31594" y="57977"/>
                    <a:pt x="34303" y="55547"/>
                    <a:pt x="34475" y="52376"/>
                  </a:cubicBezTo>
                  <a:cubicBezTo>
                    <a:pt x="34492" y="52169"/>
                    <a:pt x="34492" y="51961"/>
                    <a:pt x="34475" y="51754"/>
                  </a:cubicBezTo>
                  <a:lnTo>
                    <a:pt x="34475" y="34475"/>
                  </a:lnTo>
                  <a:lnTo>
                    <a:pt x="51721" y="34475"/>
                  </a:lnTo>
                  <a:cubicBezTo>
                    <a:pt x="54896" y="34475"/>
                    <a:pt x="57469" y="31901"/>
                    <a:pt x="57469" y="28726"/>
                  </a:cubicBezTo>
                  <a:cubicBezTo>
                    <a:pt x="57469" y="25551"/>
                    <a:pt x="54896" y="22978"/>
                    <a:pt x="51721" y="22978"/>
                  </a:cubicBezTo>
                  <a:lnTo>
                    <a:pt x="34542" y="22978"/>
                  </a:lnTo>
                  <a:lnTo>
                    <a:pt x="34542" y="5749"/>
                  </a:lnTo>
                  <a:cubicBezTo>
                    <a:pt x="34542" y="2574"/>
                    <a:pt x="31968" y="0"/>
                    <a:pt x="28794" y="0"/>
                  </a:cubicBezTo>
                  <a:close/>
                </a:path>
              </a:pathLst>
            </a:custGeom>
            <a:solidFill>
              <a:srgbClr val="BD5C7A"/>
            </a:solidFill>
            <a:ln w="16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7" name="Graphic 59">
            <a:extLst>
              <a:ext uri="{FF2B5EF4-FFF2-40B4-BE49-F238E27FC236}">
                <a16:creationId xmlns:a16="http://schemas.microsoft.com/office/drawing/2014/main" id="{4339FB71-9F40-0249-A6DA-3E11513BC318}"/>
              </a:ext>
            </a:extLst>
          </p:cNvPr>
          <p:cNvGrpSpPr/>
          <p:nvPr userDrawn="1"/>
        </p:nvGrpSpPr>
        <p:grpSpPr>
          <a:xfrm>
            <a:off x="4776616" y="745493"/>
            <a:ext cx="190841" cy="296864"/>
            <a:chOff x="4757737" y="350836"/>
            <a:chExt cx="190841" cy="296864"/>
          </a:xfrm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C4337C1A-AFA8-4249-B411-26E7A2348607}"/>
                </a:ext>
              </a:extLst>
            </p:cNvPr>
            <p:cNvSpPr/>
            <p:nvPr/>
          </p:nvSpPr>
          <p:spPr>
            <a:xfrm>
              <a:off x="4762317" y="350830"/>
              <a:ext cx="185497" cy="297260"/>
            </a:xfrm>
            <a:custGeom>
              <a:avLst/>
              <a:gdLst>
                <a:gd name="connsiteX0" fmla="*/ 92367 w 185497"/>
                <a:gd name="connsiteY0" fmla="*/ 6 h 297260"/>
                <a:gd name="connsiteX1" fmla="*/ 97711 w 185497"/>
                <a:gd name="connsiteY1" fmla="*/ 3131 h 297260"/>
                <a:gd name="connsiteX2" fmla="*/ 185497 w 185497"/>
                <a:gd name="connsiteY2" fmla="*/ 202342 h 297260"/>
                <a:gd name="connsiteX3" fmla="*/ 92749 w 185497"/>
                <a:gd name="connsiteY3" fmla="*/ 297260 h 297260"/>
                <a:gd name="connsiteX4" fmla="*/ 0 w 185497"/>
                <a:gd name="connsiteY4" fmla="*/ 202342 h 297260"/>
                <a:gd name="connsiteX5" fmla="*/ 87787 w 185497"/>
                <a:gd name="connsiteY5" fmla="*/ 3131 h 297260"/>
                <a:gd name="connsiteX6" fmla="*/ 92367 w 185497"/>
                <a:gd name="connsiteY6" fmla="*/ 6 h 297260"/>
                <a:gd name="connsiteX7" fmla="*/ 92367 w 185497"/>
                <a:gd name="connsiteY7" fmla="*/ 285151 h 297260"/>
                <a:gd name="connsiteX8" fmla="*/ 173284 w 185497"/>
                <a:gd name="connsiteY8" fmla="*/ 202342 h 297260"/>
                <a:gd name="connsiteX9" fmla="*/ 92367 w 185497"/>
                <a:gd name="connsiteY9" fmla="*/ 17974 h 297260"/>
                <a:gd name="connsiteX10" fmla="*/ 11450 w 185497"/>
                <a:gd name="connsiteY10" fmla="*/ 202342 h 297260"/>
                <a:gd name="connsiteX11" fmla="*/ 92367 w 185497"/>
                <a:gd name="connsiteY11" fmla="*/ 285151 h 2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497" h="297260">
                  <a:moveTo>
                    <a:pt x="92367" y="6"/>
                  </a:moveTo>
                  <a:cubicBezTo>
                    <a:pt x="94588" y="-95"/>
                    <a:pt x="96667" y="1121"/>
                    <a:pt x="97711" y="3131"/>
                  </a:cubicBezTo>
                  <a:cubicBezTo>
                    <a:pt x="101527" y="9380"/>
                    <a:pt x="185497" y="152344"/>
                    <a:pt x="185497" y="202342"/>
                  </a:cubicBezTo>
                  <a:cubicBezTo>
                    <a:pt x="185497" y="254764"/>
                    <a:pt x="143972" y="297260"/>
                    <a:pt x="92749" y="297260"/>
                  </a:cubicBezTo>
                  <a:cubicBezTo>
                    <a:pt x="41525" y="297260"/>
                    <a:pt x="0" y="254764"/>
                    <a:pt x="0" y="202342"/>
                  </a:cubicBezTo>
                  <a:cubicBezTo>
                    <a:pt x="0" y="152344"/>
                    <a:pt x="83970" y="9380"/>
                    <a:pt x="87787" y="3131"/>
                  </a:cubicBezTo>
                  <a:cubicBezTo>
                    <a:pt x="88762" y="1423"/>
                    <a:pt x="90452" y="270"/>
                    <a:pt x="92367" y="6"/>
                  </a:cubicBezTo>
                  <a:close/>
                  <a:moveTo>
                    <a:pt x="92367" y="285151"/>
                  </a:moveTo>
                  <a:cubicBezTo>
                    <a:pt x="137047" y="285130"/>
                    <a:pt x="173263" y="248067"/>
                    <a:pt x="173284" y="202342"/>
                  </a:cubicBezTo>
                  <a:cubicBezTo>
                    <a:pt x="173284" y="161719"/>
                    <a:pt x="110688" y="50004"/>
                    <a:pt x="92367" y="17974"/>
                  </a:cubicBezTo>
                  <a:cubicBezTo>
                    <a:pt x="74046" y="50004"/>
                    <a:pt x="11450" y="161719"/>
                    <a:pt x="11450" y="202342"/>
                  </a:cubicBezTo>
                  <a:cubicBezTo>
                    <a:pt x="11472" y="248067"/>
                    <a:pt x="47687" y="285130"/>
                    <a:pt x="92367" y="285151"/>
                  </a:cubicBezTo>
                  <a:close/>
                </a:path>
              </a:pathLst>
            </a:custGeom>
            <a:solidFill>
              <a:srgbClr val="1F6896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D5A3DBFD-3190-5145-A9A7-FC9399E48C69}"/>
                </a:ext>
              </a:extLst>
            </p:cNvPr>
            <p:cNvSpPr/>
            <p:nvPr/>
          </p:nvSpPr>
          <p:spPr>
            <a:xfrm>
              <a:off x="4787505" y="546141"/>
              <a:ext cx="71759" cy="74216"/>
            </a:xfrm>
            <a:custGeom>
              <a:avLst/>
              <a:gdLst>
                <a:gd name="connsiteX0" fmla="*/ 71759 w 71759"/>
                <a:gd name="connsiteY0" fmla="*/ 67966 h 74216"/>
                <a:gd name="connsiteX1" fmla="*/ 65821 w 71759"/>
                <a:gd name="connsiteY1" fmla="*/ 74216 h 74216"/>
                <a:gd name="connsiteX2" fmla="*/ 65652 w 71759"/>
                <a:gd name="connsiteY2" fmla="*/ 74216 h 74216"/>
                <a:gd name="connsiteX3" fmla="*/ 0 w 71759"/>
                <a:gd name="connsiteY3" fmla="*/ 6706 h 74216"/>
                <a:gd name="connsiteX4" fmla="*/ 3 w 71759"/>
                <a:gd name="connsiteY4" fmla="*/ 6250 h 74216"/>
                <a:gd name="connsiteX5" fmla="*/ 6110 w 71759"/>
                <a:gd name="connsiteY5" fmla="*/ 0 h 74216"/>
                <a:gd name="connsiteX6" fmla="*/ 12217 w 71759"/>
                <a:gd name="connsiteY6" fmla="*/ 6250 h 74216"/>
                <a:gd name="connsiteX7" fmla="*/ 66415 w 71759"/>
                <a:gd name="connsiteY7" fmla="*/ 62498 h 74216"/>
                <a:gd name="connsiteX8" fmla="*/ 71759 w 71759"/>
                <a:gd name="connsiteY8" fmla="*/ 67966 h 74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759" h="74216">
                  <a:moveTo>
                    <a:pt x="71759" y="67966"/>
                  </a:moveTo>
                  <a:cubicBezTo>
                    <a:pt x="71806" y="71370"/>
                    <a:pt x="69147" y="74168"/>
                    <a:pt x="65821" y="74216"/>
                  </a:cubicBezTo>
                  <a:cubicBezTo>
                    <a:pt x="65765" y="74217"/>
                    <a:pt x="65708" y="74217"/>
                    <a:pt x="65652" y="74216"/>
                  </a:cubicBezTo>
                  <a:cubicBezTo>
                    <a:pt x="29307" y="74127"/>
                    <a:pt x="-87" y="43902"/>
                    <a:pt x="0" y="6706"/>
                  </a:cubicBezTo>
                  <a:cubicBezTo>
                    <a:pt x="1" y="6554"/>
                    <a:pt x="1" y="6402"/>
                    <a:pt x="3" y="6250"/>
                  </a:cubicBezTo>
                  <a:cubicBezTo>
                    <a:pt x="3" y="2798"/>
                    <a:pt x="2737" y="0"/>
                    <a:pt x="6110" y="0"/>
                  </a:cubicBezTo>
                  <a:cubicBezTo>
                    <a:pt x="9482" y="0"/>
                    <a:pt x="12217" y="2798"/>
                    <a:pt x="12217" y="6250"/>
                  </a:cubicBezTo>
                  <a:cubicBezTo>
                    <a:pt x="12271" y="36988"/>
                    <a:pt x="36384" y="62012"/>
                    <a:pt x="66415" y="62498"/>
                  </a:cubicBezTo>
                  <a:cubicBezTo>
                    <a:pt x="69285" y="62691"/>
                    <a:pt x="71570" y="65030"/>
                    <a:pt x="71759" y="67966"/>
                  </a:cubicBezTo>
                  <a:close/>
                </a:path>
              </a:pathLst>
            </a:custGeom>
            <a:solidFill>
              <a:srgbClr val="9EC9DF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E462BEF0-7EB2-A14F-BE20-2A316AD42852}"/>
                </a:ext>
              </a:extLst>
            </p:cNvPr>
            <p:cNvSpPr/>
            <p:nvPr/>
          </p:nvSpPr>
          <p:spPr>
            <a:xfrm>
              <a:off x="4804282" y="493799"/>
              <a:ext cx="32806" cy="39061"/>
            </a:xfrm>
            <a:custGeom>
              <a:avLst/>
              <a:gdLst>
                <a:gd name="connsiteX0" fmla="*/ 19 w 32806"/>
                <a:gd name="connsiteY0" fmla="*/ 8593 h 39061"/>
                <a:gd name="connsiteX1" fmla="*/ 8378 w 32806"/>
                <a:gd name="connsiteY1" fmla="*/ 1602 h 39061"/>
                <a:gd name="connsiteX2" fmla="*/ 15210 w 32806"/>
                <a:gd name="connsiteY2" fmla="*/ 10156 h 39061"/>
                <a:gd name="connsiteX3" fmla="*/ 7653 w 32806"/>
                <a:gd name="connsiteY3" fmla="*/ 17187 h 39061"/>
                <a:gd name="connsiteX4" fmla="*/ 2 w 32806"/>
                <a:gd name="connsiteY4" fmla="*/ 8960 h 39061"/>
                <a:gd name="connsiteX5" fmla="*/ 19 w 32806"/>
                <a:gd name="connsiteY5" fmla="*/ 8593 h 39061"/>
                <a:gd name="connsiteX6" fmla="*/ 10707 w 32806"/>
                <a:gd name="connsiteY6" fmla="*/ 8593 h 39061"/>
                <a:gd name="connsiteX7" fmla="*/ 8416 w 32806"/>
                <a:gd name="connsiteY7" fmla="*/ 5469 h 39061"/>
                <a:gd name="connsiteX8" fmla="*/ 6126 w 32806"/>
                <a:gd name="connsiteY8" fmla="*/ 8593 h 39061"/>
                <a:gd name="connsiteX9" fmla="*/ 8416 w 32806"/>
                <a:gd name="connsiteY9" fmla="*/ 11718 h 39061"/>
                <a:gd name="connsiteX10" fmla="*/ 10707 w 32806"/>
                <a:gd name="connsiteY10" fmla="*/ 8593 h 39061"/>
                <a:gd name="connsiteX11" fmla="*/ 22920 w 32806"/>
                <a:gd name="connsiteY11" fmla="*/ 1562 h 39061"/>
                <a:gd name="connsiteX12" fmla="*/ 25210 w 32806"/>
                <a:gd name="connsiteY12" fmla="*/ 0 h 39061"/>
                <a:gd name="connsiteX13" fmla="*/ 28264 w 32806"/>
                <a:gd name="connsiteY13" fmla="*/ 3125 h 39061"/>
                <a:gd name="connsiteX14" fmla="*/ 27501 w 32806"/>
                <a:gd name="connsiteY14" fmla="*/ 4687 h 39061"/>
                <a:gd name="connsiteX15" fmla="*/ 10707 w 32806"/>
                <a:gd name="connsiteY15" fmla="*/ 37499 h 39061"/>
                <a:gd name="connsiteX16" fmla="*/ 8416 w 32806"/>
                <a:gd name="connsiteY16" fmla="*/ 39061 h 39061"/>
                <a:gd name="connsiteX17" fmla="*/ 5363 w 32806"/>
                <a:gd name="connsiteY17" fmla="*/ 35936 h 39061"/>
                <a:gd name="connsiteX18" fmla="*/ 6126 w 32806"/>
                <a:gd name="connsiteY18" fmla="*/ 34374 h 39061"/>
                <a:gd name="connsiteX19" fmla="*/ 17577 w 32806"/>
                <a:gd name="connsiteY19" fmla="*/ 30468 h 39061"/>
                <a:gd name="connsiteX20" fmla="*/ 25936 w 32806"/>
                <a:gd name="connsiteY20" fmla="*/ 23476 h 39061"/>
                <a:gd name="connsiteX21" fmla="*/ 32768 w 32806"/>
                <a:gd name="connsiteY21" fmla="*/ 32030 h 39061"/>
                <a:gd name="connsiteX22" fmla="*/ 25210 w 32806"/>
                <a:gd name="connsiteY22" fmla="*/ 39061 h 39061"/>
                <a:gd name="connsiteX23" fmla="*/ 17577 w 32806"/>
                <a:gd name="connsiteY23" fmla="*/ 30468 h 39061"/>
                <a:gd name="connsiteX24" fmla="*/ 28264 w 32806"/>
                <a:gd name="connsiteY24" fmla="*/ 30468 h 39061"/>
                <a:gd name="connsiteX25" fmla="*/ 25974 w 32806"/>
                <a:gd name="connsiteY25" fmla="*/ 27343 h 39061"/>
                <a:gd name="connsiteX26" fmla="*/ 23684 w 32806"/>
                <a:gd name="connsiteY26" fmla="*/ 30468 h 39061"/>
                <a:gd name="connsiteX27" fmla="*/ 25974 w 32806"/>
                <a:gd name="connsiteY27" fmla="*/ 33593 h 39061"/>
                <a:gd name="connsiteX28" fmla="*/ 28264 w 32806"/>
                <a:gd name="connsiteY28" fmla="*/ 30468 h 3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806" h="39061">
                  <a:moveTo>
                    <a:pt x="19" y="8593"/>
                  </a:moveTo>
                  <a:cubicBezTo>
                    <a:pt x="441" y="4301"/>
                    <a:pt x="4184" y="1170"/>
                    <a:pt x="8378" y="1602"/>
                  </a:cubicBezTo>
                  <a:cubicBezTo>
                    <a:pt x="12573" y="2033"/>
                    <a:pt x="15632" y="5863"/>
                    <a:pt x="15210" y="10156"/>
                  </a:cubicBezTo>
                  <a:cubicBezTo>
                    <a:pt x="14820" y="14133"/>
                    <a:pt x="11559" y="17167"/>
                    <a:pt x="7653" y="17187"/>
                  </a:cubicBezTo>
                  <a:cubicBezTo>
                    <a:pt x="3320" y="17077"/>
                    <a:pt x="-105" y="13394"/>
                    <a:pt x="2" y="8960"/>
                  </a:cubicBezTo>
                  <a:cubicBezTo>
                    <a:pt x="5" y="8837"/>
                    <a:pt x="11" y="8715"/>
                    <a:pt x="19" y="8593"/>
                  </a:cubicBezTo>
                  <a:close/>
                  <a:moveTo>
                    <a:pt x="10707" y="8593"/>
                  </a:moveTo>
                  <a:cubicBezTo>
                    <a:pt x="10707" y="7031"/>
                    <a:pt x="9943" y="5469"/>
                    <a:pt x="8416" y="5469"/>
                  </a:cubicBezTo>
                  <a:cubicBezTo>
                    <a:pt x="6890" y="5469"/>
                    <a:pt x="6126" y="7031"/>
                    <a:pt x="6126" y="8593"/>
                  </a:cubicBezTo>
                  <a:cubicBezTo>
                    <a:pt x="6126" y="10156"/>
                    <a:pt x="6890" y="11718"/>
                    <a:pt x="8416" y="11718"/>
                  </a:cubicBezTo>
                  <a:cubicBezTo>
                    <a:pt x="9180" y="11718"/>
                    <a:pt x="10707" y="10937"/>
                    <a:pt x="10707" y="8593"/>
                  </a:cubicBezTo>
                  <a:close/>
                  <a:moveTo>
                    <a:pt x="22920" y="1562"/>
                  </a:moveTo>
                  <a:cubicBezTo>
                    <a:pt x="23684" y="0"/>
                    <a:pt x="24447" y="0"/>
                    <a:pt x="25210" y="0"/>
                  </a:cubicBezTo>
                  <a:cubicBezTo>
                    <a:pt x="26849" y="113"/>
                    <a:pt x="28153" y="1448"/>
                    <a:pt x="28264" y="3125"/>
                  </a:cubicBezTo>
                  <a:cubicBezTo>
                    <a:pt x="28264" y="3906"/>
                    <a:pt x="28264" y="3906"/>
                    <a:pt x="27501" y="4687"/>
                  </a:cubicBezTo>
                  <a:lnTo>
                    <a:pt x="10707" y="37499"/>
                  </a:lnTo>
                  <a:cubicBezTo>
                    <a:pt x="9943" y="38280"/>
                    <a:pt x="9943" y="39061"/>
                    <a:pt x="8416" y="39061"/>
                  </a:cubicBezTo>
                  <a:cubicBezTo>
                    <a:pt x="6778" y="38948"/>
                    <a:pt x="5474" y="37613"/>
                    <a:pt x="5363" y="35936"/>
                  </a:cubicBezTo>
                  <a:cubicBezTo>
                    <a:pt x="5363" y="35155"/>
                    <a:pt x="5363" y="34374"/>
                    <a:pt x="6126" y="34374"/>
                  </a:cubicBezTo>
                  <a:close/>
                  <a:moveTo>
                    <a:pt x="17577" y="30468"/>
                  </a:moveTo>
                  <a:cubicBezTo>
                    <a:pt x="17999" y="26175"/>
                    <a:pt x="21741" y="23044"/>
                    <a:pt x="25936" y="23476"/>
                  </a:cubicBezTo>
                  <a:cubicBezTo>
                    <a:pt x="30130" y="23907"/>
                    <a:pt x="33189" y="27737"/>
                    <a:pt x="32768" y="32030"/>
                  </a:cubicBezTo>
                  <a:cubicBezTo>
                    <a:pt x="32377" y="36007"/>
                    <a:pt x="29116" y="39041"/>
                    <a:pt x="25210" y="39061"/>
                  </a:cubicBezTo>
                  <a:cubicBezTo>
                    <a:pt x="20873" y="38656"/>
                    <a:pt x="17559" y="34925"/>
                    <a:pt x="17577" y="30468"/>
                  </a:cubicBezTo>
                  <a:close/>
                  <a:moveTo>
                    <a:pt x="28264" y="30468"/>
                  </a:moveTo>
                  <a:cubicBezTo>
                    <a:pt x="28264" y="28905"/>
                    <a:pt x="27501" y="27343"/>
                    <a:pt x="25974" y="27343"/>
                  </a:cubicBezTo>
                  <a:cubicBezTo>
                    <a:pt x="24447" y="27343"/>
                    <a:pt x="23684" y="28905"/>
                    <a:pt x="23684" y="30468"/>
                  </a:cubicBezTo>
                  <a:cubicBezTo>
                    <a:pt x="23684" y="32030"/>
                    <a:pt x="24447" y="33593"/>
                    <a:pt x="25974" y="33593"/>
                  </a:cubicBezTo>
                  <a:cubicBezTo>
                    <a:pt x="27501" y="33593"/>
                    <a:pt x="28264" y="32030"/>
                    <a:pt x="28264" y="30468"/>
                  </a:cubicBezTo>
                  <a:close/>
                </a:path>
              </a:pathLst>
            </a:custGeom>
            <a:solidFill>
              <a:srgbClr val="BD5C7A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57264618-FA78-F646-802D-F98027243982}"/>
                </a:ext>
              </a:extLst>
            </p:cNvPr>
            <p:cNvSpPr/>
            <p:nvPr/>
          </p:nvSpPr>
          <p:spPr>
            <a:xfrm>
              <a:off x="4841700" y="495354"/>
              <a:ext cx="25982" cy="37531"/>
            </a:xfrm>
            <a:custGeom>
              <a:avLst/>
              <a:gdLst>
                <a:gd name="connsiteX0" fmla="*/ 7 w 25982"/>
                <a:gd name="connsiteY0" fmla="*/ 3913 h 37531"/>
                <a:gd name="connsiteX1" fmla="*/ 3383 w 25982"/>
                <a:gd name="connsiteY1" fmla="*/ 7 h 37531"/>
                <a:gd name="connsiteX2" fmla="*/ 3824 w 25982"/>
                <a:gd name="connsiteY2" fmla="*/ 7 h 37531"/>
                <a:gd name="connsiteX3" fmla="*/ 12984 w 25982"/>
                <a:gd name="connsiteY3" fmla="*/ 7 h 37531"/>
                <a:gd name="connsiteX4" fmla="*/ 25961 w 25982"/>
                <a:gd name="connsiteY4" fmla="*/ 11725 h 37531"/>
                <a:gd name="connsiteX5" fmla="*/ 16801 w 25982"/>
                <a:gd name="connsiteY5" fmla="*/ 21881 h 37531"/>
                <a:gd name="connsiteX6" fmla="*/ 25198 w 25982"/>
                <a:gd name="connsiteY6" fmla="*/ 31256 h 37531"/>
                <a:gd name="connsiteX7" fmla="*/ 25961 w 25982"/>
                <a:gd name="connsiteY7" fmla="*/ 33599 h 37531"/>
                <a:gd name="connsiteX8" fmla="*/ 22585 w 25982"/>
                <a:gd name="connsiteY8" fmla="*/ 37506 h 37531"/>
                <a:gd name="connsiteX9" fmla="*/ 22144 w 25982"/>
                <a:gd name="connsiteY9" fmla="*/ 37506 h 37531"/>
                <a:gd name="connsiteX10" fmla="*/ 19091 w 25982"/>
                <a:gd name="connsiteY10" fmla="*/ 35943 h 37531"/>
                <a:gd name="connsiteX11" fmla="*/ 7641 w 25982"/>
                <a:gd name="connsiteY11" fmla="*/ 21881 h 37531"/>
                <a:gd name="connsiteX12" fmla="*/ 7641 w 25982"/>
                <a:gd name="connsiteY12" fmla="*/ 21881 h 37531"/>
                <a:gd name="connsiteX13" fmla="*/ 7641 w 25982"/>
                <a:gd name="connsiteY13" fmla="*/ 32818 h 37531"/>
                <a:gd name="connsiteX14" fmla="*/ 3824 w 25982"/>
                <a:gd name="connsiteY14" fmla="*/ 36724 h 37531"/>
                <a:gd name="connsiteX15" fmla="*/ 7 w 25982"/>
                <a:gd name="connsiteY15" fmla="*/ 32818 h 37531"/>
                <a:gd name="connsiteX16" fmla="*/ 7641 w 25982"/>
                <a:gd name="connsiteY16" fmla="*/ 15631 h 37531"/>
                <a:gd name="connsiteX17" fmla="*/ 12984 w 25982"/>
                <a:gd name="connsiteY17" fmla="*/ 15631 h 37531"/>
                <a:gd name="connsiteX18" fmla="*/ 17564 w 25982"/>
                <a:gd name="connsiteY18" fmla="*/ 12122 h 37531"/>
                <a:gd name="connsiteX19" fmla="*/ 17564 w 25982"/>
                <a:gd name="connsiteY19" fmla="*/ 10944 h 37531"/>
                <a:gd name="connsiteX20" fmla="*/ 13358 w 25982"/>
                <a:gd name="connsiteY20" fmla="*/ 6257 h 37531"/>
                <a:gd name="connsiteX21" fmla="*/ 12984 w 25982"/>
                <a:gd name="connsiteY21" fmla="*/ 6257 h 37531"/>
                <a:gd name="connsiteX22" fmla="*/ 7641 w 25982"/>
                <a:gd name="connsiteY22" fmla="*/ 6257 h 3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982" h="37531">
                  <a:moveTo>
                    <a:pt x="7" y="3913"/>
                  </a:moveTo>
                  <a:cubicBezTo>
                    <a:pt x="-115" y="1880"/>
                    <a:pt x="1397" y="132"/>
                    <a:pt x="3383" y="7"/>
                  </a:cubicBezTo>
                  <a:cubicBezTo>
                    <a:pt x="3530" y="-2"/>
                    <a:pt x="3677" y="-2"/>
                    <a:pt x="3824" y="7"/>
                  </a:cubicBezTo>
                  <a:lnTo>
                    <a:pt x="12984" y="7"/>
                  </a:lnTo>
                  <a:cubicBezTo>
                    <a:pt x="20618" y="7"/>
                    <a:pt x="25961" y="3913"/>
                    <a:pt x="25961" y="11725"/>
                  </a:cubicBezTo>
                  <a:cubicBezTo>
                    <a:pt x="25682" y="16920"/>
                    <a:pt x="21839" y="21181"/>
                    <a:pt x="16801" y="21881"/>
                  </a:cubicBezTo>
                  <a:lnTo>
                    <a:pt x="25198" y="31256"/>
                  </a:lnTo>
                  <a:cubicBezTo>
                    <a:pt x="25785" y="31879"/>
                    <a:pt x="26066" y="32740"/>
                    <a:pt x="25961" y="33599"/>
                  </a:cubicBezTo>
                  <a:cubicBezTo>
                    <a:pt x="26083" y="35632"/>
                    <a:pt x="24572" y="37381"/>
                    <a:pt x="22585" y="37506"/>
                  </a:cubicBezTo>
                  <a:cubicBezTo>
                    <a:pt x="22439" y="37515"/>
                    <a:pt x="22291" y="37515"/>
                    <a:pt x="22144" y="37506"/>
                  </a:cubicBezTo>
                  <a:cubicBezTo>
                    <a:pt x="20911" y="37670"/>
                    <a:pt x="19703" y="37052"/>
                    <a:pt x="19091" y="35943"/>
                  </a:cubicBezTo>
                  <a:lnTo>
                    <a:pt x="7641" y="21881"/>
                  </a:lnTo>
                  <a:lnTo>
                    <a:pt x="7641" y="21881"/>
                  </a:lnTo>
                  <a:lnTo>
                    <a:pt x="7641" y="32818"/>
                  </a:lnTo>
                  <a:cubicBezTo>
                    <a:pt x="7641" y="34975"/>
                    <a:pt x="5932" y="36724"/>
                    <a:pt x="3824" y="36724"/>
                  </a:cubicBezTo>
                  <a:cubicBezTo>
                    <a:pt x="1716" y="36724"/>
                    <a:pt x="7" y="34975"/>
                    <a:pt x="7" y="32818"/>
                  </a:cubicBezTo>
                  <a:close/>
                  <a:moveTo>
                    <a:pt x="7641" y="15631"/>
                  </a:moveTo>
                  <a:lnTo>
                    <a:pt x="12984" y="15631"/>
                  </a:lnTo>
                  <a:cubicBezTo>
                    <a:pt x="15196" y="15957"/>
                    <a:pt x="17246" y="14385"/>
                    <a:pt x="17564" y="12122"/>
                  </a:cubicBezTo>
                  <a:cubicBezTo>
                    <a:pt x="17619" y="11731"/>
                    <a:pt x="17619" y="11335"/>
                    <a:pt x="17564" y="10944"/>
                  </a:cubicBezTo>
                  <a:cubicBezTo>
                    <a:pt x="17668" y="8461"/>
                    <a:pt x="15785" y="6362"/>
                    <a:pt x="13358" y="6257"/>
                  </a:cubicBezTo>
                  <a:cubicBezTo>
                    <a:pt x="13234" y="6251"/>
                    <a:pt x="13109" y="6251"/>
                    <a:pt x="12984" y="6257"/>
                  </a:cubicBezTo>
                  <a:lnTo>
                    <a:pt x="7641" y="6257"/>
                  </a:lnTo>
                  <a:close/>
                </a:path>
              </a:pathLst>
            </a:custGeom>
            <a:solidFill>
              <a:srgbClr val="BD5C7A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67EC6F56-473F-1946-88B5-9EE5C62BF2B4}"/>
                </a:ext>
              </a:extLst>
            </p:cNvPr>
            <p:cNvSpPr/>
            <p:nvPr/>
          </p:nvSpPr>
          <p:spPr>
            <a:xfrm>
              <a:off x="4869951" y="494580"/>
              <a:ext cx="31297" cy="37498"/>
            </a:xfrm>
            <a:custGeom>
              <a:avLst/>
              <a:gdLst>
                <a:gd name="connsiteX0" fmla="*/ 0 w 31297"/>
                <a:gd name="connsiteY0" fmla="*/ 3906 h 37498"/>
                <a:gd name="connsiteX1" fmla="*/ 3817 w 31297"/>
                <a:gd name="connsiteY1" fmla="*/ 0 h 37498"/>
                <a:gd name="connsiteX2" fmla="*/ 7634 w 31297"/>
                <a:gd name="connsiteY2" fmla="*/ 3906 h 37498"/>
                <a:gd name="connsiteX3" fmla="*/ 7634 w 31297"/>
                <a:gd name="connsiteY3" fmla="*/ 14843 h 37498"/>
                <a:gd name="connsiteX4" fmla="*/ 23664 w 31297"/>
                <a:gd name="connsiteY4" fmla="*/ 14843 h 37498"/>
                <a:gd name="connsiteX5" fmla="*/ 23664 w 31297"/>
                <a:gd name="connsiteY5" fmla="*/ 3906 h 37498"/>
                <a:gd name="connsiteX6" fmla="*/ 27481 w 31297"/>
                <a:gd name="connsiteY6" fmla="*/ 0 h 37498"/>
                <a:gd name="connsiteX7" fmla="*/ 31298 w 31297"/>
                <a:gd name="connsiteY7" fmla="*/ 3906 h 37498"/>
                <a:gd name="connsiteX8" fmla="*/ 31298 w 31297"/>
                <a:gd name="connsiteY8" fmla="*/ 33593 h 37498"/>
                <a:gd name="connsiteX9" fmla="*/ 27481 w 31297"/>
                <a:gd name="connsiteY9" fmla="*/ 37499 h 37498"/>
                <a:gd name="connsiteX10" fmla="*/ 23664 w 31297"/>
                <a:gd name="connsiteY10" fmla="*/ 33593 h 37498"/>
                <a:gd name="connsiteX11" fmla="*/ 23664 w 31297"/>
                <a:gd name="connsiteY11" fmla="*/ 21874 h 37498"/>
                <a:gd name="connsiteX12" fmla="*/ 7634 w 31297"/>
                <a:gd name="connsiteY12" fmla="*/ 21874 h 37498"/>
                <a:gd name="connsiteX13" fmla="*/ 7634 w 31297"/>
                <a:gd name="connsiteY13" fmla="*/ 33593 h 37498"/>
                <a:gd name="connsiteX14" fmla="*/ 3817 w 31297"/>
                <a:gd name="connsiteY14" fmla="*/ 37499 h 37498"/>
                <a:gd name="connsiteX15" fmla="*/ 0 w 31297"/>
                <a:gd name="connsiteY15" fmla="*/ 33593 h 37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297" h="37498">
                  <a:moveTo>
                    <a:pt x="0" y="3906"/>
                  </a:moveTo>
                  <a:cubicBezTo>
                    <a:pt x="0" y="1749"/>
                    <a:pt x="1709" y="0"/>
                    <a:pt x="3817" y="0"/>
                  </a:cubicBezTo>
                  <a:cubicBezTo>
                    <a:pt x="5925" y="0"/>
                    <a:pt x="7634" y="1749"/>
                    <a:pt x="7634" y="3906"/>
                  </a:cubicBezTo>
                  <a:lnTo>
                    <a:pt x="7634" y="14843"/>
                  </a:lnTo>
                  <a:lnTo>
                    <a:pt x="23664" y="14843"/>
                  </a:lnTo>
                  <a:lnTo>
                    <a:pt x="23664" y="3906"/>
                  </a:lnTo>
                  <a:cubicBezTo>
                    <a:pt x="23664" y="1749"/>
                    <a:pt x="25373" y="0"/>
                    <a:pt x="27481" y="0"/>
                  </a:cubicBezTo>
                  <a:cubicBezTo>
                    <a:pt x="29589" y="0"/>
                    <a:pt x="31298" y="1749"/>
                    <a:pt x="31298" y="3906"/>
                  </a:cubicBezTo>
                  <a:lnTo>
                    <a:pt x="31298" y="33593"/>
                  </a:lnTo>
                  <a:cubicBezTo>
                    <a:pt x="31298" y="35750"/>
                    <a:pt x="29589" y="37499"/>
                    <a:pt x="27481" y="37499"/>
                  </a:cubicBezTo>
                  <a:cubicBezTo>
                    <a:pt x="25373" y="37499"/>
                    <a:pt x="23664" y="35750"/>
                    <a:pt x="23664" y="33593"/>
                  </a:cubicBezTo>
                  <a:lnTo>
                    <a:pt x="23664" y="21874"/>
                  </a:lnTo>
                  <a:lnTo>
                    <a:pt x="7634" y="21874"/>
                  </a:lnTo>
                  <a:lnTo>
                    <a:pt x="7634" y="33593"/>
                  </a:lnTo>
                  <a:cubicBezTo>
                    <a:pt x="7634" y="35750"/>
                    <a:pt x="5925" y="37499"/>
                    <a:pt x="3817" y="37499"/>
                  </a:cubicBezTo>
                  <a:cubicBezTo>
                    <a:pt x="1709" y="37499"/>
                    <a:pt x="0" y="35750"/>
                    <a:pt x="0" y="33593"/>
                  </a:cubicBezTo>
                  <a:close/>
                </a:path>
              </a:pathLst>
            </a:custGeom>
            <a:solidFill>
              <a:srgbClr val="BD5C7A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3" name="Graphic 67">
            <a:extLst>
              <a:ext uri="{FF2B5EF4-FFF2-40B4-BE49-F238E27FC236}">
                <a16:creationId xmlns:a16="http://schemas.microsoft.com/office/drawing/2014/main" id="{AF87B6CF-71F0-6D41-B4BE-FABA9BE5E99A}"/>
              </a:ext>
            </a:extLst>
          </p:cNvPr>
          <p:cNvGrpSpPr/>
          <p:nvPr userDrawn="1"/>
        </p:nvGrpSpPr>
        <p:grpSpPr>
          <a:xfrm>
            <a:off x="5591175" y="741121"/>
            <a:ext cx="301625" cy="301625"/>
            <a:chOff x="5537200" y="317500"/>
            <a:chExt cx="325438" cy="325438"/>
          </a:xfrm>
        </p:grpSpPr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73ABB238-A110-4D4E-8BCF-B088F4E2160E}"/>
                </a:ext>
              </a:extLst>
            </p:cNvPr>
            <p:cNvSpPr/>
            <p:nvPr/>
          </p:nvSpPr>
          <p:spPr>
            <a:xfrm>
              <a:off x="5540689" y="320121"/>
              <a:ext cx="326790" cy="326792"/>
            </a:xfrm>
            <a:custGeom>
              <a:avLst/>
              <a:gdLst>
                <a:gd name="connsiteX0" fmla="*/ 306836 w 326790"/>
                <a:gd name="connsiteY0" fmla="*/ 19936 h 326792"/>
                <a:gd name="connsiteX1" fmla="*/ 210567 w 326790"/>
                <a:gd name="connsiteY1" fmla="*/ 19936 h 326792"/>
                <a:gd name="connsiteX2" fmla="*/ 19942 w 326790"/>
                <a:gd name="connsiteY2" fmla="*/ 210561 h 326792"/>
                <a:gd name="connsiteX3" fmla="*/ 19942 w 326790"/>
                <a:gd name="connsiteY3" fmla="*/ 306850 h 326792"/>
                <a:gd name="connsiteX4" fmla="*/ 116231 w 326790"/>
                <a:gd name="connsiteY4" fmla="*/ 306850 h 326792"/>
                <a:gd name="connsiteX5" fmla="*/ 306836 w 326790"/>
                <a:gd name="connsiteY5" fmla="*/ 116225 h 326792"/>
                <a:gd name="connsiteX6" fmla="*/ 306878 w 326790"/>
                <a:gd name="connsiteY6" fmla="*/ 19977 h 326792"/>
                <a:gd name="connsiteX7" fmla="*/ 306836 w 326790"/>
                <a:gd name="connsiteY7" fmla="*/ 19936 h 326792"/>
                <a:gd name="connsiteX8" fmla="*/ 106590 w 326790"/>
                <a:gd name="connsiteY8" fmla="*/ 297209 h 326792"/>
                <a:gd name="connsiteX9" fmla="*/ 29563 w 326790"/>
                <a:gd name="connsiteY9" fmla="*/ 296299 h 326792"/>
                <a:gd name="connsiteX10" fmla="*/ 29563 w 326790"/>
                <a:gd name="connsiteY10" fmla="*/ 220182 h 326792"/>
                <a:gd name="connsiteX11" fmla="*/ 120706 w 326790"/>
                <a:gd name="connsiteY11" fmla="*/ 129039 h 326792"/>
                <a:gd name="connsiteX12" fmla="*/ 155487 w 326790"/>
                <a:gd name="connsiteY12" fmla="*/ 171305 h 326792"/>
                <a:gd name="connsiteX13" fmla="*/ 197753 w 326790"/>
                <a:gd name="connsiteY13" fmla="*/ 206066 h 326792"/>
                <a:gd name="connsiteX14" fmla="*/ 297215 w 326790"/>
                <a:gd name="connsiteY14" fmla="*/ 106584 h 326792"/>
                <a:gd name="connsiteX15" fmla="*/ 207557 w 326790"/>
                <a:gd name="connsiteY15" fmla="*/ 196242 h 326792"/>
                <a:gd name="connsiteX16" fmla="*/ 165087 w 326790"/>
                <a:gd name="connsiteY16" fmla="*/ 161664 h 326792"/>
                <a:gd name="connsiteX17" fmla="*/ 130510 w 326790"/>
                <a:gd name="connsiteY17" fmla="*/ 119215 h 326792"/>
                <a:gd name="connsiteX18" fmla="*/ 220249 w 326790"/>
                <a:gd name="connsiteY18" fmla="*/ 29556 h 326792"/>
                <a:gd name="connsiteX19" fmla="*/ 297266 w 326790"/>
                <a:gd name="connsiteY19" fmla="*/ 29567 h 326792"/>
                <a:gd name="connsiteX20" fmla="*/ 297256 w 326790"/>
                <a:gd name="connsiteY20" fmla="*/ 106584 h 326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26790" h="326792">
                  <a:moveTo>
                    <a:pt x="306836" y="19936"/>
                  </a:moveTo>
                  <a:cubicBezTo>
                    <a:pt x="280251" y="-6645"/>
                    <a:pt x="237152" y="-6645"/>
                    <a:pt x="210567" y="19936"/>
                  </a:cubicBezTo>
                  <a:lnTo>
                    <a:pt x="19942" y="210561"/>
                  </a:lnTo>
                  <a:cubicBezTo>
                    <a:pt x="-6647" y="237150"/>
                    <a:pt x="-6647" y="280260"/>
                    <a:pt x="19942" y="306850"/>
                  </a:cubicBezTo>
                  <a:cubicBezTo>
                    <a:pt x="46532" y="333439"/>
                    <a:pt x="89642" y="333439"/>
                    <a:pt x="116231" y="306850"/>
                  </a:cubicBezTo>
                  <a:lnTo>
                    <a:pt x="306836" y="116225"/>
                  </a:lnTo>
                  <a:cubicBezTo>
                    <a:pt x="333426" y="89658"/>
                    <a:pt x="333444" y="46567"/>
                    <a:pt x="306878" y="19977"/>
                  </a:cubicBezTo>
                  <a:cubicBezTo>
                    <a:pt x="306864" y="19963"/>
                    <a:pt x="306850" y="19950"/>
                    <a:pt x="306836" y="19936"/>
                  </a:cubicBezTo>
                  <a:close/>
                  <a:moveTo>
                    <a:pt x="106590" y="297209"/>
                  </a:moveTo>
                  <a:cubicBezTo>
                    <a:pt x="85068" y="318228"/>
                    <a:pt x="50582" y="317821"/>
                    <a:pt x="29563" y="296299"/>
                  </a:cubicBezTo>
                  <a:cubicBezTo>
                    <a:pt x="8894" y="275136"/>
                    <a:pt x="8894" y="241345"/>
                    <a:pt x="29563" y="220182"/>
                  </a:cubicBezTo>
                  <a:lnTo>
                    <a:pt x="120706" y="129039"/>
                  </a:lnTo>
                  <a:cubicBezTo>
                    <a:pt x="130902" y="144222"/>
                    <a:pt x="142551" y="158377"/>
                    <a:pt x="155487" y="171305"/>
                  </a:cubicBezTo>
                  <a:cubicBezTo>
                    <a:pt x="168407" y="184245"/>
                    <a:pt x="182563" y="195887"/>
                    <a:pt x="197753" y="206066"/>
                  </a:cubicBezTo>
                  <a:close/>
                  <a:moveTo>
                    <a:pt x="297215" y="106584"/>
                  </a:moveTo>
                  <a:lnTo>
                    <a:pt x="207557" y="196242"/>
                  </a:lnTo>
                  <a:cubicBezTo>
                    <a:pt x="192258" y="186195"/>
                    <a:pt x="178027" y="174609"/>
                    <a:pt x="165087" y="161664"/>
                  </a:cubicBezTo>
                  <a:cubicBezTo>
                    <a:pt x="152143" y="148732"/>
                    <a:pt x="140556" y="134508"/>
                    <a:pt x="130510" y="119215"/>
                  </a:cubicBezTo>
                  <a:lnTo>
                    <a:pt x="220249" y="29556"/>
                  </a:lnTo>
                  <a:cubicBezTo>
                    <a:pt x="241520" y="8292"/>
                    <a:pt x="276001" y="8296"/>
                    <a:pt x="297266" y="29567"/>
                  </a:cubicBezTo>
                  <a:cubicBezTo>
                    <a:pt x="318531" y="50837"/>
                    <a:pt x="318526" y="85319"/>
                    <a:pt x="297256" y="106584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0B286CFF-3D29-4640-8B32-11E6179BF687}"/>
                </a:ext>
              </a:extLst>
            </p:cNvPr>
            <p:cNvSpPr/>
            <p:nvPr/>
          </p:nvSpPr>
          <p:spPr>
            <a:xfrm>
              <a:off x="5691637" y="347358"/>
              <a:ext cx="138809" cy="100451"/>
            </a:xfrm>
            <a:custGeom>
              <a:avLst/>
              <a:gdLst>
                <a:gd name="connsiteX0" fmla="*/ 107743 w 138809"/>
                <a:gd name="connsiteY0" fmla="*/ 0 h 100451"/>
                <a:gd name="connsiteX1" fmla="*/ 78861 w 138809"/>
                <a:gd name="connsiteY1" fmla="*/ 11940 h 100451"/>
                <a:gd name="connsiteX2" fmla="*/ 78861 w 138809"/>
                <a:gd name="connsiteY2" fmla="*/ 11940 h 100451"/>
                <a:gd name="connsiteX3" fmla="*/ 1834 w 138809"/>
                <a:gd name="connsiteY3" fmla="*/ 88987 h 100451"/>
                <a:gd name="connsiteX4" fmla="*/ 2164 w 138809"/>
                <a:gd name="connsiteY4" fmla="*/ 98618 h 100451"/>
                <a:gd name="connsiteX5" fmla="*/ 11475 w 138809"/>
                <a:gd name="connsiteY5" fmla="*/ 98608 h 100451"/>
                <a:gd name="connsiteX6" fmla="*/ 88502 w 138809"/>
                <a:gd name="connsiteY6" fmla="*/ 21581 h 100451"/>
                <a:gd name="connsiteX7" fmla="*/ 127025 w 138809"/>
                <a:gd name="connsiteY7" fmla="*/ 21581 h 100451"/>
                <a:gd name="connsiteX8" fmla="*/ 136657 w 138809"/>
                <a:gd name="connsiteY8" fmla="*/ 21891 h 100451"/>
                <a:gd name="connsiteX9" fmla="*/ 136967 w 138809"/>
                <a:gd name="connsiteY9" fmla="*/ 12259 h 100451"/>
                <a:gd name="connsiteX10" fmla="*/ 136646 w 138809"/>
                <a:gd name="connsiteY10" fmla="*/ 11940 h 100451"/>
                <a:gd name="connsiteX11" fmla="*/ 107743 w 138809"/>
                <a:gd name="connsiteY11" fmla="*/ 0 h 10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809" h="100451">
                  <a:moveTo>
                    <a:pt x="107743" y="0"/>
                  </a:moveTo>
                  <a:cubicBezTo>
                    <a:pt x="96910" y="-25"/>
                    <a:pt x="86514" y="4273"/>
                    <a:pt x="78861" y="11940"/>
                  </a:cubicBezTo>
                  <a:lnTo>
                    <a:pt x="78861" y="11940"/>
                  </a:lnTo>
                  <a:lnTo>
                    <a:pt x="1834" y="88987"/>
                  </a:lnTo>
                  <a:cubicBezTo>
                    <a:pt x="-735" y="91738"/>
                    <a:pt x="-587" y="96049"/>
                    <a:pt x="2164" y="98618"/>
                  </a:cubicBezTo>
                  <a:cubicBezTo>
                    <a:pt x="4786" y="101066"/>
                    <a:pt x="8858" y="101062"/>
                    <a:pt x="11475" y="98608"/>
                  </a:cubicBezTo>
                  <a:lnTo>
                    <a:pt x="88502" y="21581"/>
                  </a:lnTo>
                  <a:cubicBezTo>
                    <a:pt x="99143" y="10951"/>
                    <a:pt x="116384" y="10951"/>
                    <a:pt x="127025" y="21581"/>
                  </a:cubicBezTo>
                  <a:cubicBezTo>
                    <a:pt x="129599" y="24326"/>
                    <a:pt x="133912" y="24465"/>
                    <a:pt x="136657" y="21891"/>
                  </a:cubicBezTo>
                  <a:cubicBezTo>
                    <a:pt x="139402" y="19316"/>
                    <a:pt x="139541" y="15004"/>
                    <a:pt x="136967" y="12259"/>
                  </a:cubicBezTo>
                  <a:cubicBezTo>
                    <a:pt x="136863" y="12149"/>
                    <a:pt x="136756" y="12043"/>
                    <a:pt x="136646" y="11940"/>
                  </a:cubicBezTo>
                  <a:cubicBezTo>
                    <a:pt x="128979" y="4281"/>
                    <a:pt x="118580" y="-14"/>
                    <a:pt x="107743" y="0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3668ED72-79A6-7C4E-8929-E9AFFD90B76F}"/>
                </a:ext>
              </a:extLst>
            </p:cNvPr>
            <p:cNvSpPr/>
            <p:nvPr/>
          </p:nvSpPr>
          <p:spPr>
            <a:xfrm>
              <a:off x="5540689" y="428311"/>
              <a:ext cx="220635" cy="218601"/>
            </a:xfrm>
            <a:custGeom>
              <a:avLst/>
              <a:gdLst>
                <a:gd name="connsiteX0" fmla="*/ 207557 w 220635"/>
                <a:gd name="connsiteY0" fmla="*/ 88051 h 218601"/>
                <a:gd name="connsiteX1" fmla="*/ 165087 w 220635"/>
                <a:gd name="connsiteY1" fmla="*/ 53474 h 218601"/>
                <a:gd name="connsiteX2" fmla="*/ 130510 w 220635"/>
                <a:gd name="connsiteY2" fmla="*/ 11024 h 218601"/>
                <a:gd name="connsiteX3" fmla="*/ 122374 w 220635"/>
                <a:gd name="connsiteY3" fmla="*/ 0 h 218601"/>
                <a:gd name="connsiteX4" fmla="*/ 122374 w 220635"/>
                <a:gd name="connsiteY4" fmla="*/ 0 h 218601"/>
                <a:gd name="connsiteX5" fmla="*/ 19942 w 220635"/>
                <a:gd name="connsiteY5" fmla="*/ 102371 h 218601"/>
                <a:gd name="connsiteX6" fmla="*/ 19942 w 220635"/>
                <a:gd name="connsiteY6" fmla="*/ 198660 h 218601"/>
                <a:gd name="connsiteX7" fmla="*/ 116231 w 220635"/>
                <a:gd name="connsiteY7" fmla="*/ 198660 h 218601"/>
                <a:gd name="connsiteX8" fmla="*/ 220636 w 220635"/>
                <a:gd name="connsiteY8" fmla="*/ 94235 h 218601"/>
                <a:gd name="connsiteX9" fmla="*/ 106590 w 220635"/>
                <a:gd name="connsiteY9" fmla="*/ 189018 h 218601"/>
                <a:gd name="connsiteX10" fmla="*/ 29563 w 220635"/>
                <a:gd name="connsiteY10" fmla="*/ 188109 h 218601"/>
                <a:gd name="connsiteX11" fmla="*/ 29563 w 220635"/>
                <a:gd name="connsiteY11" fmla="*/ 111991 h 218601"/>
                <a:gd name="connsiteX12" fmla="*/ 120706 w 220635"/>
                <a:gd name="connsiteY12" fmla="*/ 20848 h 218601"/>
                <a:gd name="connsiteX13" fmla="*/ 155487 w 220635"/>
                <a:gd name="connsiteY13" fmla="*/ 63115 h 218601"/>
                <a:gd name="connsiteX14" fmla="*/ 197753 w 220635"/>
                <a:gd name="connsiteY14" fmla="*/ 97875 h 218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0635" h="218601">
                  <a:moveTo>
                    <a:pt x="207557" y="88051"/>
                  </a:moveTo>
                  <a:cubicBezTo>
                    <a:pt x="192258" y="78005"/>
                    <a:pt x="178027" y="66419"/>
                    <a:pt x="165087" y="53474"/>
                  </a:cubicBezTo>
                  <a:cubicBezTo>
                    <a:pt x="152143" y="40541"/>
                    <a:pt x="140556" y="26317"/>
                    <a:pt x="130510" y="11024"/>
                  </a:cubicBezTo>
                  <a:lnTo>
                    <a:pt x="122374" y="0"/>
                  </a:lnTo>
                  <a:lnTo>
                    <a:pt x="122374" y="0"/>
                  </a:lnTo>
                  <a:lnTo>
                    <a:pt x="19942" y="102371"/>
                  </a:lnTo>
                  <a:cubicBezTo>
                    <a:pt x="-6647" y="128960"/>
                    <a:pt x="-6647" y="172070"/>
                    <a:pt x="19942" y="198660"/>
                  </a:cubicBezTo>
                  <a:cubicBezTo>
                    <a:pt x="46532" y="225249"/>
                    <a:pt x="89642" y="225249"/>
                    <a:pt x="116231" y="198660"/>
                  </a:cubicBezTo>
                  <a:lnTo>
                    <a:pt x="220636" y="94235"/>
                  </a:lnTo>
                  <a:close/>
                  <a:moveTo>
                    <a:pt x="106590" y="189018"/>
                  </a:moveTo>
                  <a:cubicBezTo>
                    <a:pt x="85068" y="210038"/>
                    <a:pt x="50582" y="209631"/>
                    <a:pt x="29563" y="188109"/>
                  </a:cubicBezTo>
                  <a:cubicBezTo>
                    <a:pt x="8894" y="166946"/>
                    <a:pt x="8894" y="133154"/>
                    <a:pt x="29563" y="111991"/>
                  </a:cubicBezTo>
                  <a:lnTo>
                    <a:pt x="120706" y="20848"/>
                  </a:lnTo>
                  <a:cubicBezTo>
                    <a:pt x="130902" y="36031"/>
                    <a:pt x="142551" y="50187"/>
                    <a:pt x="155487" y="63115"/>
                  </a:cubicBezTo>
                  <a:cubicBezTo>
                    <a:pt x="168407" y="76054"/>
                    <a:pt x="182563" y="87697"/>
                    <a:pt x="197753" y="97875"/>
                  </a:cubicBezTo>
                  <a:close/>
                </a:path>
              </a:pathLst>
            </a:custGeom>
            <a:solidFill>
              <a:srgbClr val="1F6898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7" name="Graphic 75">
            <a:extLst>
              <a:ext uri="{FF2B5EF4-FFF2-40B4-BE49-F238E27FC236}">
                <a16:creationId xmlns:a16="http://schemas.microsoft.com/office/drawing/2014/main" id="{CD216825-18E9-0F44-8407-67286F6E1C0C}"/>
              </a:ext>
            </a:extLst>
          </p:cNvPr>
          <p:cNvGrpSpPr/>
          <p:nvPr userDrawn="1"/>
        </p:nvGrpSpPr>
        <p:grpSpPr>
          <a:xfrm>
            <a:off x="7261225" y="745765"/>
            <a:ext cx="298449" cy="298449"/>
            <a:chOff x="7261225" y="745765"/>
            <a:chExt cx="298449" cy="298449"/>
          </a:xfrm>
        </p:grpSpPr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392DC283-CD7E-A54E-8121-550C8ECF2F1E}"/>
                </a:ext>
              </a:extLst>
            </p:cNvPr>
            <p:cNvSpPr/>
            <p:nvPr/>
          </p:nvSpPr>
          <p:spPr>
            <a:xfrm>
              <a:off x="7458350" y="978573"/>
              <a:ext cx="60585" cy="60585"/>
            </a:xfrm>
            <a:custGeom>
              <a:avLst/>
              <a:gdLst>
                <a:gd name="connsiteX0" fmla="*/ 30292 w 60585"/>
                <a:gd name="connsiteY0" fmla="*/ 0 h 60585"/>
                <a:gd name="connsiteX1" fmla="*/ 0 w 60585"/>
                <a:gd name="connsiteY1" fmla="*/ 30293 h 60585"/>
                <a:gd name="connsiteX2" fmla="*/ 30293 w 60585"/>
                <a:gd name="connsiteY2" fmla="*/ 60585 h 60585"/>
                <a:gd name="connsiteX3" fmla="*/ 60585 w 60585"/>
                <a:gd name="connsiteY3" fmla="*/ 30292 h 60585"/>
                <a:gd name="connsiteX4" fmla="*/ 60585 w 60585"/>
                <a:gd name="connsiteY4" fmla="*/ 30199 h 60585"/>
                <a:gd name="connsiteX5" fmla="*/ 30292 w 60585"/>
                <a:gd name="connsiteY5" fmla="*/ 0 h 60585"/>
                <a:gd name="connsiteX6" fmla="*/ 30292 w 60585"/>
                <a:gd name="connsiteY6" fmla="*/ 48498 h 60585"/>
                <a:gd name="connsiteX7" fmla="*/ 12124 w 60585"/>
                <a:gd name="connsiteY7" fmla="*/ 30330 h 60585"/>
                <a:gd name="connsiteX8" fmla="*/ 30292 w 60585"/>
                <a:gd name="connsiteY8" fmla="*/ 12162 h 60585"/>
                <a:gd name="connsiteX9" fmla="*/ 48461 w 60585"/>
                <a:gd name="connsiteY9" fmla="*/ 30330 h 60585"/>
                <a:gd name="connsiteX10" fmla="*/ 30292 w 60585"/>
                <a:gd name="connsiteY10" fmla="*/ 48442 h 6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585" h="60585">
                  <a:moveTo>
                    <a:pt x="30292" y="0"/>
                  </a:moveTo>
                  <a:cubicBezTo>
                    <a:pt x="13562" y="0"/>
                    <a:pt x="0" y="13563"/>
                    <a:pt x="0" y="30293"/>
                  </a:cubicBezTo>
                  <a:cubicBezTo>
                    <a:pt x="0" y="47023"/>
                    <a:pt x="13563" y="60585"/>
                    <a:pt x="30293" y="60585"/>
                  </a:cubicBezTo>
                  <a:cubicBezTo>
                    <a:pt x="47023" y="60585"/>
                    <a:pt x="60585" y="47023"/>
                    <a:pt x="60585" y="30292"/>
                  </a:cubicBezTo>
                  <a:cubicBezTo>
                    <a:pt x="60585" y="30261"/>
                    <a:pt x="60585" y="30230"/>
                    <a:pt x="60585" y="30199"/>
                  </a:cubicBezTo>
                  <a:cubicBezTo>
                    <a:pt x="60523" y="13510"/>
                    <a:pt x="46982" y="10"/>
                    <a:pt x="30292" y="0"/>
                  </a:cubicBezTo>
                  <a:close/>
                  <a:moveTo>
                    <a:pt x="30292" y="48498"/>
                  </a:moveTo>
                  <a:cubicBezTo>
                    <a:pt x="20258" y="48498"/>
                    <a:pt x="12124" y="40364"/>
                    <a:pt x="12124" y="30330"/>
                  </a:cubicBezTo>
                  <a:cubicBezTo>
                    <a:pt x="12124" y="20296"/>
                    <a:pt x="20258" y="12162"/>
                    <a:pt x="30292" y="12162"/>
                  </a:cubicBezTo>
                  <a:cubicBezTo>
                    <a:pt x="40326" y="12162"/>
                    <a:pt x="48461" y="20296"/>
                    <a:pt x="48461" y="30330"/>
                  </a:cubicBezTo>
                  <a:cubicBezTo>
                    <a:pt x="48419" y="40338"/>
                    <a:pt x="40300" y="48432"/>
                    <a:pt x="30292" y="48442"/>
                  </a:cubicBezTo>
                  <a:close/>
                </a:path>
              </a:pathLst>
            </a:custGeom>
            <a:solidFill>
              <a:srgbClr val="BD5C7A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5314CB88-5AA7-1F4F-812F-A1CF320FFEB6}"/>
                </a:ext>
              </a:extLst>
            </p:cNvPr>
            <p:cNvSpPr/>
            <p:nvPr/>
          </p:nvSpPr>
          <p:spPr>
            <a:xfrm>
              <a:off x="7337217" y="978573"/>
              <a:ext cx="60585" cy="60585"/>
            </a:xfrm>
            <a:custGeom>
              <a:avLst/>
              <a:gdLst>
                <a:gd name="connsiteX0" fmla="*/ 30330 w 60585"/>
                <a:gd name="connsiteY0" fmla="*/ 0 h 60585"/>
                <a:gd name="connsiteX1" fmla="*/ 0 w 60585"/>
                <a:gd name="connsiteY1" fmla="*/ 30255 h 60585"/>
                <a:gd name="connsiteX2" fmla="*/ 30255 w 60585"/>
                <a:gd name="connsiteY2" fmla="*/ 60585 h 60585"/>
                <a:gd name="connsiteX3" fmla="*/ 60585 w 60585"/>
                <a:gd name="connsiteY3" fmla="*/ 30330 h 60585"/>
                <a:gd name="connsiteX4" fmla="*/ 60585 w 60585"/>
                <a:gd name="connsiteY4" fmla="*/ 30199 h 60585"/>
                <a:gd name="connsiteX5" fmla="*/ 30330 w 60585"/>
                <a:gd name="connsiteY5" fmla="*/ 0 h 60585"/>
                <a:gd name="connsiteX6" fmla="*/ 30330 w 60585"/>
                <a:gd name="connsiteY6" fmla="*/ 48498 h 60585"/>
                <a:gd name="connsiteX7" fmla="*/ 12162 w 60585"/>
                <a:gd name="connsiteY7" fmla="*/ 30330 h 60585"/>
                <a:gd name="connsiteX8" fmla="*/ 30330 w 60585"/>
                <a:gd name="connsiteY8" fmla="*/ 12162 h 60585"/>
                <a:gd name="connsiteX9" fmla="*/ 48498 w 60585"/>
                <a:gd name="connsiteY9" fmla="*/ 30330 h 60585"/>
                <a:gd name="connsiteX10" fmla="*/ 30330 w 60585"/>
                <a:gd name="connsiteY10" fmla="*/ 48442 h 6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585" h="60585">
                  <a:moveTo>
                    <a:pt x="30330" y="0"/>
                  </a:moveTo>
                  <a:cubicBezTo>
                    <a:pt x="13600" y="-21"/>
                    <a:pt x="21" y="13525"/>
                    <a:pt x="0" y="30255"/>
                  </a:cubicBezTo>
                  <a:cubicBezTo>
                    <a:pt x="-21" y="46986"/>
                    <a:pt x="13525" y="60565"/>
                    <a:pt x="30255" y="60585"/>
                  </a:cubicBezTo>
                  <a:cubicBezTo>
                    <a:pt x="46986" y="60606"/>
                    <a:pt x="60565" y="47060"/>
                    <a:pt x="60585" y="30330"/>
                  </a:cubicBezTo>
                  <a:cubicBezTo>
                    <a:pt x="60585" y="30286"/>
                    <a:pt x="60585" y="30243"/>
                    <a:pt x="60585" y="30199"/>
                  </a:cubicBezTo>
                  <a:cubicBezTo>
                    <a:pt x="60523" y="13524"/>
                    <a:pt x="47005" y="31"/>
                    <a:pt x="30330" y="0"/>
                  </a:cubicBezTo>
                  <a:close/>
                  <a:moveTo>
                    <a:pt x="30330" y="48498"/>
                  </a:moveTo>
                  <a:cubicBezTo>
                    <a:pt x="20296" y="48498"/>
                    <a:pt x="12162" y="40364"/>
                    <a:pt x="12162" y="30330"/>
                  </a:cubicBezTo>
                  <a:cubicBezTo>
                    <a:pt x="12162" y="20296"/>
                    <a:pt x="20296" y="12162"/>
                    <a:pt x="30330" y="12162"/>
                  </a:cubicBezTo>
                  <a:cubicBezTo>
                    <a:pt x="40364" y="12162"/>
                    <a:pt x="48498" y="20296"/>
                    <a:pt x="48498" y="30330"/>
                  </a:cubicBezTo>
                  <a:cubicBezTo>
                    <a:pt x="48457" y="40338"/>
                    <a:pt x="40338" y="48432"/>
                    <a:pt x="30330" y="48442"/>
                  </a:cubicBezTo>
                  <a:close/>
                </a:path>
              </a:pathLst>
            </a:custGeom>
            <a:solidFill>
              <a:srgbClr val="BD5C7A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FD98B900-DF7C-4A46-9D82-A596CE139DE9}"/>
                </a:ext>
              </a:extLst>
            </p:cNvPr>
            <p:cNvSpPr/>
            <p:nvPr/>
          </p:nvSpPr>
          <p:spPr>
            <a:xfrm>
              <a:off x="7264152" y="772597"/>
              <a:ext cx="291142" cy="193861"/>
            </a:xfrm>
            <a:custGeom>
              <a:avLst/>
              <a:gdLst>
                <a:gd name="connsiteX0" fmla="*/ 289645 w 291142"/>
                <a:gd name="connsiteY0" fmla="*/ 38453 h 193861"/>
                <a:gd name="connsiteX1" fmla="*/ 285057 w 291142"/>
                <a:gd name="connsiteY1" fmla="*/ 36364 h 193861"/>
                <a:gd name="connsiteX2" fmla="*/ 55027 w 291142"/>
                <a:gd name="connsiteY2" fmla="*/ 36364 h 193861"/>
                <a:gd name="connsiteX3" fmla="*/ 48722 w 291142"/>
                <a:gd name="connsiteY3" fmla="*/ 4878 h 193861"/>
                <a:gd name="connsiteX4" fmla="*/ 42791 w 291142"/>
                <a:gd name="connsiteY4" fmla="*/ 9 h 193861"/>
                <a:gd name="connsiteX5" fmla="*/ 6399 w 291142"/>
                <a:gd name="connsiteY5" fmla="*/ 9 h 193861"/>
                <a:gd name="connsiteX6" fmla="*/ 9 w 291142"/>
                <a:gd name="connsiteY6" fmla="*/ 5726 h 193861"/>
                <a:gd name="connsiteX7" fmla="*/ 5726 w 291142"/>
                <a:gd name="connsiteY7" fmla="*/ 12115 h 193861"/>
                <a:gd name="connsiteX8" fmla="*/ 6399 w 291142"/>
                <a:gd name="connsiteY8" fmla="*/ 12115 h 193861"/>
                <a:gd name="connsiteX9" fmla="*/ 37829 w 291142"/>
                <a:gd name="connsiteY9" fmla="*/ 12115 h 193861"/>
                <a:gd name="connsiteX10" fmla="*/ 67338 w 291142"/>
                <a:gd name="connsiteY10" fmla="*/ 159754 h 193861"/>
                <a:gd name="connsiteX11" fmla="*/ 108990 w 291142"/>
                <a:gd name="connsiteY11" fmla="*/ 193852 h 193861"/>
                <a:gd name="connsiteX12" fmla="*/ 260826 w 291142"/>
                <a:gd name="connsiteY12" fmla="*/ 193852 h 193861"/>
                <a:gd name="connsiteX13" fmla="*/ 267215 w 291142"/>
                <a:gd name="connsiteY13" fmla="*/ 188135 h 193861"/>
                <a:gd name="connsiteX14" fmla="*/ 261499 w 291142"/>
                <a:gd name="connsiteY14" fmla="*/ 181746 h 193861"/>
                <a:gd name="connsiteX15" fmla="*/ 260826 w 291142"/>
                <a:gd name="connsiteY15" fmla="*/ 181746 h 193861"/>
                <a:gd name="connsiteX16" fmla="*/ 108990 w 291142"/>
                <a:gd name="connsiteY16" fmla="*/ 181746 h 193861"/>
                <a:gd name="connsiteX17" fmla="*/ 79146 w 291142"/>
                <a:gd name="connsiteY17" fmla="*/ 157404 h 193861"/>
                <a:gd name="connsiteX18" fmla="*/ 79146 w 291142"/>
                <a:gd name="connsiteY18" fmla="*/ 156844 h 193861"/>
                <a:gd name="connsiteX19" fmla="*/ 264482 w 291142"/>
                <a:gd name="connsiteY19" fmla="*/ 134349 h 193861"/>
                <a:gd name="connsiteX20" fmla="*/ 280281 w 291142"/>
                <a:gd name="connsiteY20" fmla="*/ 118885 h 193861"/>
                <a:gd name="connsiteX21" fmla="*/ 291082 w 291142"/>
                <a:gd name="connsiteY21" fmla="*/ 43285 h 193861"/>
                <a:gd name="connsiteX22" fmla="*/ 289645 w 291142"/>
                <a:gd name="connsiteY22" fmla="*/ 38453 h 193861"/>
                <a:gd name="connsiteX23" fmla="*/ 273585 w 291142"/>
                <a:gd name="connsiteY23" fmla="*/ 79863 h 193861"/>
                <a:gd name="connsiteX24" fmla="*/ 209810 w 291142"/>
                <a:gd name="connsiteY24" fmla="*/ 83948 h 193861"/>
                <a:gd name="connsiteX25" fmla="*/ 211135 w 291142"/>
                <a:gd name="connsiteY25" fmla="*/ 48507 h 193861"/>
                <a:gd name="connsiteX26" fmla="*/ 278062 w 291142"/>
                <a:gd name="connsiteY26" fmla="*/ 48507 h 193861"/>
                <a:gd name="connsiteX27" fmla="*/ 144431 w 291142"/>
                <a:gd name="connsiteY27" fmla="*/ 88145 h 193861"/>
                <a:gd name="connsiteX28" fmla="*/ 142939 w 291142"/>
                <a:gd name="connsiteY28" fmla="*/ 48489 h 193861"/>
                <a:gd name="connsiteX29" fmla="*/ 204252 w 291142"/>
                <a:gd name="connsiteY29" fmla="*/ 48489 h 193861"/>
                <a:gd name="connsiteX30" fmla="*/ 202909 w 291142"/>
                <a:gd name="connsiteY30" fmla="*/ 84396 h 193861"/>
                <a:gd name="connsiteX31" fmla="*/ 202666 w 291142"/>
                <a:gd name="connsiteY31" fmla="*/ 91242 h 193861"/>
                <a:gd name="connsiteX32" fmla="*/ 201286 w 291142"/>
                <a:gd name="connsiteY32" fmla="*/ 129853 h 193861"/>
                <a:gd name="connsiteX33" fmla="*/ 146297 w 291142"/>
                <a:gd name="connsiteY33" fmla="*/ 136475 h 193861"/>
                <a:gd name="connsiteX34" fmla="*/ 144767 w 291142"/>
                <a:gd name="connsiteY34" fmla="*/ 94935 h 193861"/>
                <a:gd name="connsiteX35" fmla="*/ 136205 w 291142"/>
                <a:gd name="connsiteY35" fmla="*/ 48489 h 193861"/>
                <a:gd name="connsiteX36" fmla="*/ 137716 w 291142"/>
                <a:gd name="connsiteY36" fmla="*/ 88574 h 193861"/>
                <a:gd name="connsiteX37" fmla="*/ 66368 w 291142"/>
                <a:gd name="connsiteY37" fmla="*/ 93144 h 193861"/>
                <a:gd name="connsiteX38" fmla="*/ 57452 w 291142"/>
                <a:gd name="connsiteY38" fmla="*/ 48489 h 193861"/>
                <a:gd name="connsiteX39" fmla="*/ 67711 w 291142"/>
                <a:gd name="connsiteY39" fmla="*/ 99859 h 193861"/>
                <a:gd name="connsiteX40" fmla="*/ 137959 w 291142"/>
                <a:gd name="connsiteY40" fmla="*/ 95383 h 193861"/>
                <a:gd name="connsiteX41" fmla="*/ 139544 w 291142"/>
                <a:gd name="connsiteY41" fmla="*/ 137315 h 193861"/>
                <a:gd name="connsiteX42" fmla="*/ 76739 w 291142"/>
                <a:gd name="connsiteY42" fmla="*/ 144925 h 193861"/>
                <a:gd name="connsiteX43" fmla="*/ 263009 w 291142"/>
                <a:gd name="connsiteY43" fmla="*/ 122392 h 193861"/>
                <a:gd name="connsiteX44" fmla="*/ 208131 w 291142"/>
                <a:gd name="connsiteY44" fmla="*/ 129033 h 193861"/>
                <a:gd name="connsiteX45" fmla="*/ 209568 w 291142"/>
                <a:gd name="connsiteY45" fmla="*/ 90850 h 193861"/>
                <a:gd name="connsiteX46" fmla="*/ 272615 w 291142"/>
                <a:gd name="connsiteY46" fmla="*/ 86821 h 193861"/>
                <a:gd name="connsiteX47" fmla="*/ 268288 w 291142"/>
                <a:gd name="connsiteY47" fmla="*/ 117169 h 193861"/>
                <a:gd name="connsiteX48" fmla="*/ 263009 w 291142"/>
                <a:gd name="connsiteY48" fmla="*/ 122392 h 193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91142" h="193861">
                  <a:moveTo>
                    <a:pt x="289645" y="38453"/>
                  </a:moveTo>
                  <a:cubicBezTo>
                    <a:pt x="288489" y="37128"/>
                    <a:pt x="286816" y="36366"/>
                    <a:pt x="285057" y="36364"/>
                  </a:cubicBezTo>
                  <a:lnTo>
                    <a:pt x="55027" y="36364"/>
                  </a:lnTo>
                  <a:lnTo>
                    <a:pt x="48722" y="4878"/>
                  </a:lnTo>
                  <a:cubicBezTo>
                    <a:pt x="48161" y="2047"/>
                    <a:pt x="45677" y="8"/>
                    <a:pt x="42791" y="9"/>
                  </a:cubicBezTo>
                  <a:lnTo>
                    <a:pt x="6399" y="9"/>
                  </a:lnTo>
                  <a:cubicBezTo>
                    <a:pt x="3056" y="-176"/>
                    <a:pt x="195" y="2383"/>
                    <a:pt x="9" y="5726"/>
                  </a:cubicBezTo>
                  <a:cubicBezTo>
                    <a:pt x="-176" y="9069"/>
                    <a:pt x="2383" y="11930"/>
                    <a:pt x="5726" y="12115"/>
                  </a:cubicBezTo>
                  <a:cubicBezTo>
                    <a:pt x="5950" y="12128"/>
                    <a:pt x="6175" y="12128"/>
                    <a:pt x="6399" y="12115"/>
                  </a:cubicBezTo>
                  <a:lnTo>
                    <a:pt x="37829" y="12115"/>
                  </a:lnTo>
                  <a:lnTo>
                    <a:pt x="67338" y="159754"/>
                  </a:lnTo>
                  <a:cubicBezTo>
                    <a:pt x="71348" y="179579"/>
                    <a:pt x="88765" y="193837"/>
                    <a:pt x="108990" y="193852"/>
                  </a:cubicBezTo>
                  <a:lnTo>
                    <a:pt x="260826" y="193852"/>
                  </a:lnTo>
                  <a:cubicBezTo>
                    <a:pt x="264169" y="194038"/>
                    <a:pt x="267030" y="191478"/>
                    <a:pt x="267215" y="188135"/>
                  </a:cubicBezTo>
                  <a:cubicBezTo>
                    <a:pt x="267401" y="184792"/>
                    <a:pt x="264842" y="181932"/>
                    <a:pt x="261499" y="181746"/>
                  </a:cubicBezTo>
                  <a:cubicBezTo>
                    <a:pt x="261275" y="181734"/>
                    <a:pt x="261050" y="181734"/>
                    <a:pt x="260826" y="181746"/>
                  </a:cubicBezTo>
                  <a:lnTo>
                    <a:pt x="108990" y="181746"/>
                  </a:lnTo>
                  <a:cubicBezTo>
                    <a:pt x="94514" y="181778"/>
                    <a:pt x="82025" y="171592"/>
                    <a:pt x="79146" y="157404"/>
                  </a:cubicBezTo>
                  <a:lnTo>
                    <a:pt x="79146" y="156844"/>
                  </a:lnTo>
                  <a:lnTo>
                    <a:pt x="264482" y="134349"/>
                  </a:lnTo>
                  <a:cubicBezTo>
                    <a:pt x="272637" y="133354"/>
                    <a:pt x="279112" y="127017"/>
                    <a:pt x="280281" y="118885"/>
                  </a:cubicBezTo>
                  <a:lnTo>
                    <a:pt x="291082" y="43285"/>
                  </a:lnTo>
                  <a:cubicBezTo>
                    <a:pt x="291332" y="41542"/>
                    <a:pt x="290807" y="39777"/>
                    <a:pt x="289645" y="38453"/>
                  </a:cubicBezTo>
                  <a:close/>
                  <a:moveTo>
                    <a:pt x="273585" y="79863"/>
                  </a:moveTo>
                  <a:lnTo>
                    <a:pt x="209810" y="83948"/>
                  </a:lnTo>
                  <a:lnTo>
                    <a:pt x="211135" y="48507"/>
                  </a:lnTo>
                  <a:lnTo>
                    <a:pt x="278062" y="48507"/>
                  </a:lnTo>
                  <a:close/>
                  <a:moveTo>
                    <a:pt x="144431" y="88145"/>
                  </a:moveTo>
                  <a:lnTo>
                    <a:pt x="142939" y="48489"/>
                  </a:lnTo>
                  <a:lnTo>
                    <a:pt x="204252" y="48489"/>
                  </a:lnTo>
                  <a:lnTo>
                    <a:pt x="202909" y="84396"/>
                  </a:lnTo>
                  <a:close/>
                  <a:moveTo>
                    <a:pt x="202666" y="91242"/>
                  </a:moveTo>
                  <a:lnTo>
                    <a:pt x="201286" y="129853"/>
                  </a:lnTo>
                  <a:lnTo>
                    <a:pt x="146297" y="136475"/>
                  </a:lnTo>
                  <a:lnTo>
                    <a:pt x="144767" y="94935"/>
                  </a:lnTo>
                  <a:close/>
                  <a:moveTo>
                    <a:pt x="136205" y="48489"/>
                  </a:moveTo>
                  <a:lnTo>
                    <a:pt x="137716" y="88574"/>
                  </a:lnTo>
                  <a:lnTo>
                    <a:pt x="66368" y="93144"/>
                  </a:lnTo>
                  <a:lnTo>
                    <a:pt x="57452" y="48489"/>
                  </a:lnTo>
                  <a:close/>
                  <a:moveTo>
                    <a:pt x="67711" y="99859"/>
                  </a:moveTo>
                  <a:lnTo>
                    <a:pt x="137959" y="95383"/>
                  </a:lnTo>
                  <a:lnTo>
                    <a:pt x="139544" y="137315"/>
                  </a:lnTo>
                  <a:lnTo>
                    <a:pt x="76739" y="144925"/>
                  </a:lnTo>
                  <a:close/>
                  <a:moveTo>
                    <a:pt x="263009" y="122392"/>
                  </a:moveTo>
                  <a:lnTo>
                    <a:pt x="208131" y="129033"/>
                  </a:lnTo>
                  <a:lnTo>
                    <a:pt x="209568" y="90850"/>
                  </a:lnTo>
                  <a:lnTo>
                    <a:pt x="272615" y="86821"/>
                  </a:lnTo>
                  <a:lnTo>
                    <a:pt x="268288" y="117169"/>
                  </a:lnTo>
                  <a:cubicBezTo>
                    <a:pt x="267913" y="119904"/>
                    <a:pt x="265747" y="122046"/>
                    <a:pt x="263009" y="122392"/>
                  </a:cubicBezTo>
                  <a:close/>
                </a:path>
              </a:pathLst>
            </a:custGeom>
            <a:solidFill>
              <a:srgbClr val="1F6896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71" name="Graphic 70">
            <a:extLst>
              <a:ext uri="{FF2B5EF4-FFF2-40B4-BE49-F238E27FC236}">
                <a16:creationId xmlns:a16="http://schemas.microsoft.com/office/drawing/2014/main" id="{E3386638-DE36-0841-AA69-EE4A37F134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33923" y="773697"/>
            <a:ext cx="436172" cy="261703"/>
          </a:xfrm>
          <a:prstGeom prst="rect">
            <a:avLst/>
          </a:prstGeom>
        </p:spPr>
      </p:pic>
      <p:grpSp>
        <p:nvGrpSpPr>
          <p:cNvPr id="72" name="Graphic 73">
            <a:extLst>
              <a:ext uri="{FF2B5EF4-FFF2-40B4-BE49-F238E27FC236}">
                <a16:creationId xmlns:a16="http://schemas.microsoft.com/office/drawing/2014/main" id="{AFF86C6D-AAD4-3C47-9760-1FC2FD887CC6}"/>
              </a:ext>
            </a:extLst>
          </p:cNvPr>
          <p:cNvGrpSpPr/>
          <p:nvPr userDrawn="1"/>
        </p:nvGrpSpPr>
        <p:grpSpPr>
          <a:xfrm>
            <a:off x="6443524" y="716304"/>
            <a:ext cx="303213" cy="328481"/>
            <a:chOff x="6443524" y="716304"/>
            <a:chExt cx="303213" cy="328481"/>
          </a:xfrm>
        </p:grpSpPr>
        <p:sp>
          <p:nvSpPr>
            <p:cNvPr id="73" name="Freeform 72">
              <a:extLst>
                <a:ext uri="{FF2B5EF4-FFF2-40B4-BE49-F238E27FC236}">
                  <a16:creationId xmlns:a16="http://schemas.microsoft.com/office/drawing/2014/main" id="{CD5ED6F5-C501-B943-A4D5-4123E2A05D36}"/>
                </a:ext>
              </a:extLst>
            </p:cNvPr>
            <p:cNvSpPr/>
            <p:nvPr/>
          </p:nvSpPr>
          <p:spPr>
            <a:xfrm>
              <a:off x="6454742" y="732472"/>
              <a:ext cx="292047" cy="308826"/>
            </a:xfrm>
            <a:custGeom>
              <a:avLst/>
              <a:gdLst>
                <a:gd name="connsiteX0" fmla="*/ 0 w 292047"/>
                <a:gd name="connsiteY0" fmla="*/ 0 h 308826"/>
                <a:gd name="connsiteX1" fmla="*/ 292048 w 292047"/>
                <a:gd name="connsiteY1" fmla="*/ 0 h 308826"/>
                <a:gd name="connsiteX2" fmla="*/ 292048 w 292047"/>
                <a:gd name="connsiteY2" fmla="*/ 308827 h 308826"/>
                <a:gd name="connsiteX3" fmla="*/ 0 w 292047"/>
                <a:gd name="connsiteY3" fmla="*/ 308827 h 308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2047" h="308826">
                  <a:moveTo>
                    <a:pt x="0" y="0"/>
                  </a:moveTo>
                  <a:lnTo>
                    <a:pt x="292048" y="0"/>
                  </a:lnTo>
                  <a:lnTo>
                    <a:pt x="292048" y="308827"/>
                  </a:lnTo>
                  <a:lnTo>
                    <a:pt x="0" y="308827"/>
                  </a:lnTo>
                  <a:close/>
                </a:path>
              </a:pathLst>
            </a:custGeom>
            <a:noFill/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C11CD7CB-8B2B-6D42-BFB1-7E1F7CB10927}"/>
                </a:ext>
              </a:extLst>
            </p:cNvPr>
            <p:cNvSpPr/>
            <p:nvPr/>
          </p:nvSpPr>
          <p:spPr>
            <a:xfrm>
              <a:off x="6455527" y="806344"/>
              <a:ext cx="266342" cy="234464"/>
            </a:xfrm>
            <a:custGeom>
              <a:avLst/>
              <a:gdLst>
                <a:gd name="connsiteX0" fmla="*/ 253290 w 266342"/>
                <a:gd name="connsiteY0" fmla="*/ 39527 h 234464"/>
                <a:gd name="connsiteX1" fmla="*/ 246672 w 266342"/>
                <a:gd name="connsiteY1" fmla="*/ 42776 h 234464"/>
                <a:gd name="connsiteX2" fmla="*/ 258926 w 266342"/>
                <a:gd name="connsiteY2" fmla="*/ 98271 h 234464"/>
                <a:gd name="connsiteX3" fmla="*/ 258926 w 266342"/>
                <a:gd name="connsiteY3" fmla="*/ 99548 h 234464"/>
                <a:gd name="connsiteX4" fmla="*/ 253575 w 266342"/>
                <a:gd name="connsiteY4" fmla="*/ 100114 h 234464"/>
                <a:gd name="connsiteX5" fmla="*/ 252790 w 266342"/>
                <a:gd name="connsiteY5" fmla="*/ 100114 h 234464"/>
                <a:gd name="connsiteX6" fmla="*/ 250311 w 266342"/>
                <a:gd name="connsiteY6" fmla="*/ 100223 h 234464"/>
                <a:gd name="connsiteX7" fmla="*/ 236595 w 266342"/>
                <a:gd name="connsiteY7" fmla="*/ 109859 h 234464"/>
                <a:gd name="connsiteX8" fmla="*/ 235971 w 266342"/>
                <a:gd name="connsiteY8" fmla="*/ 111319 h 234464"/>
                <a:gd name="connsiteX9" fmla="*/ 222183 w 266342"/>
                <a:gd name="connsiteY9" fmla="*/ 120443 h 234464"/>
                <a:gd name="connsiteX10" fmla="*/ 211642 w 266342"/>
                <a:gd name="connsiteY10" fmla="*/ 120443 h 234464"/>
                <a:gd name="connsiteX11" fmla="*/ 205275 w 266342"/>
                <a:gd name="connsiteY11" fmla="*/ 114549 h 234464"/>
                <a:gd name="connsiteX12" fmla="*/ 204847 w 266342"/>
                <a:gd name="connsiteY12" fmla="*/ 110242 h 234464"/>
                <a:gd name="connsiteX13" fmla="*/ 197712 w 266342"/>
                <a:gd name="connsiteY13" fmla="*/ 98362 h 234464"/>
                <a:gd name="connsiteX14" fmla="*/ 194270 w 266342"/>
                <a:gd name="connsiteY14" fmla="*/ 91865 h 234464"/>
                <a:gd name="connsiteX15" fmla="*/ 194270 w 266342"/>
                <a:gd name="connsiteY15" fmla="*/ 87558 h 234464"/>
                <a:gd name="connsiteX16" fmla="*/ 197570 w 266342"/>
                <a:gd name="connsiteY16" fmla="*/ 80058 h 234464"/>
                <a:gd name="connsiteX17" fmla="*/ 215566 w 266342"/>
                <a:gd name="connsiteY17" fmla="*/ 63798 h 234464"/>
                <a:gd name="connsiteX18" fmla="*/ 220329 w 266342"/>
                <a:gd name="connsiteY18" fmla="*/ 46590 h 234464"/>
                <a:gd name="connsiteX19" fmla="*/ 206523 w 266342"/>
                <a:gd name="connsiteY19" fmla="*/ 34691 h 234464"/>
                <a:gd name="connsiteX20" fmla="*/ 204740 w 266342"/>
                <a:gd name="connsiteY20" fmla="*/ 34472 h 234464"/>
                <a:gd name="connsiteX21" fmla="*/ 198176 w 266342"/>
                <a:gd name="connsiteY21" fmla="*/ 30822 h 234464"/>
                <a:gd name="connsiteX22" fmla="*/ 197409 w 266342"/>
                <a:gd name="connsiteY22" fmla="*/ 23121 h 234464"/>
                <a:gd name="connsiteX23" fmla="*/ 208450 w 266342"/>
                <a:gd name="connsiteY23" fmla="*/ 3796 h 234464"/>
                <a:gd name="connsiteX24" fmla="*/ 202118 w 266342"/>
                <a:gd name="connsiteY24" fmla="*/ 0 h 234464"/>
                <a:gd name="connsiteX25" fmla="*/ 191042 w 266342"/>
                <a:gd name="connsiteY25" fmla="*/ 19453 h 234464"/>
                <a:gd name="connsiteX26" fmla="*/ 192647 w 266342"/>
                <a:gd name="connsiteY26" fmla="*/ 35877 h 234464"/>
                <a:gd name="connsiteX27" fmla="*/ 203830 w 266342"/>
                <a:gd name="connsiteY27" fmla="*/ 41936 h 234464"/>
                <a:gd name="connsiteX28" fmla="*/ 205614 w 266342"/>
                <a:gd name="connsiteY28" fmla="*/ 42173 h 234464"/>
                <a:gd name="connsiteX29" fmla="*/ 213301 w 266342"/>
                <a:gd name="connsiteY29" fmla="*/ 48779 h 234464"/>
                <a:gd name="connsiteX30" fmla="*/ 210697 w 266342"/>
                <a:gd name="connsiteY30" fmla="*/ 58178 h 234464"/>
                <a:gd name="connsiteX31" fmla="*/ 192700 w 266342"/>
                <a:gd name="connsiteY31" fmla="*/ 74437 h 234464"/>
                <a:gd name="connsiteX32" fmla="*/ 186922 w 266342"/>
                <a:gd name="connsiteY32" fmla="*/ 87577 h 234464"/>
                <a:gd name="connsiteX33" fmla="*/ 186922 w 266342"/>
                <a:gd name="connsiteY33" fmla="*/ 91883 h 234464"/>
                <a:gd name="connsiteX34" fmla="*/ 193735 w 266342"/>
                <a:gd name="connsiteY34" fmla="*/ 104658 h 234464"/>
                <a:gd name="connsiteX35" fmla="*/ 197516 w 266342"/>
                <a:gd name="connsiteY35" fmla="*/ 110954 h 234464"/>
                <a:gd name="connsiteX36" fmla="*/ 197926 w 266342"/>
                <a:gd name="connsiteY36" fmla="*/ 115279 h 234464"/>
                <a:gd name="connsiteX37" fmla="*/ 211607 w 266342"/>
                <a:gd name="connsiteY37" fmla="*/ 127943 h 234464"/>
                <a:gd name="connsiteX38" fmla="*/ 222059 w 266342"/>
                <a:gd name="connsiteY38" fmla="*/ 127943 h 234464"/>
                <a:gd name="connsiteX39" fmla="*/ 242570 w 266342"/>
                <a:gd name="connsiteY39" fmla="*/ 114238 h 234464"/>
                <a:gd name="connsiteX40" fmla="*/ 243194 w 266342"/>
                <a:gd name="connsiteY40" fmla="*/ 112760 h 234464"/>
                <a:gd name="connsiteX41" fmla="*/ 250525 w 266342"/>
                <a:gd name="connsiteY41" fmla="*/ 107614 h 234464"/>
                <a:gd name="connsiteX42" fmla="*/ 253004 w 266342"/>
                <a:gd name="connsiteY42" fmla="*/ 107505 h 234464"/>
                <a:gd name="connsiteX43" fmla="*/ 254199 w 266342"/>
                <a:gd name="connsiteY43" fmla="*/ 107505 h 234464"/>
                <a:gd name="connsiteX44" fmla="*/ 258587 w 266342"/>
                <a:gd name="connsiteY44" fmla="*/ 107048 h 234464"/>
                <a:gd name="connsiteX45" fmla="*/ 124315 w 266342"/>
                <a:gd name="connsiteY45" fmla="*/ 226539 h 234464"/>
                <a:gd name="connsiteX46" fmla="*/ 7528 w 266342"/>
                <a:gd name="connsiteY46" fmla="*/ 89159 h 234464"/>
                <a:gd name="connsiteX47" fmla="*/ 10024 w 266342"/>
                <a:gd name="connsiteY47" fmla="*/ 71098 h 234464"/>
                <a:gd name="connsiteX48" fmla="*/ 16890 w 266342"/>
                <a:gd name="connsiteY48" fmla="*/ 69711 h 234464"/>
                <a:gd name="connsiteX49" fmla="*/ 32622 w 266342"/>
                <a:gd name="connsiteY49" fmla="*/ 77011 h 234464"/>
                <a:gd name="connsiteX50" fmla="*/ 37973 w 266342"/>
                <a:gd name="connsiteY50" fmla="*/ 83945 h 234464"/>
                <a:gd name="connsiteX51" fmla="*/ 47961 w 266342"/>
                <a:gd name="connsiteY51" fmla="*/ 93581 h 234464"/>
                <a:gd name="connsiteX52" fmla="*/ 57396 w 266342"/>
                <a:gd name="connsiteY52" fmla="*/ 99055 h 234464"/>
                <a:gd name="connsiteX53" fmla="*/ 58555 w 266342"/>
                <a:gd name="connsiteY53" fmla="*/ 99384 h 234464"/>
                <a:gd name="connsiteX54" fmla="*/ 67598 w 266342"/>
                <a:gd name="connsiteY54" fmla="*/ 108508 h 234464"/>
                <a:gd name="connsiteX55" fmla="*/ 72949 w 266342"/>
                <a:gd name="connsiteY55" fmla="*/ 128290 h 234464"/>
                <a:gd name="connsiteX56" fmla="*/ 77373 w 266342"/>
                <a:gd name="connsiteY56" fmla="*/ 137415 h 234464"/>
                <a:gd name="connsiteX57" fmla="*/ 93603 w 266342"/>
                <a:gd name="connsiteY57" fmla="*/ 159204 h 234464"/>
                <a:gd name="connsiteX58" fmla="*/ 96136 w 266342"/>
                <a:gd name="connsiteY58" fmla="*/ 165153 h 234464"/>
                <a:gd name="connsiteX59" fmla="*/ 100559 w 266342"/>
                <a:gd name="connsiteY59" fmla="*/ 192380 h 234464"/>
                <a:gd name="connsiteX60" fmla="*/ 113285 w 266342"/>
                <a:gd name="connsiteY60" fmla="*/ 201725 h 234464"/>
                <a:gd name="connsiteX61" fmla="*/ 113294 w 266342"/>
                <a:gd name="connsiteY61" fmla="*/ 201724 h 234464"/>
                <a:gd name="connsiteX62" fmla="*/ 115809 w 266342"/>
                <a:gd name="connsiteY62" fmla="*/ 200976 h 234464"/>
                <a:gd name="connsiteX63" fmla="*/ 124727 w 266342"/>
                <a:gd name="connsiteY63" fmla="*/ 188566 h 234464"/>
                <a:gd name="connsiteX64" fmla="*/ 129293 w 266342"/>
                <a:gd name="connsiteY64" fmla="*/ 177471 h 234464"/>
                <a:gd name="connsiteX65" fmla="*/ 133984 w 266342"/>
                <a:gd name="connsiteY65" fmla="*/ 171668 h 234464"/>
                <a:gd name="connsiteX66" fmla="*/ 137213 w 266342"/>
                <a:gd name="connsiteY66" fmla="*/ 165609 h 234464"/>
                <a:gd name="connsiteX67" fmla="*/ 142046 w 266342"/>
                <a:gd name="connsiteY67" fmla="*/ 149550 h 234464"/>
                <a:gd name="connsiteX68" fmla="*/ 147593 w 266342"/>
                <a:gd name="connsiteY68" fmla="*/ 141375 h 234464"/>
                <a:gd name="connsiteX69" fmla="*/ 162112 w 266342"/>
                <a:gd name="connsiteY69" fmla="*/ 129969 h 234464"/>
                <a:gd name="connsiteX70" fmla="*/ 164377 w 266342"/>
                <a:gd name="connsiteY70" fmla="*/ 112395 h 234464"/>
                <a:gd name="connsiteX71" fmla="*/ 163984 w 266342"/>
                <a:gd name="connsiteY71" fmla="*/ 111903 h 234464"/>
                <a:gd name="connsiteX72" fmla="*/ 158509 w 266342"/>
                <a:gd name="connsiteY72" fmla="*/ 105406 h 234464"/>
                <a:gd name="connsiteX73" fmla="*/ 157011 w 266342"/>
                <a:gd name="connsiteY73" fmla="*/ 115206 h 234464"/>
                <a:gd name="connsiteX74" fmla="*/ 158402 w 266342"/>
                <a:gd name="connsiteY74" fmla="*/ 116866 h 234464"/>
                <a:gd name="connsiteX75" fmla="*/ 159543 w 266342"/>
                <a:gd name="connsiteY75" fmla="*/ 120644 h 234464"/>
                <a:gd name="connsiteX76" fmla="*/ 157653 w 266342"/>
                <a:gd name="connsiteY76" fmla="*/ 124111 h 234464"/>
                <a:gd name="connsiteX77" fmla="*/ 143170 w 266342"/>
                <a:gd name="connsiteY77" fmla="*/ 135517 h 234464"/>
                <a:gd name="connsiteX78" fmla="*/ 135054 w 266342"/>
                <a:gd name="connsiteY78" fmla="*/ 147433 h 234464"/>
                <a:gd name="connsiteX79" fmla="*/ 130221 w 266342"/>
                <a:gd name="connsiteY79" fmla="*/ 163492 h 234464"/>
                <a:gd name="connsiteX80" fmla="*/ 128437 w 266342"/>
                <a:gd name="connsiteY80" fmla="*/ 166960 h 234464"/>
                <a:gd name="connsiteX81" fmla="*/ 123728 w 266342"/>
                <a:gd name="connsiteY81" fmla="*/ 172763 h 234464"/>
                <a:gd name="connsiteX82" fmla="*/ 117504 w 266342"/>
                <a:gd name="connsiteY82" fmla="*/ 187873 h 234464"/>
                <a:gd name="connsiteX83" fmla="*/ 112973 w 266342"/>
                <a:gd name="connsiteY83" fmla="*/ 194151 h 234464"/>
                <a:gd name="connsiteX84" fmla="*/ 108034 w 266342"/>
                <a:gd name="connsiteY84" fmla="*/ 192055 h 234464"/>
                <a:gd name="connsiteX85" fmla="*/ 108033 w 266342"/>
                <a:gd name="connsiteY85" fmla="*/ 192052 h 234464"/>
                <a:gd name="connsiteX86" fmla="*/ 107801 w 266342"/>
                <a:gd name="connsiteY86" fmla="*/ 191231 h 234464"/>
                <a:gd name="connsiteX87" fmla="*/ 103377 w 266342"/>
                <a:gd name="connsiteY87" fmla="*/ 164022 h 234464"/>
                <a:gd name="connsiteX88" fmla="*/ 99454 w 266342"/>
                <a:gd name="connsiteY88" fmla="*/ 154751 h 234464"/>
                <a:gd name="connsiteX89" fmla="*/ 83401 w 266342"/>
                <a:gd name="connsiteY89" fmla="*/ 132852 h 234464"/>
                <a:gd name="connsiteX90" fmla="*/ 80226 w 266342"/>
                <a:gd name="connsiteY90" fmla="*/ 126283 h 234464"/>
                <a:gd name="connsiteX91" fmla="*/ 74875 w 266342"/>
                <a:gd name="connsiteY91" fmla="*/ 106501 h 234464"/>
                <a:gd name="connsiteX92" fmla="*/ 60607 w 266342"/>
                <a:gd name="connsiteY92" fmla="*/ 92029 h 234464"/>
                <a:gd name="connsiteX93" fmla="*/ 59340 w 266342"/>
                <a:gd name="connsiteY93" fmla="*/ 91774 h 234464"/>
                <a:gd name="connsiteX94" fmla="*/ 53008 w 266342"/>
                <a:gd name="connsiteY94" fmla="*/ 88124 h 234464"/>
                <a:gd name="connsiteX95" fmla="*/ 43002 w 266342"/>
                <a:gd name="connsiteY95" fmla="*/ 78489 h 234464"/>
                <a:gd name="connsiteX96" fmla="*/ 38936 w 266342"/>
                <a:gd name="connsiteY96" fmla="*/ 73251 h 234464"/>
                <a:gd name="connsiteX97" fmla="*/ 15446 w 266342"/>
                <a:gd name="connsiteY97" fmla="*/ 62302 h 234464"/>
                <a:gd name="connsiteX98" fmla="*/ 11879 w 266342"/>
                <a:gd name="connsiteY98" fmla="*/ 63014 h 234464"/>
                <a:gd name="connsiteX99" fmla="*/ 27253 w 266342"/>
                <a:gd name="connsiteY99" fmla="*/ 28341 h 234464"/>
                <a:gd name="connsiteX100" fmla="*/ 22295 w 266342"/>
                <a:gd name="connsiteY100" fmla="*/ 22756 h 234464"/>
                <a:gd name="connsiteX101" fmla="*/ 59439 w 266342"/>
                <a:gd name="connsiteY101" fmla="*/ 211653 h 234464"/>
                <a:gd name="connsiteX102" fmla="*/ 244062 w 266342"/>
                <a:gd name="connsiteY102" fmla="*/ 173649 h 234464"/>
                <a:gd name="connsiteX103" fmla="*/ 253361 w 266342"/>
                <a:gd name="connsiteY103" fmla="*/ 39527 h 234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66342" h="234464">
                  <a:moveTo>
                    <a:pt x="253290" y="39527"/>
                  </a:moveTo>
                  <a:lnTo>
                    <a:pt x="246672" y="42776"/>
                  </a:lnTo>
                  <a:cubicBezTo>
                    <a:pt x="254788" y="60094"/>
                    <a:pt x="258977" y="79064"/>
                    <a:pt x="258926" y="98271"/>
                  </a:cubicBezTo>
                  <a:lnTo>
                    <a:pt x="258926" y="99548"/>
                  </a:lnTo>
                  <a:lnTo>
                    <a:pt x="253575" y="100114"/>
                  </a:lnTo>
                  <a:lnTo>
                    <a:pt x="252790" y="100114"/>
                  </a:lnTo>
                  <a:lnTo>
                    <a:pt x="250311" y="100223"/>
                  </a:lnTo>
                  <a:cubicBezTo>
                    <a:pt x="244312" y="100479"/>
                    <a:pt x="238983" y="104222"/>
                    <a:pt x="236595" y="109859"/>
                  </a:cubicBezTo>
                  <a:lnTo>
                    <a:pt x="235971" y="111319"/>
                  </a:lnTo>
                  <a:cubicBezTo>
                    <a:pt x="233547" y="116886"/>
                    <a:pt x="228140" y="120464"/>
                    <a:pt x="222183" y="120443"/>
                  </a:cubicBezTo>
                  <a:lnTo>
                    <a:pt x="211642" y="120443"/>
                  </a:lnTo>
                  <a:cubicBezTo>
                    <a:pt x="208350" y="120458"/>
                    <a:pt x="205588" y="117902"/>
                    <a:pt x="205275" y="114549"/>
                  </a:cubicBezTo>
                  <a:lnTo>
                    <a:pt x="204847" y="110242"/>
                  </a:lnTo>
                  <a:cubicBezTo>
                    <a:pt x="204379" y="105371"/>
                    <a:pt x="201748" y="100990"/>
                    <a:pt x="197712" y="98362"/>
                  </a:cubicBezTo>
                  <a:cubicBezTo>
                    <a:pt x="195553" y="96943"/>
                    <a:pt x="194254" y="94491"/>
                    <a:pt x="194270" y="91865"/>
                  </a:cubicBezTo>
                  <a:lnTo>
                    <a:pt x="194270" y="87558"/>
                  </a:lnTo>
                  <a:cubicBezTo>
                    <a:pt x="194268" y="84690"/>
                    <a:pt x="195469" y="81958"/>
                    <a:pt x="197570" y="80058"/>
                  </a:cubicBezTo>
                  <a:lnTo>
                    <a:pt x="215566" y="63798"/>
                  </a:lnTo>
                  <a:cubicBezTo>
                    <a:pt x="220311" y="59511"/>
                    <a:pt x="222172" y="52785"/>
                    <a:pt x="220329" y="46590"/>
                  </a:cubicBezTo>
                  <a:cubicBezTo>
                    <a:pt x="218431" y="40179"/>
                    <a:pt x="213020" y="35515"/>
                    <a:pt x="206523" y="34691"/>
                  </a:cubicBezTo>
                  <a:lnTo>
                    <a:pt x="204740" y="34472"/>
                  </a:lnTo>
                  <a:cubicBezTo>
                    <a:pt x="202188" y="34121"/>
                    <a:pt x="199852" y="32822"/>
                    <a:pt x="198176" y="30822"/>
                  </a:cubicBezTo>
                  <a:cubicBezTo>
                    <a:pt x="196350" y="28682"/>
                    <a:pt x="196042" y="25595"/>
                    <a:pt x="197409" y="23121"/>
                  </a:cubicBezTo>
                  <a:lnTo>
                    <a:pt x="208450" y="3796"/>
                  </a:lnTo>
                  <a:lnTo>
                    <a:pt x="202118" y="0"/>
                  </a:lnTo>
                  <a:lnTo>
                    <a:pt x="191042" y="19453"/>
                  </a:lnTo>
                  <a:cubicBezTo>
                    <a:pt x="188114" y="24721"/>
                    <a:pt x="188758" y="31307"/>
                    <a:pt x="192647" y="35877"/>
                  </a:cubicBezTo>
                  <a:cubicBezTo>
                    <a:pt x="195519" y="39236"/>
                    <a:pt x="199501" y="41393"/>
                    <a:pt x="203830" y="41936"/>
                  </a:cubicBezTo>
                  <a:lnTo>
                    <a:pt x="205614" y="42173"/>
                  </a:lnTo>
                  <a:cubicBezTo>
                    <a:pt x="209228" y="42626"/>
                    <a:pt x="212241" y="45215"/>
                    <a:pt x="213301" y="48779"/>
                  </a:cubicBezTo>
                  <a:cubicBezTo>
                    <a:pt x="214283" y="52164"/>
                    <a:pt x="213269" y="55824"/>
                    <a:pt x="210697" y="58178"/>
                  </a:cubicBezTo>
                  <a:lnTo>
                    <a:pt x="192700" y="74437"/>
                  </a:lnTo>
                  <a:cubicBezTo>
                    <a:pt x="189025" y="77769"/>
                    <a:pt x="186922" y="82553"/>
                    <a:pt x="186922" y="87577"/>
                  </a:cubicBezTo>
                  <a:lnTo>
                    <a:pt x="186922" y="91883"/>
                  </a:lnTo>
                  <a:cubicBezTo>
                    <a:pt x="186920" y="97050"/>
                    <a:pt x="189487" y="101863"/>
                    <a:pt x="193735" y="104658"/>
                  </a:cubicBezTo>
                  <a:cubicBezTo>
                    <a:pt x="195869" y="106055"/>
                    <a:pt x="197262" y="108374"/>
                    <a:pt x="197516" y="110954"/>
                  </a:cubicBezTo>
                  <a:lnTo>
                    <a:pt x="197926" y="115279"/>
                  </a:lnTo>
                  <a:cubicBezTo>
                    <a:pt x="198624" y="122472"/>
                    <a:pt x="204542" y="127951"/>
                    <a:pt x="211607" y="127943"/>
                  </a:cubicBezTo>
                  <a:lnTo>
                    <a:pt x="222059" y="127943"/>
                  </a:lnTo>
                  <a:cubicBezTo>
                    <a:pt x="230944" y="127929"/>
                    <a:pt x="238985" y="122556"/>
                    <a:pt x="242570" y="114238"/>
                  </a:cubicBezTo>
                  <a:lnTo>
                    <a:pt x="243194" y="112760"/>
                  </a:lnTo>
                  <a:cubicBezTo>
                    <a:pt x="244474" y="109751"/>
                    <a:pt x="247320" y="107753"/>
                    <a:pt x="250525" y="107614"/>
                  </a:cubicBezTo>
                  <a:lnTo>
                    <a:pt x="253004" y="107505"/>
                  </a:lnTo>
                  <a:lnTo>
                    <a:pt x="254199" y="107505"/>
                  </a:lnTo>
                  <a:lnTo>
                    <a:pt x="258587" y="107048"/>
                  </a:lnTo>
                  <a:cubicBezTo>
                    <a:pt x="253759" y="177981"/>
                    <a:pt x="193643" y="231479"/>
                    <a:pt x="124315" y="226539"/>
                  </a:cubicBezTo>
                  <a:cubicBezTo>
                    <a:pt x="54987" y="221599"/>
                    <a:pt x="2700" y="160092"/>
                    <a:pt x="7528" y="89159"/>
                  </a:cubicBezTo>
                  <a:cubicBezTo>
                    <a:pt x="7942" y="83086"/>
                    <a:pt x="8775" y="77050"/>
                    <a:pt x="10024" y="71098"/>
                  </a:cubicBezTo>
                  <a:lnTo>
                    <a:pt x="16890" y="69711"/>
                  </a:lnTo>
                  <a:cubicBezTo>
                    <a:pt x="23120" y="68455"/>
                    <a:pt x="29441" y="71388"/>
                    <a:pt x="32622" y="77011"/>
                  </a:cubicBezTo>
                  <a:cubicBezTo>
                    <a:pt x="34062" y="79579"/>
                    <a:pt x="35865" y="81916"/>
                    <a:pt x="37973" y="83945"/>
                  </a:cubicBezTo>
                  <a:lnTo>
                    <a:pt x="47961" y="93581"/>
                  </a:lnTo>
                  <a:cubicBezTo>
                    <a:pt x="50619" y="96171"/>
                    <a:pt x="53859" y="98051"/>
                    <a:pt x="57396" y="99055"/>
                  </a:cubicBezTo>
                  <a:lnTo>
                    <a:pt x="58555" y="99384"/>
                  </a:lnTo>
                  <a:cubicBezTo>
                    <a:pt x="62924" y="100594"/>
                    <a:pt x="66355" y="104055"/>
                    <a:pt x="67598" y="108508"/>
                  </a:cubicBezTo>
                  <a:lnTo>
                    <a:pt x="72949" y="128290"/>
                  </a:lnTo>
                  <a:cubicBezTo>
                    <a:pt x="73839" y="131593"/>
                    <a:pt x="75340" y="134691"/>
                    <a:pt x="77373" y="137415"/>
                  </a:cubicBezTo>
                  <a:lnTo>
                    <a:pt x="93603" y="159204"/>
                  </a:lnTo>
                  <a:cubicBezTo>
                    <a:pt x="94908" y="160947"/>
                    <a:pt x="95777" y="162989"/>
                    <a:pt x="96136" y="165153"/>
                  </a:cubicBezTo>
                  <a:lnTo>
                    <a:pt x="100559" y="192380"/>
                  </a:lnTo>
                  <a:cubicBezTo>
                    <a:pt x="101551" y="198556"/>
                    <a:pt x="107249" y="202740"/>
                    <a:pt x="113285" y="201725"/>
                  </a:cubicBezTo>
                  <a:cubicBezTo>
                    <a:pt x="113288" y="201725"/>
                    <a:pt x="113291" y="201724"/>
                    <a:pt x="113294" y="201724"/>
                  </a:cubicBezTo>
                  <a:cubicBezTo>
                    <a:pt x="114158" y="201575"/>
                    <a:pt x="115002" y="201324"/>
                    <a:pt x="115809" y="200976"/>
                  </a:cubicBezTo>
                  <a:cubicBezTo>
                    <a:pt x="120769" y="198810"/>
                    <a:pt x="124185" y="194056"/>
                    <a:pt x="124727" y="188566"/>
                  </a:cubicBezTo>
                  <a:cubicBezTo>
                    <a:pt x="125136" y="184485"/>
                    <a:pt x="126726" y="180622"/>
                    <a:pt x="129293" y="177471"/>
                  </a:cubicBezTo>
                  <a:lnTo>
                    <a:pt x="133984" y="171668"/>
                  </a:lnTo>
                  <a:cubicBezTo>
                    <a:pt x="135442" y="169887"/>
                    <a:pt x="136540" y="167828"/>
                    <a:pt x="137213" y="165609"/>
                  </a:cubicBezTo>
                  <a:lnTo>
                    <a:pt x="142046" y="149550"/>
                  </a:lnTo>
                  <a:cubicBezTo>
                    <a:pt x="143012" y="146298"/>
                    <a:pt x="144953" y="143438"/>
                    <a:pt x="147593" y="141375"/>
                  </a:cubicBezTo>
                  <a:lnTo>
                    <a:pt x="162112" y="129969"/>
                  </a:lnTo>
                  <a:cubicBezTo>
                    <a:pt x="167479" y="125755"/>
                    <a:pt x="168493" y="117889"/>
                    <a:pt x="164377" y="112395"/>
                  </a:cubicBezTo>
                  <a:lnTo>
                    <a:pt x="163984" y="111903"/>
                  </a:lnTo>
                  <a:lnTo>
                    <a:pt x="158509" y="105406"/>
                  </a:lnTo>
                  <a:cubicBezTo>
                    <a:pt x="159083" y="108752"/>
                    <a:pt x="158556" y="112199"/>
                    <a:pt x="157011" y="115206"/>
                  </a:cubicBezTo>
                  <a:lnTo>
                    <a:pt x="158402" y="116866"/>
                  </a:lnTo>
                  <a:cubicBezTo>
                    <a:pt x="159275" y="117910"/>
                    <a:pt x="159688" y="119277"/>
                    <a:pt x="159543" y="120644"/>
                  </a:cubicBezTo>
                  <a:cubicBezTo>
                    <a:pt x="159396" y="122013"/>
                    <a:pt x="158714" y="123263"/>
                    <a:pt x="157653" y="124111"/>
                  </a:cubicBezTo>
                  <a:lnTo>
                    <a:pt x="143170" y="135517"/>
                  </a:lnTo>
                  <a:cubicBezTo>
                    <a:pt x="139313" y="138523"/>
                    <a:pt x="136475" y="142691"/>
                    <a:pt x="135054" y="147433"/>
                  </a:cubicBezTo>
                  <a:lnTo>
                    <a:pt x="130221" y="163492"/>
                  </a:lnTo>
                  <a:cubicBezTo>
                    <a:pt x="129862" y="164760"/>
                    <a:pt x="129255" y="165939"/>
                    <a:pt x="128437" y="166960"/>
                  </a:cubicBezTo>
                  <a:lnTo>
                    <a:pt x="123728" y="172763"/>
                  </a:lnTo>
                  <a:cubicBezTo>
                    <a:pt x="120237" y="177058"/>
                    <a:pt x="118071" y="182317"/>
                    <a:pt x="117504" y="187873"/>
                  </a:cubicBezTo>
                  <a:cubicBezTo>
                    <a:pt x="117237" y="190659"/>
                    <a:pt x="115497" y="193070"/>
                    <a:pt x="112973" y="194151"/>
                  </a:cubicBezTo>
                  <a:cubicBezTo>
                    <a:pt x="111044" y="194967"/>
                    <a:pt x="108832" y="194029"/>
                    <a:pt x="108034" y="192055"/>
                  </a:cubicBezTo>
                  <a:cubicBezTo>
                    <a:pt x="108033" y="192054"/>
                    <a:pt x="108033" y="192053"/>
                    <a:pt x="108033" y="192052"/>
                  </a:cubicBezTo>
                  <a:cubicBezTo>
                    <a:pt x="107929" y="191787"/>
                    <a:pt x="107851" y="191512"/>
                    <a:pt x="107801" y="191231"/>
                  </a:cubicBezTo>
                  <a:lnTo>
                    <a:pt x="103377" y="164022"/>
                  </a:lnTo>
                  <a:cubicBezTo>
                    <a:pt x="102821" y="160652"/>
                    <a:pt x="101475" y="157471"/>
                    <a:pt x="99454" y="154751"/>
                  </a:cubicBezTo>
                  <a:lnTo>
                    <a:pt x="83401" y="132852"/>
                  </a:lnTo>
                  <a:cubicBezTo>
                    <a:pt x="81941" y="130891"/>
                    <a:pt x="80864" y="128660"/>
                    <a:pt x="80226" y="126283"/>
                  </a:cubicBezTo>
                  <a:lnTo>
                    <a:pt x="74875" y="106501"/>
                  </a:lnTo>
                  <a:cubicBezTo>
                    <a:pt x="72940" y="99444"/>
                    <a:pt x="67521" y="93947"/>
                    <a:pt x="60607" y="92029"/>
                  </a:cubicBezTo>
                  <a:lnTo>
                    <a:pt x="59340" y="91774"/>
                  </a:lnTo>
                  <a:cubicBezTo>
                    <a:pt x="56966" y="91114"/>
                    <a:pt x="54790" y="89860"/>
                    <a:pt x="53008" y="88124"/>
                  </a:cubicBezTo>
                  <a:lnTo>
                    <a:pt x="43002" y="78489"/>
                  </a:lnTo>
                  <a:cubicBezTo>
                    <a:pt x="41411" y="76950"/>
                    <a:pt x="40041" y="75186"/>
                    <a:pt x="38936" y="73251"/>
                  </a:cubicBezTo>
                  <a:cubicBezTo>
                    <a:pt x="34196" y="64842"/>
                    <a:pt x="24758" y="60442"/>
                    <a:pt x="15446" y="62302"/>
                  </a:cubicBezTo>
                  <a:lnTo>
                    <a:pt x="11879" y="63014"/>
                  </a:lnTo>
                  <a:cubicBezTo>
                    <a:pt x="15282" y="50735"/>
                    <a:pt x="20464" y="39048"/>
                    <a:pt x="27253" y="28341"/>
                  </a:cubicBezTo>
                  <a:cubicBezTo>
                    <a:pt x="25768" y="26331"/>
                    <a:pt x="24108" y="24462"/>
                    <a:pt x="22295" y="22756"/>
                  </a:cubicBezTo>
                  <a:cubicBezTo>
                    <a:pt x="-18430" y="85413"/>
                    <a:pt x="-1800" y="169985"/>
                    <a:pt x="59439" y="211653"/>
                  </a:cubicBezTo>
                  <a:cubicBezTo>
                    <a:pt x="120678" y="253321"/>
                    <a:pt x="203337" y="236306"/>
                    <a:pt x="244062" y="173649"/>
                  </a:cubicBezTo>
                  <a:cubicBezTo>
                    <a:pt x="270009" y="133729"/>
                    <a:pt x="273540" y="82795"/>
                    <a:pt x="253361" y="39527"/>
                  </a:cubicBezTo>
                  <a:close/>
                </a:path>
              </a:pathLst>
            </a:custGeom>
            <a:solidFill>
              <a:srgbClr val="1F6898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7929A952-3A75-CB43-9F67-AF3ED6671753}"/>
                </a:ext>
              </a:extLst>
            </p:cNvPr>
            <p:cNvSpPr/>
            <p:nvPr/>
          </p:nvSpPr>
          <p:spPr>
            <a:xfrm>
              <a:off x="6560243" y="879413"/>
              <a:ext cx="6902" cy="4197"/>
            </a:xfrm>
            <a:custGeom>
              <a:avLst/>
              <a:gdLst>
                <a:gd name="connsiteX0" fmla="*/ 6903 w 6902"/>
                <a:gd name="connsiteY0" fmla="*/ 4197 h 4197"/>
                <a:gd name="connsiteX1" fmla="*/ 6064 w 6902"/>
                <a:gd name="connsiteY1" fmla="*/ 3048 h 4197"/>
                <a:gd name="connsiteX2" fmla="*/ 0 w 6902"/>
                <a:gd name="connsiteY2" fmla="*/ 0 h 4197"/>
                <a:gd name="connsiteX3" fmla="*/ 910 w 6902"/>
                <a:gd name="connsiteY3" fmla="*/ 511 h 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02" h="4197">
                  <a:moveTo>
                    <a:pt x="6903" y="4197"/>
                  </a:moveTo>
                  <a:cubicBezTo>
                    <a:pt x="6635" y="3814"/>
                    <a:pt x="6350" y="3413"/>
                    <a:pt x="6064" y="3048"/>
                  </a:cubicBezTo>
                  <a:cubicBezTo>
                    <a:pt x="4427" y="1375"/>
                    <a:pt x="2295" y="304"/>
                    <a:pt x="0" y="0"/>
                  </a:cubicBezTo>
                  <a:lnTo>
                    <a:pt x="910" y="511"/>
                  </a:lnTo>
                  <a:close/>
                </a:path>
              </a:pathLst>
            </a:custGeom>
            <a:solidFill>
              <a:srgbClr val="66A3C7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1A0A6453-FE24-5744-84AA-4A56C1D8FB35}"/>
                </a:ext>
              </a:extLst>
            </p:cNvPr>
            <p:cNvSpPr/>
            <p:nvPr/>
          </p:nvSpPr>
          <p:spPr>
            <a:xfrm>
              <a:off x="6508296" y="768336"/>
              <a:ext cx="146798" cy="117372"/>
            </a:xfrm>
            <a:custGeom>
              <a:avLst/>
              <a:gdLst>
                <a:gd name="connsiteX0" fmla="*/ 10282 w 146798"/>
                <a:gd name="connsiteY0" fmla="*/ 110073 h 117372"/>
                <a:gd name="connsiteX1" fmla="*/ 21929 w 146798"/>
                <a:gd name="connsiteY1" fmla="*/ 117373 h 117372"/>
                <a:gd name="connsiteX2" fmla="*/ 20520 w 146798"/>
                <a:gd name="connsiteY2" fmla="*/ 113723 h 117372"/>
                <a:gd name="connsiteX3" fmla="*/ 22303 w 146798"/>
                <a:gd name="connsiteY3" fmla="*/ 109800 h 117372"/>
                <a:gd name="connsiteX4" fmla="*/ 16399 w 146798"/>
                <a:gd name="connsiteY4" fmla="*/ 106004 h 117372"/>
                <a:gd name="connsiteX5" fmla="*/ 8766 w 146798"/>
                <a:gd name="connsiteY5" fmla="*/ 93667 h 117372"/>
                <a:gd name="connsiteX6" fmla="*/ 8926 w 146798"/>
                <a:gd name="connsiteY6" fmla="*/ 83247 h 117372"/>
                <a:gd name="connsiteX7" fmla="*/ 19895 w 146798"/>
                <a:gd name="connsiteY7" fmla="*/ 78174 h 117372"/>
                <a:gd name="connsiteX8" fmla="*/ 31489 w 146798"/>
                <a:gd name="connsiteY8" fmla="*/ 79671 h 117372"/>
                <a:gd name="connsiteX9" fmla="*/ 48932 w 146798"/>
                <a:gd name="connsiteY9" fmla="*/ 70911 h 117372"/>
                <a:gd name="connsiteX10" fmla="*/ 59634 w 146798"/>
                <a:gd name="connsiteY10" fmla="*/ 65546 h 117372"/>
                <a:gd name="connsiteX11" fmla="*/ 64664 w 146798"/>
                <a:gd name="connsiteY11" fmla="*/ 66203 h 117372"/>
                <a:gd name="connsiteX12" fmla="*/ 80716 w 146798"/>
                <a:gd name="connsiteY12" fmla="*/ 59359 h 117372"/>
                <a:gd name="connsiteX13" fmla="*/ 85157 w 146798"/>
                <a:gd name="connsiteY13" fmla="*/ 53483 h 117372"/>
                <a:gd name="connsiteX14" fmla="*/ 85817 w 146798"/>
                <a:gd name="connsiteY14" fmla="*/ 26438 h 117372"/>
                <a:gd name="connsiteX15" fmla="*/ 73100 w 146798"/>
                <a:gd name="connsiteY15" fmla="*/ 7733 h 117372"/>
                <a:gd name="connsiteX16" fmla="*/ 80235 w 146798"/>
                <a:gd name="connsiteY16" fmla="*/ 7514 h 117372"/>
                <a:gd name="connsiteX17" fmla="*/ 143125 w 146798"/>
                <a:gd name="connsiteY17" fmla="*/ 24723 h 117372"/>
                <a:gd name="connsiteX18" fmla="*/ 146799 w 146798"/>
                <a:gd name="connsiteY18" fmla="*/ 18226 h 117372"/>
                <a:gd name="connsiteX19" fmla="*/ 30543 w 146798"/>
                <a:gd name="connsiteY19" fmla="*/ 9850 h 117372"/>
                <a:gd name="connsiteX20" fmla="*/ 28029 w 146798"/>
                <a:gd name="connsiteY20" fmla="*/ 19084 h 117372"/>
                <a:gd name="connsiteX21" fmla="*/ 64682 w 146798"/>
                <a:gd name="connsiteY21" fmla="*/ 8500 h 117372"/>
                <a:gd name="connsiteX22" fmla="*/ 79789 w 146798"/>
                <a:gd name="connsiteY22" fmla="*/ 30782 h 117372"/>
                <a:gd name="connsiteX23" fmla="*/ 79325 w 146798"/>
                <a:gd name="connsiteY23" fmla="*/ 48903 h 117372"/>
                <a:gd name="connsiteX24" fmla="*/ 74902 w 146798"/>
                <a:gd name="connsiteY24" fmla="*/ 54779 h 117372"/>
                <a:gd name="connsiteX25" fmla="*/ 65556 w 146798"/>
                <a:gd name="connsiteY25" fmla="*/ 58739 h 117372"/>
                <a:gd name="connsiteX26" fmla="*/ 60544 w 146798"/>
                <a:gd name="connsiteY26" fmla="*/ 58082 h 117372"/>
                <a:gd name="connsiteX27" fmla="*/ 42708 w 146798"/>
                <a:gd name="connsiteY27" fmla="*/ 67079 h 117372"/>
                <a:gd name="connsiteX28" fmla="*/ 32505 w 146798"/>
                <a:gd name="connsiteY28" fmla="*/ 72207 h 117372"/>
                <a:gd name="connsiteX29" fmla="*/ 20841 w 146798"/>
                <a:gd name="connsiteY29" fmla="*/ 70729 h 117372"/>
                <a:gd name="connsiteX30" fmla="*/ 2862 w 146798"/>
                <a:gd name="connsiteY30" fmla="*/ 79050 h 117372"/>
                <a:gd name="connsiteX31" fmla="*/ 2576 w 146798"/>
                <a:gd name="connsiteY31" fmla="*/ 97719 h 11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6798" h="117372">
                  <a:moveTo>
                    <a:pt x="10282" y="110073"/>
                  </a:moveTo>
                  <a:cubicBezTo>
                    <a:pt x="12850" y="114220"/>
                    <a:pt x="17151" y="116915"/>
                    <a:pt x="21929" y="117373"/>
                  </a:cubicBezTo>
                  <a:cubicBezTo>
                    <a:pt x="21034" y="116376"/>
                    <a:pt x="20532" y="115076"/>
                    <a:pt x="20520" y="113723"/>
                  </a:cubicBezTo>
                  <a:cubicBezTo>
                    <a:pt x="20469" y="112199"/>
                    <a:pt x="21131" y="110742"/>
                    <a:pt x="22303" y="109800"/>
                  </a:cubicBezTo>
                  <a:cubicBezTo>
                    <a:pt x="19880" y="109500"/>
                    <a:pt x="17714" y="108108"/>
                    <a:pt x="16399" y="106004"/>
                  </a:cubicBezTo>
                  <a:lnTo>
                    <a:pt x="8766" y="93667"/>
                  </a:lnTo>
                  <a:cubicBezTo>
                    <a:pt x="6779" y="90473"/>
                    <a:pt x="6842" y="86376"/>
                    <a:pt x="8926" y="83247"/>
                  </a:cubicBezTo>
                  <a:cubicBezTo>
                    <a:pt x="11343" y="79561"/>
                    <a:pt x="15594" y="77595"/>
                    <a:pt x="19895" y="78174"/>
                  </a:cubicBezTo>
                  <a:lnTo>
                    <a:pt x="31489" y="79671"/>
                  </a:lnTo>
                  <a:cubicBezTo>
                    <a:pt x="38492" y="80581"/>
                    <a:pt x="45352" y="77136"/>
                    <a:pt x="48932" y="70911"/>
                  </a:cubicBezTo>
                  <a:cubicBezTo>
                    <a:pt x="51106" y="67068"/>
                    <a:pt x="55334" y="64949"/>
                    <a:pt x="59634" y="65546"/>
                  </a:cubicBezTo>
                  <a:lnTo>
                    <a:pt x="64664" y="66203"/>
                  </a:lnTo>
                  <a:cubicBezTo>
                    <a:pt x="70820" y="66981"/>
                    <a:pt x="76921" y="64380"/>
                    <a:pt x="80716" y="59359"/>
                  </a:cubicBezTo>
                  <a:lnTo>
                    <a:pt x="85157" y="53483"/>
                  </a:lnTo>
                  <a:cubicBezTo>
                    <a:pt x="91148" y="45591"/>
                    <a:pt x="91415" y="34627"/>
                    <a:pt x="85817" y="26438"/>
                  </a:cubicBezTo>
                  <a:lnTo>
                    <a:pt x="73100" y="7733"/>
                  </a:lnTo>
                  <a:cubicBezTo>
                    <a:pt x="75455" y="7605"/>
                    <a:pt x="77845" y="7514"/>
                    <a:pt x="80235" y="7514"/>
                  </a:cubicBezTo>
                  <a:cubicBezTo>
                    <a:pt x="102310" y="7511"/>
                    <a:pt x="123998" y="13446"/>
                    <a:pt x="143125" y="24723"/>
                  </a:cubicBezTo>
                  <a:lnTo>
                    <a:pt x="146799" y="18226"/>
                  </a:lnTo>
                  <a:cubicBezTo>
                    <a:pt x="111361" y="-2686"/>
                    <a:pt x="68496" y="-5775"/>
                    <a:pt x="30543" y="9850"/>
                  </a:cubicBezTo>
                  <a:cubicBezTo>
                    <a:pt x="30044" y="12898"/>
                    <a:pt x="28760" y="16109"/>
                    <a:pt x="28029" y="19084"/>
                  </a:cubicBezTo>
                  <a:cubicBezTo>
                    <a:pt x="39669" y="13724"/>
                    <a:pt x="52020" y="10157"/>
                    <a:pt x="64682" y="8500"/>
                  </a:cubicBezTo>
                  <a:lnTo>
                    <a:pt x="79789" y="30782"/>
                  </a:lnTo>
                  <a:cubicBezTo>
                    <a:pt x="83521" y="36277"/>
                    <a:pt x="83333" y="43615"/>
                    <a:pt x="79325" y="48903"/>
                  </a:cubicBezTo>
                  <a:lnTo>
                    <a:pt x="74902" y="54779"/>
                  </a:lnTo>
                  <a:cubicBezTo>
                    <a:pt x="72695" y="57704"/>
                    <a:pt x="69137" y="59211"/>
                    <a:pt x="65556" y="58739"/>
                  </a:cubicBezTo>
                  <a:lnTo>
                    <a:pt x="60544" y="58082"/>
                  </a:lnTo>
                  <a:cubicBezTo>
                    <a:pt x="53382" y="57207"/>
                    <a:pt x="46390" y="60734"/>
                    <a:pt x="42708" y="67079"/>
                  </a:cubicBezTo>
                  <a:cubicBezTo>
                    <a:pt x="40618" y="70725"/>
                    <a:pt x="36603" y="72743"/>
                    <a:pt x="32505" y="72207"/>
                  </a:cubicBezTo>
                  <a:lnTo>
                    <a:pt x="20841" y="70729"/>
                  </a:lnTo>
                  <a:cubicBezTo>
                    <a:pt x="13791" y="69794"/>
                    <a:pt x="6830" y="73016"/>
                    <a:pt x="2862" y="79050"/>
                  </a:cubicBezTo>
                  <a:cubicBezTo>
                    <a:pt x="-848" y="84663"/>
                    <a:pt x="-960" y="91990"/>
                    <a:pt x="2576" y="97719"/>
                  </a:cubicBezTo>
                  <a:close/>
                </a:path>
              </a:pathLst>
            </a:custGeom>
            <a:solidFill>
              <a:srgbClr val="1F6898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9C590959-1802-DF43-AB42-688558C4BE8D}"/>
                </a:ext>
              </a:extLst>
            </p:cNvPr>
            <p:cNvSpPr/>
            <p:nvPr/>
          </p:nvSpPr>
          <p:spPr>
            <a:xfrm>
              <a:off x="6648905" y="732911"/>
              <a:ext cx="97147" cy="131652"/>
            </a:xfrm>
            <a:custGeom>
              <a:avLst/>
              <a:gdLst>
                <a:gd name="connsiteX0" fmla="*/ 82474 w 97147"/>
                <a:gd name="connsiteY0" fmla="*/ 14415 h 131652"/>
                <a:gd name="connsiteX1" fmla="*/ 14894 w 97147"/>
                <a:gd name="connsiteY1" fmla="*/ 14215 h 131652"/>
                <a:gd name="connsiteX2" fmla="*/ 14697 w 97147"/>
                <a:gd name="connsiteY2" fmla="*/ 14415 h 131652"/>
                <a:gd name="connsiteX3" fmla="*/ 10292 w 97147"/>
                <a:gd name="connsiteY3" fmla="*/ 81754 h 131652"/>
                <a:gd name="connsiteX4" fmla="*/ 45643 w 97147"/>
                <a:gd name="connsiteY4" fmla="*/ 130077 h 131652"/>
                <a:gd name="connsiteX5" fmla="*/ 50601 w 97147"/>
                <a:gd name="connsiteY5" fmla="*/ 131008 h 131652"/>
                <a:gd name="connsiteX6" fmla="*/ 51511 w 97147"/>
                <a:gd name="connsiteY6" fmla="*/ 130077 h 131652"/>
                <a:gd name="connsiteX7" fmla="*/ 86844 w 97147"/>
                <a:gd name="connsiteY7" fmla="*/ 81754 h 131652"/>
                <a:gd name="connsiteX8" fmla="*/ 97064 w 97147"/>
                <a:gd name="connsiteY8" fmla="*/ 47665 h 131652"/>
                <a:gd name="connsiteX9" fmla="*/ 82457 w 97147"/>
                <a:gd name="connsiteY9" fmla="*/ 14415 h 131652"/>
                <a:gd name="connsiteX10" fmla="*/ 80994 w 97147"/>
                <a:gd name="connsiteY10" fmla="*/ 77246 h 131652"/>
                <a:gd name="connsiteX11" fmla="*/ 48586 w 97147"/>
                <a:gd name="connsiteY11" fmla="*/ 121555 h 131652"/>
                <a:gd name="connsiteX12" fmla="*/ 16196 w 97147"/>
                <a:gd name="connsiteY12" fmla="*/ 77265 h 131652"/>
                <a:gd name="connsiteX13" fmla="*/ 19906 w 97147"/>
                <a:gd name="connsiteY13" fmla="*/ 19689 h 131652"/>
                <a:gd name="connsiteX14" fmla="*/ 77106 w 97147"/>
                <a:gd name="connsiteY14" fmla="*/ 19543 h 131652"/>
                <a:gd name="connsiteX15" fmla="*/ 77249 w 97147"/>
                <a:gd name="connsiteY15" fmla="*/ 19689 h 131652"/>
                <a:gd name="connsiteX16" fmla="*/ 89734 w 97147"/>
                <a:gd name="connsiteY16" fmla="*/ 48139 h 131652"/>
                <a:gd name="connsiteX17" fmla="*/ 80976 w 97147"/>
                <a:gd name="connsiteY17" fmla="*/ 77228 h 13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7147" h="131652">
                  <a:moveTo>
                    <a:pt x="82474" y="14415"/>
                  </a:moveTo>
                  <a:cubicBezTo>
                    <a:pt x="63864" y="-4726"/>
                    <a:pt x="33613" y="-4816"/>
                    <a:pt x="14894" y="14215"/>
                  </a:cubicBezTo>
                  <a:lnTo>
                    <a:pt x="14697" y="14415"/>
                  </a:lnTo>
                  <a:cubicBezTo>
                    <a:pt x="-3073" y="32553"/>
                    <a:pt x="-4957" y="61355"/>
                    <a:pt x="10292" y="81754"/>
                  </a:cubicBezTo>
                  <a:lnTo>
                    <a:pt x="45643" y="130077"/>
                  </a:lnTo>
                  <a:cubicBezTo>
                    <a:pt x="46762" y="131734"/>
                    <a:pt x="48981" y="132150"/>
                    <a:pt x="50601" y="131008"/>
                  </a:cubicBezTo>
                  <a:cubicBezTo>
                    <a:pt x="50956" y="130755"/>
                    <a:pt x="51264" y="130440"/>
                    <a:pt x="51511" y="130077"/>
                  </a:cubicBezTo>
                  <a:lnTo>
                    <a:pt x="86844" y="81754"/>
                  </a:lnTo>
                  <a:cubicBezTo>
                    <a:pt x="94127" y="72008"/>
                    <a:pt x="97753" y="59913"/>
                    <a:pt x="97064" y="47665"/>
                  </a:cubicBezTo>
                  <a:cubicBezTo>
                    <a:pt x="96280" y="35140"/>
                    <a:pt x="91091" y="23330"/>
                    <a:pt x="82457" y="14415"/>
                  </a:cubicBezTo>
                  <a:close/>
                  <a:moveTo>
                    <a:pt x="80994" y="77246"/>
                  </a:moveTo>
                  <a:lnTo>
                    <a:pt x="48586" y="121555"/>
                  </a:lnTo>
                  <a:lnTo>
                    <a:pt x="16196" y="77265"/>
                  </a:lnTo>
                  <a:cubicBezTo>
                    <a:pt x="3156" y="59833"/>
                    <a:pt x="4742" y="35218"/>
                    <a:pt x="19906" y="19689"/>
                  </a:cubicBezTo>
                  <a:cubicBezTo>
                    <a:pt x="35663" y="3491"/>
                    <a:pt x="61270" y="3426"/>
                    <a:pt x="77106" y="19543"/>
                  </a:cubicBezTo>
                  <a:lnTo>
                    <a:pt x="77249" y="19689"/>
                  </a:lnTo>
                  <a:cubicBezTo>
                    <a:pt x="84634" y="27317"/>
                    <a:pt x="89070" y="37424"/>
                    <a:pt x="89734" y="48139"/>
                  </a:cubicBezTo>
                  <a:cubicBezTo>
                    <a:pt x="90307" y="58595"/>
                    <a:pt x="87200" y="68915"/>
                    <a:pt x="80976" y="77228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9159A5AB-B51F-9946-8821-DB05E6252F20}"/>
                </a:ext>
              </a:extLst>
            </p:cNvPr>
            <p:cNvSpPr/>
            <p:nvPr/>
          </p:nvSpPr>
          <p:spPr>
            <a:xfrm>
              <a:off x="6674483" y="760594"/>
              <a:ext cx="44911" cy="45950"/>
            </a:xfrm>
            <a:custGeom>
              <a:avLst/>
              <a:gdLst>
                <a:gd name="connsiteX0" fmla="*/ 22456 w 44911"/>
                <a:gd name="connsiteY0" fmla="*/ 0 h 45950"/>
                <a:gd name="connsiteX1" fmla="*/ 0 w 44911"/>
                <a:gd name="connsiteY1" fmla="*/ 22975 h 45950"/>
                <a:gd name="connsiteX2" fmla="*/ 22456 w 44911"/>
                <a:gd name="connsiteY2" fmla="*/ 45951 h 45950"/>
                <a:gd name="connsiteX3" fmla="*/ 44911 w 44911"/>
                <a:gd name="connsiteY3" fmla="*/ 22994 h 45950"/>
                <a:gd name="connsiteX4" fmla="*/ 22473 w 44911"/>
                <a:gd name="connsiteY4" fmla="*/ 0 h 45950"/>
                <a:gd name="connsiteX5" fmla="*/ 22456 w 44911"/>
                <a:gd name="connsiteY5" fmla="*/ 0 h 45950"/>
                <a:gd name="connsiteX6" fmla="*/ 33157 w 44911"/>
                <a:gd name="connsiteY6" fmla="*/ 33925 h 45950"/>
                <a:gd name="connsiteX7" fmla="*/ 11793 w 44911"/>
                <a:gd name="connsiteY7" fmla="*/ 33782 h 45950"/>
                <a:gd name="connsiteX8" fmla="*/ 11932 w 44911"/>
                <a:gd name="connsiteY8" fmla="*/ 11923 h 45950"/>
                <a:gd name="connsiteX9" fmla="*/ 33297 w 44911"/>
                <a:gd name="connsiteY9" fmla="*/ 12066 h 45950"/>
                <a:gd name="connsiteX10" fmla="*/ 37652 w 44911"/>
                <a:gd name="connsiteY10" fmla="*/ 22975 h 45950"/>
                <a:gd name="connsiteX11" fmla="*/ 33157 w 44911"/>
                <a:gd name="connsiteY11" fmla="*/ 33925 h 4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911" h="45950">
                  <a:moveTo>
                    <a:pt x="22456" y="0"/>
                  </a:moveTo>
                  <a:cubicBezTo>
                    <a:pt x="10054" y="0"/>
                    <a:pt x="0" y="10286"/>
                    <a:pt x="0" y="22975"/>
                  </a:cubicBezTo>
                  <a:cubicBezTo>
                    <a:pt x="0" y="35664"/>
                    <a:pt x="10054" y="45951"/>
                    <a:pt x="22456" y="45951"/>
                  </a:cubicBezTo>
                  <a:cubicBezTo>
                    <a:pt x="34851" y="45951"/>
                    <a:pt x="44901" y="35676"/>
                    <a:pt x="44911" y="22994"/>
                  </a:cubicBezTo>
                  <a:cubicBezTo>
                    <a:pt x="44921" y="10305"/>
                    <a:pt x="34875" y="10"/>
                    <a:pt x="22473" y="0"/>
                  </a:cubicBezTo>
                  <a:cubicBezTo>
                    <a:pt x="22467" y="0"/>
                    <a:pt x="22462" y="0"/>
                    <a:pt x="22456" y="0"/>
                  </a:cubicBezTo>
                  <a:close/>
                  <a:moveTo>
                    <a:pt x="33157" y="33925"/>
                  </a:moveTo>
                  <a:cubicBezTo>
                    <a:pt x="27219" y="39922"/>
                    <a:pt x="17654" y="39858"/>
                    <a:pt x="11793" y="33782"/>
                  </a:cubicBezTo>
                  <a:cubicBezTo>
                    <a:pt x="5932" y="27706"/>
                    <a:pt x="5994" y="17920"/>
                    <a:pt x="11932" y="11923"/>
                  </a:cubicBezTo>
                  <a:cubicBezTo>
                    <a:pt x="17871" y="5926"/>
                    <a:pt x="27436" y="5990"/>
                    <a:pt x="33297" y="12066"/>
                  </a:cubicBezTo>
                  <a:cubicBezTo>
                    <a:pt x="36100" y="14971"/>
                    <a:pt x="37665" y="18893"/>
                    <a:pt x="37652" y="22975"/>
                  </a:cubicBezTo>
                  <a:cubicBezTo>
                    <a:pt x="37639" y="27092"/>
                    <a:pt x="36021" y="31033"/>
                    <a:pt x="33157" y="33925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5568B3F1-F260-B54B-900F-E541FA22BCF1}"/>
                </a:ext>
              </a:extLst>
            </p:cNvPr>
            <p:cNvSpPr/>
            <p:nvPr/>
          </p:nvSpPr>
          <p:spPr>
            <a:xfrm>
              <a:off x="6443505" y="716282"/>
              <a:ext cx="97182" cy="131591"/>
            </a:xfrm>
            <a:custGeom>
              <a:avLst/>
              <a:gdLst>
                <a:gd name="connsiteX0" fmla="*/ 82474 w 97182"/>
                <a:gd name="connsiteY0" fmla="*/ 14438 h 131591"/>
                <a:gd name="connsiteX1" fmla="*/ 14950 w 97182"/>
                <a:gd name="connsiteY1" fmla="*/ 14179 h 131591"/>
                <a:gd name="connsiteX2" fmla="*/ 14947 w 97182"/>
                <a:gd name="connsiteY2" fmla="*/ 14183 h 131591"/>
                <a:gd name="connsiteX3" fmla="*/ 14697 w 97182"/>
                <a:gd name="connsiteY3" fmla="*/ 14438 h 131591"/>
                <a:gd name="connsiteX4" fmla="*/ 10292 w 97182"/>
                <a:gd name="connsiteY4" fmla="*/ 81777 h 131591"/>
                <a:gd name="connsiteX5" fmla="*/ 45661 w 97182"/>
                <a:gd name="connsiteY5" fmla="*/ 130082 h 131591"/>
                <a:gd name="connsiteX6" fmla="*/ 50798 w 97182"/>
                <a:gd name="connsiteY6" fmla="*/ 130848 h 131591"/>
                <a:gd name="connsiteX7" fmla="*/ 51547 w 97182"/>
                <a:gd name="connsiteY7" fmla="*/ 130082 h 131591"/>
                <a:gd name="connsiteX8" fmla="*/ 86880 w 97182"/>
                <a:gd name="connsiteY8" fmla="*/ 81777 h 131591"/>
                <a:gd name="connsiteX9" fmla="*/ 97100 w 97182"/>
                <a:gd name="connsiteY9" fmla="*/ 47688 h 131591"/>
                <a:gd name="connsiteX10" fmla="*/ 82474 w 97182"/>
                <a:gd name="connsiteY10" fmla="*/ 14438 h 131591"/>
                <a:gd name="connsiteX11" fmla="*/ 81012 w 97182"/>
                <a:gd name="connsiteY11" fmla="*/ 77269 h 131591"/>
                <a:gd name="connsiteX12" fmla="*/ 48586 w 97182"/>
                <a:gd name="connsiteY12" fmla="*/ 121596 h 131591"/>
                <a:gd name="connsiteX13" fmla="*/ 16231 w 97182"/>
                <a:gd name="connsiteY13" fmla="*/ 77306 h 131591"/>
                <a:gd name="connsiteX14" fmla="*/ 19941 w 97182"/>
                <a:gd name="connsiteY14" fmla="*/ 19730 h 131591"/>
                <a:gd name="connsiteX15" fmla="*/ 77124 w 97182"/>
                <a:gd name="connsiteY15" fmla="*/ 19584 h 131591"/>
                <a:gd name="connsiteX16" fmla="*/ 77266 w 97182"/>
                <a:gd name="connsiteY16" fmla="*/ 19730 h 131591"/>
                <a:gd name="connsiteX17" fmla="*/ 89752 w 97182"/>
                <a:gd name="connsiteY17" fmla="*/ 48180 h 131591"/>
                <a:gd name="connsiteX18" fmla="*/ 80994 w 97182"/>
                <a:gd name="connsiteY18" fmla="*/ 77269 h 13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7182" h="131591">
                  <a:moveTo>
                    <a:pt x="82474" y="14438"/>
                  </a:moveTo>
                  <a:cubicBezTo>
                    <a:pt x="63898" y="-4711"/>
                    <a:pt x="33666" y="-4827"/>
                    <a:pt x="14950" y="14179"/>
                  </a:cubicBezTo>
                  <a:cubicBezTo>
                    <a:pt x="14949" y="14181"/>
                    <a:pt x="14948" y="14182"/>
                    <a:pt x="14947" y="14183"/>
                  </a:cubicBezTo>
                  <a:lnTo>
                    <a:pt x="14697" y="14438"/>
                  </a:lnTo>
                  <a:cubicBezTo>
                    <a:pt x="-3073" y="32575"/>
                    <a:pt x="-4957" y="61378"/>
                    <a:pt x="10292" y="81777"/>
                  </a:cubicBezTo>
                  <a:lnTo>
                    <a:pt x="45661" y="130082"/>
                  </a:lnTo>
                  <a:cubicBezTo>
                    <a:pt x="46874" y="131743"/>
                    <a:pt x="49172" y="132086"/>
                    <a:pt x="50798" y="130848"/>
                  </a:cubicBezTo>
                  <a:cubicBezTo>
                    <a:pt x="51082" y="130630"/>
                    <a:pt x="51334" y="130372"/>
                    <a:pt x="51547" y="130082"/>
                  </a:cubicBezTo>
                  <a:lnTo>
                    <a:pt x="86880" y="81777"/>
                  </a:lnTo>
                  <a:cubicBezTo>
                    <a:pt x="94163" y="72030"/>
                    <a:pt x="97789" y="59936"/>
                    <a:pt x="97100" y="47688"/>
                  </a:cubicBezTo>
                  <a:cubicBezTo>
                    <a:pt x="96320" y="35158"/>
                    <a:pt x="91124" y="23344"/>
                    <a:pt x="82474" y="14438"/>
                  </a:cubicBezTo>
                  <a:close/>
                  <a:moveTo>
                    <a:pt x="81012" y="77269"/>
                  </a:moveTo>
                  <a:lnTo>
                    <a:pt x="48586" y="121596"/>
                  </a:lnTo>
                  <a:lnTo>
                    <a:pt x="16231" y="77306"/>
                  </a:lnTo>
                  <a:cubicBezTo>
                    <a:pt x="3119" y="59897"/>
                    <a:pt x="4709" y="35227"/>
                    <a:pt x="19941" y="19730"/>
                  </a:cubicBezTo>
                  <a:cubicBezTo>
                    <a:pt x="35692" y="3534"/>
                    <a:pt x="61294" y="3469"/>
                    <a:pt x="77124" y="19584"/>
                  </a:cubicBezTo>
                  <a:lnTo>
                    <a:pt x="77266" y="19730"/>
                  </a:lnTo>
                  <a:cubicBezTo>
                    <a:pt x="84652" y="27358"/>
                    <a:pt x="89087" y="37465"/>
                    <a:pt x="89752" y="48180"/>
                  </a:cubicBezTo>
                  <a:cubicBezTo>
                    <a:pt x="90325" y="58636"/>
                    <a:pt x="87218" y="68956"/>
                    <a:pt x="80994" y="77269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E7123B78-F27C-8748-94CA-4CC11C06F245}"/>
                </a:ext>
              </a:extLst>
            </p:cNvPr>
            <p:cNvSpPr/>
            <p:nvPr/>
          </p:nvSpPr>
          <p:spPr>
            <a:xfrm>
              <a:off x="6469100" y="744024"/>
              <a:ext cx="44911" cy="45950"/>
            </a:xfrm>
            <a:custGeom>
              <a:avLst/>
              <a:gdLst>
                <a:gd name="connsiteX0" fmla="*/ 22456 w 44911"/>
                <a:gd name="connsiteY0" fmla="*/ 0 h 45950"/>
                <a:gd name="connsiteX1" fmla="*/ 0 w 44911"/>
                <a:gd name="connsiteY1" fmla="*/ 22975 h 45950"/>
                <a:gd name="connsiteX2" fmla="*/ 22456 w 44911"/>
                <a:gd name="connsiteY2" fmla="*/ 45951 h 45950"/>
                <a:gd name="connsiteX3" fmla="*/ 44911 w 44911"/>
                <a:gd name="connsiteY3" fmla="*/ 22975 h 45950"/>
                <a:gd name="connsiteX4" fmla="*/ 22456 w 44911"/>
                <a:gd name="connsiteY4" fmla="*/ 0 h 45950"/>
                <a:gd name="connsiteX5" fmla="*/ 33157 w 44911"/>
                <a:gd name="connsiteY5" fmla="*/ 33925 h 45950"/>
                <a:gd name="connsiteX6" fmla="*/ 11793 w 44911"/>
                <a:gd name="connsiteY6" fmla="*/ 33818 h 45950"/>
                <a:gd name="connsiteX7" fmla="*/ 11897 w 44911"/>
                <a:gd name="connsiteY7" fmla="*/ 11959 h 45950"/>
                <a:gd name="connsiteX8" fmla="*/ 33261 w 44911"/>
                <a:gd name="connsiteY8" fmla="*/ 12066 h 45950"/>
                <a:gd name="connsiteX9" fmla="*/ 37634 w 44911"/>
                <a:gd name="connsiteY9" fmla="*/ 22975 h 45950"/>
                <a:gd name="connsiteX10" fmla="*/ 33157 w 44911"/>
                <a:gd name="connsiteY10" fmla="*/ 33925 h 4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911" h="45950">
                  <a:moveTo>
                    <a:pt x="22456" y="0"/>
                  </a:moveTo>
                  <a:cubicBezTo>
                    <a:pt x="10054" y="0"/>
                    <a:pt x="0" y="10286"/>
                    <a:pt x="0" y="22975"/>
                  </a:cubicBezTo>
                  <a:cubicBezTo>
                    <a:pt x="0" y="35664"/>
                    <a:pt x="10054" y="45951"/>
                    <a:pt x="22456" y="45951"/>
                  </a:cubicBezTo>
                  <a:cubicBezTo>
                    <a:pt x="34857" y="45951"/>
                    <a:pt x="44911" y="35664"/>
                    <a:pt x="44911" y="22975"/>
                  </a:cubicBezTo>
                  <a:cubicBezTo>
                    <a:pt x="44911" y="10286"/>
                    <a:pt x="34857" y="0"/>
                    <a:pt x="22456" y="0"/>
                  </a:cubicBezTo>
                  <a:close/>
                  <a:moveTo>
                    <a:pt x="33157" y="33925"/>
                  </a:moveTo>
                  <a:cubicBezTo>
                    <a:pt x="27229" y="39932"/>
                    <a:pt x="17664" y="39884"/>
                    <a:pt x="11793" y="33818"/>
                  </a:cubicBezTo>
                  <a:cubicBezTo>
                    <a:pt x="5922" y="27753"/>
                    <a:pt x="5968" y="17966"/>
                    <a:pt x="11897" y="11959"/>
                  </a:cubicBezTo>
                  <a:cubicBezTo>
                    <a:pt x="17825" y="5953"/>
                    <a:pt x="27390" y="6000"/>
                    <a:pt x="33261" y="12066"/>
                  </a:cubicBezTo>
                  <a:cubicBezTo>
                    <a:pt x="36071" y="14968"/>
                    <a:pt x="37643" y="18891"/>
                    <a:pt x="37634" y="22975"/>
                  </a:cubicBezTo>
                  <a:cubicBezTo>
                    <a:pt x="37623" y="27089"/>
                    <a:pt x="36013" y="31029"/>
                    <a:pt x="33157" y="33925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E83C3802-26E5-FF4C-8AB2-ACCEC1D9AD27}"/>
                </a:ext>
              </a:extLst>
            </p:cNvPr>
            <p:cNvSpPr/>
            <p:nvPr/>
          </p:nvSpPr>
          <p:spPr>
            <a:xfrm>
              <a:off x="6522662" y="847624"/>
              <a:ext cx="97236" cy="131641"/>
            </a:xfrm>
            <a:custGeom>
              <a:avLst/>
              <a:gdLst>
                <a:gd name="connsiteX0" fmla="*/ 82474 w 97236"/>
                <a:gd name="connsiteY0" fmla="*/ 14415 h 131641"/>
                <a:gd name="connsiteX1" fmla="*/ 14876 w 97236"/>
                <a:gd name="connsiteY1" fmla="*/ 14233 h 131641"/>
                <a:gd name="connsiteX2" fmla="*/ 14697 w 97236"/>
                <a:gd name="connsiteY2" fmla="*/ 14415 h 131641"/>
                <a:gd name="connsiteX3" fmla="*/ 10292 w 97236"/>
                <a:gd name="connsiteY3" fmla="*/ 81754 h 131641"/>
                <a:gd name="connsiteX4" fmla="*/ 45714 w 97236"/>
                <a:gd name="connsiteY4" fmla="*/ 130132 h 131641"/>
                <a:gd name="connsiteX5" fmla="*/ 50851 w 97236"/>
                <a:gd name="connsiteY5" fmla="*/ 130898 h 131641"/>
                <a:gd name="connsiteX6" fmla="*/ 51600 w 97236"/>
                <a:gd name="connsiteY6" fmla="*/ 130132 h 131641"/>
                <a:gd name="connsiteX7" fmla="*/ 86934 w 97236"/>
                <a:gd name="connsiteY7" fmla="*/ 81809 h 131641"/>
                <a:gd name="connsiteX8" fmla="*/ 97154 w 97236"/>
                <a:gd name="connsiteY8" fmla="*/ 47720 h 131641"/>
                <a:gd name="connsiteX9" fmla="*/ 82528 w 97236"/>
                <a:gd name="connsiteY9" fmla="*/ 14452 h 131641"/>
                <a:gd name="connsiteX10" fmla="*/ 81012 w 97236"/>
                <a:gd name="connsiteY10" fmla="*/ 77210 h 131641"/>
                <a:gd name="connsiteX11" fmla="*/ 48604 w 97236"/>
                <a:gd name="connsiteY11" fmla="*/ 121518 h 131641"/>
                <a:gd name="connsiteX12" fmla="*/ 16231 w 97236"/>
                <a:gd name="connsiteY12" fmla="*/ 77301 h 131641"/>
                <a:gd name="connsiteX13" fmla="*/ 19941 w 97236"/>
                <a:gd name="connsiteY13" fmla="*/ 19726 h 131641"/>
                <a:gd name="connsiteX14" fmla="*/ 77124 w 97236"/>
                <a:gd name="connsiteY14" fmla="*/ 19580 h 131641"/>
                <a:gd name="connsiteX15" fmla="*/ 77266 w 97236"/>
                <a:gd name="connsiteY15" fmla="*/ 19726 h 131641"/>
                <a:gd name="connsiteX16" fmla="*/ 89752 w 97236"/>
                <a:gd name="connsiteY16" fmla="*/ 48176 h 131641"/>
                <a:gd name="connsiteX17" fmla="*/ 80994 w 97236"/>
                <a:gd name="connsiteY17" fmla="*/ 77265 h 1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7236" h="131641">
                  <a:moveTo>
                    <a:pt x="82474" y="14415"/>
                  </a:moveTo>
                  <a:cubicBezTo>
                    <a:pt x="63857" y="-4734"/>
                    <a:pt x="33592" y="-4815"/>
                    <a:pt x="14876" y="14233"/>
                  </a:cubicBezTo>
                  <a:lnTo>
                    <a:pt x="14697" y="14415"/>
                  </a:lnTo>
                  <a:cubicBezTo>
                    <a:pt x="-3073" y="32553"/>
                    <a:pt x="-4957" y="61355"/>
                    <a:pt x="10292" y="81754"/>
                  </a:cubicBezTo>
                  <a:lnTo>
                    <a:pt x="45714" y="130132"/>
                  </a:lnTo>
                  <a:cubicBezTo>
                    <a:pt x="46927" y="131793"/>
                    <a:pt x="49225" y="132136"/>
                    <a:pt x="50851" y="130898"/>
                  </a:cubicBezTo>
                  <a:cubicBezTo>
                    <a:pt x="51135" y="130681"/>
                    <a:pt x="51388" y="130422"/>
                    <a:pt x="51600" y="130132"/>
                  </a:cubicBezTo>
                  <a:lnTo>
                    <a:pt x="86934" y="81809"/>
                  </a:lnTo>
                  <a:cubicBezTo>
                    <a:pt x="94216" y="72062"/>
                    <a:pt x="97842" y="59968"/>
                    <a:pt x="97154" y="47720"/>
                  </a:cubicBezTo>
                  <a:cubicBezTo>
                    <a:pt x="96370" y="35186"/>
                    <a:pt x="91174" y="23367"/>
                    <a:pt x="82528" y="14452"/>
                  </a:cubicBezTo>
                  <a:close/>
                  <a:moveTo>
                    <a:pt x="81012" y="77210"/>
                  </a:moveTo>
                  <a:lnTo>
                    <a:pt x="48604" y="121518"/>
                  </a:lnTo>
                  <a:lnTo>
                    <a:pt x="16231" y="77301"/>
                  </a:lnTo>
                  <a:cubicBezTo>
                    <a:pt x="3119" y="59892"/>
                    <a:pt x="4709" y="35222"/>
                    <a:pt x="19941" y="19726"/>
                  </a:cubicBezTo>
                  <a:cubicBezTo>
                    <a:pt x="35692" y="3529"/>
                    <a:pt x="61294" y="3464"/>
                    <a:pt x="77124" y="19580"/>
                  </a:cubicBezTo>
                  <a:lnTo>
                    <a:pt x="77266" y="19726"/>
                  </a:lnTo>
                  <a:cubicBezTo>
                    <a:pt x="84652" y="27353"/>
                    <a:pt x="89087" y="37460"/>
                    <a:pt x="89752" y="48176"/>
                  </a:cubicBezTo>
                  <a:cubicBezTo>
                    <a:pt x="90325" y="58631"/>
                    <a:pt x="87218" y="68951"/>
                    <a:pt x="80994" y="77265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4DF9AC50-62B7-0044-844B-0C1197C1F3C1}"/>
                </a:ext>
              </a:extLst>
            </p:cNvPr>
            <p:cNvSpPr/>
            <p:nvPr/>
          </p:nvSpPr>
          <p:spPr>
            <a:xfrm>
              <a:off x="6548257" y="875361"/>
              <a:ext cx="44911" cy="45950"/>
            </a:xfrm>
            <a:custGeom>
              <a:avLst/>
              <a:gdLst>
                <a:gd name="connsiteX0" fmla="*/ 22456 w 44911"/>
                <a:gd name="connsiteY0" fmla="*/ 0 h 45950"/>
                <a:gd name="connsiteX1" fmla="*/ 0 w 44911"/>
                <a:gd name="connsiteY1" fmla="*/ 22975 h 45950"/>
                <a:gd name="connsiteX2" fmla="*/ 22456 w 44911"/>
                <a:gd name="connsiteY2" fmla="*/ 45951 h 45950"/>
                <a:gd name="connsiteX3" fmla="*/ 44911 w 44911"/>
                <a:gd name="connsiteY3" fmla="*/ 22975 h 45950"/>
                <a:gd name="connsiteX4" fmla="*/ 44911 w 44911"/>
                <a:gd name="connsiteY4" fmla="*/ 22975 h 45950"/>
                <a:gd name="connsiteX5" fmla="*/ 22456 w 44911"/>
                <a:gd name="connsiteY5" fmla="*/ 0 h 45950"/>
                <a:gd name="connsiteX6" fmla="*/ 33157 w 44911"/>
                <a:gd name="connsiteY6" fmla="*/ 33907 h 45950"/>
                <a:gd name="connsiteX7" fmla="*/ 11793 w 44911"/>
                <a:gd name="connsiteY7" fmla="*/ 33800 h 45950"/>
                <a:gd name="connsiteX8" fmla="*/ 11897 w 44911"/>
                <a:gd name="connsiteY8" fmla="*/ 11941 h 45950"/>
                <a:gd name="connsiteX9" fmla="*/ 33261 w 44911"/>
                <a:gd name="connsiteY9" fmla="*/ 12048 h 45950"/>
                <a:gd name="connsiteX10" fmla="*/ 37634 w 44911"/>
                <a:gd name="connsiteY10" fmla="*/ 22957 h 45950"/>
                <a:gd name="connsiteX11" fmla="*/ 33157 w 44911"/>
                <a:gd name="connsiteY11" fmla="*/ 33907 h 4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911" h="45950">
                  <a:moveTo>
                    <a:pt x="22456" y="0"/>
                  </a:moveTo>
                  <a:cubicBezTo>
                    <a:pt x="10054" y="0"/>
                    <a:pt x="0" y="10286"/>
                    <a:pt x="0" y="22975"/>
                  </a:cubicBezTo>
                  <a:cubicBezTo>
                    <a:pt x="0" y="35664"/>
                    <a:pt x="10054" y="45951"/>
                    <a:pt x="22456" y="45951"/>
                  </a:cubicBezTo>
                  <a:cubicBezTo>
                    <a:pt x="34857" y="45951"/>
                    <a:pt x="44911" y="35664"/>
                    <a:pt x="44911" y="22975"/>
                  </a:cubicBezTo>
                  <a:lnTo>
                    <a:pt x="44911" y="22975"/>
                  </a:lnTo>
                  <a:cubicBezTo>
                    <a:pt x="44892" y="10295"/>
                    <a:pt x="34849" y="20"/>
                    <a:pt x="22456" y="0"/>
                  </a:cubicBezTo>
                  <a:close/>
                  <a:moveTo>
                    <a:pt x="33157" y="33907"/>
                  </a:moveTo>
                  <a:cubicBezTo>
                    <a:pt x="27229" y="39913"/>
                    <a:pt x="17664" y="39866"/>
                    <a:pt x="11793" y="33800"/>
                  </a:cubicBezTo>
                  <a:cubicBezTo>
                    <a:pt x="5922" y="27735"/>
                    <a:pt x="5968" y="17948"/>
                    <a:pt x="11897" y="11941"/>
                  </a:cubicBezTo>
                  <a:cubicBezTo>
                    <a:pt x="17825" y="5934"/>
                    <a:pt x="27390" y="5982"/>
                    <a:pt x="33261" y="12048"/>
                  </a:cubicBezTo>
                  <a:cubicBezTo>
                    <a:pt x="36071" y="14950"/>
                    <a:pt x="37643" y="18872"/>
                    <a:pt x="37634" y="22957"/>
                  </a:cubicBezTo>
                  <a:cubicBezTo>
                    <a:pt x="37625" y="27071"/>
                    <a:pt x="36014" y="31012"/>
                    <a:pt x="33157" y="33907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3" name="Graphic 96">
            <a:extLst>
              <a:ext uri="{FF2B5EF4-FFF2-40B4-BE49-F238E27FC236}">
                <a16:creationId xmlns:a16="http://schemas.microsoft.com/office/drawing/2014/main" id="{2703717C-C6CB-DD48-98F9-748AAB2A1F63}"/>
              </a:ext>
            </a:extLst>
          </p:cNvPr>
          <p:cNvGrpSpPr/>
          <p:nvPr userDrawn="1"/>
        </p:nvGrpSpPr>
        <p:grpSpPr>
          <a:xfrm>
            <a:off x="3942508" y="1551250"/>
            <a:ext cx="301494" cy="301569"/>
            <a:chOff x="3942508" y="1551250"/>
            <a:chExt cx="301494" cy="301569"/>
          </a:xfrm>
        </p:grpSpPr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AFF60B86-2DE4-8B4F-9EAD-ACA8E0FC7CC6}"/>
                </a:ext>
              </a:extLst>
            </p:cNvPr>
            <p:cNvSpPr/>
            <p:nvPr/>
          </p:nvSpPr>
          <p:spPr>
            <a:xfrm>
              <a:off x="3942508" y="1551250"/>
              <a:ext cx="301494" cy="301569"/>
            </a:xfrm>
            <a:custGeom>
              <a:avLst/>
              <a:gdLst>
                <a:gd name="connsiteX0" fmla="*/ 299477 w 301494"/>
                <a:gd name="connsiteY0" fmla="*/ 111564 h 301569"/>
                <a:gd name="connsiteX1" fmla="*/ 271313 w 301494"/>
                <a:gd name="connsiteY1" fmla="*/ 90224 h 301569"/>
                <a:gd name="connsiteX2" fmla="*/ 271313 w 301494"/>
                <a:gd name="connsiteY2" fmla="*/ 35139 h 301569"/>
                <a:gd name="connsiteX3" fmla="*/ 266279 w 301494"/>
                <a:gd name="connsiteY3" fmla="*/ 30125 h 301569"/>
                <a:gd name="connsiteX4" fmla="*/ 192136 w 301494"/>
                <a:gd name="connsiteY4" fmla="*/ 30125 h 301569"/>
                <a:gd name="connsiteX5" fmla="*/ 153754 w 301494"/>
                <a:gd name="connsiteY5" fmla="*/ 1018 h 301569"/>
                <a:gd name="connsiteX6" fmla="*/ 147684 w 301494"/>
                <a:gd name="connsiteY6" fmla="*/ 1018 h 301569"/>
                <a:gd name="connsiteX7" fmla="*/ 109302 w 301494"/>
                <a:gd name="connsiteY7" fmla="*/ 30163 h 301569"/>
                <a:gd name="connsiteX8" fmla="*/ 35177 w 301494"/>
                <a:gd name="connsiteY8" fmla="*/ 30163 h 301569"/>
                <a:gd name="connsiteX9" fmla="*/ 30144 w 301494"/>
                <a:gd name="connsiteY9" fmla="*/ 35139 h 301569"/>
                <a:gd name="connsiteX10" fmla="*/ 30144 w 301494"/>
                <a:gd name="connsiteY10" fmla="*/ 90186 h 301569"/>
                <a:gd name="connsiteX11" fmla="*/ 2017 w 301494"/>
                <a:gd name="connsiteY11" fmla="*/ 111564 h 301569"/>
                <a:gd name="connsiteX12" fmla="*/ 0 w 301494"/>
                <a:gd name="connsiteY12" fmla="*/ 115579 h 301569"/>
                <a:gd name="connsiteX13" fmla="*/ 0 w 301494"/>
                <a:gd name="connsiteY13" fmla="*/ 296555 h 301569"/>
                <a:gd name="connsiteX14" fmla="*/ 5014 w 301494"/>
                <a:gd name="connsiteY14" fmla="*/ 301570 h 301569"/>
                <a:gd name="connsiteX15" fmla="*/ 5033 w 301494"/>
                <a:gd name="connsiteY15" fmla="*/ 301569 h 301569"/>
                <a:gd name="connsiteX16" fmla="*/ 296461 w 301494"/>
                <a:gd name="connsiteY16" fmla="*/ 301569 h 301569"/>
                <a:gd name="connsiteX17" fmla="*/ 301494 w 301494"/>
                <a:gd name="connsiteY17" fmla="*/ 296574 h 301569"/>
                <a:gd name="connsiteX18" fmla="*/ 301494 w 301494"/>
                <a:gd name="connsiteY18" fmla="*/ 296555 h 301569"/>
                <a:gd name="connsiteX19" fmla="*/ 301494 w 301494"/>
                <a:gd name="connsiteY19" fmla="*/ 115579 h 301569"/>
                <a:gd name="connsiteX20" fmla="*/ 299477 w 301494"/>
                <a:gd name="connsiteY20" fmla="*/ 111564 h 301569"/>
                <a:gd name="connsiteX21" fmla="*/ 10048 w 301494"/>
                <a:gd name="connsiteY21" fmla="*/ 125627 h 301569"/>
                <a:gd name="connsiteX22" fmla="*/ 115937 w 301494"/>
                <a:gd name="connsiteY22" fmla="*/ 205954 h 301569"/>
                <a:gd name="connsiteX23" fmla="*/ 10048 w 301494"/>
                <a:gd name="connsiteY23" fmla="*/ 286356 h 301569"/>
                <a:gd name="connsiteX24" fmla="*/ 150756 w 301494"/>
                <a:gd name="connsiteY24" fmla="*/ 192155 h 301569"/>
                <a:gd name="connsiteX25" fmla="*/ 281530 w 301494"/>
                <a:gd name="connsiteY25" fmla="*/ 291522 h 301569"/>
                <a:gd name="connsiteX26" fmla="*/ 19964 w 301494"/>
                <a:gd name="connsiteY26" fmla="*/ 291522 h 301569"/>
                <a:gd name="connsiteX27" fmla="*/ 185557 w 301494"/>
                <a:gd name="connsiteY27" fmla="*/ 205954 h 301569"/>
                <a:gd name="connsiteX28" fmla="*/ 291446 w 301494"/>
                <a:gd name="connsiteY28" fmla="*/ 125627 h 301569"/>
                <a:gd name="connsiteX29" fmla="*/ 291446 w 301494"/>
                <a:gd name="connsiteY29" fmla="*/ 286281 h 301569"/>
                <a:gd name="connsiteX30" fmla="*/ 288147 w 301494"/>
                <a:gd name="connsiteY30" fmla="*/ 115466 h 301569"/>
                <a:gd name="connsiteX31" fmla="*/ 271350 w 301494"/>
                <a:gd name="connsiteY31" fmla="*/ 128210 h 301569"/>
                <a:gd name="connsiteX32" fmla="*/ 271350 w 301494"/>
                <a:gd name="connsiteY32" fmla="*/ 102836 h 301569"/>
                <a:gd name="connsiteX33" fmla="*/ 150756 w 301494"/>
                <a:gd name="connsiteY33" fmla="*/ 11330 h 301569"/>
                <a:gd name="connsiteX34" fmla="*/ 175546 w 301494"/>
                <a:gd name="connsiteY34" fmla="*/ 30181 h 301569"/>
                <a:gd name="connsiteX35" fmla="*/ 125948 w 301494"/>
                <a:gd name="connsiteY35" fmla="*/ 30181 h 301569"/>
                <a:gd name="connsiteX36" fmla="*/ 261302 w 301494"/>
                <a:gd name="connsiteY36" fmla="*/ 40211 h 301569"/>
                <a:gd name="connsiteX37" fmla="*/ 261302 w 301494"/>
                <a:gd name="connsiteY37" fmla="*/ 135958 h 301569"/>
                <a:gd name="connsiteX38" fmla="*/ 177224 w 301494"/>
                <a:gd name="connsiteY38" fmla="*/ 199714 h 301569"/>
                <a:gd name="connsiteX39" fmla="*/ 153754 w 301494"/>
                <a:gd name="connsiteY39" fmla="*/ 181918 h 301569"/>
                <a:gd name="connsiteX40" fmla="*/ 147684 w 301494"/>
                <a:gd name="connsiteY40" fmla="*/ 181918 h 301569"/>
                <a:gd name="connsiteX41" fmla="*/ 124270 w 301494"/>
                <a:gd name="connsiteY41" fmla="*/ 199695 h 301569"/>
                <a:gd name="connsiteX42" fmla="*/ 40192 w 301494"/>
                <a:gd name="connsiteY42" fmla="*/ 135958 h 301569"/>
                <a:gd name="connsiteX43" fmla="*/ 40192 w 301494"/>
                <a:gd name="connsiteY43" fmla="*/ 40211 h 301569"/>
                <a:gd name="connsiteX44" fmla="*/ 30144 w 301494"/>
                <a:gd name="connsiteY44" fmla="*/ 128323 h 301569"/>
                <a:gd name="connsiteX45" fmla="*/ 13347 w 301494"/>
                <a:gd name="connsiteY45" fmla="*/ 115579 h 301569"/>
                <a:gd name="connsiteX46" fmla="*/ 30144 w 301494"/>
                <a:gd name="connsiteY46" fmla="*/ 102836 h 30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301494" h="301569">
                  <a:moveTo>
                    <a:pt x="299477" y="111564"/>
                  </a:moveTo>
                  <a:lnTo>
                    <a:pt x="271313" y="90224"/>
                  </a:lnTo>
                  <a:lnTo>
                    <a:pt x="271313" y="35139"/>
                  </a:lnTo>
                  <a:cubicBezTo>
                    <a:pt x="271302" y="32367"/>
                    <a:pt x="269052" y="30125"/>
                    <a:pt x="266279" y="30125"/>
                  </a:cubicBezTo>
                  <a:lnTo>
                    <a:pt x="192136" y="30125"/>
                  </a:lnTo>
                  <a:lnTo>
                    <a:pt x="153754" y="1018"/>
                  </a:lnTo>
                  <a:cubicBezTo>
                    <a:pt x="151958" y="-339"/>
                    <a:pt x="149479" y="-339"/>
                    <a:pt x="147684" y="1018"/>
                  </a:cubicBezTo>
                  <a:lnTo>
                    <a:pt x="109302" y="30163"/>
                  </a:lnTo>
                  <a:lnTo>
                    <a:pt x="35177" y="30163"/>
                  </a:lnTo>
                  <a:cubicBezTo>
                    <a:pt x="32419" y="30162"/>
                    <a:pt x="30175" y="32382"/>
                    <a:pt x="30144" y="35139"/>
                  </a:cubicBezTo>
                  <a:lnTo>
                    <a:pt x="30144" y="90186"/>
                  </a:lnTo>
                  <a:lnTo>
                    <a:pt x="2017" y="111564"/>
                  </a:lnTo>
                  <a:cubicBezTo>
                    <a:pt x="749" y="112509"/>
                    <a:pt x="1" y="113998"/>
                    <a:pt x="0" y="115579"/>
                  </a:cubicBezTo>
                  <a:lnTo>
                    <a:pt x="0" y="296555"/>
                  </a:lnTo>
                  <a:cubicBezTo>
                    <a:pt x="0" y="299324"/>
                    <a:pt x="2245" y="301570"/>
                    <a:pt x="5014" y="301570"/>
                  </a:cubicBezTo>
                  <a:cubicBezTo>
                    <a:pt x="5021" y="301570"/>
                    <a:pt x="5027" y="301570"/>
                    <a:pt x="5033" y="301569"/>
                  </a:cubicBezTo>
                  <a:lnTo>
                    <a:pt x="296461" y="301569"/>
                  </a:lnTo>
                  <a:cubicBezTo>
                    <a:pt x="299230" y="301580"/>
                    <a:pt x="301484" y="299343"/>
                    <a:pt x="301494" y="296574"/>
                  </a:cubicBezTo>
                  <a:cubicBezTo>
                    <a:pt x="301494" y="296568"/>
                    <a:pt x="301494" y="296561"/>
                    <a:pt x="301494" y="296555"/>
                  </a:cubicBezTo>
                  <a:lnTo>
                    <a:pt x="301494" y="115579"/>
                  </a:lnTo>
                  <a:cubicBezTo>
                    <a:pt x="301493" y="113998"/>
                    <a:pt x="300745" y="112509"/>
                    <a:pt x="299477" y="111564"/>
                  </a:cubicBezTo>
                  <a:close/>
                  <a:moveTo>
                    <a:pt x="10048" y="125627"/>
                  </a:moveTo>
                  <a:lnTo>
                    <a:pt x="115937" y="205954"/>
                  </a:lnTo>
                  <a:lnTo>
                    <a:pt x="10048" y="286356"/>
                  </a:lnTo>
                  <a:close/>
                  <a:moveTo>
                    <a:pt x="150756" y="192155"/>
                  </a:moveTo>
                  <a:lnTo>
                    <a:pt x="281530" y="291522"/>
                  </a:lnTo>
                  <a:lnTo>
                    <a:pt x="19964" y="291522"/>
                  </a:lnTo>
                  <a:close/>
                  <a:moveTo>
                    <a:pt x="185557" y="205954"/>
                  </a:moveTo>
                  <a:lnTo>
                    <a:pt x="291446" y="125627"/>
                  </a:lnTo>
                  <a:lnTo>
                    <a:pt x="291446" y="286281"/>
                  </a:lnTo>
                  <a:close/>
                  <a:moveTo>
                    <a:pt x="288147" y="115466"/>
                  </a:moveTo>
                  <a:lnTo>
                    <a:pt x="271350" y="128210"/>
                  </a:lnTo>
                  <a:lnTo>
                    <a:pt x="271350" y="102836"/>
                  </a:lnTo>
                  <a:close/>
                  <a:moveTo>
                    <a:pt x="150756" y="11330"/>
                  </a:moveTo>
                  <a:lnTo>
                    <a:pt x="175546" y="30181"/>
                  </a:lnTo>
                  <a:lnTo>
                    <a:pt x="125948" y="30181"/>
                  </a:lnTo>
                  <a:close/>
                  <a:moveTo>
                    <a:pt x="261302" y="40211"/>
                  </a:moveTo>
                  <a:lnTo>
                    <a:pt x="261302" y="135958"/>
                  </a:lnTo>
                  <a:lnTo>
                    <a:pt x="177224" y="199714"/>
                  </a:lnTo>
                  <a:lnTo>
                    <a:pt x="153754" y="181918"/>
                  </a:lnTo>
                  <a:cubicBezTo>
                    <a:pt x="151965" y="180541"/>
                    <a:pt x="149473" y="180541"/>
                    <a:pt x="147684" y="181918"/>
                  </a:cubicBezTo>
                  <a:lnTo>
                    <a:pt x="124270" y="199695"/>
                  </a:lnTo>
                  <a:lnTo>
                    <a:pt x="40192" y="135958"/>
                  </a:lnTo>
                  <a:lnTo>
                    <a:pt x="40192" y="40211"/>
                  </a:lnTo>
                  <a:close/>
                  <a:moveTo>
                    <a:pt x="30144" y="128323"/>
                  </a:moveTo>
                  <a:lnTo>
                    <a:pt x="13347" y="115579"/>
                  </a:lnTo>
                  <a:lnTo>
                    <a:pt x="30144" y="102836"/>
                  </a:ln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46A71ACF-969A-814F-A69A-CFC865C06921}"/>
                </a:ext>
              </a:extLst>
            </p:cNvPr>
            <p:cNvSpPr/>
            <p:nvPr/>
          </p:nvSpPr>
          <p:spPr>
            <a:xfrm>
              <a:off x="4047926" y="1616552"/>
              <a:ext cx="90487" cy="90497"/>
            </a:xfrm>
            <a:custGeom>
              <a:avLst/>
              <a:gdLst>
                <a:gd name="connsiteX0" fmla="*/ 45338 w 90487"/>
                <a:gd name="connsiteY0" fmla="*/ 90488 h 90497"/>
                <a:gd name="connsiteX1" fmla="*/ 60325 w 90487"/>
                <a:gd name="connsiteY1" fmla="*/ 90488 h 90497"/>
                <a:gd name="connsiteX2" fmla="*/ 65657 w 90487"/>
                <a:gd name="connsiteY2" fmla="*/ 85772 h 90497"/>
                <a:gd name="connsiteX3" fmla="*/ 60941 w 90487"/>
                <a:gd name="connsiteY3" fmla="*/ 80440 h 90497"/>
                <a:gd name="connsiteX4" fmla="*/ 60325 w 90487"/>
                <a:gd name="connsiteY4" fmla="*/ 80440 h 90497"/>
                <a:gd name="connsiteX5" fmla="*/ 45244 w 90487"/>
                <a:gd name="connsiteY5" fmla="*/ 80440 h 90497"/>
                <a:gd name="connsiteX6" fmla="*/ 10142 w 90487"/>
                <a:gd name="connsiteY6" fmla="*/ 45187 h 90497"/>
                <a:gd name="connsiteX7" fmla="*/ 45395 w 90487"/>
                <a:gd name="connsiteY7" fmla="*/ 10086 h 90497"/>
                <a:gd name="connsiteX8" fmla="*/ 80496 w 90487"/>
                <a:gd name="connsiteY8" fmla="*/ 45244 h 90497"/>
                <a:gd name="connsiteX9" fmla="*/ 80496 w 90487"/>
                <a:gd name="connsiteY9" fmla="*/ 55292 h 90497"/>
                <a:gd name="connsiteX10" fmla="*/ 75165 w 90487"/>
                <a:gd name="connsiteY10" fmla="*/ 60008 h 90497"/>
                <a:gd name="connsiteX11" fmla="*/ 70449 w 90487"/>
                <a:gd name="connsiteY11" fmla="*/ 55292 h 90497"/>
                <a:gd name="connsiteX12" fmla="*/ 70449 w 90487"/>
                <a:gd name="connsiteY12" fmla="*/ 45244 h 90497"/>
                <a:gd name="connsiteX13" fmla="*/ 45335 w 90487"/>
                <a:gd name="connsiteY13" fmla="*/ 19836 h 90497"/>
                <a:gd name="connsiteX14" fmla="*/ 19927 w 90487"/>
                <a:gd name="connsiteY14" fmla="*/ 44950 h 90497"/>
                <a:gd name="connsiteX15" fmla="*/ 45041 w 90487"/>
                <a:gd name="connsiteY15" fmla="*/ 70358 h 90497"/>
                <a:gd name="connsiteX16" fmla="*/ 62738 w 90487"/>
                <a:gd name="connsiteY16" fmla="*/ 63266 h 90497"/>
                <a:gd name="connsiteX17" fmla="*/ 83588 w 90487"/>
                <a:gd name="connsiteY17" fmla="*/ 67756 h 90497"/>
                <a:gd name="connsiteX18" fmla="*/ 90488 w 90487"/>
                <a:gd name="connsiteY18" fmla="*/ 55311 h 90497"/>
                <a:gd name="connsiteX19" fmla="*/ 90488 w 90487"/>
                <a:gd name="connsiteY19" fmla="*/ 45244 h 90497"/>
                <a:gd name="connsiteX20" fmla="*/ 45244 w 90487"/>
                <a:gd name="connsiteY20" fmla="*/ 0 h 90497"/>
                <a:gd name="connsiteX21" fmla="*/ 0 w 90487"/>
                <a:gd name="connsiteY21" fmla="*/ 45244 h 90497"/>
                <a:gd name="connsiteX22" fmla="*/ 45244 w 90487"/>
                <a:gd name="connsiteY22" fmla="*/ 90488 h 90497"/>
                <a:gd name="connsiteX23" fmla="*/ 45338 w 90487"/>
                <a:gd name="connsiteY23" fmla="*/ 60325 h 90497"/>
                <a:gd name="connsiteX24" fmla="*/ 30163 w 90487"/>
                <a:gd name="connsiteY24" fmla="*/ 45338 h 90497"/>
                <a:gd name="connsiteX25" fmla="*/ 45150 w 90487"/>
                <a:gd name="connsiteY25" fmla="*/ 30163 h 90497"/>
                <a:gd name="connsiteX26" fmla="*/ 60325 w 90487"/>
                <a:gd name="connsiteY26" fmla="*/ 45150 h 90497"/>
                <a:gd name="connsiteX27" fmla="*/ 60325 w 90487"/>
                <a:gd name="connsiteY27" fmla="*/ 45244 h 90497"/>
                <a:gd name="connsiteX28" fmla="*/ 45338 w 90487"/>
                <a:gd name="connsiteY28" fmla="*/ 60325 h 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0487" h="90497">
                  <a:moveTo>
                    <a:pt x="45338" y="90488"/>
                  </a:moveTo>
                  <a:lnTo>
                    <a:pt x="60325" y="90488"/>
                  </a:lnTo>
                  <a:cubicBezTo>
                    <a:pt x="63100" y="90658"/>
                    <a:pt x="65487" y="88546"/>
                    <a:pt x="65657" y="85772"/>
                  </a:cubicBezTo>
                  <a:cubicBezTo>
                    <a:pt x="65827" y="82997"/>
                    <a:pt x="63716" y="80610"/>
                    <a:pt x="60941" y="80440"/>
                  </a:cubicBezTo>
                  <a:cubicBezTo>
                    <a:pt x="60736" y="80427"/>
                    <a:pt x="60530" y="80427"/>
                    <a:pt x="60325" y="80440"/>
                  </a:cubicBezTo>
                  <a:lnTo>
                    <a:pt x="45244" y="80440"/>
                  </a:lnTo>
                  <a:cubicBezTo>
                    <a:pt x="25816" y="80398"/>
                    <a:pt x="10101" y="64615"/>
                    <a:pt x="10142" y="45187"/>
                  </a:cubicBezTo>
                  <a:cubicBezTo>
                    <a:pt x="10184" y="25760"/>
                    <a:pt x="25967" y="10044"/>
                    <a:pt x="45395" y="10086"/>
                  </a:cubicBezTo>
                  <a:cubicBezTo>
                    <a:pt x="64786" y="10127"/>
                    <a:pt x="80486" y="25853"/>
                    <a:pt x="80496" y="45244"/>
                  </a:cubicBezTo>
                  <a:lnTo>
                    <a:pt x="80496" y="55292"/>
                  </a:lnTo>
                  <a:cubicBezTo>
                    <a:pt x="80326" y="58066"/>
                    <a:pt x="77939" y="60178"/>
                    <a:pt x="75165" y="60008"/>
                  </a:cubicBezTo>
                  <a:cubicBezTo>
                    <a:pt x="72627" y="59852"/>
                    <a:pt x="70604" y="57829"/>
                    <a:pt x="70449" y="55292"/>
                  </a:cubicBezTo>
                  <a:lnTo>
                    <a:pt x="70449" y="45244"/>
                  </a:lnTo>
                  <a:cubicBezTo>
                    <a:pt x="70530" y="31293"/>
                    <a:pt x="59286" y="19917"/>
                    <a:pt x="45335" y="19836"/>
                  </a:cubicBezTo>
                  <a:cubicBezTo>
                    <a:pt x="31383" y="19755"/>
                    <a:pt x="20008" y="30999"/>
                    <a:pt x="19927" y="44950"/>
                  </a:cubicBezTo>
                  <a:cubicBezTo>
                    <a:pt x="19846" y="58902"/>
                    <a:pt x="31090" y="70277"/>
                    <a:pt x="45041" y="70358"/>
                  </a:cubicBezTo>
                  <a:cubicBezTo>
                    <a:pt x="51640" y="70396"/>
                    <a:pt x="57992" y="67851"/>
                    <a:pt x="62738" y="63266"/>
                  </a:cubicBezTo>
                  <a:cubicBezTo>
                    <a:pt x="67256" y="70263"/>
                    <a:pt x="76591" y="72274"/>
                    <a:pt x="83588" y="67756"/>
                  </a:cubicBezTo>
                  <a:cubicBezTo>
                    <a:pt x="87824" y="65021"/>
                    <a:pt x="90413" y="60351"/>
                    <a:pt x="90488" y="55311"/>
                  </a:cubicBezTo>
                  <a:lnTo>
                    <a:pt x="90488" y="45244"/>
                  </a:lnTo>
                  <a:cubicBezTo>
                    <a:pt x="90488" y="20256"/>
                    <a:pt x="70231" y="0"/>
                    <a:pt x="45244" y="0"/>
                  </a:cubicBezTo>
                  <a:cubicBezTo>
                    <a:pt x="20256" y="0"/>
                    <a:pt x="0" y="20256"/>
                    <a:pt x="0" y="45244"/>
                  </a:cubicBezTo>
                  <a:cubicBezTo>
                    <a:pt x="0" y="70231"/>
                    <a:pt x="20256" y="90488"/>
                    <a:pt x="45244" y="90488"/>
                  </a:cubicBezTo>
                  <a:close/>
                  <a:moveTo>
                    <a:pt x="45338" y="60325"/>
                  </a:moveTo>
                  <a:cubicBezTo>
                    <a:pt x="37009" y="60377"/>
                    <a:pt x="30215" y="53667"/>
                    <a:pt x="30163" y="45338"/>
                  </a:cubicBezTo>
                  <a:cubicBezTo>
                    <a:pt x="30111" y="37009"/>
                    <a:pt x="36821" y="30215"/>
                    <a:pt x="45150" y="30163"/>
                  </a:cubicBezTo>
                  <a:cubicBezTo>
                    <a:pt x="53479" y="30111"/>
                    <a:pt x="60273" y="36821"/>
                    <a:pt x="60325" y="45150"/>
                  </a:cubicBezTo>
                  <a:cubicBezTo>
                    <a:pt x="60325" y="45181"/>
                    <a:pt x="60325" y="45213"/>
                    <a:pt x="60325" y="45244"/>
                  </a:cubicBezTo>
                  <a:cubicBezTo>
                    <a:pt x="60325" y="53536"/>
                    <a:pt x="53630" y="60273"/>
                    <a:pt x="45338" y="60325"/>
                  </a:cubicBezTo>
                  <a:close/>
                </a:path>
              </a:pathLst>
            </a:custGeom>
            <a:solidFill>
              <a:srgbClr val="BF5C7A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6" name="Graphic 101">
            <a:extLst>
              <a:ext uri="{FF2B5EF4-FFF2-40B4-BE49-F238E27FC236}">
                <a16:creationId xmlns:a16="http://schemas.microsoft.com/office/drawing/2014/main" id="{2C1746B8-C834-E748-8BC9-24E3896E3BFA}"/>
              </a:ext>
            </a:extLst>
          </p:cNvPr>
          <p:cNvGrpSpPr/>
          <p:nvPr userDrawn="1"/>
        </p:nvGrpSpPr>
        <p:grpSpPr>
          <a:xfrm>
            <a:off x="4681602" y="1559376"/>
            <a:ext cx="293443" cy="293443"/>
            <a:chOff x="4681602" y="1559376"/>
            <a:chExt cx="293443" cy="293443"/>
          </a:xfrm>
        </p:grpSpPr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F80521C5-84BB-014F-A566-FA55D79EA5D9}"/>
                </a:ext>
              </a:extLst>
            </p:cNvPr>
            <p:cNvSpPr/>
            <p:nvPr/>
          </p:nvSpPr>
          <p:spPr>
            <a:xfrm>
              <a:off x="4684004" y="1609793"/>
              <a:ext cx="246803" cy="246840"/>
            </a:xfrm>
            <a:custGeom>
              <a:avLst/>
              <a:gdLst>
                <a:gd name="connsiteX0" fmla="*/ 9830 w 246803"/>
                <a:gd name="connsiteY0" fmla="*/ 236974 h 246840"/>
                <a:gd name="connsiteX1" fmla="*/ 9830 w 246803"/>
                <a:gd name="connsiteY1" fmla="*/ 128363 h 246840"/>
                <a:gd name="connsiteX2" fmla="*/ 42476 w 246803"/>
                <a:gd name="connsiteY2" fmla="*/ 128363 h 246840"/>
                <a:gd name="connsiteX3" fmla="*/ 57325 w 246803"/>
                <a:gd name="connsiteY3" fmla="*/ 156833 h 246840"/>
                <a:gd name="connsiteX4" fmla="*/ 85795 w 246803"/>
                <a:gd name="connsiteY4" fmla="*/ 141983 h 246840"/>
                <a:gd name="connsiteX5" fmla="*/ 85795 w 246803"/>
                <a:gd name="connsiteY5" fmla="*/ 128363 h 246840"/>
                <a:gd name="connsiteX6" fmla="*/ 118441 w 246803"/>
                <a:gd name="connsiteY6" fmla="*/ 128363 h 246840"/>
                <a:gd name="connsiteX7" fmla="*/ 118441 w 246803"/>
                <a:gd name="connsiteY7" fmla="*/ 167831 h 246840"/>
                <a:gd name="connsiteX8" fmla="*/ 123374 w 246803"/>
                <a:gd name="connsiteY8" fmla="*/ 172765 h 246840"/>
                <a:gd name="connsiteX9" fmla="*/ 123393 w 246803"/>
                <a:gd name="connsiteY9" fmla="*/ 172765 h 246840"/>
                <a:gd name="connsiteX10" fmla="*/ 124952 w 246803"/>
                <a:gd name="connsiteY10" fmla="*/ 172508 h 246840"/>
                <a:gd name="connsiteX11" fmla="*/ 131151 w 246803"/>
                <a:gd name="connsiteY11" fmla="*/ 170454 h 246840"/>
                <a:gd name="connsiteX12" fmla="*/ 147356 w 246803"/>
                <a:gd name="connsiteY12" fmla="*/ 178641 h 246840"/>
                <a:gd name="connsiteX13" fmla="*/ 139168 w 246803"/>
                <a:gd name="connsiteY13" fmla="*/ 194846 h 246840"/>
                <a:gd name="connsiteX14" fmla="*/ 131151 w 246803"/>
                <a:gd name="connsiteY14" fmla="*/ 194846 h 246840"/>
                <a:gd name="connsiteX15" fmla="*/ 124952 w 246803"/>
                <a:gd name="connsiteY15" fmla="*/ 192774 h 246840"/>
                <a:gd name="connsiteX16" fmla="*/ 118693 w 246803"/>
                <a:gd name="connsiteY16" fmla="*/ 195915 h 246840"/>
                <a:gd name="connsiteX17" fmla="*/ 118441 w 246803"/>
                <a:gd name="connsiteY17" fmla="*/ 197451 h 246840"/>
                <a:gd name="connsiteX18" fmla="*/ 118441 w 246803"/>
                <a:gd name="connsiteY18" fmla="*/ 236974 h 246840"/>
                <a:gd name="connsiteX19" fmla="*/ 118441 w 246803"/>
                <a:gd name="connsiteY19" fmla="*/ 9867 h 246840"/>
                <a:gd name="connsiteX20" fmla="*/ 118441 w 246803"/>
                <a:gd name="connsiteY20" fmla="*/ 42513 h 246840"/>
                <a:gd name="connsiteX21" fmla="*/ 89971 w 246803"/>
                <a:gd name="connsiteY21" fmla="*/ 57362 h 246840"/>
                <a:gd name="connsiteX22" fmla="*/ 104821 w 246803"/>
                <a:gd name="connsiteY22" fmla="*/ 85832 h 246840"/>
                <a:gd name="connsiteX23" fmla="*/ 118441 w 246803"/>
                <a:gd name="connsiteY23" fmla="*/ 85832 h 246840"/>
                <a:gd name="connsiteX24" fmla="*/ 118441 w 246803"/>
                <a:gd name="connsiteY24" fmla="*/ 118478 h 246840"/>
                <a:gd name="connsiteX25" fmla="*/ 78955 w 246803"/>
                <a:gd name="connsiteY25" fmla="*/ 118478 h 246840"/>
                <a:gd name="connsiteX26" fmla="*/ 74021 w 246803"/>
                <a:gd name="connsiteY26" fmla="*/ 123411 h 246840"/>
                <a:gd name="connsiteX27" fmla="*/ 74021 w 246803"/>
                <a:gd name="connsiteY27" fmla="*/ 123430 h 246840"/>
                <a:gd name="connsiteX28" fmla="*/ 74278 w 246803"/>
                <a:gd name="connsiteY28" fmla="*/ 124988 h 246840"/>
                <a:gd name="connsiteX29" fmla="*/ 76332 w 246803"/>
                <a:gd name="connsiteY29" fmla="*/ 131187 h 246840"/>
                <a:gd name="connsiteX30" fmla="*/ 68144 w 246803"/>
                <a:gd name="connsiteY30" fmla="*/ 147392 h 246840"/>
                <a:gd name="connsiteX31" fmla="*/ 51939 w 246803"/>
                <a:gd name="connsiteY31" fmla="*/ 139205 h 246840"/>
                <a:gd name="connsiteX32" fmla="*/ 51939 w 246803"/>
                <a:gd name="connsiteY32" fmla="*/ 131187 h 246840"/>
                <a:gd name="connsiteX33" fmla="*/ 54012 w 246803"/>
                <a:gd name="connsiteY33" fmla="*/ 124988 h 246840"/>
                <a:gd name="connsiteX34" fmla="*/ 50871 w 246803"/>
                <a:gd name="connsiteY34" fmla="*/ 118729 h 246840"/>
                <a:gd name="connsiteX35" fmla="*/ 49335 w 246803"/>
                <a:gd name="connsiteY35" fmla="*/ 118478 h 246840"/>
                <a:gd name="connsiteX36" fmla="*/ 9830 w 246803"/>
                <a:gd name="connsiteY36" fmla="*/ 118478 h 246840"/>
                <a:gd name="connsiteX37" fmla="*/ 9830 w 246803"/>
                <a:gd name="connsiteY37" fmla="*/ 9867 h 246840"/>
                <a:gd name="connsiteX38" fmla="*/ 164200 w 246803"/>
                <a:gd name="connsiteY38" fmla="*/ 148537 h 246840"/>
                <a:gd name="connsiteX39" fmla="*/ 195866 w 246803"/>
                <a:gd name="connsiteY39" fmla="*/ 153856 h 246840"/>
                <a:gd name="connsiteX40" fmla="*/ 204291 w 246803"/>
                <a:gd name="connsiteY40" fmla="*/ 128363 h 246840"/>
                <a:gd name="connsiteX41" fmla="*/ 236937 w 246803"/>
                <a:gd name="connsiteY41" fmla="*/ 128363 h 246840"/>
                <a:gd name="connsiteX42" fmla="*/ 236937 w 246803"/>
                <a:gd name="connsiteY42" fmla="*/ 236974 h 246840"/>
                <a:gd name="connsiteX43" fmla="*/ 128326 w 246803"/>
                <a:gd name="connsiteY43" fmla="*/ 236974 h 246840"/>
                <a:gd name="connsiteX44" fmla="*/ 128326 w 246803"/>
                <a:gd name="connsiteY44" fmla="*/ 204328 h 246840"/>
                <a:gd name="connsiteX45" fmla="*/ 156796 w 246803"/>
                <a:gd name="connsiteY45" fmla="*/ 189479 h 246840"/>
                <a:gd name="connsiteX46" fmla="*/ 141947 w 246803"/>
                <a:gd name="connsiteY46" fmla="*/ 161009 h 246840"/>
                <a:gd name="connsiteX47" fmla="*/ 128326 w 246803"/>
                <a:gd name="connsiteY47" fmla="*/ 161009 h 246840"/>
                <a:gd name="connsiteX48" fmla="*/ 128326 w 246803"/>
                <a:gd name="connsiteY48" fmla="*/ 128363 h 246840"/>
                <a:gd name="connsiteX49" fmla="*/ 160972 w 246803"/>
                <a:gd name="connsiteY49" fmla="*/ 128363 h 246840"/>
                <a:gd name="connsiteX50" fmla="*/ 164200 w 246803"/>
                <a:gd name="connsiteY50" fmla="*/ 148537 h 246840"/>
                <a:gd name="connsiteX51" fmla="*/ 246731 w 246803"/>
                <a:gd name="connsiteY51" fmla="*/ 241907 h 246840"/>
                <a:gd name="connsiteX52" fmla="*/ 246731 w 246803"/>
                <a:gd name="connsiteY52" fmla="*/ 123430 h 246840"/>
                <a:gd name="connsiteX53" fmla="*/ 241815 w 246803"/>
                <a:gd name="connsiteY53" fmla="*/ 118478 h 246840"/>
                <a:gd name="connsiteX54" fmla="*/ 241797 w 246803"/>
                <a:gd name="connsiteY54" fmla="*/ 118478 h 246840"/>
                <a:gd name="connsiteX55" fmla="*/ 197506 w 246803"/>
                <a:gd name="connsiteY55" fmla="*/ 118478 h 246840"/>
                <a:gd name="connsiteX56" fmla="*/ 192572 w 246803"/>
                <a:gd name="connsiteY56" fmla="*/ 123430 h 246840"/>
                <a:gd name="connsiteX57" fmla="*/ 192829 w 246803"/>
                <a:gd name="connsiteY57" fmla="*/ 124988 h 246840"/>
                <a:gd name="connsiteX58" fmla="*/ 194901 w 246803"/>
                <a:gd name="connsiteY58" fmla="*/ 131187 h 246840"/>
                <a:gd name="connsiteX59" fmla="*/ 187195 w 246803"/>
                <a:gd name="connsiteY59" fmla="*/ 147627 h 246840"/>
                <a:gd name="connsiteX60" fmla="*/ 170756 w 246803"/>
                <a:gd name="connsiteY60" fmla="*/ 139920 h 246840"/>
                <a:gd name="connsiteX61" fmla="*/ 170509 w 246803"/>
                <a:gd name="connsiteY61" fmla="*/ 139165 h 246840"/>
                <a:gd name="connsiteX62" fmla="*/ 170509 w 246803"/>
                <a:gd name="connsiteY62" fmla="*/ 131187 h 246840"/>
                <a:gd name="connsiteX63" fmla="*/ 172563 w 246803"/>
                <a:gd name="connsiteY63" fmla="*/ 124988 h 246840"/>
                <a:gd name="connsiteX64" fmla="*/ 169422 w 246803"/>
                <a:gd name="connsiteY64" fmla="*/ 118729 h 246840"/>
                <a:gd name="connsiteX65" fmla="*/ 167886 w 246803"/>
                <a:gd name="connsiteY65" fmla="*/ 118478 h 246840"/>
                <a:gd name="connsiteX66" fmla="*/ 128326 w 246803"/>
                <a:gd name="connsiteY66" fmla="*/ 118478 h 246840"/>
                <a:gd name="connsiteX67" fmla="*/ 128326 w 246803"/>
                <a:gd name="connsiteY67" fmla="*/ 78991 h 246840"/>
                <a:gd name="connsiteX68" fmla="*/ 123393 w 246803"/>
                <a:gd name="connsiteY68" fmla="*/ 74058 h 246840"/>
                <a:gd name="connsiteX69" fmla="*/ 123374 w 246803"/>
                <a:gd name="connsiteY69" fmla="*/ 74058 h 246840"/>
                <a:gd name="connsiteX70" fmla="*/ 121816 w 246803"/>
                <a:gd name="connsiteY70" fmla="*/ 74314 h 246840"/>
                <a:gd name="connsiteX71" fmla="*/ 115617 w 246803"/>
                <a:gd name="connsiteY71" fmla="*/ 76369 h 246840"/>
                <a:gd name="connsiteX72" fmla="*/ 99412 w 246803"/>
                <a:gd name="connsiteY72" fmla="*/ 68181 h 246840"/>
                <a:gd name="connsiteX73" fmla="*/ 107599 w 246803"/>
                <a:gd name="connsiteY73" fmla="*/ 51976 h 246840"/>
                <a:gd name="connsiteX74" fmla="*/ 115617 w 246803"/>
                <a:gd name="connsiteY74" fmla="*/ 51976 h 246840"/>
                <a:gd name="connsiteX75" fmla="*/ 121816 w 246803"/>
                <a:gd name="connsiteY75" fmla="*/ 54049 h 246840"/>
                <a:gd name="connsiteX76" fmla="*/ 128065 w 246803"/>
                <a:gd name="connsiteY76" fmla="*/ 50946 h 246840"/>
                <a:gd name="connsiteX77" fmla="*/ 128070 w 246803"/>
                <a:gd name="connsiteY77" fmla="*/ 50931 h 246840"/>
                <a:gd name="connsiteX78" fmla="*/ 128326 w 246803"/>
                <a:gd name="connsiteY78" fmla="*/ 49353 h 246840"/>
                <a:gd name="connsiteX79" fmla="*/ 128326 w 246803"/>
                <a:gd name="connsiteY79" fmla="*/ 4934 h 246840"/>
                <a:gd name="connsiteX80" fmla="*/ 123393 w 246803"/>
                <a:gd name="connsiteY80" fmla="*/ 0 h 246840"/>
                <a:gd name="connsiteX81" fmla="*/ 123374 w 246803"/>
                <a:gd name="connsiteY81" fmla="*/ 0 h 246840"/>
                <a:gd name="connsiteX82" fmla="*/ 4934 w 246803"/>
                <a:gd name="connsiteY82" fmla="*/ 0 h 246840"/>
                <a:gd name="connsiteX83" fmla="*/ 0 w 246803"/>
                <a:gd name="connsiteY83" fmla="*/ 4897 h 246840"/>
                <a:gd name="connsiteX84" fmla="*/ 0 w 246803"/>
                <a:gd name="connsiteY84" fmla="*/ 4934 h 246840"/>
                <a:gd name="connsiteX85" fmla="*/ 0 w 246803"/>
                <a:gd name="connsiteY85" fmla="*/ 241907 h 246840"/>
                <a:gd name="connsiteX86" fmla="*/ 4897 w 246803"/>
                <a:gd name="connsiteY86" fmla="*/ 246841 h 246840"/>
                <a:gd name="connsiteX87" fmla="*/ 4934 w 246803"/>
                <a:gd name="connsiteY87" fmla="*/ 246841 h 246840"/>
                <a:gd name="connsiteX88" fmla="*/ 241870 w 246803"/>
                <a:gd name="connsiteY88" fmla="*/ 246841 h 246840"/>
                <a:gd name="connsiteX89" fmla="*/ 246804 w 246803"/>
                <a:gd name="connsiteY89" fmla="*/ 241944 h 246840"/>
                <a:gd name="connsiteX90" fmla="*/ 246804 w 246803"/>
                <a:gd name="connsiteY90" fmla="*/ 241907 h 24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246803" h="246840">
                  <a:moveTo>
                    <a:pt x="9830" y="236974"/>
                  </a:moveTo>
                  <a:lnTo>
                    <a:pt x="9830" y="128363"/>
                  </a:lnTo>
                  <a:lnTo>
                    <a:pt x="42476" y="128363"/>
                  </a:lnTo>
                  <a:cubicBezTo>
                    <a:pt x="38715" y="140325"/>
                    <a:pt x="45363" y="153072"/>
                    <a:pt x="57325" y="156833"/>
                  </a:cubicBezTo>
                  <a:cubicBezTo>
                    <a:pt x="69288" y="160594"/>
                    <a:pt x="82034" y="153946"/>
                    <a:pt x="85795" y="141983"/>
                  </a:cubicBezTo>
                  <a:cubicBezTo>
                    <a:pt x="87189" y="137550"/>
                    <a:pt x="87189" y="132796"/>
                    <a:pt x="85795" y="128363"/>
                  </a:cubicBezTo>
                  <a:lnTo>
                    <a:pt x="118441" y="128363"/>
                  </a:lnTo>
                  <a:lnTo>
                    <a:pt x="118441" y="167831"/>
                  </a:lnTo>
                  <a:cubicBezTo>
                    <a:pt x="118441" y="170556"/>
                    <a:pt x="120650" y="172765"/>
                    <a:pt x="123374" y="172765"/>
                  </a:cubicBezTo>
                  <a:cubicBezTo>
                    <a:pt x="123381" y="172765"/>
                    <a:pt x="123387" y="172765"/>
                    <a:pt x="123393" y="172765"/>
                  </a:cubicBezTo>
                  <a:cubicBezTo>
                    <a:pt x="123923" y="172769"/>
                    <a:pt x="124451" y="172682"/>
                    <a:pt x="124952" y="172508"/>
                  </a:cubicBezTo>
                  <a:lnTo>
                    <a:pt x="131151" y="170454"/>
                  </a:lnTo>
                  <a:cubicBezTo>
                    <a:pt x="137887" y="168240"/>
                    <a:pt x="145142" y="171905"/>
                    <a:pt x="147356" y="178641"/>
                  </a:cubicBezTo>
                  <a:cubicBezTo>
                    <a:pt x="149570" y="185377"/>
                    <a:pt x="145904" y="192632"/>
                    <a:pt x="139168" y="194846"/>
                  </a:cubicBezTo>
                  <a:cubicBezTo>
                    <a:pt x="136564" y="195702"/>
                    <a:pt x="133755" y="195702"/>
                    <a:pt x="131151" y="194846"/>
                  </a:cubicBezTo>
                  <a:lnTo>
                    <a:pt x="124952" y="192774"/>
                  </a:lnTo>
                  <a:cubicBezTo>
                    <a:pt x="122356" y="191913"/>
                    <a:pt x="119554" y="193319"/>
                    <a:pt x="118693" y="195915"/>
                  </a:cubicBezTo>
                  <a:cubicBezTo>
                    <a:pt x="118528" y="196410"/>
                    <a:pt x="118443" y="196929"/>
                    <a:pt x="118441" y="197451"/>
                  </a:cubicBezTo>
                  <a:lnTo>
                    <a:pt x="118441" y="236974"/>
                  </a:lnTo>
                  <a:close/>
                  <a:moveTo>
                    <a:pt x="118441" y="9867"/>
                  </a:moveTo>
                  <a:lnTo>
                    <a:pt x="118441" y="42513"/>
                  </a:lnTo>
                  <a:cubicBezTo>
                    <a:pt x="106479" y="38751"/>
                    <a:pt x="93732" y="45400"/>
                    <a:pt x="89971" y="57362"/>
                  </a:cubicBezTo>
                  <a:cubicBezTo>
                    <a:pt x="86210" y="69325"/>
                    <a:pt x="92858" y="82071"/>
                    <a:pt x="104821" y="85832"/>
                  </a:cubicBezTo>
                  <a:cubicBezTo>
                    <a:pt x="109254" y="87226"/>
                    <a:pt x="114008" y="87226"/>
                    <a:pt x="118441" y="85832"/>
                  </a:cubicBezTo>
                  <a:lnTo>
                    <a:pt x="118441" y="118478"/>
                  </a:lnTo>
                  <a:lnTo>
                    <a:pt x="78955" y="118478"/>
                  </a:lnTo>
                  <a:cubicBezTo>
                    <a:pt x="76230" y="118478"/>
                    <a:pt x="74021" y="120686"/>
                    <a:pt x="74021" y="123411"/>
                  </a:cubicBezTo>
                  <a:cubicBezTo>
                    <a:pt x="74021" y="123417"/>
                    <a:pt x="74021" y="123423"/>
                    <a:pt x="74021" y="123430"/>
                  </a:cubicBezTo>
                  <a:cubicBezTo>
                    <a:pt x="74015" y="123960"/>
                    <a:pt x="74102" y="124488"/>
                    <a:pt x="74278" y="124988"/>
                  </a:cubicBezTo>
                  <a:lnTo>
                    <a:pt x="76332" y="131187"/>
                  </a:lnTo>
                  <a:cubicBezTo>
                    <a:pt x="78546" y="137923"/>
                    <a:pt x="74880" y="145178"/>
                    <a:pt x="68144" y="147392"/>
                  </a:cubicBezTo>
                  <a:cubicBezTo>
                    <a:pt x="61409" y="149606"/>
                    <a:pt x="54153" y="145941"/>
                    <a:pt x="51939" y="139205"/>
                  </a:cubicBezTo>
                  <a:cubicBezTo>
                    <a:pt x="51084" y="136601"/>
                    <a:pt x="51084" y="133791"/>
                    <a:pt x="51939" y="131187"/>
                  </a:cubicBezTo>
                  <a:lnTo>
                    <a:pt x="54012" y="124988"/>
                  </a:lnTo>
                  <a:cubicBezTo>
                    <a:pt x="54873" y="122393"/>
                    <a:pt x="53467" y="119590"/>
                    <a:pt x="50871" y="118729"/>
                  </a:cubicBezTo>
                  <a:cubicBezTo>
                    <a:pt x="50375" y="118565"/>
                    <a:pt x="49857" y="118480"/>
                    <a:pt x="49335" y="118478"/>
                  </a:cubicBezTo>
                  <a:lnTo>
                    <a:pt x="9830" y="118478"/>
                  </a:lnTo>
                  <a:lnTo>
                    <a:pt x="9830" y="9867"/>
                  </a:lnTo>
                  <a:close/>
                  <a:moveTo>
                    <a:pt x="164200" y="148537"/>
                  </a:moveTo>
                  <a:cubicBezTo>
                    <a:pt x="171475" y="158750"/>
                    <a:pt x="185653" y="161132"/>
                    <a:pt x="195866" y="153856"/>
                  </a:cubicBezTo>
                  <a:cubicBezTo>
                    <a:pt x="203936" y="148107"/>
                    <a:pt x="207346" y="137789"/>
                    <a:pt x="204291" y="128363"/>
                  </a:cubicBezTo>
                  <a:lnTo>
                    <a:pt x="236937" y="128363"/>
                  </a:lnTo>
                  <a:lnTo>
                    <a:pt x="236937" y="236974"/>
                  </a:lnTo>
                  <a:lnTo>
                    <a:pt x="128326" y="236974"/>
                  </a:lnTo>
                  <a:lnTo>
                    <a:pt x="128326" y="204328"/>
                  </a:lnTo>
                  <a:cubicBezTo>
                    <a:pt x="140289" y="208089"/>
                    <a:pt x="153035" y="201441"/>
                    <a:pt x="156796" y="189479"/>
                  </a:cubicBezTo>
                  <a:cubicBezTo>
                    <a:pt x="160557" y="177516"/>
                    <a:pt x="153909" y="164770"/>
                    <a:pt x="141947" y="161009"/>
                  </a:cubicBezTo>
                  <a:cubicBezTo>
                    <a:pt x="137514" y="159615"/>
                    <a:pt x="132759" y="159615"/>
                    <a:pt x="128326" y="161009"/>
                  </a:cubicBezTo>
                  <a:lnTo>
                    <a:pt x="128326" y="128363"/>
                  </a:lnTo>
                  <a:lnTo>
                    <a:pt x="160972" y="128363"/>
                  </a:lnTo>
                  <a:cubicBezTo>
                    <a:pt x="158748" y="135216"/>
                    <a:pt x="159949" y="142720"/>
                    <a:pt x="164200" y="148537"/>
                  </a:cubicBezTo>
                  <a:moveTo>
                    <a:pt x="246731" y="241907"/>
                  </a:moveTo>
                  <a:lnTo>
                    <a:pt x="246731" y="123430"/>
                  </a:lnTo>
                  <a:cubicBezTo>
                    <a:pt x="246741" y="120705"/>
                    <a:pt x="244540" y="118488"/>
                    <a:pt x="241815" y="118478"/>
                  </a:cubicBezTo>
                  <a:cubicBezTo>
                    <a:pt x="241809" y="118478"/>
                    <a:pt x="241803" y="118478"/>
                    <a:pt x="241797" y="118478"/>
                  </a:cubicBezTo>
                  <a:lnTo>
                    <a:pt x="197506" y="118478"/>
                  </a:lnTo>
                  <a:cubicBezTo>
                    <a:pt x="194778" y="118488"/>
                    <a:pt x="192572" y="120702"/>
                    <a:pt x="192572" y="123430"/>
                  </a:cubicBezTo>
                  <a:cubicBezTo>
                    <a:pt x="192575" y="123959"/>
                    <a:pt x="192662" y="124485"/>
                    <a:pt x="192829" y="124988"/>
                  </a:cubicBezTo>
                  <a:lnTo>
                    <a:pt x="194901" y="131187"/>
                  </a:lnTo>
                  <a:cubicBezTo>
                    <a:pt x="197313" y="137855"/>
                    <a:pt x="193862" y="145215"/>
                    <a:pt x="187195" y="147627"/>
                  </a:cubicBezTo>
                  <a:cubicBezTo>
                    <a:pt x="180527" y="150038"/>
                    <a:pt x="173167" y="146588"/>
                    <a:pt x="170756" y="139920"/>
                  </a:cubicBezTo>
                  <a:cubicBezTo>
                    <a:pt x="170666" y="139671"/>
                    <a:pt x="170583" y="139419"/>
                    <a:pt x="170509" y="139165"/>
                  </a:cubicBezTo>
                  <a:cubicBezTo>
                    <a:pt x="169647" y="136576"/>
                    <a:pt x="169647" y="133777"/>
                    <a:pt x="170509" y="131187"/>
                  </a:cubicBezTo>
                  <a:lnTo>
                    <a:pt x="172563" y="124988"/>
                  </a:lnTo>
                  <a:cubicBezTo>
                    <a:pt x="173424" y="122393"/>
                    <a:pt x="172018" y="119590"/>
                    <a:pt x="169422" y="118729"/>
                  </a:cubicBezTo>
                  <a:cubicBezTo>
                    <a:pt x="168926" y="118565"/>
                    <a:pt x="168408" y="118480"/>
                    <a:pt x="167886" y="118478"/>
                  </a:cubicBezTo>
                  <a:lnTo>
                    <a:pt x="128326" y="118478"/>
                  </a:lnTo>
                  <a:lnTo>
                    <a:pt x="128326" y="78991"/>
                  </a:lnTo>
                  <a:cubicBezTo>
                    <a:pt x="128326" y="76267"/>
                    <a:pt x="126118" y="74058"/>
                    <a:pt x="123393" y="74058"/>
                  </a:cubicBezTo>
                  <a:cubicBezTo>
                    <a:pt x="123387" y="74058"/>
                    <a:pt x="123381" y="74058"/>
                    <a:pt x="123374" y="74058"/>
                  </a:cubicBezTo>
                  <a:cubicBezTo>
                    <a:pt x="122844" y="74054"/>
                    <a:pt x="122317" y="74140"/>
                    <a:pt x="121816" y="74314"/>
                  </a:cubicBezTo>
                  <a:lnTo>
                    <a:pt x="115617" y="76369"/>
                  </a:lnTo>
                  <a:cubicBezTo>
                    <a:pt x="108881" y="78583"/>
                    <a:pt x="101626" y="74917"/>
                    <a:pt x="99412" y="68181"/>
                  </a:cubicBezTo>
                  <a:cubicBezTo>
                    <a:pt x="97198" y="61445"/>
                    <a:pt x="100863" y="54190"/>
                    <a:pt x="107599" y="51976"/>
                  </a:cubicBezTo>
                  <a:cubicBezTo>
                    <a:pt x="110203" y="51120"/>
                    <a:pt x="113013" y="51120"/>
                    <a:pt x="115617" y="51976"/>
                  </a:cubicBezTo>
                  <a:lnTo>
                    <a:pt x="121816" y="54049"/>
                  </a:lnTo>
                  <a:cubicBezTo>
                    <a:pt x="124398" y="54917"/>
                    <a:pt x="127196" y="53528"/>
                    <a:pt x="128065" y="50946"/>
                  </a:cubicBezTo>
                  <a:cubicBezTo>
                    <a:pt x="128066" y="50941"/>
                    <a:pt x="128068" y="50936"/>
                    <a:pt x="128070" y="50931"/>
                  </a:cubicBezTo>
                  <a:cubicBezTo>
                    <a:pt x="128236" y="50421"/>
                    <a:pt x="128323" y="49889"/>
                    <a:pt x="128326" y="49353"/>
                  </a:cubicBezTo>
                  <a:lnTo>
                    <a:pt x="128326" y="4934"/>
                  </a:lnTo>
                  <a:cubicBezTo>
                    <a:pt x="128326" y="2209"/>
                    <a:pt x="126118" y="0"/>
                    <a:pt x="123393" y="0"/>
                  </a:cubicBezTo>
                  <a:cubicBezTo>
                    <a:pt x="123387" y="0"/>
                    <a:pt x="123381" y="0"/>
                    <a:pt x="123374" y="0"/>
                  </a:cubicBezTo>
                  <a:lnTo>
                    <a:pt x="4934" y="0"/>
                  </a:lnTo>
                  <a:cubicBezTo>
                    <a:pt x="2219" y="-10"/>
                    <a:pt x="10" y="2182"/>
                    <a:pt x="0" y="4897"/>
                  </a:cubicBezTo>
                  <a:cubicBezTo>
                    <a:pt x="0" y="4909"/>
                    <a:pt x="0" y="4921"/>
                    <a:pt x="0" y="4934"/>
                  </a:cubicBezTo>
                  <a:lnTo>
                    <a:pt x="0" y="241907"/>
                  </a:lnTo>
                  <a:cubicBezTo>
                    <a:pt x="-10" y="244622"/>
                    <a:pt x="2182" y="246830"/>
                    <a:pt x="4897" y="246841"/>
                  </a:cubicBezTo>
                  <a:cubicBezTo>
                    <a:pt x="4909" y="246841"/>
                    <a:pt x="4921" y="246841"/>
                    <a:pt x="4934" y="246841"/>
                  </a:cubicBezTo>
                  <a:lnTo>
                    <a:pt x="241870" y="246841"/>
                  </a:lnTo>
                  <a:cubicBezTo>
                    <a:pt x="244585" y="246851"/>
                    <a:pt x="246794" y="244658"/>
                    <a:pt x="246804" y="241944"/>
                  </a:cubicBezTo>
                  <a:cubicBezTo>
                    <a:pt x="246804" y="241932"/>
                    <a:pt x="246804" y="241919"/>
                    <a:pt x="246804" y="241907"/>
                  </a:cubicBezTo>
                </a:path>
              </a:pathLst>
            </a:custGeom>
            <a:solidFill>
              <a:srgbClr val="1F6898"/>
            </a:solidFill>
            <a:ln w="1785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A57096D3-8EF1-AA43-A636-22EB4D01DC0E}"/>
                </a:ext>
              </a:extLst>
            </p:cNvPr>
            <p:cNvSpPr/>
            <p:nvPr/>
          </p:nvSpPr>
          <p:spPr>
            <a:xfrm>
              <a:off x="4822295" y="1560421"/>
              <a:ext cx="157884" cy="157884"/>
            </a:xfrm>
            <a:custGeom>
              <a:avLst/>
              <a:gdLst>
                <a:gd name="connsiteX0" fmla="*/ 148017 w 157884"/>
                <a:gd name="connsiteY0" fmla="*/ 9959 h 157884"/>
                <a:gd name="connsiteX1" fmla="*/ 148017 w 157884"/>
                <a:gd name="connsiteY1" fmla="*/ 118478 h 157884"/>
                <a:gd name="connsiteX2" fmla="*/ 108513 w 157884"/>
                <a:gd name="connsiteY2" fmla="*/ 118478 h 157884"/>
                <a:gd name="connsiteX3" fmla="*/ 103579 w 157884"/>
                <a:gd name="connsiteY3" fmla="*/ 123430 h 157884"/>
                <a:gd name="connsiteX4" fmla="*/ 103836 w 157884"/>
                <a:gd name="connsiteY4" fmla="*/ 124988 h 157884"/>
                <a:gd name="connsiteX5" fmla="*/ 105908 w 157884"/>
                <a:gd name="connsiteY5" fmla="*/ 131187 h 157884"/>
                <a:gd name="connsiteX6" fmla="*/ 98202 w 157884"/>
                <a:gd name="connsiteY6" fmla="*/ 147627 h 157884"/>
                <a:gd name="connsiteX7" fmla="*/ 81763 w 157884"/>
                <a:gd name="connsiteY7" fmla="*/ 139920 h 157884"/>
                <a:gd name="connsiteX8" fmla="*/ 81516 w 157884"/>
                <a:gd name="connsiteY8" fmla="*/ 139165 h 157884"/>
                <a:gd name="connsiteX9" fmla="*/ 81516 w 157884"/>
                <a:gd name="connsiteY9" fmla="*/ 131187 h 157884"/>
                <a:gd name="connsiteX10" fmla="*/ 83570 w 157884"/>
                <a:gd name="connsiteY10" fmla="*/ 124988 h 157884"/>
                <a:gd name="connsiteX11" fmla="*/ 80429 w 157884"/>
                <a:gd name="connsiteY11" fmla="*/ 118729 h 157884"/>
                <a:gd name="connsiteX12" fmla="*/ 78893 w 157884"/>
                <a:gd name="connsiteY12" fmla="*/ 118478 h 157884"/>
                <a:gd name="connsiteX13" fmla="*/ 39407 w 157884"/>
                <a:gd name="connsiteY13" fmla="*/ 118478 h 157884"/>
                <a:gd name="connsiteX14" fmla="*/ 39407 w 157884"/>
                <a:gd name="connsiteY14" fmla="*/ 78991 h 157884"/>
                <a:gd name="connsiteX15" fmla="*/ 34455 w 157884"/>
                <a:gd name="connsiteY15" fmla="*/ 74149 h 157884"/>
                <a:gd name="connsiteX16" fmla="*/ 32896 w 157884"/>
                <a:gd name="connsiteY16" fmla="*/ 74406 h 157884"/>
                <a:gd name="connsiteX17" fmla="*/ 26697 w 157884"/>
                <a:gd name="connsiteY17" fmla="*/ 76460 h 157884"/>
                <a:gd name="connsiteX18" fmla="*/ 10492 w 157884"/>
                <a:gd name="connsiteY18" fmla="*/ 68273 h 157884"/>
                <a:gd name="connsiteX19" fmla="*/ 18680 w 157884"/>
                <a:gd name="connsiteY19" fmla="*/ 52068 h 157884"/>
                <a:gd name="connsiteX20" fmla="*/ 26697 w 157884"/>
                <a:gd name="connsiteY20" fmla="*/ 52068 h 157884"/>
                <a:gd name="connsiteX21" fmla="*/ 32896 w 157884"/>
                <a:gd name="connsiteY21" fmla="*/ 53975 h 157884"/>
                <a:gd name="connsiteX22" fmla="*/ 39155 w 157884"/>
                <a:gd name="connsiteY22" fmla="*/ 50834 h 157884"/>
                <a:gd name="connsiteX23" fmla="*/ 39407 w 157884"/>
                <a:gd name="connsiteY23" fmla="*/ 49298 h 157884"/>
                <a:gd name="connsiteX24" fmla="*/ 39407 w 157884"/>
                <a:gd name="connsiteY24" fmla="*/ 9959 h 157884"/>
                <a:gd name="connsiteX25" fmla="*/ 29521 w 157884"/>
                <a:gd name="connsiteY25" fmla="*/ 4934 h 157884"/>
                <a:gd name="connsiteX26" fmla="*/ 29521 w 157884"/>
                <a:gd name="connsiteY26" fmla="*/ 42513 h 157884"/>
                <a:gd name="connsiteX27" fmla="*/ 1051 w 157884"/>
                <a:gd name="connsiteY27" fmla="*/ 57362 h 157884"/>
                <a:gd name="connsiteX28" fmla="*/ 15901 w 157884"/>
                <a:gd name="connsiteY28" fmla="*/ 85832 h 157884"/>
                <a:gd name="connsiteX29" fmla="*/ 29521 w 157884"/>
                <a:gd name="connsiteY29" fmla="*/ 85832 h 157884"/>
                <a:gd name="connsiteX30" fmla="*/ 29521 w 157884"/>
                <a:gd name="connsiteY30" fmla="*/ 123411 h 157884"/>
                <a:gd name="connsiteX31" fmla="*/ 34455 w 157884"/>
                <a:gd name="connsiteY31" fmla="*/ 128363 h 157884"/>
                <a:gd name="connsiteX32" fmla="*/ 72052 w 157884"/>
                <a:gd name="connsiteY32" fmla="*/ 128363 h 157884"/>
                <a:gd name="connsiteX33" fmla="*/ 86902 w 157884"/>
                <a:gd name="connsiteY33" fmla="*/ 156833 h 157884"/>
                <a:gd name="connsiteX34" fmla="*/ 115372 w 157884"/>
                <a:gd name="connsiteY34" fmla="*/ 141983 h 157884"/>
                <a:gd name="connsiteX35" fmla="*/ 115372 w 157884"/>
                <a:gd name="connsiteY35" fmla="*/ 128363 h 157884"/>
                <a:gd name="connsiteX36" fmla="*/ 152951 w 157884"/>
                <a:gd name="connsiteY36" fmla="*/ 128363 h 157884"/>
                <a:gd name="connsiteX37" fmla="*/ 157884 w 157884"/>
                <a:gd name="connsiteY37" fmla="*/ 123430 h 157884"/>
                <a:gd name="connsiteX38" fmla="*/ 157884 w 157884"/>
                <a:gd name="connsiteY38" fmla="*/ 123411 h 157884"/>
                <a:gd name="connsiteX39" fmla="*/ 157884 w 157884"/>
                <a:gd name="connsiteY39" fmla="*/ 4934 h 157884"/>
                <a:gd name="connsiteX40" fmla="*/ 152988 w 157884"/>
                <a:gd name="connsiteY40" fmla="*/ 0 h 157884"/>
                <a:gd name="connsiteX41" fmla="*/ 152951 w 157884"/>
                <a:gd name="connsiteY41" fmla="*/ 0 h 157884"/>
                <a:gd name="connsiteX42" fmla="*/ 34455 w 157884"/>
                <a:gd name="connsiteY42" fmla="*/ 0 h 157884"/>
                <a:gd name="connsiteX43" fmla="*/ 29521 w 157884"/>
                <a:gd name="connsiteY43" fmla="*/ 4934 h 15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57884" h="157884">
                  <a:moveTo>
                    <a:pt x="148017" y="9959"/>
                  </a:moveTo>
                  <a:lnTo>
                    <a:pt x="148017" y="118478"/>
                  </a:lnTo>
                  <a:lnTo>
                    <a:pt x="108513" y="118478"/>
                  </a:lnTo>
                  <a:cubicBezTo>
                    <a:pt x="105785" y="118488"/>
                    <a:pt x="103579" y="120702"/>
                    <a:pt x="103579" y="123430"/>
                  </a:cubicBezTo>
                  <a:cubicBezTo>
                    <a:pt x="103582" y="123959"/>
                    <a:pt x="103669" y="124485"/>
                    <a:pt x="103836" y="124988"/>
                  </a:cubicBezTo>
                  <a:lnTo>
                    <a:pt x="105908" y="131187"/>
                  </a:lnTo>
                  <a:cubicBezTo>
                    <a:pt x="108320" y="137855"/>
                    <a:pt x="104870" y="145215"/>
                    <a:pt x="98202" y="147627"/>
                  </a:cubicBezTo>
                  <a:cubicBezTo>
                    <a:pt x="91534" y="150038"/>
                    <a:pt x="84174" y="146588"/>
                    <a:pt x="81763" y="139920"/>
                  </a:cubicBezTo>
                  <a:cubicBezTo>
                    <a:pt x="81673" y="139671"/>
                    <a:pt x="81590" y="139419"/>
                    <a:pt x="81516" y="139165"/>
                  </a:cubicBezTo>
                  <a:cubicBezTo>
                    <a:pt x="80654" y="136576"/>
                    <a:pt x="80654" y="133777"/>
                    <a:pt x="81516" y="131187"/>
                  </a:cubicBezTo>
                  <a:lnTo>
                    <a:pt x="83570" y="124988"/>
                  </a:lnTo>
                  <a:cubicBezTo>
                    <a:pt x="84431" y="122393"/>
                    <a:pt x="83025" y="119590"/>
                    <a:pt x="80429" y="118729"/>
                  </a:cubicBezTo>
                  <a:cubicBezTo>
                    <a:pt x="79933" y="118565"/>
                    <a:pt x="79415" y="118480"/>
                    <a:pt x="78893" y="118478"/>
                  </a:cubicBezTo>
                  <a:lnTo>
                    <a:pt x="39407" y="118478"/>
                  </a:lnTo>
                  <a:lnTo>
                    <a:pt x="39407" y="78991"/>
                  </a:lnTo>
                  <a:cubicBezTo>
                    <a:pt x="39357" y="76295"/>
                    <a:pt x="37151" y="74139"/>
                    <a:pt x="34455" y="74149"/>
                  </a:cubicBezTo>
                  <a:cubicBezTo>
                    <a:pt x="33924" y="74144"/>
                    <a:pt x="33397" y="74231"/>
                    <a:pt x="32896" y="74406"/>
                  </a:cubicBezTo>
                  <a:lnTo>
                    <a:pt x="26697" y="76460"/>
                  </a:lnTo>
                  <a:cubicBezTo>
                    <a:pt x="19961" y="78674"/>
                    <a:pt x="12706" y="75009"/>
                    <a:pt x="10492" y="68273"/>
                  </a:cubicBezTo>
                  <a:cubicBezTo>
                    <a:pt x="8278" y="61537"/>
                    <a:pt x="11944" y="54282"/>
                    <a:pt x="18680" y="52068"/>
                  </a:cubicBezTo>
                  <a:cubicBezTo>
                    <a:pt x="21284" y="51212"/>
                    <a:pt x="24093" y="51212"/>
                    <a:pt x="26697" y="52068"/>
                  </a:cubicBezTo>
                  <a:lnTo>
                    <a:pt x="32896" y="53975"/>
                  </a:lnTo>
                  <a:cubicBezTo>
                    <a:pt x="35492" y="54836"/>
                    <a:pt x="38294" y="53430"/>
                    <a:pt x="39155" y="50834"/>
                  </a:cubicBezTo>
                  <a:cubicBezTo>
                    <a:pt x="39319" y="50339"/>
                    <a:pt x="39404" y="49820"/>
                    <a:pt x="39407" y="49298"/>
                  </a:cubicBezTo>
                  <a:lnTo>
                    <a:pt x="39407" y="9959"/>
                  </a:lnTo>
                  <a:close/>
                  <a:moveTo>
                    <a:pt x="29521" y="4934"/>
                  </a:moveTo>
                  <a:lnTo>
                    <a:pt x="29521" y="42513"/>
                  </a:lnTo>
                  <a:cubicBezTo>
                    <a:pt x="17559" y="38751"/>
                    <a:pt x="4813" y="45400"/>
                    <a:pt x="1051" y="57362"/>
                  </a:cubicBezTo>
                  <a:cubicBezTo>
                    <a:pt x="-2710" y="69325"/>
                    <a:pt x="3939" y="82071"/>
                    <a:pt x="15901" y="85832"/>
                  </a:cubicBezTo>
                  <a:cubicBezTo>
                    <a:pt x="20334" y="87226"/>
                    <a:pt x="25088" y="87226"/>
                    <a:pt x="29521" y="85832"/>
                  </a:cubicBezTo>
                  <a:lnTo>
                    <a:pt x="29521" y="123411"/>
                  </a:lnTo>
                  <a:cubicBezTo>
                    <a:pt x="29521" y="126139"/>
                    <a:pt x="31727" y="128353"/>
                    <a:pt x="34455" y="128363"/>
                  </a:cubicBezTo>
                  <a:lnTo>
                    <a:pt x="72052" y="128363"/>
                  </a:lnTo>
                  <a:cubicBezTo>
                    <a:pt x="68291" y="140325"/>
                    <a:pt x="74940" y="153072"/>
                    <a:pt x="86902" y="156833"/>
                  </a:cubicBezTo>
                  <a:cubicBezTo>
                    <a:pt x="98864" y="160594"/>
                    <a:pt x="111611" y="153946"/>
                    <a:pt x="115372" y="141983"/>
                  </a:cubicBezTo>
                  <a:cubicBezTo>
                    <a:pt x="116766" y="137550"/>
                    <a:pt x="116766" y="132796"/>
                    <a:pt x="115372" y="128363"/>
                  </a:cubicBezTo>
                  <a:lnTo>
                    <a:pt x="152951" y="128363"/>
                  </a:lnTo>
                  <a:cubicBezTo>
                    <a:pt x="155676" y="128363"/>
                    <a:pt x="157884" y="126154"/>
                    <a:pt x="157884" y="123430"/>
                  </a:cubicBezTo>
                  <a:cubicBezTo>
                    <a:pt x="157884" y="123423"/>
                    <a:pt x="157884" y="123417"/>
                    <a:pt x="157884" y="123411"/>
                  </a:cubicBezTo>
                  <a:lnTo>
                    <a:pt x="157884" y="4934"/>
                  </a:lnTo>
                  <a:cubicBezTo>
                    <a:pt x="157895" y="2219"/>
                    <a:pt x="155702" y="10"/>
                    <a:pt x="152988" y="0"/>
                  </a:cubicBezTo>
                  <a:cubicBezTo>
                    <a:pt x="152975" y="0"/>
                    <a:pt x="152963" y="0"/>
                    <a:pt x="152951" y="0"/>
                  </a:cubicBezTo>
                  <a:lnTo>
                    <a:pt x="34455" y="0"/>
                  </a:lnTo>
                  <a:cubicBezTo>
                    <a:pt x="31730" y="0"/>
                    <a:pt x="29521" y="2209"/>
                    <a:pt x="29521" y="4934"/>
                  </a:cubicBezTo>
                </a:path>
              </a:pathLst>
            </a:custGeom>
            <a:solidFill>
              <a:srgbClr val="BD5C7A"/>
            </a:solidFill>
            <a:ln w="1785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9" name="Graphic 106">
            <a:extLst>
              <a:ext uri="{FF2B5EF4-FFF2-40B4-BE49-F238E27FC236}">
                <a16:creationId xmlns:a16="http://schemas.microsoft.com/office/drawing/2014/main" id="{153DFBF3-EA43-064E-985A-4E50FD17355D}"/>
              </a:ext>
            </a:extLst>
          </p:cNvPr>
          <p:cNvGrpSpPr/>
          <p:nvPr userDrawn="1"/>
        </p:nvGrpSpPr>
        <p:grpSpPr>
          <a:xfrm>
            <a:off x="5558472" y="1561982"/>
            <a:ext cx="295275" cy="295275"/>
            <a:chOff x="5245100" y="1293813"/>
            <a:chExt cx="152400" cy="152400"/>
          </a:xfrm>
        </p:grpSpPr>
        <p:sp>
          <p:nvSpPr>
            <p:cNvPr id="90" name="Freeform 89">
              <a:extLst>
                <a:ext uri="{FF2B5EF4-FFF2-40B4-BE49-F238E27FC236}">
                  <a16:creationId xmlns:a16="http://schemas.microsoft.com/office/drawing/2014/main" id="{5395F08E-B159-6E45-B946-59FFE85E7A77}"/>
                </a:ext>
              </a:extLst>
            </p:cNvPr>
            <p:cNvSpPr/>
            <p:nvPr/>
          </p:nvSpPr>
          <p:spPr>
            <a:xfrm>
              <a:off x="5255436" y="1413732"/>
              <a:ext cx="134336" cy="25003"/>
            </a:xfrm>
            <a:custGeom>
              <a:avLst/>
              <a:gdLst>
                <a:gd name="connsiteX0" fmla="*/ 129681 w 134336"/>
                <a:gd name="connsiteY0" fmla="*/ 12478 h 25003"/>
                <a:gd name="connsiteX1" fmla="*/ 122175 w 134336"/>
                <a:gd name="connsiteY1" fmla="*/ 19964 h 25003"/>
                <a:gd name="connsiteX2" fmla="*/ 114688 w 134336"/>
                <a:gd name="connsiteY2" fmla="*/ 12459 h 25003"/>
                <a:gd name="connsiteX3" fmla="*/ 122185 w 134336"/>
                <a:gd name="connsiteY3" fmla="*/ 4972 h 25003"/>
                <a:gd name="connsiteX4" fmla="*/ 129681 w 134336"/>
                <a:gd name="connsiteY4" fmla="*/ 12478 h 25003"/>
                <a:gd name="connsiteX5" fmla="*/ 4675 w 134336"/>
                <a:gd name="connsiteY5" fmla="*/ 12478 h 25003"/>
                <a:gd name="connsiteX6" fmla="*/ 12171 w 134336"/>
                <a:gd name="connsiteY6" fmla="*/ 4963 h 25003"/>
                <a:gd name="connsiteX7" fmla="*/ 19686 w 134336"/>
                <a:gd name="connsiteY7" fmla="*/ 12459 h 25003"/>
                <a:gd name="connsiteX8" fmla="*/ 12190 w 134336"/>
                <a:gd name="connsiteY8" fmla="*/ 19974 h 25003"/>
                <a:gd name="connsiteX9" fmla="*/ 12171 w 134336"/>
                <a:gd name="connsiteY9" fmla="*/ 19974 h 25003"/>
                <a:gd name="connsiteX10" fmla="*/ 4675 w 134336"/>
                <a:gd name="connsiteY10" fmla="*/ 12478 h 25003"/>
                <a:gd name="connsiteX11" fmla="*/ 57243 w 134336"/>
                <a:gd name="connsiteY11" fmla="*/ 19974 h 25003"/>
                <a:gd name="connsiteX12" fmla="*/ 22105 w 134336"/>
                <a:gd name="connsiteY12" fmla="*/ 19974 h 25003"/>
                <a:gd name="connsiteX13" fmla="*/ 22105 w 134336"/>
                <a:gd name="connsiteY13" fmla="*/ 4972 h 25003"/>
                <a:gd name="connsiteX14" fmla="*/ 57224 w 134336"/>
                <a:gd name="connsiteY14" fmla="*/ 4972 h 25003"/>
                <a:gd name="connsiteX15" fmla="*/ 57224 w 134336"/>
                <a:gd name="connsiteY15" fmla="*/ 19974 h 25003"/>
                <a:gd name="connsiteX16" fmla="*/ 77103 w 134336"/>
                <a:gd name="connsiteY16" fmla="*/ 5001 h 25003"/>
                <a:gd name="connsiteX17" fmla="*/ 112240 w 134336"/>
                <a:gd name="connsiteY17" fmla="*/ 5001 h 25003"/>
                <a:gd name="connsiteX18" fmla="*/ 112240 w 134336"/>
                <a:gd name="connsiteY18" fmla="*/ 20002 h 25003"/>
                <a:gd name="connsiteX19" fmla="*/ 77103 w 134336"/>
                <a:gd name="connsiteY19" fmla="*/ 20002 h 25003"/>
                <a:gd name="connsiteX20" fmla="*/ 77103 w 134336"/>
                <a:gd name="connsiteY20" fmla="*/ 5001 h 25003"/>
                <a:gd name="connsiteX21" fmla="*/ 74674 w 134336"/>
                <a:gd name="connsiteY21" fmla="*/ 12506 h 25003"/>
                <a:gd name="connsiteX22" fmla="*/ 67168 w 134336"/>
                <a:gd name="connsiteY22" fmla="*/ 20012 h 25003"/>
                <a:gd name="connsiteX23" fmla="*/ 59662 w 134336"/>
                <a:gd name="connsiteY23" fmla="*/ 12506 h 25003"/>
                <a:gd name="connsiteX24" fmla="*/ 67168 w 134336"/>
                <a:gd name="connsiteY24" fmla="*/ 5001 h 25003"/>
                <a:gd name="connsiteX25" fmla="*/ 74674 w 134336"/>
                <a:gd name="connsiteY25" fmla="*/ 12506 h 25003"/>
                <a:gd name="connsiteX26" fmla="*/ 12161 w 134336"/>
                <a:gd name="connsiteY26" fmla="*/ 0 h 25003"/>
                <a:gd name="connsiteX27" fmla="*/ 5 w 134336"/>
                <a:gd name="connsiteY27" fmla="*/ 12847 h 25003"/>
                <a:gd name="connsiteX28" fmla="*/ 12161 w 134336"/>
                <a:gd name="connsiteY28" fmla="*/ 25003 h 25003"/>
                <a:gd name="connsiteX29" fmla="*/ 122175 w 134336"/>
                <a:gd name="connsiteY29" fmla="*/ 25003 h 25003"/>
                <a:gd name="connsiteX30" fmla="*/ 134332 w 134336"/>
                <a:gd name="connsiteY30" fmla="*/ 12156 h 25003"/>
                <a:gd name="connsiteX31" fmla="*/ 122175 w 134336"/>
                <a:gd name="connsiteY31" fmla="*/ 0 h 2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4336" h="25003">
                  <a:moveTo>
                    <a:pt x="129681" y="12478"/>
                  </a:moveTo>
                  <a:cubicBezTo>
                    <a:pt x="129676" y="16618"/>
                    <a:pt x="126315" y="19970"/>
                    <a:pt x="122175" y="19964"/>
                  </a:cubicBezTo>
                  <a:cubicBezTo>
                    <a:pt x="118035" y="19959"/>
                    <a:pt x="114683" y="16599"/>
                    <a:pt x="114688" y="12459"/>
                  </a:cubicBezTo>
                  <a:cubicBezTo>
                    <a:pt x="114694" y="8322"/>
                    <a:pt x="118048" y="4972"/>
                    <a:pt x="122185" y="4972"/>
                  </a:cubicBezTo>
                  <a:cubicBezTo>
                    <a:pt x="126326" y="4977"/>
                    <a:pt x="129681" y="8336"/>
                    <a:pt x="129681" y="12478"/>
                  </a:cubicBezTo>
                  <a:moveTo>
                    <a:pt x="4675" y="12478"/>
                  </a:moveTo>
                  <a:cubicBezTo>
                    <a:pt x="4669" y="8332"/>
                    <a:pt x="8026" y="4968"/>
                    <a:pt x="12171" y="4963"/>
                  </a:cubicBezTo>
                  <a:cubicBezTo>
                    <a:pt x="16316" y="4957"/>
                    <a:pt x="19681" y="8313"/>
                    <a:pt x="19686" y="12459"/>
                  </a:cubicBezTo>
                  <a:cubicBezTo>
                    <a:pt x="19691" y="16604"/>
                    <a:pt x="16335" y="19969"/>
                    <a:pt x="12190" y="19974"/>
                  </a:cubicBezTo>
                  <a:cubicBezTo>
                    <a:pt x="12184" y="19974"/>
                    <a:pt x="12177" y="19974"/>
                    <a:pt x="12171" y="19974"/>
                  </a:cubicBezTo>
                  <a:cubicBezTo>
                    <a:pt x="8033" y="19969"/>
                    <a:pt x="4680" y="16616"/>
                    <a:pt x="4675" y="12478"/>
                  </a:cubicBezTo>
                  <a:moveTo>
                    <a:pt x="57243" y="19974"/>
                  </a:moveTo>
                  <a:lnTo>
                    <a:pt x="22105" y="19974"/>
                  </a:lnTo>
                  <a:cubicBezTo>
                    <a:pt x="25522" y="15557"/>
                    <a:pt x="25522" y="9389"/>
                    <a:pt x="22105" y="4972"/>
                  </a:cubicBezTo>
                  <a:lnTo>
                    <a:pt x="57224" y="4972"/>
                  </a:lnTo>
                  <a:cubicBezTo>
                    <a:pt x="53814" y="9391"/>
                    <a:pt x="53814" y="15555"/>
                    <a:pt x="57224" y="19974"/>
                  </a:cubicBezTo>
                  <a:moveTo>
                    <a:pt x="77103" y="5001"/>
                  </a:moveTo>
                  <a:lnTo>
                    <a:pt x="112240" y="5001"/>
                  </a:lnTo>
                  <a:cubicBezTo>
                    <a:pt x="108810" y="9413"/>
                    <a:pt x="108810" y="15590"/>
                    <a:pt x="112240" y="20002"/>
                  </a:cubicBezTo>
                  <a:lnTo>
                    <a:pt x="77103" y="20002"/>
                  </a:lnTo>
                  <a:cubicBezTo>
                    <a:pt x="80533" y="15590"/>
                    <a:pt x="80533" y="9413"/>
                    <a:pt x="77103" y="5001"/>
                  </a:cubicBezTo>
                  <a:moveTo>
                    <a:pt x="74674" y="12506"/>
                  </a:moveTo>
                  <a:cubicBezTo>
                    <a:pt x="74674" y="16652"/>
                    <a:pt x="71313" y="20012"/>
                    <a:pt x="67168" y="20012"/>
                  </a:cubicBezTo>
                  <a:cubicBezTo>
                    <a:pt x="63023" y="20012"/>
                    <a:pt x="59662" y="16652"/>
                    <a:pt x="59662" y="12506"/>
                  </a:cubicBezTo>
                  <a:cubicBezTo>
                    <a:pt x="59662" y="8361"/>
                    <a:pt x="63023" y="5001"/>
                    <a:pt x="67168" y="5001"/>
                  </a:cubicBezTo>
                  <a:cubicBezTo>
                    <a:pt x="71313" y="5001"/>
                    <a:pt x="74674" y="8361"/>
                    <a:pt x="74674" y="12506"/>
                  </a:cubicBezTo>
                  <a:moveTo>
                    <a:pt x="12161" y="0"/>
                  </a:moveTo>
                  <a:cubicBezTo>
                    <a:pt x="5257" y="191"/>
                    <a:pt x="-186" y="5942"/>
                    <a:pt x="5" y="12847"/>
                  </a:cubicBezTo>
                  <a:cubicBezTo>
                    <a:pt x="188" y="19483"/>
                    <a:pt x="5525" y="24820"/>
                    <a:pt x="12161" y="25003"/>
                  </a:cubicBezTo>
                  <a:lnTo>
                    <a:pt x="122175" y="25003"/>
                  </a:lnTo>
                  <a:cubicBezTo>
                    <a:pt x="129079" y="24813"/>
                    <a:pt x="134522" y="19061"/>
                    <a:pt x="134332" y="12156"/>
                  </a:cubicBezTo>
                  <a:cubicBezTo>
                    <a:pt x="134148" y="5520"/>
                    <a:pt x="128812" y="183"/>
                    <a:pt x="122175" y="0"/>
                  </a:cubicBezTo>
                  <a:close/>
                </a:path>
              </a:pathLst>
            </a:custGeom>
            <a:solidFill>
              <a:srgbClr val="BF5C7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 90">
              <a:extLst>
                <a:ext uri="{FF2B5EF4-FFF2-40B4-BE49-F238E27FC236}">
                  <a16:creationId xmlns:a16="http://schemas.microsoft.com/office/drawing/2014/main" id="{5C4ED6F8-0E9D-704D-8DAD-D47042498F8C}"/>
                </a:ext>
              </a:extLst>
            </p:cNvPr>
            <p:cNvSpPr/>
            <p:nvPr/>
          </p:nvSpPr>
          <p:spPr>
            <a:xfrm>
              <a:off x="5245099" y="1293717"/>
              <a:ext cx="155482" cy="155081"/>
            </a:xfrm>
            <a:custGeom>
              <a:avLst/>
              <a:gdLst>
                <a:gd name="connsiteX0" fmla="*/ 45006 w 155482"/>
                <a:gd name="connsiteY0" fmla="*/ 30013 h 155081"/>
                <a:gd name="connsiteX1" fmla="*/ 40005 w 155482"/>
                <a:gd name="connsiteY1" fmla="*/ 30013 h 155081"/>
                <a:gd name="connsiteX2" fmla="*/ 40005 w 155482"/>
                <a:gd name="connsiteY2" fmla="*/ 25013 h 155081"/>
                <a:gd name="connsiteX3" fmla="*/ 45006 w 155482"/>
                <a:gd name="connsiteY3" fmla="*/ 25013 h 155081"/>
                <a:gd name="connsiteX4" fmla="*/ 32499 w 155482"/>
                <a:gd name="connsiteY4" fmla="*/ 5010 h 155081"/>
                <a:gd name="connsiteX5" fmla="*/ 52502 w 155482"/>
                <a:gd name="connsiteY5" fmla="*/ 5010 h 155081"/>
                <a:gd name="connsiteX6" fmla="*/ 52502 w 155482"/>
                <a:gd name="connsiteY6" fmla="*/ 20012 h 155081"/>
                <a:gd name="connsiteX7" fmla="*/ 32499 w 155482"/>
                <a:gd name="connsiteY7" fmla="*/ 20012 h 155081"/>
                <a:gd name="connsiteX8" fmla="*/ 50483 w 155482"/>
                <a:gd name="connsiteY8" fmla="*/ 68485 h 155081"/>
                <a:gd name="connsiteX9" fmla="*/ 52521 w 155482"/>
                <a:gd name="connsiteY9" fmla="*/ 71342 h 155081"/>
                <a:gd name="connsiteX10" fmla="*/ 52521 w 155482"/>
                <a:gd name="connsiteY10" fmla="*/ 107537 h 155081"/>
                <a:gd name="connsiteX11" fmla="*/ 50025 w 155482"/>
                <a:gd name="connsiteY11" fmla="*/ 110033 h 155081"/>
                <a:gd name="connsiteX12" fmla="*/ 34995 w 155482"/>
                <a:gd name="connsiteY12" fmla="*/ 110033 h 155081"/>
                <a:gd name="connsiteX13" fmla="*/ 32499 w 155482"/>
                <a:gd name="connsiteY13" fmla="*/ 107537 h 155081"/>
                <a:gd name="connsiteX14" fmla="*/ 32499 w 155482"/>
                <a:gd name="connsiteY14" fmla="*/ 105032 h 155081"/>
                <a:gd name="connsiteX15" fmla="*/ 45006 w 155482"/>
                <a:gd name="connsiteY15" fmla="*/ 105032 h 155081"/>
                <a:gd name="connsiteX16" fmla="*/ 47501 w 155482"/>
                <a:gd name="connsiteY16" fmla="*/ 102537 h 155081"/>
                <a:gd name="connsiteX17" fmla="*/ 47501 w 155482"/>
                <a:gd name="connsiteY17" fmla="*/ 77514 h 155081"/>
                <a:gd name="connsiteX18" fmla="*/ 45006 w 155482"/>
                <a:gd name="connsiteY18" fmla="*/ 75019 h 155081"/>
                <a:gd name="connsiteX19" fmla="*/ 32499 w 155482"/>
                <a:gd name="connsiteY19" fmla="*/ 75019 h 155081"/>
                <a:gd name="connsiteX20" fmla="*/ 32499 w 155482"/>
                <a:gd name="connsiteY20" fmla="*/ 71314 h 155081"/>
                <a:gd name="connsiteX21" fmla="*/ 34547 w 155482"/>
                <a:gd name="connsiteY21" fmla="*/ 68456 h 155081"/>
                <a:gd name="connsiteX22" fmla="*/ 40005 w 155482"/>
                <a:gd name="connsiteY22" fmla="*/ 60836 h 155081"/>
                <a:gd name="connsiteX23" fmla="*/ 40005 w 155482"/>
                <a:gd name="connsiteY23" fmla="*/ 50016 h 155081"/>
                <a:gd name="connsiteX24" fmla="*/ 45006 w 155482"/>
                <a:gd name="connsiteY24" fmla="*/ 50016 h 155081"/>
                <a:gd name="connsiteX25" fmla="*/ 45006 w 155482"/>
                <a:gd name="connsiteY25" fmla="*/ 60903 h 155081"/>
                <a:gd name="connsiteX26" fmla="*/ 50463 w 155482"/>
                <a:gd name="connsiteY26" fmla="*/ 68523 h 155081"/>
                <a:gd name="connsiteX27" fmla="*/ 67504 w 155482"/>
                <a:gd name="connsiteY27" fmla="*/ 107575 h 155081"/>
                <a:gd name="connsiteX28" fmla="*/ 67504 w 155482"/>
                <a:gd name="connsiteY28" fmla="*/ 105070 h 155081"/>
                <a:gd name="connsiteX29" fmla="*/ 80010 w 155482"/>
                <a:gd name="connsiteY29" fmla="*/ 105070 h 155081"/>
                <a:gd name="connsiteX30" fmla="*/ 82525 w 155482"/>
                <a:gd name="connsiteY30" fmla="*/ 102575 h 155081"/>
                <a:gd name="connsiteX31" fmla="*/ 82525 w 155482"/>
                <a:gd name="connsiteY31" fmla="*/ 102575 h 155081"/>
                <a:gd name="connsiteX32" fmla="*/ 82525 w 155482"/>
                <a:gd name="connsiteY32" fmla="*/ 77514 h 155081"/>
                <a:gd name="connsiteX33" fmla="*/ 80010 w 155482"/>
                <a:gd name="connsiteY33" fmla="*/ 75019 h 155081"/>
                <a:gd name="connsiteX34" fmla="*/ 80010 w 155482"/>
                <a:gd name="connsiteY34" fmla="*/ 75019 h 155081"/>
                <a:gd name="connsiteX35" fmla="*/ 67504 w 155482"/>
                <a:gd name="connsiteY35" fmla="*/ 75019 h 155081"/>
                <a:gd name="connsiteX36" fmla="*/ 67504 w 155482"/>
                <a:gd name="connsiteY36" fmla="*/ 71314 h 155081"/>
                <a:gd name="connsiteX37" fmla="*/ 69542 w 155482"/>
                <a:gd name="connsiteY37" fmla="*/ 68456 h 155081"/>
                <a:gd name="connsiteX38" fmla="*/ 75000 w 155482"/>
                <a:gd name="connsiteY38" fmla="*/ 60836 h 155081"/>
                <a:gd name="connsiteX39" fmla="*/ 75000 w 155482"/>
                <a:gd name="connsiteY39" fmla="*/ 50016 h 155081"/>
                <a:gd name="connsiteX40" fmla="*/ 80010 w 155482"/>
                <a:gd name="connsiteY40" fmla="*/ 50016 h 155081"/>
                <a:gd name="connsiteX41" fmla="*/ 80010 w 155482"/>
                <a:gd name="connsiteY41" fmla="*/ 60903 h 155081"/>
                <a:gd name="connsiteX42" fmla="*/ 85477 w 155482"/>
                <a:gd name="connsiteY42" fmla="*/ 68523 h 155081"/>
                <a:gd name="connsiteX43" fmla="*/ 87516 w 155482"/>
                <a:gd name="connsiteY43" fmla="*/ 71380 h 155081"/>
                <a:gd name="connsiteX44" fmla="*/ 87516 w 155482"/>
                <a:gd name="connsiteY44" fmla="*/ 107575 h 155081"/>
                <a:gd name="connsiteX45" fmla="*/ 85020 w 155482"/>
                <a:gd name="connsiteY45" fmla="*/ 110071 h 155081"/>
                <a:gd name="connsiteX46" fmla="*/ 70009 w 155482"/>
                <a:gd name="connsiteY46" fmla="*/ 110071 h 155081"/>
                <a:gd name="connsiteX47" fmla="*/ 67504 w 155482"/>
                <a:gd name="connsiteY47" fmla="*/ 107575 h 155081"/>
                <a:gd name="connsiteX48" fmla="*/ 67504 w 155482"/>
                <a:gd name="connsiteY48" fmla="*/ 80067 h 155081"/>
                <a:gd name="connsiteX49" fmla="*/ 77505 w 155482"/>
                <a:gd name="connsiteY49" fmla="*/ 80067 h 155081"/>
                <a:gd name="connsiteX50" fmla="*/ 77505 w 155482"/>
                <a:gd name="connsiteY50" fmla="*/ 100070 h 155081"/>
                <a:gd name="connsiteX51" fmla="*/ 67504 w 155482"/>
                <a:gd name="connsiteY51" fmla="*/ 100070 h 155081"/>
                <a:gd name="connsiteX52" fmla="*/ 102508 w 155482"/>
                <a:gd name="connsiteY52" fmla="*/ 107575 h 155081"/>
                <a:gd name="connsiteX53" fmla="*/ 102508 w 155482"/>
                <a:gd name="connsiteY53" fmla="*/ 105070 h 155081"/>
                <a:gd name="connsiteX54" fmla="*/ 115005 w 155482"/>
                <a:gd name="connsiteY54" fmla="*/ 105070 h 155081"/>
                <a:gd name="connsiteX55" fmla="*/ 117510 w 155482"/>
                <a:gd name="connsiteY55" fmla="*/ 102584 h 155081"/>
                <a:gd name="connsiteX56" fmla="*/ 117510 w 155482"/>
                <a:gd name="connsiteY56" fmla="*/ 102575 h 155081"/>
                <a:gd name="connsiteX57" fmla="*/ 117510 w 155482"/>
                <a:gd name="connsiteY57" fmla="*/ 77514 h 155081"/>
                <a:gd name="connsiteX58" fmla="*/ 115014 w 155482"/>
                <a:gd name="connsiteY58" fmla="*/ 75019 h 155081"/>
                <a:gd name="connsiteX59" fmla="*/ 115005 w 155482"/>
                <a:gd name="connsiteY59" fmla="*/ 75019 h 155081"/>
                <a:gd name="connsiteX60" fmla="*/ 102508 w 155482"/>
                <a:gd name="connsiteY60" fmla="*/ 75019 h 155081"/>
                <a:gd name="connsiteX61" fmla="*/ 102508 w 155482"/>
                <a:gd name="connsiteY61" fmla="*/ 71314 h 155081"/>
                <a:gd name="connsiteX62" fmla="*/ 104556 w 155482"/>
                <a:gd name="connsiteY62" fmla="*/ 68456 h 155081"/>
                <a:gd name="connsiteX63" fmla="*/ 110014 w 155482"/>
                <a:gd name="connsiteY63" fmla="*/ 60836 h 155081"/>
                <a:gd name="connsiteX64" fmla="*/ 110014 w 155482"/>
                <a:gd name="connsiteY64" fmla="*/ 50016 h 155081"/>
                <a:gd name="connsiteX65" fmla="*/ 115005 w 155482"/>
                <a:gd name="connsiteY65" fmla="*/ 50016 h 155081"/>
                <a:gd name="connsiteX66" fmla="*/ 115005 w 155482"/>
                <a:gd name="connsiteY66" fmla="*/ 60903 h 155081"/>
                <a:gd name="connsiteX67" fmla="*/ 120472 w 155482"/>
                <a:gd name="connsiteY67" fmla="*/ 68523 h 155081"/>
                <a:gd name="connsiteX68" fmla="*/ 122511 w 155482"/>
                <a:gd name="connsiteY68" fmla="*/ 71380 h 155081"/>
                <a:gd name="connsiteX69" fmla="*/ 122511 w 155482"/>
                <a:gd name="connsiteY69" fmla="*/ 107575 h 155081"/>
                <a:gd name="connsiteX70" fmla="*/ 120005 w 155482"/>
                <a:gd name="connsiteY70" fmla="*/ 110071 h 155081"/>
                <a:gd name="connsiteX71" fmla="*/ 105013 w 155482"/>
                <a:gd name="connsiteY71" fmla="*/ 110071 h 155081"/>
                <a:gd name="connsiteX72" fmla="*/ 102508 w 155482"/>
                <a:gd name="connsiteY72" fmla="*/ 107575 h 155081"/>
                <a:gd name="connsiteX73" fmla="*/ 102508 w 155482"/>
                <a:gd name="connsiteY73" fmla="*/ 80067 h 155081"/>
                <a:gd name="connsiteX74" fmla="*/ 112500 w 155482"/>
                <a:gd name="connsiteY74" fmla="*/ 80067 h 155081"/>
                <a:gd name="connsiteX75" fmla="*/ 112500 w 155482"/>
                <a:gd name="connsiteY75" fmla="*/ 100070 h 155081"/>
                <a:gd name="connsiteX76" fmla="*/ 102508 w 155482"/>
                <a:gd name="connsiteY76" fmla="*/ 100070 h 155081"/>
                <a:gd name="connsiteX77" fmla="*/ 132512 w 155482"/>
                <a:gd name="connsiteY77" fmla="*/ 115072 h 155081"/>
                <a:gd name="connsiteX78" fmla="*/ 149606 w 155482"/>
                <a:gd name="connsiteY78" fmla="*/ 132982 h 155081"/>
                <a:gd name="connsiteX79" fmla="*/ 132512 w 155482"/>
                <a:gd name="connsiteY79" fmla="*/ 150076 h 155081"/>
                <a:gd name="connsiteX80" fmla="*/ 22498 w 155482"/>
                <a:gd name="connsiteY80" fmla="*/ 150076 h 155081"/>
                <a:gd name="connsiteX81" fmla="*/ 5404 w 155482"/>
                <a:gd name="connsiteY81" fmla="*/ 132165 h 155081"/>
                <a:gd name="connsiteX82" fmla="*/ 22498 w 155482"/>
                <a:gd name="connsiteY82" fmla="*/ 115072 h 155081"/>
                <a:gd name="connsiteX83" fmla="*/ 32499 w 155482"/>
                <a:gd name="connsiteY83" fmla="*/ 80010 h 155081"/>
                <a:gd name="connsiteX84" fmla="*/ 42501 w 155482"/>
                <a:gd name="connsiteY84" fmla="*/ 80010 h 155081"/>
                <a:gd name="connsiteX85" fmla="*/ 42501 w 155482"/>
                <a:gd name="connsiteY85" fmla="*/ 100013 h 155081"/>
                <a:gd name="connsiteX86" fmla="*/ 32499 w 155482"/>
                <a:gd name="connsiteY86" fmla="*/ 100013 h 155081"/>
                <a:gd name="connsiteX87" fmla="*/ 5001 w 155482"/>
                <a:gd name="connsiteY87" fmla="*/ 10011 h 155081"/>
                <a:gd name="connsiteX88" fmla="*/ 27499 w 155482"/>
                <a:gd name="connsiteY88" fmla="*/ 10011 h 155081"/>
                <a:gd name="connsiteX89" fmla="*/ 27499 w 155482"/>
                <a:gd name="connsiteY89" fmla="*/ 15011 h 155081"/>
                <a:gd name="connsiteX90" fmla="*/ 5001 w 155482"/>
                <a:gd name="connsiteY90" fmla="*/ 15011 h 155081"/>
                <a:gd name="connsiteX91" fmla="*/ 150009 w 155482"/>
                <a:gd name="connsiteY91" fmla="*/ 15011 h 155081"/>
                <a:gd name="connsiteX92" fmla="*/ 57502 w 155482"/>
                <a:gd name="connsiteY92" fmla="*/ 15011 h 155081"/>
                <a:gd name="connsiteX93" fmla="*/ 57502 w 155482"/>
                <a:gd name="connsiteY93" fmla="*/ 10011 h 155081"/>
                <a:gd name="connsiteX94" fmla="*/ 150009 w 155482"/>
                <a:gd name="connsiteY94" fmla="*/ 10011 h 155081"/>
                <a:gd name="connsiteX95" fmla="*/ 47501 w 155482"/>
                <a:gd name="connsiteY95" fmla="*/ 35014 h 155081"/>
                <a:gd name="connsiteX96" fmla="*/ 50006 w 155482"/>
                <a:gd name="connsiteY96" fmla="*/ 32509 h 155081"/>
                <a:gd name="connsiteX97" fmla="*/ 50006 w 155482"/>
                <a:gd name="connsiteY97" fmla="*/ 32480 h 155081"/>
                <a:gd name="connsiteX98" fmla="*/ 50006 w 155482"/>
                <a:gd name="connsiteY98" fmla="*/ 25013 h 155081"/>
                <a:gd name="connsiteX99" fmla="*/ 54997 w 155482"/>
                <a:gd name="connsiteY99" fmla="*/ 25013 h 155081"/>
                <a:gd name="connsiteX100" fmla="*/ 57502 w 155482"/>
                <a:gd name="connsiteY100" fmla="*/ 22508 h 155081"/>
                <a:gd name="connsiteX101" fmla="*/ 57502 w 155482"/>
                <a:gd name="connsiteY101" fmla="*/ 20003 h 155081"/>
                <a:gd name="connsiteX102" fmla="*/ 152514 w 155482"/>
                <a:gd name="connsiteY102" fmla="*/ 20003 h 155081"/>
                <a:gd name="connsiteX103" fmla="*/ 155019 w 155482"/>
                <a:gd name="connsiteY103" fmla="*/ 17516 h 155081"/>
                <a:gd name="connsiteX104" fmla="*/ 155019 w 155482"/>
                <a:gd name="connsiteY104" fmla="*/ 17507 h 155081"/>
                <a:gd name="connsiteX105" fmla="*/ 155019 w 155482"/>
                <a:gd name="connsiteY105" fmla="*/ 7506 h 155081"/>
                <a:gd name="connsiteX106" fmla="*/ 152524 w 155482"/>
                <a:gd name="connsiteY106" fmla="*/ 5010 h 155081"/>
                <a:gd name="connsiteX107" fmla="*/ 152514 w 155482"/>
                <a:gd name="connsiteY107" fmla="*/ 5010 h 155081"/>
                <a:gd name="connsiteX108" fmla="*/ 57502 w 155482"/>
                <a:gd name="connsiteY108" fmla="*/ 5010 h 155081"/>
                <a:gd name="connsiteX109" fmla="*/ 57502 w 155482"/>
                <a:gd name="connsiteY109" fmla="*/ 2515 h 155081"/>
                <a:gd name="connsiteX110" fmla="*/ 55007 w 155482"/>
                <a:gd name="connsiteY110" fmla="*/ 0 h 155081"/>
                <a:gd name="connsiteX111" fmla="*/ 54997 w 155482"/>
                <a:gd name="connsiteY111" fmla="*/ 0 h 155081"/>
                <a:gd name="connsiteX112" fmla="*/ 30004 w 155482"/>
                <a:gd name="connsiteY112" fmla="*/ 0 h 155081"/>
                <a:gd name="connsiteX113" fmla="*/ 27499 w 155482"/>
                <a:gd name="connsiteY113" fmla="*/ 2515 h 155081"/>
                <a:gd name="connsiteX114" fmla="*/ 27499 w 155482"/>
                <a:gd name="connsiteY114" fmla="*/ 5010 h 155081"/>
                <a:gd name="connsiteX115" fmla="*/ 2496 w 155482"/>
                <a:gd name="connsiteY115" fmla="*/ 5010 h 155081"/>
                <a:gd name="connsiteX116" fmla="*/ 0 w 155482"/>
                <a:gd name="connsiteY116" fmla="*/ 7506 h 155081"/>
                <a:gd name="connsiteX117" fmla="*/ 0 w 155482"/>
                <a:gd name="connsiteY117" fmla="*/ 17507 h 155081"/>
                <a:gd name="connsiteX118" fmla="*/ 2496 w 155482"/>
                <a:gd name="connsiteY118" fmla="*/ 20003 h 155081"/>
                <a:gd name="connsiteX119" fmla="*/ 27499 w 155482"/>
                <a:gd name="connsiteY119" fmla="*/ 20003 h 155081"/>
                <a:gd name="connsiteX120" fmla="*/ 27499 w 155482"/>
                <a:gd name="connsiteY120" fmla="*/ 22508 h 155081"/>
                <a:gd name="connsiteX121" fmla="*/ 30004 w 155482"/>
                <a:gd name="connsiteY121" fmla="*/ 25013 h 155081"/>
                <a:gd name="connsiteX122" fmla="*/ 34995 w 155482"/>
                <a:gd name="connsiteY122" fmla="*/ 25013 h 155081"/>
                <a:gd name="connsiteX123" fmla="*/ 34995 w 155482"/>
                <a:gd name="connsiteY123" fmla="*/ 32480 h 155081"/>
                <a:gd name="connsiteX124" fmla="*/ 37509 w 155482"/>
                <a:gd name="connsiteY124" fmla="*/ 34985 h 155081"/>
                <a:gd name="connsiteX125" fmla="*/ 40005 w 155482"/>
                <a:gd name="connsiteY125" fmla="*/ 34985 h 155081"/>
                <a:gd name="connsiteX126" fmla="*/ 40005 w 155482"/>
                <a:gd name="connsiteY126" fmla="*/ 45006 h 155081"/>
                <a:gd name="connsiteX127" fmla="*/ 37509 w 155482"/>
                <a:gd name="connsiteY127" fmla="*/ 45006 h 155081"/>
                <a:gd name="connsiteX128" fmla="*/ 34995 w 155482"/>
                <a:gd name="connsiteY128" fmla="*/ 47511 h 155081"/>
                <a:gd name="connsiteX129" fmla="*/ 34995 w 155482"/>
                <a:gd name="connsiteY129" fmla="*/ 60903 h 155081"/>
                <a:gd name="connsiteX130" fmla="*/ 32957 w 155482"/>
                <a:gd name="connsiteY130" fmla="*/ 63760 h 155081"/>
                <a:gd name="connsiteX131" fmla="*/ 27499 w 155482"/>
                <a:gd name="connsiteY131" fmla="*/ 71380 h 155081"/>
                <a:gd name="connsiteX132" fmla="*/ 27499 w 155482"/>
                <a:gd name="connsiteY132" fmla="*/ 107575 h 155081"/>
                <a:gd name="connsiteX133" fmla="*/ 27965 w 155482"/>
                <a:gd name="connsiteY133" fmla="*/ 110071 h 155081"/>
                <a:gd name="connsiteX134" fmla="*/ 22498 w 155482"/>
                <a:gd name="connsiteY134" fmla="*/ 110071 h 155081"/>
                <a:gd name="connsiteX135" fmla="*/ 458 w 155482"/>
                <a:gd name="connsiteY135" fmla="*/ 133037 h 155081"/>
                <a:gd name="connsiteX136" fmla="*/ 22498 w 155482"/>
                <a:gd name="connsiteY136" fmla="*/ 155077 h 155081"/>
                <a:gd name="connsiteX137" fmla="*/ 132512 w 155482"/>
                <a:gd name="connsiteY137" fmla="*/ 155077 h 155081"/>
                <a:gd name="connsiteX138" fmla="*/ 155478 w 155482"/>
                <a:gd name="connsiteY138" fmla="*/ 133037 h 155081"/>
                <a:gd name="connsiteX139" fmla="*/ 133438 w 155482"/>
                <a:gd name="connsiteY139" fmla="*/ 110071 h 155081"/>
                <a:gd name="connsiteX140" fmla="*/ 132512 w 155482"/>
                <a:gd name="connsiteY140" fmla="*/ 110071 h 155081"/>
                <a:gd name="connsiteX141" fmla="*/ 127054 w 155482"/>
                <a:gd name="connsiteY141" fmla="*/ 110071 h 155081"/>
                <a:gd name="connsiteX142" fmla="*/ 127511 w 155482"/>
                <a:gd name="connsiteY142" fmla="*/ 107575 h 155081"/>
                <a:gd name="connsiteX143" fmla="*/ 127511 w 155482"/>
                <a:gd name="connsiteY143" fmla="*/ 71380 h 155081"/>
                <a:gd name="connsiteX144" fmla="*/ 122044 w 155482"/>
                <a:gd name="connsiteY144" fmla="*/ 63760 h 155081"/>
                <a:gd name="connsiteX145" fmla="*/ 120005 w 155482"/>
                <a:gd name="connsiteY145" fmla="*/ 60903 h 155081"/>
                <a:gd name="connsiteX146" fmla="*/ 120005 w 155482"/>
                <a:gd name="connsiteY146" fmla="*/ 47511 h 155081"/>
                <a:gd name="connsiteX147" fmla="*/ 117519 w 155482"/>
                <a:gd name="connsiteY147" fmla="*/ 45006 h 155081"/>
                <a:gd name="connsiteX148" fmla="*/ 117510 w 155482"/>
                <a:gd name="connsiteY148" fmla="*/ 45006 h 155081"/>
                <a:gd name="connsiteX149" fmla="*/ 107509 w 155482"/>
                <a:gd name="connsiteY149" fmla="*/ 45006 h 155081"/>
                <a:gd name="connsiteX150" fmla="*/ 105013 w 155482"/>
                <a:gd name="connsiteY150" fmla="*/ 47501 h 155081"/>
                <a:gd name="connsiteX151" fmla="*/ 105013 w 155482"/>
                <a:gd name="connsiteY151" fmla="*/ 47511 h 155081"/>
                <a:gd name="connsiteX152" fmla="*/ 105013 w 155482"/>
                <a:gd name="connsiteY152" fmla="*/ 60903 h 155081"/>
                <a:gd name="connsiteX153" fmla="*/ 102965 w 155482"/>
                <a:gd name="connsiteY153" fmla="*/ 63760 h 155081"/>
                <a:gd name="connsiteX154" fmla="*/ 97507 w 155482"/>
                <a:gd name="connsiteY154" fmla="*/ 71380 h 155081"/>
                <a:gd name="connsiteX155" fmla="*/ 97507 w 155482"/>
                <a:gd name="connsiteY155" fmla="*/ 107575 h 155081"/>
                <a:gd name="connsiteX156" fmla="*/ 97965 w 155482"/>
                <a:gd name="connsiteY156" fmla="*/ 110071 h 155081"/>
                <a:gd name="connsiteX157" fmla="*/ 92050 w 155482"/>
                <a:gd name="connsiteY157" fmla="*/ 110071 h 155081"/>
                <a:gd name="connsiteX158" fmla="*/ 92507 w 155482"/>
                <a:gd name="connsiteY158" fmla="*/ 107575 h 155081"/>
                <a:gd name="connsiteX159" fmla="*/ 92507 w 155482"/>
                <a:gd name="connsiteY159" fmla="*/ 71380 h 155081"/>
                <a:gd name="connsiteX160" fmla="*/ 87049 w 155482"/>
                <a:gd name="connsiteY160" fmla="*/ 63760 h 155081"/>
                <a:gd name="connsiteX161" fmla="*/ 85011 w 155482"/>
                <a:gd name="connsiteY161" fmla="*/ 60903 h 155081"/>
                <a:gd name="connsiteX162" fmla="*/ 85011 w 155482"/>
                <a:gd name="connsiteY162" fmla="*/ 47511 h 155081"/>
                <a:gd name="connsiteX163" fmla="*/ 82515 w 155482"/>
                <a:gd name="connsiteY163" fmla="*/ 45006 h 155081"/>
                <a:gd name="connsiteX164" fmla="*/ 72504 w 155482"/>
                <a:gd name="connsiteY164" fmla="*/ 45006 h 155081"/>
                <a:gd name="connsiteX165" fmla="*/ 70009 w 155482"/>
                <a:gd name="connsiteY165" fmla="*/ 47511 h 155081"/>
                <a:gd name="connsiteX166" fmla="*/ 70009 w 155482"/>
                <a:gd name="connsiteY166" fmla="*/ 60903 h 155081"/>
                <a:gd name="connsiteX167" fmla="*/ 67970 w 155482"/>
                <a:gd name="connsiteY167" fmla="*/ 63760 h 155081"/>
                <a:gd name="connsiteX168" fmla="*/ 62513 w 155482"/>
                <a:gd name="connsiteY168" fmla="*/ 71380 h 155081"/>
                <a:gd name="connsiteX169" fmla="*/ 62513 w 155482"/>
                <a:gd name="connsiteY169" fmla="*/ 107575 h 155081"/>
                <a:gd name="connsiteX170" fmla="*/ 62970 w 155482"/>
                <a:gd name="connsiteY170" fmla="*/ 110071 h 155081"/>
                <a:gd name="connsiteX171" fmla="*/ 57036 w 155482"/>
                <a:gd name="connsiteY171" fmla="*/ 110071 h 155081"/>
                <a:gd name="connsiteX172" fmla="*/ 57502 w 155482"/>
                <a:gd name="connsiteY172" fmla="*/ 107575 h 155081"/>
                <a:gd name="connsiteX173" fmla="*/ 57502 w 155482"/>
                <a:gd name="connsiteY173" fmla="*/ 71380 h 155081"/>
                <a:gd name="connsiteX174" fmla="*/ 52045 w 155482"/>
                <a:gd name="connsiteY174" fmla="*/ 63760 h 155081"/>
                <a:gd name="connsiteX175" fmla="*/ 50006 w 155482"/>
                <a:gd name="connsiteY175" fmla="*/ 60903 h 155081"/>
                <a:gd name="connsiteX176" fmla="*/ 50006 w 155482"/>
                <a:gd name="connsiteY176" fmla="*/ 47511 h 155081"/>
                <a:gd name="connsiteX177" fmla="*/ 47501 w 155482"/>
                <a:gd name="connsiteY177" fmla="*/ 45006 h 155081"/>
                <a:gd name="connsiteX178" fmla="*/ 45006 w 155482"/>
                <a:gd name="connsiteY178" fmla="*/ 45006 h 155081"/>
                <a:gd name="connsiteX179" fmla="*/ 45006 w 155482"/>
                <a:gd name="connsiteY179" fmla="*/ 35014 h 155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155482" h="155081">
                  <a:moveTo>
                    <a:pt x="45006" y="30013"/>
                  </a:moveTo>
                  <a:lnTo>
                    <a:pt x="40005" y="30013"/>
                  </a:lnTo>
                  <a:lnTo>
                    <a:pt x="40005" y="25013"/>
                  </a:lnTo>
                  <a:lnTo>
                    <a:pt x="45006" y="25013"/>
                  </a:lnTo>
                  <a:close/>
                  <a:moveTo>
                    <a:pt x="32499" y="5010"/>
                  </a:moveTo>
                  <a:lnTo>
                    <a:pt x="52502" y="5010"/>
                  </a:lnTo>
                  <a:lnTo>
                    <a:pt x="52502" y="20012"/>
                  </a:lnTo>
                  <a:lnTo>
                    <a:pt x="32499" y="20012"/>
                  </a:lnTo>
                  <a:close/>
                  <a:moveTo>
                    <a:pt x="50483" y="68485"/>
                  </a:moveTo>
                  <a:cubicBezTo>
                    <a:pt x="51712" y="68891"/>
                    <a:pt x="52537" y="70047"/>
                    <a:pt x="52521" y="71342"/>
                  </a:cubicBezTo>
                  <a:lnTo>
                    <a:pt x="52521" y="107537"/>
                  </a:lnTo>
                  <a:cubicBezTo>
                    <a:pt x="52516" y="108913"/>
                    <a:pt x="51401" y="110028"/>
                    <a:pt x="50025" y="110033"/>
                  </a:cubicBezTo>
                  <a:lnTo>
                    <a:pt x="34995" y="110033"/>
                  </a:lnTo>
                  <a:cubicBezTo>
                    <a:pt x="33619" y="110028"/>
                    <a:pt x="32505" y="108913"/>
                    <a:pt x="32499" y="107537"/>
                  </a:cubicBezTo>
                  <a:lnTo>
                    <a:pt x="32499" y="105032"/>
                  </a:lnTo>
                  <a:lnTo>
                    <a:pt x="45006" y="105032"/>
                  </a:lnTo>
                  <a:cubicBezTo>
                    <a:pt x="46384" y="105032"/>
                    <a:pt x="47501" y="103915"/>
                    <a:pt x="47501" y="102537"/>
                  </a:cubicBezTo>
                  <a:lnTo>
                    <a:pt x="47501" y="77514"/>
                  </a:lnTo>
                  <a:cubicBezTo>
                    <a:pt x="47501" y="76136"/>
                    <a:pt x="46384" y="75019"/>
                    <a:pt x="45006" y="75019"/>
                  </a:cubicBezTo>
                  <a:lnTo>
                    <a:pt x="32499" y="75019"/>
                  </a:lnTo>
                  <a:lnTo>
                    <a:pt x="32499" y="71314"/>
                  </a:lnTo>
                  <a:cubicBezTo>
                    <a:pt x="32485" y="70016"/>
                    <a:pt x="33314" y="68859"/>
                    <a:pt x="34547" y="68456"/>
                  </a:cubicBezTo>
                  <a:cubicBezTo>
                    <a:pt x="37821" y="67362"/>
                    <a:pt x="40023" y="64288"/>
                    <a:pt x="40005" y="60836"/>
                  </a:cubicBezTo>
                  <a:lnTo>
                    <a:pt x="40005" y="50016"/>
                  </a:lnTo>
                  <a:lnTo>
                    <a:pt x="45006" y="50016"/>
                  </a:lnTo>
                  <a:lnTo>
                    <a:pt x="45006" y="60903"/>
                  </a:lnTo>
                  <a:cubicBezTo>
                    <a:pt x="44985" y="64356"/>
                    <a:pt x="47187" y="67431"/>
                    <a:pt x="50463" y="68523"/>
                  </a:cubicBezTo>
                  <a:moveTo>
                    <a:pt x="67504" y="107575"/>
                  </a:moveTo>
                  <a:lnTo>
                    <a:pt x="67504" y="105070"/>
                  </a:lnTo>
                  <a:lnTo>
                    <a:pt x="80010" y="105070"/>
                  </a:lnTo>
                  <a:cubicBezTo>
                    <a:pt x="81394" y="105076"/>
                    <a:pt x="82519" y="103958"/>
                    <a:pt x="82525" y="102575"/>
                  </a:cubicBezTo>
                  <a:cubicBezTo>
                    <a:pt x="82525" y="102575"/>
                    <a:pt x="82525" y="102575"/>
                    <a:pt x="82525" y="102575"/>
                  </a:cubicBezTo>
                  <a:lnTo>
                    <a:pt x="82525" y="77514"/>
                  </a:lnTo>
                  <a:cubicBezTo>
                    <a:pt x="82519" y="76131"/>
                    <a:pt x="81394" y="75014"/>
                    <a:pt x="80010" y="75019"/>
                  </a:cubicBezTo>
                  <a:cubicBezTo>
                    <a:pt x="80010" y="75019"/>
                    <a:pt x="80010" y="75019"/>
                    <a:pt x="80010" y="75019"/>
                  </a:cubicBezTo>
                  <a:lnTo>
                    <a:pt x="67504" y="75019"/>
                  </a:lnTo>
                  <a:lnTo>
                    <a:pt x="67504" y="71314"/>
                  </a:lnTo>
                  <a:cubicBezTo>
                    <a:pt x="67491" y="70020"/>
                    <a:pt x="68314" y="68865"/>
                    <a:pt x="69542" y="68456"/>
                  </a:cubicBezTo>
                  <a:cubicBezTo>
                    <a:pt x="72820" y="67367"/>
                    <a:pt x="75023" y="64290"/>
                    <a:pt x="75000" y="60836"/>
                  </a:cubicBezTo>
                  <a:lnTo>
                    <a:pt x="75000" y="50016"/>
                  </a:lnTo>
                  <a:lnTo>
                    <a:pt x="80010" y="50016"/>
                  </a:lnTo>
                  <a:lnTo>
                    <a:pt x="80010" y="60903"/>
                  </a:lnTo>
                  <a:cubicBezTo>
                    <a:pt x="79994" y="64358"/>
                    <a:pt x="82199" y="67432"/>
                    <a:pt x="85477" y="68523"/>
                  </a:cubicBezTo>
                  <a:cubicBezTo>
                    <a:pt x="86707" y="68930"/>
                    <a:pt x="87531" y="70085"/>
                    <a:pt x="87516" y="71380"/>
                  </a:cubicBezTo>
                  <a:lnTo>
                    <a:pt x="87516" y="107575"/>
                  </a:lnTo>
                  <a:cubicBezTo>
                    <a:pt x="87510" y="108951"/>
                    <a:pt x="86396" y="110066"/>
                    <a:pt x="85020" y="110071"/>
                  </a:cubicBezTo>
                  <a:lnTo>
                    <a:pt x="70009" y="110071"/>
                  </a:lnTo>
                  <a:cubicBezTo>
                    <a:pt x="68629" y="110071"/>
                    <a:pt x="67509" y="108955"/>
                    <a:pt x="67504" y="107575"/>
                  </a:cubicBezTo>
                  <a:moveTo>
                    <a:pt x="67504" y="80067"/>
                  </a:moveTo>
                  <a:lnTo>
                    <a:pt x="77505" y="80067"/>
                  </a:lnTo>
                  <a:lnTo>
                    <a:pt x="77505" y="100070"/>
                  </a:lnTo>
                  <a:lnTo>
                    <a:pt x="67504" y="100070"/>
                  </a:lnTo>
                  <a:close/>
                  <a:moveTo>
                    <a:pt x="102508" y="107575"/>
                  </a:moveTo>
                  <a:lnTo>
                    <a:pt x="102508" y="105070"/>
                  </a:lnTo>
                  <a:lnTo>
                    <a:pt x="115005" y="105070"/>
                  </a:lnTo>
                  <a:cubicBezTo>
                    <a:pt x="116383" y="105076"/>
                    <a:pt x="117505" y="103963"/>
                    <a:pt x="117510" y="102584"/>
                  </a:cubicBezTo>
                  <a:cubicBezTo>
                    <a:pt x="117510" y="102581"/>
                    <a:pt x="117510" y="102578"/>
                    <a:pt x="117510" y="102575"/>
                  </a:cubicBezTo>
                  <a:lnTo>
                    <a:pt x="117510" y="77514"/>
                  </a:lnTo>
                  <a:cubicBezTo>
                    <a:pt x="117510" y="76136"/>
                    <a:pt x="116393" y="75019"/>
                    <a:pt x="115014" y="75019"/>
                  </a:cubicBezTo>
                  <a:cubicBezTo>
                    <a:pt x="115011" y="75019"/>
                    <a:pt x="115008" y="75019"/>
                    <a:pt x="115005" y="75019"/>
                  </a:cubicBezTo>
                  <a:lnTo>
                    <a:pt x="102508" y="75019"/>
                  </a:lnTo>
                  <a:lnTo>
                    <a:pt x="102508" y="71314"/>
                  </a:lnTo>
                  <a:cubicBezTo>
                    <a:pt x="102494" y="70016"/>
                    <a:pt x="103323" y="68859"/>
                    <a:pt x="104556" y="68456"/>
                  </a:cubicBezTo>
                  <a:cubicBezTo>
                    <a:pt x="107830" y="67362"/>
                    <a:pt x="110031" y="64288"/>
                    <a:pt x="110014" y="60836"/>
                  </a:cubicBezTo>
                  <a:lnTo>
                    <a:pt x="110014" y="50016"/>
                  </a:lnTo>
                  <a:lnTo>
                    <a:pt x="115005" y="50016"/>
                  </a:lnTo>
                  <a:lnTo>
                    <a:pt x="115005" y="60903"/>
                  </a:lnTo>
                  <a:cubicBezTo>
                    <a:pt x="114983" y="64360"/>
                    <a:pt x="117191" y="67437"/>
                    <a:pt x="120472" y="68523"/>
                  </a:cubicBezTo>
                  <a:cubicBezTo>
                    <a:pt x="121700" y="68932"/>
                    <a:pt x="122523" y="70086"/>
                    <a:pt x="122511" y="71380"/>
                  </a:cubicBezTo>
                  <a:lnTo>
                    <a:pt x="122511" y="107575"/>
                  </a:lnTo>
                  <a:cubicBezTo>
                    <a:pt x="122505" y="108955"/>
                    <a:pt x="121385" y="110071"/>
                    <a:pt x="120005" y="110071"/>
                  </a:cubicBezTo>
                  <a:lnTo>
                    <a:pt x="105013" y="110071"/>
                  </a:lnTo>
                  <a:cubicBezTo>
                    <a:pt x="103633" y="110071"/>
                    <a:pt x="102513" y="108955"/>
                    <a:pt x="102508" y="107575"/>
                  </a:cubicBezTo>
                  <a:moveTo>
                    <a:pt x="102508" y="80067"/>
                  </a:moveTo>
                  <a:lnTo>
                    <a:pt x="112500" y="80067"/>
                  </a:lnTo>
                  <a:lnTo>
                    <a:pt x="112500" y="100070"/>
                  </a:lnTo>
                  <a:lnTo>
                    <a:pt x="102508" y="100070"/>
                  </a:lnTo>
                  <a:close/>
                  <a:moveTo>
                    <a:pt x="132512" y="115072"/>
                  </a:moveTo>
                  <a:cubicBezTo>
                    <a:pt x="142178" y="115297"/>
                    <a:pt x="149831" y="123316"/>
                    <a:pt x="149606" y="132982"/>
                  </a:cubicBezTo>
                  <a:cubicBezTo>
                    <a:pt x="149388" y="142331"/>
                    <a:pt x="141861" y="149858"/>
                    <a:pt x="132512" y="150076"/>
                  </a:cubicBezTo>
                  <a:lnTo>
                    <a:pt x="22498" y="150076"/>
                  </a:lnTo>
                  <a:cubicBezTo>
                    <a:pt x="12832" y="149850"/>
                    <a:pt x="5179" y="141832"/>
                    <a:pt x="5404" y="132165"/>
                  </a:cubicBezTo>
                  <a:cubicBezTo>
                    <a:pt x="5622" y="122817"/>
                    <a:pt x="13149" y="115290"/>
                    <a:pt x="22498" y="115072"/>
                  </a:cubicBezTo>
                  <a:close/>
                  <a:moveTo>
                    <a:pt x="32499" y="80010"/>
                  </a:moveTo>
                  <a:lnTo>
                    <a:pt x="42501" y="80010"/>
                  </a:lnTo>
                  <a:lnTo>
                    <a:pt x="42501" y="100013"/>
                  </a:lnTo>
                  <a:lnTo>
                    <a:pt x="32499" y="100013"/>
                  </a:lnTo>
                  <a:close/>
                  <a:moveTo>
                    <a:pt x="5001" y="10011"/>
                  </a:moveTo>
                  <a:lnTo>
                    <a:pt x="27499" y="10011"/>
                  </a:lnTo>
                  <a:lnTo>
                    <a:pt x="27499" y="15011"/>
                  </a:lnTo>
                  <a:lnTo>
                    <a:pt x="5001" y="15011"/>
                  </a:lnTo>
                  <a:close/>
                  <a:moveTo>
                    <a:pt x="150009" y="15011"/>
                  </a:moveTo>
                  <a:lnTo>
                    <a:pt x="57502" y="15011"/>
                  </a:lnTo>
                  <a:lnTo>
                    <a:pt x="57502" y="10011"/>
                  </a:lnTo>
                  <a:lnTo>
                    <a:pt x="150009" y="10011"/>
                  </a:lnTo>
                  <a:close/>
                  <a:moveTo>
                    <a:pt x="47501" y="35014"/>
                  </a:moveTo>
                  <a:cubicBezTo>
                    <a:pt x="48885" y="35014"/>
                    <a:pt x="50006" y="33893"/>
                    <a:pt x="50006" y="32509"/>
                  </a:cubicBezTo>
                  <a:cubicBezTo>
                    <a:pt x="50006" y="32499"/>
                    <a:pt x="50006" y="32490"/>
                    <a:pt x="50006" y="32480"/>
                  </a:cubicBezTo>
                  <a:lnTo>
                    <a:pt x="50006" y="25013"/>
                  </a:lnTo>
                  <a:lnTo>
                    <a:pt x="54997" y="25013"/>
                  </a:lnTo>
                  <a:cubicBezTo>
                    <a:pt x="56381" y="25013"/>
                    <a:pt x="57502" y="23891"/>
                    <a:pt x="57502" y="22508"/>
                  </a:cubicBezTo>
                  <a:lnTo>
                    <a:pt x="57502" y="20003"/>
                  </a:lnTo>
                  <a:lnTo>
                    <a:pt x="152514" y="20003"/>
                  </a:lnTo>
                  <a:cubicBezTo>
                    <a:pt x="153893" y="20008"/>
                    <a:pt x="155014" y="18895"/>
                    <a:pt x="155019" y="17516"/>
                  </a:cubicBezTo>
                  <a:cubicBezTo>
                    <a:pt x="155019" y="17513"/>
                    <a:pt x="155019" y="17510"/>
                    <a:pt x="155019" y="17507"/>
                  </a:cubicBezTo>
                  <a:lnTo>
                    <a:pt x="155019" y="7506"/>
                  </a:lnTo>
                  <a:cubicBezTo>
                    <a:pt x="155019" y="6127"/>
                    <a:pt x="153902" y="5010"/>
                    <a:pt x="152524" y="5010"/>
                  </a:cubicBezTo>
                  <a:cubicBezTo>
                    <a:pt x="152521" y="5010"/>
                    <a:pt x="152517" y="5010"/>
                    <a:pt x="152514" y="5010"/>
                  </a:cubicBezTo>
                  <a:lnTo>
                    <a:pt x="57502" y="5010"/>
                  </a:lnTo>
                  <a:lnTo>
                    <a:pt x="57502" y="2515"/>
                  </a:lnTo>
                  <a:cubicBezTo>
                    <a:pt x="57508" y="1131"/>
                    <a:pt x="56390" y="5"/>
                    <a:pt x="55007" y="0"/>
                  </a:cubicBezTo>
                  <a:cubicBezTo>
                    <a:pt x="55004" y="0"/>
                    <a:pt x="55001" y="0"/>
                    <a:pt x="54997" y="0"/>
                  </a:cubicBezTo>
                  <a:lnTo>
                    <a:pt x="30004" y="0"/>
                  </a:lnTo>
                  <a:cubicBezTo>
                    <a:pt x="28619" y="5"/>
                    <a:pt x="27499" y="1130"/>
                    <a:pt x="27499" y="2515"/>
                  </a:cubicBezTo>
                  <a:lnTo>
                    <a:pt x="27499" y="5010"/>
                  </a:lnTo>
                  <a:lnTo>
                    <a:pt x="2496" y="5010"/>
                  </a:lnTo>
                  <a:cubicBezTo>
                    <a:pt x="1117" y="5010"/>
                    <a:pt x="0" y="6127"/>
                    <a:pt x="0" y="7506"/>
                  </a:cubicBezTo>
                  <a:lnTo>
                    <a:pt x="0" y="17507"/>
                  </a:lnTo>
                  <a:cubicBezTo>
                    <a:pt x="0" y="18885"/>
                    <a:pt x="1117" y="20003"/>
                    <a:pt x="2496" y="20003"/>
                  </a:cubicBezTo>
                  <a:lnTo>
                    <a:pt x="27499" y="20003"/>
                  </a:lnTo>
                  <a:lnTo>
                    <a:pt x="27499" y="22508"/>
                  </a:lnTo>
                  <a:cubicBezTo>
                    <a:pt x="27499" y="23891"/>
                    <a:pt x="28620" y="25013"/>
                    <a:pt x="30004" y="25013"/>
                  </a:cubicBezTo>
                  <a:lnTo>
                    <a:pt x="34995" y="25013"/>
                  </a:lnTo>
                  <a:lnTo>
                    <a:pt x="34995" y="32480"/>
                  </a:lnTo>
                  <a:cubicBezTo>
                    <a:pt x="35000" y="33865"/>
                    <a:pt x="36124" y="34985"/>
                    <a:pt x="37509" y="34985"/>
                  </a:cubicBezTo>
                  <a:lnTo>
                    <a:pt x="40005" y="34985"/>
                  </a:lnTo>
                  <a:lnTo>
                    <a:pt x="40005" y="45006"/>
                  </a:lnTo>
                  <a:lnTo>
                    <a:pt x="37509" y="45006"/>
                  </a:lnTo>
                  <a:cubicBezTo>
                    <a:pt x="36124" y="45006"/>
                    <a:pt x="35000" y="46126"/>
                    <a:pt x="34995" y="47511"/>
                  </a:cubicBezTo>
                  <a:lnTo>
                    <a:pt x="34995" y="60903"/>
                  </a:lnTo>
                  <a:cubicBezTo>
                    <a:pt x="35014" y="62199"/>
                    <a:pt x="34188" y="63356"/>
                    <a:pt x="32957" y="63760"/>
                  </a:cubicBezTo>
                  <a:cubicBezTo>
                    <a:pt x="29682" y="64855"/>
                    <a:pt x="27481" y="67928"/>
                    <a:pt x="27499" y="71380"/>
                  </a:cubicBezTo>
                  <a:lnTo>
                    <a:pt x="27499" y="107575"/>
                  </a:lnTo>
                  <a:cubicBezTo>
                    <a:pt x="27511" y="108428"/>
                    <a:pt x="27669" y="109272"/>
                    <a:pt x="27965" y="110071"/>
                  </a:cubicBezTo>
                  <a:lnTo>
                    <a:pt x="22498" y="110071"/>
                  </a:lnTo>
                  <a:cubicBezTo>
                    <a:pt x="10070" y="110327"/>
                    <a:pt x="203" y="120609"/>
                    <a:pt x="458" y="133037"/>
                  </a:cubicBezTo>
                  <a:cubicBezTo>
                    <a:pt x="707" y="145105"/>
                    <a:pt x="10430" y="154828"/>
                    <a:pt x="22498" y="155077"/>
                  </a:cubicBezTo>
                  <a:lnTo>
                    <a:pt x="132512" y="155077"/>
                  </a:lnTo>
                  <a:cubicBezTo>
                    <a:pt x="144940" y="155332"/>
                    <a:pt x="155222" y="145465"/>
                    <a:pt x="155478" y="133037"/>
                  </a:cubicBezTo>
                  <a:cubicBezTo>
                    <a:pt x="155733" y="120609"/>
                    <a:pt x="145866" y="110327"/>
                    <a:pt x="133438" y="110071"/>
                  </a:cubicBezTo>
                  <a:cubicBezTo>
                    <a:pt x="133129" y="110065"/>
                    <a:pt x="132820" y="110065"/>
                    <a:pt x="132512" y="110071"/>
                  </a:cubicBezTo>
                  <a:lnTo>
                    <a:pt x="127054" y="110071"/>
                  </a:lnTo>
                  <a:cubicBezTo>
                    <a:pt x="127347" y="109271"/>
                    <a:pt x="127502" y="108427"/>
                    <a:pt x="127511" y="107575"/>
                  </a:cubicBezTo>
                  <a:lnTo>
                    <a:pt x="127511" y="71380"/>
                  </a:lnTo>
                  <a:cubicBezTo>
                    <a:pt x="127533" y="67924"/>
                    <a:pt x="125326" y="64846"/>
                    <a:pt x="122044" y="63760"/>
                  </a:cubicBezTo>
                  <a:cubicBezTo>
                    <a:pt x="120816" y="63351"/>
                    <a:pt x="119993" y="62197"/>
                    <a:pt x="120005" y="60903"/>
                  </a:cubicBezTo>
                  <a:lnTo>
                    <a:pt x="120005" y="47511"/>
                  </a:lnTo>
                  <a:cubicBezTo>
                    <a:pt x="120011" y="46132"/>
                    <a:pt x="118898" y="45011"/>
                    <a:pt x="117519" y="45006"/>
                  </a:cubicBezTo>
                  <a:cubicBezTo>
                    <a:pt x="117516" y="45006"/>
                    <a:pt x="117513" y="45006"/>
                    <a:pt x="117510" y="45006"/>
                  </a:cubicBezTo>
                  <a:lnTo>
                    <a:pt x="107509" y="45006"/>
                  </a:lnTo>
                  <a:cubicBezTo>
                    <a:pt x="106130" y="45006"/>
                    <a:pt x="105013" y="46123"/>
                    <a:pt x="105013" y="47501"/>
                  </a:cubicBezTo>
                  <a:cubicBezTo>
                    <a:pt x="105013" y="47504"/>
                    <a:pt x="105013" y="47508"/>
                    <a:pt x="105013" y="47511"/>
                  </a:cubicBezTo>
                  <a:lnTo>
                    <a:pt x="105013" y="60903"/>
                  </a:lnTo>
                  <a:cubicBezTo>
                    <a:pt x="105027" y="62200"/>
                    <a:pt x="104198" y="63357"/>
                    <a:pt x="102965" y="63760"/>
                  </a:cubicBezTo>
                  <a:cubicBezTo>
                    <a:pt x="99691" y="64855"/>
                    <a:pt x="97490" y="67928"/>
                    <a:pt x="97507" y="71380"/>
                  </a:cubicBezTo>
                  <a:lnTo>
                    <a:pt x="97507" y="107575"/>
                  </a:lnTo>
                  <a:cubicBezTo>
                    <a:pt x="97517" y="108427"/>
                    <a:pt x="97671" y="109271"/>
                    <a:pt x="97965" y="110071"/>
                  </a:cubicBezTo>
                  <a:lnTo>
                    <a:pt x="92050" y="110071"/>
                  </a:lnTo>
                  <a:cubicBezTo>
                    <a:pt x="92343" y="109271"/>
                    <a:pt x="92498" y="108427"/>
                    <a:pt x="92507" y="107575"/>
                  </a:cubicBezTo>
                  <a:lnTo>
                    <a:pt x="92507" y="71380"/>
                  </a:lnTo>
                  <a:cubicBezTo>
                    <a:pt x="92524" y="67928"/>
                    <a:pt x="90323" y="64855"/>
                    <a:pt x="87049" y="63760"/>
                  </a:cubicBezTo>
                  <a:cubicBezTo>
                    <a:pt x="85818" y="63356"/>
                    <a:pt x="84992" y="62199"/>
                    <a:pt x="85011" y="60903"/>
                  </a:cubicBezTo>
                  <a:lnTo>
                    <a:pt x="85011" y="47511"/>
                  </a:lnTo>
                  <a:cubicBezTo>
                    <a:pt x="85011" y="46131"/>
                    <a:pt x="83895" y="45011"/>
                    <a:pt x="82515" y="45006"/>
                  </a:cubicBezTo>
                  <a:lnTo>
                    <a:pt x="72504" y="45006"/>
                  </a:lnTo>
                  <a:cubicBezTo>
                    <a:pt x="71125" y="45011"/>
                    <a:pt x="70009" y="46131"/>
                    <a:pt x="70009" y="47511"/>
                  </a:cubicBezTo>
                  <a:lnTo>
                    <a:pt x="70009" y="60903"/>
                  </a:lnTo>
                  <a:cubicBezTo>
                    <a:pt x="70021" y="62197"/>
                    <a:pt x="69198" y="63351"/>
                    <a:pt x="67970" y="63760"/>
                  </a:cubicBezTo>
                  <a:cubicBezTo>
                    <a:pt x="64692" y="64850"/>
                    <a:pt x="62489" y="67926"/>
                    <a:pt x="62513" y="71380"/>
                  </a:cubicBezTo>
                  <a:lnTo>
                    <a:pt x="62513" y="107575"/>
                  </a:lnTo>
                  <a:cubicBezTo>
                    <a:pt x="62517" y="108428"/>
                    <a:pt x="62672" y="109272"/>
                    <a:pt x="62970" y="110071"/>
                  </a:cubicBezTo>
                  <a:lnTo>
                    <a:pt x="57036" y="110071"/>
                  </a:lnTo>
                  <a:cubicBezTo>
                    <a:pt x="57337" y="109273"/>
                    <a:pt x="57495" y="108428"/>
                    <a:pt x="57502" y="107575"/>
                  </a:cubicBezTo>
                  <a:lnTo>
                    <a:pt x="57502" y="71380"/>
                  </a:lnTo>
                  <a:cubicBezTo>
                    <a:pt x="57523" y="67927"/>
                    <a:pt x="55321" y="64852"/>
                    <a:pt x="52045" y="63760"/>
                  </a:cubicBezTo>
                  <a:cubicBezTo>
                    <a:pt x="50815" y="63354"/>
                    <a:pt x="49991" y="62198"/>
                    <a:pt x="50006" y="60903"/>
                  </a:cubicBezTo>
                  <a:lnTo>
                    <a:pt x="50006" y="47511"/>
                  </a:lnTo>
                  <a:cubicBezTo>
                    <a:pt x="50006" y="46127"/>
                    <a:pt x="48885" y="45006"/>
                    <a:pt x="47501" y="45006"/>
                  </a:cubicBezTo>
                  <a:lnTo>
                    <a:pt x="45006" y="45006"/>
                  </a:lnTo>
                  <a:lnTo>
                    <a:pt x="45006" y="35014"/>
                  </a:lnTo>
                  <a:close/>
                </a:path>
              </a:pathLst>
            </a:custGeom>
            <a:solidFill>
              <a:srgbClr val="1F689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2" name="Graphic 111">
            <a:extLst>
              <a:ext uri="{FF2B5EF4-FFF2-40B4-BE49-F238E27FC236}">
                <a16:creationId xmlns:a16="http://schemas.microsoft.com/office/drawing/2014/main" id="{4AB777D8-8487-8F40-B8C8-F9A5F63A4855}"/>
              </a:ext>
            </a:extLst>
          </p:cNvPr>
          <p:cNvGrpSpPr/>
          <p:nvPr userDrawn="1"/>
        </p:nvGrpSpPr>
        <p:grpSpPr>
          <a:xfrm>
            <a:off x="6397028" y="1517361"/>
            <a:ext cx="349023" cy="349023"/>
            <a:chOff x="6397028" y="1517361"/>
            <a:chExt cx="349023" cy="349023"/>
          </a:xfrm>
        </p:grpSpPr>
        <p:sp>
          <p:nvSpPr>
            <p:cNvPr id="93" name="Freeform 92">
              <a:extLst>
                <a:ext uri="{FF2B5EF4-FFF2-40B4-BE49-F238E27FC236}">
                  <a16:creationId xmlns:a16="http://schemas.microsoft.com/office/drawing/2014/main" id="{8B3782DA-B1A4-E940-A33F-F2D1C6479708}"/>
                </a:ext>
              </a:extLst>
            </p:cNvPr>
            <p:cNvSpPr/>
            <p:nvPr/>
          </p:nvSpPr>
          <p:spPr>
            <a:xfrm>
              <a:off x="6447679" y="1773063"/>
              <a:ext cx="44007" cy="43998"/>
            </a:xfrm>
            <a:custGeom>
              <a:avLst/>
              <a:gdLst>
                <a:gd name="connsiteX0" fmla="*/ 42515 w 44007"/>
                <a:gd name="connsiteY0" fmla="*/ 1571 h 43998"/>
                <a:gd name="connsiteX1" fmla="*/ 35358 w 44007"/>
                <a:gd name="connsiteY1" fmla="*/ 1551 h 43998"/>
                <a:gd name="connsiteX2" fmla="*/ 35339 w 44007"/>
                <a:gd name="connsiteY2" fmla="*/ 1571 h 43998"/>
                <a:gd name="connsiteX3" fmla="*/ 22032 w 44007"/>
                <a:gd name="connsiteY3" fmla="*/ 14877 h 43998"/>
                <a:gd name="connsiteX4" fmla="*/ 8726 w 44007"/>
                <a:gd name="connsiteY4" fmla="*/ 1571 h 43998"/>
                <a:gd name="connsiteX5" fmla="*/ 1571 w 44007"/>
                <a:gd name="connsiteY5" fmla="*/ 1396 h 43998"/>
                <a:gd name="connsiteX6" fmla="*/ 1396 w 44007"/>
                <a:gd name="connsiteY6" fmla="*/ 8551 h 43998"/>
                <a:gd name="connsiteX7" fmla="*/ 1571 w 44007"/>
                <a:gd name="connsiteY7" fmla="*/ 8726 h 43998"/>
                <a:gd name="connsiteX8" fmla="*/ 14877 w 44007"/>
                <a:gd name="connsiteY8" fmla="*/ 22032 h 43998"/>
                <a:gd name="connsiteX9" fmla="*/ 1571 w 44007"/>
                <a:gd name="connsiteY9" fmla="*/ 35339 h 43998"/>
                <a:gd name="connsiteX10" fmla="*/ 1560 w 44007"/>
                <a:gd name="connsiteY10" fmla="*/ 42504 h 43998"/>
                <a:gd name="connsiteX11" fmla="*/ 8726 w 44007"/>
                <a:gd name="connsiteY11" fmla="*/ 42515 h 43998"/>
                <a:gd name="connsiteX12" fmla="*/ 22032 w 44007"/>
                <a:gd name="connsiteY12" fmla="*/ 29209 h 43998"/>
                <a:gd name="connsiteX13" fmla="*/ 35339 w 44007"/>
                <a:gd name="connsiteY13" fmla="*/ 42515 h 43998"/>
                <a:gd name="connsiteX14" fmla="*/ 42515 w 44007"/>
                <a:gd name="connsiteY14" fmla="*/ 42515 h 43998"/>
                <a:gd name="connsiteX15" fmla="*/ 42535 w 44007"/>
                <a:gd name="connsiteY15" fmla="*/ 35358 h 43998"/>
                <a:gd name="connsiteX16" fmla="*/ 42515 w 44007"/>
                <a:gd name="connsiteY16" fmla="*/ 35339 h 43998"/>
                <a:gd name="connsiteX17" fmla="*/ 29209 w 44007"/>
                <a:gd name="connsiteY17" fmla="*/ 22032 h 43998"/>
                <a:gd name="connsiteX18" fmla="*/ 42515 w 44007"/>
                <a:gd name="connsiteY18" fmla="*/ 8726 h 43998"/>
                <a:gd name="connsiteX19" fmla="*/ 42544 w 44007"/>
                <a:gd name="connsiteY19" fmla="*/ 1599 h 43998"/>
                <a:gd name="connsiteX20" fmla="*/ 42515 w 44007"/>
                <a:gd name="connsiteY20" fmla="*/ 1571 h 4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007" h="43998">
                  <a:moveTo>
                    <a:pt x="42515" y="1571"/>
                  </a:moveTo>
                  <a:cubicBezTo>
                    <a:pt x="40544" y="-411"/>
                    <a:pt x="37340" y="-420"/>
                    <a:pt x="35358" y="1551"/>
                  </a:cubicBezTo>
                  <a:cubicBezTo>
                    <a:pt x="35352" y="1557"/>
                    <a:pt x="35345" y="1564"/>
                    <a:pt x="35339" y="1571"/>
                  </a:cubicBezTo>
                  <a:lnTo>
                    <a:pt x="22032" y="14877"/>
                  </a:lnTo>
                  <a:lnTo>
                    <a:pt x="8726" y="1571"/>
                  </a:lnTo>
                  <a:cubicBezTo>
                    <a:pt x="6798" y="-453"/>
                    <a:pt x="3595" y="-532"/>
                    <a:pt x="1571" y="1396"/>
                  </a:cubicBezTo>
                  <a:cubicBezTo>
                    <a:pt x="-453" y="3324"/>
                    <a:pt x="-531" y="6527"/>
                    <a:pt x="1396" y="8551"/>
                  </a:cubicBezTo>
                  <a:cubicBezTo>
                    <a:pt x="1453" y="8611"/>
                    <a:pt x="1511" y="8669"/>
                    <a:pt x="1571" y="8726"/>
                  </a:cubicBezTo>
                  <a:lnTo>
                    <a:pt x="14877" y="22032"/>
                  </a:lnTo>
                  <a:lnTo>
                    <a:pt x="1571" y="35339"/>
                  </a:lnTo>
                  <a:cubicBezTo>
                    <a:pt x="-411" y="37314"/>
                    <a:pt x="-416" y="40523"/>
                    <a:pt x="1560" y="42504"/>
                  </a:cubicBezTo>
                  <a:cubicBezTo>
                    <a:pt x="3536" y="44486"/>
                    <a:pt x="6744" y="44491"/>
                    <a:pt x="8726" y="42515"/>
                  </a:cubicBezTo>
                  <a:lnTo>
                    <a:pt x="22032" y="29209"/>
                  </a:lnTo>
                  <a:lnTo>
                    <a:pt x="35339" y="42515"/>
                  </a:lnTo>
                  <a:cubicBezTo>
                    <a:pt x="37322" y="44493"/>
                    <a:pt x="40532" y="44493"/>
                    <a:pt x="42515" y="42515"/>
                  </a:cubicBezTo>
                  <a:cubicBezTo>
                    <a:pt x="44497" y="40544"/>
                    <a:pt x="44506" y="37340"/>
                    <a:pt x="42535" y="35358"/>
                  </a:cubicBezTo>
                  <a:cubicBezTo>
                    <a:pt x="42529" y="35352"/>
                    <a:pt x="42522" y="35345"/>
                    <a:pt x="42515" y="35339"/>
                  </a:cubicBezTo>
                  <a:lnTo>
                    <a:pt x="29209" y="22032"/>
                  </a:lnTo>
                  <a:lnTo>
                    <a:pt x="42515" y="8726"/>
                  </a:lnTo>
                  <a:cubicBezTo>
                    <a:pt x="44491" y="6766"/>
                    <a:pt x="44504" y="3575"/>
                    <a:pt x="42544" y="1599"/>
                  </a:cubicBezTo>
                  <a:cubicBezTo>
                    <a:pt x="42535" y="1590"/>
                    <a:pt x="42525" y="1580"/>
                    <a:pt x="42515" y="1571"/>
                  </a:cubicBezTo>
                  <a:close/>
                </a:path>
              </a:pathLst>
            </a:custGeom>
            <a:solidFill>
              <a:srgbClr val="1F6898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 93">
              <a:extLst>
                <a:ext uri="{FF2B5EF4-FFF2-40B4-BE49-F238E27FC236}">
                  <a16:creationId xmlns:a16="http://schemas.microsoft.com/office/drawing/2014/main" id="{1B1EAAE3-8F91-4E4A-99DF-D9B45B488C91}"/>
                </a:ext>
              </a:extLst>
            </p:cNvPr>
            <p:cNvSpPr/>
            <p:nvPr/>
          </p:nvSpPr>
          <p:spPr>
            <a:xfrm>
              <a:off x="6417358" y="1521723"/>
              <a:ext cx="311241" cy="346012"/>
            </a:xfrm>
            <a:custGeom>
              <a:avLst/>
              <a:gdLst>
                <a:gd name="connsiteX0" fmla="*/ 285937 w 311241"/>
                <a:gd name="connsiteY0" fmla="*/ 23232 h 346012"/>
                <a:gd name="connsiteX1" fmla="*/ 264276 w 311241"/>
                <a:gd name="connsiteY1" fmla="*/ 23232 h 346012"/>
                <a:gd name="connsiteX2" fmla="*/ 264276 w 311241"/>
                <a:gd name="connsiteY2" fmla="*/ 15488 h 346012"/>
                <a:gd name="connsiteX3" fmla="*/ 248875 w 311241"/>
                <a:gd name="connsiteY3" fmla="*/ 0 h 346012"/>
                <a:gd name="connsiteX4" fmla="*/ 248853 w 311241"/>
                <a:gd name="connsiteY4" fmla="*/ 0 h 346012"/>
                <a:gd name="connsiteX5" fmla="*/ 246541 w 311241"/>
                <a:gd name="connsiteY5" fmla="*/ 0 h 346012"/>
                <a:gd name="connsiteX6" fmla="*/ 231119 w 311241"/>
                <a:gd name="connsiteY6" fmla="*/ 15423 h 346012"/>
                <a:gd name="connsiteX7" fmla="*/ 231119 w 311241"/>
                <a:gd name="connsiteY7" fmla="*/ 23167 h 346012"/>
                <a:gd name="connsiteX8" fmla="*/ 80188 w 311241"/>
                <a:gd name="connsiteY8" fmla="*/ 23167 h 346012"/>
                <a:gd name="connsiteX9" fmla="*/ 80188 w 311241"/>
                <a:gd name="connsiteY9" fmla="*/ 15488 h 346012"/>
                <a:gd name="connsiteX10" fmla="*/ 64787 w 311241"/>
                <a:gd name="connsiteY10" fmla="*/ 0 h 346012"/>
                <a:gd name="connsiteX11" fmla="*/ 64744 w 311241"/>
                <a:gd name="connsiteY11" fmla="*/ 0 h 346012"/>
                <a:gd name="connsiteX12" fmla="*/ 62562 w 311241"/>
                <a:gd name="connsiteY12" fmla="*/ 0 h 346012"/>
                <a:gd name="connsiteX13" fmla="*/ 47031 w 311241"/>
                <a:gd name="connsiteY13" fmla="*/ 15357 h 346012"/>
                <a:gd name="connsiteX14" fmla="*/ 47031 w 311241"/>
                <a:gd name="connsiteY14" fmla="*/ 15488 h 346012"/>
                <a:gd name="connsiteX15" fmla="*/ 47031 w 311241"/>
                <a:gd name="connsiteY15" fmla="*/ 23232 h 346012"/>
                <a:gd name="connsiteX16" fmla="*/ 25479 w 311241"/>
                <a:gd name="connsiteY16" fmla="*/ 23232 h 346012"/>
                <a:gd name="connsiteX17" fmla="*/ 0 w 311241"/>
                <a:gd name="connsiteY17" fmla="*/ 48580 h 346012"/>
                <a:gd name="connsiteX18" fmla="*/ 0 w 311241"/>
                <a:gd name="connsiteY18" fmla="*/ 48602 h 346012"/>
                <a:gd name="connsiteX19" fmla="*/ 0 w 311241"/>
                <a:gd name="connsiteY19" fmla="*/ 320665 h 346012"/>
                <a:gd name="connsiteX20" fmla="*/ 25326 w 311241"/>
                <a:gd name="connsiteY20" fmla="*/ 346013 h 346012"/>
                <a:gd name="connsiteX21" fmla="*/ 285981 w 311241"/>
                <a:gd name="connsiteY21" fmla="*/ 346013 h 346012"/>
                <a:gd name="connsiteX22" fmla="*/ 311241 w 311241"/>
                <a:gd name="connsiteY22" fmla="*/ 320665 h 346012"/>
                <a:gd name="connsiteX23" fmla="*/ 311241 w 311241"/>
                <a:gd name="connsiteY23" fmla="*/ 48602 h 346012"/>
                <a:gd name="connsiteX24" fmla="*/ 285937 w 311241"/>
                <a:gd name="connsiteY24" fmla="*/ 23232 h 346012"/>
                <a:gd name="connsiteX25" fmla="*/ 241262 w 311241"/>
                <a:gd name="connsiteY25" fmla="*/ 15488 h 346012"/>
                <a:gd name="connsiteX26" fmla="*/ 246541 w 311241"/>
                <a:gd name="connsiteY26" fmla="*/ 10209 h 346012"/>
                <a:gd name="connsiteX27" fmla="*/ 248853 w 311241"/>
                <a:gd name="connsiteY27" fmla="*/ 10209 h 346012"/>
                <a:gd name="connsiteX28" fmla="*/ 254132 w 311241"/>
                <a:gd name="connsiteY28" fmla="*/ 15488 h 346012"/>
                <a:gd name="connsiteX29" fmla="*/ 254132 w 311241"/>
                <a:gd name="connsiteY29" fmla="*/ 23232 h 346012"/>
                <a:gd name="connsiteX30" fmla="*/ 241262 w 311241"/>
                <a:gd name="connsiteY30" fmla="*/ 23232 h 346012"/>
                <a:gd name="connsiteX31" fmla="*/ 62562 w 311241"/>
                <a:gd name="connsiteY31" fmla="*/ 10209 h 346012"/>
                <a:gd name="connsiteX32" fmla="*/ 64744 w 311241"/>
                <a:gd name="connsiteY32" fmla="*/ 10209 h 346012"/>
                <a:gd name="connsiteX33" fmla="*/ 70045 w 311241"/>
                <a:gd name="connsiteY33" fmla="*/ 15466 h 346012"/>
                <a:gd name="connsiteX34" fmla="*/ 70045 w 311241"/>
                <a:gd name="connsiteY34" fmla="*/ 15488 h 346012"/>
                <a:gd name="connsiteX35" fmla="*/ 70045 w 311241"/>
                <a:gd name="connsiteY35" fmla="*/ 23232 h 346012"/>
                <a:gd name="connsiteX36" fmla="*/ 57174 w 311241"/>
                <a:gd name="connsiteY36" fmla="*/ 23232 h 346012"/>
                <a:gd name="connsiteX37" fmla="*/ 57174 w 311241"/>
                <a:gd name="connsiteY37" fmla="*/ 15488 h 346012"/>
                <a:gd name="connsiteX38" fmla="*/ 57174 w 311241"/>
                <a:gd name="connsiteY38" fmla="*/ 15488 h 346012"/>
                <a:gd name="connsiteX39" fmla="*/ 62452 w 311241"/>
                <a:gd name="connsiteY39" fmla="*/ 10208 h 346012"/>
                <a:gd name="connsiteX40" fmla="*/ 62562 w 311241"/>
                <a:gd name="connsiteY40" fmla="*/ 10209 h 346012"/>
                <a:gd name="connsiteX41" fmla="*/ 301163 w 311241"/>
                <a:gd name="connsiteY41" fmla="*/ 320665 h 346012"/>
                <a:gd name="connsiteX42" fmla="*/ 285893 w 311241"/>
                <a:gd name="connsiteY42" fmla="*/ 335935 h 346012"/>
                <a:gd name="connsiteX43" fmla="*/ 25326 w 311241"/>
                <a:gd name="connsiteY43" fmla="*/ 335935 h 346012"/>
                <a:gd name="connsiteX44" fmla="*/ 10056 w 311241"/>
                <a:gd name="connsiteY44" fmla="*/ 320665 h 346012"/>
                <a:gd name="connsiteX45" fmla="*/ 10056 w 311241"/>
                <a:gd name="connsiteY45" fmla="*/ 320665 h 346012"/>
                <a:gd name="connsiteX46" fmla="*/ 25326 w 311241"/>
                <a:gd name="connsiteY46" fmla="*/ 325770 h 346012"/>
                <a:gd name="connsiteX47" fmla="*/ 230791 w 311241"/>
                <a:gd name="connsiteY47" fmla="*/ 325770 h 346012"/>
                <a:gd name="connsiteX48" fmla="*/ 248723 w 311241"/>
                <a:gd name="connsiteY48" fmla="*/ 318331 h 346012"/>
                <a:gd name="connsiteX49" fmla="*/ 301076 w 311241"/>
                <a:gd name="connsiteY49" fmla="*/ 265978 h 346012"/>
                <a:gd name="connsiteX50" fmla="*/ 243618 w 311241"/>
                <a:gd name="connsiteY50" fmla="*/ 309147 h 346012"/>
                <a:gd name="connsiteX51" fmla="*/ 244229 w 311241"/>
                <a:gd name="connsiteY51" fmla="*/ 304043 h 346012"/>
                <a:gd name="connsiteX52" fmla="*/ 244229 w 311241"/>
                <a:gd name="connsiteY52" fmla="*/ 270210 h 346012"/>
                <a:gd name="connsiteX53" fmla="*/ 255790 w 311241"/>
                <a:gd name="connsiteY53" fmla="*/ 258648 h 346012"/>
                <a:gd name="connsiteX54" fmla="*/ 289624 w 311241"/>
                <a:gd name="connsiteY54" fmla="*/ 258648 h 346012"/>
                <a:gd name="connsiteX55" fmla="*/ 294728 w 311241"/>
                <a:gd name="connsiteY55" fmla="*/ 258037 h 346012"/>
                <a:gd name="connsiteX56" fmla="*/ 301185 w 311241"/>
                <a:gd name="connsiteY56" fmla="*/ 95654 h 346012"/>
                <a:gd name="connsiteX57" fmla="*/ 257841 w 311241"/>
                <a:gd name="connsiteY57" fmla="*/ 95654 h 346012"/>
                <a:gd name="connsiteX58" fmla="*/ 252780 w 311241"/>
                <a:gd name="connsiteY58" fmla="*/ 100715 h 346012"/>
                <a:gd name="connsiteX59" fmla="*/ 257841 w 311241"/>
                <a:gd name="connsiteY59" fmla="*/ 105776 h 346012"/>
                <a:gd name="connsiteX60" fmla="*/ 301163 w 311241"/>
                <a:gd name="connsiteY60" fmla="*/ 105776 h 346012"/>
                <a:gd name="connsiteX61" fmla="*/ 301163 w 311241"/>
                <a:gd name="connsiteY61" fmla="*/ 236943 h 346012"/>
                <a:gd name="connsiteX62" fmla="*/ 289602 w 311241"/>
                <a:gd name="connsiteY62" fmla="*/ 248505 h 346012"/>
                <a:gd name="connsiteX63" fmla="*/ 255768 w 311241"/>
                <a:gd name="connsiteY63" fmla="*/ 248505 h 346012"/>
                <a:gd name="connsiteX64" fmla="*/ 234085 w 311241"/>
                <a:gd name="connsiteY64" fmla="*/ 270210 h 346012"/>
                <a:gd name="connsiteX65" fmla="*/ 234085 w 311241"/>
                <a:gd name="connsiteY65" fmla="*/ 304043 h 346012"/>
                <a:gd name="connsiteX66" fmla="*/ 222502 w 311241"/>
                <a:gd name="connsiteY66" fmla="*/ 315604 h 346012"/>
                <a:gd name="connsiteX67" fmla="*/ 25479 w 311241"/>
                <a:gd name="connsiteY67" fmla="*/ 315604 h 346012"/>
                <a:gd name="connsiteX68" fmla="*/ 10209 w 311241"/>
                <a:gd name="connsiteY68" fmla="*/ 300335 h 346012"/>
                <a:gd name="connsiteX69" fmla="*/ 10209 w 311241"/>
                <a:gd name="connsiteY69" fmla="*/ 105776 h 346012"/>
                <a:gd name="connsiteX70" fmla="*/ 237554 w 311241"/>
                <a:gd name="connsiteY70" fmla="*/ 105776 h 346012"/>
                <a:gd name="connsiteX71" fmla="*/ 242615 w 311241"/>
                <a:gd name="connsiteY71" fmla="*/ 100715 h 346012"/>
                <a:gd name="connsiteX72" fmla="*/ 237554 w 311241"/>
                <a:gd name="connsiteY72" fmla="*/ 95654 h 346012"/>
                <a:gd name="connsiteX73" fmla="*/ 10209 w 311241"/>
                <a:gd name="connsiteY73" fmla="*/ 95654 h 346012"/>
                <a:gd name="connsiteX74" fmla="*/ 10209 w 311241"/>
                <a:gd name="connsiteY74" fmla="*/ 48602 h 346012"/>
                <a:gd name="connsiteX75" fmla="*/ 25479 w 311241"/>
                <a:gd name="connsiteY75" fmla="*/ 33332 h 346012"/>
                <a:gd name="connsiteX76" fmla="*/ 47140 w 311241"/>
                <a:gd name="connsiteY76" fmla="*/ 33332 h 346012"/>
                <a:gd name="connsiteX77" fmla="*/ 47140 w 311241"/>
                <a:gd name="connsiteY77" fmla="*/ 48231 h 346012"/>
                <a:gd name="connsiteX78" fmla="*/ 62562 w 311241"/>
                <a:gd name="connsiteY78" fmla="*/ 63653 h 346012"/>
                <a:gd name="connsiteX79" fmla="*/ 67301 w 311241"/>
                <a:gd name="connsiteY79" fmla="*/ 58249 h 346012"/>
                <a:gd name="connsiteX80" fmla="*/ 62562 w 311241"/>
                <a:gd name="connsiteY80" fmla="*/ 53510 h 346012"/>
                <a:gd name="connsiteX81" fmla="*/ 57283 w 311241"/>
                <a:gd name="connsiteY81" fmla="*/ 48231 h 346012"/>
                <a:gd name="connsiteX82" fmla="*/ 57283 w 311241"/>
                <a:gd name="connsiteY82" fmla="*/ 33354 h 346012"/>
                <a:gd name="connsiteX83" fmla="*/ 231228 w 311241"/>
                <a:gd name="connsiteY83" fmla="*/ 33354 h 346012"/>
                <a:gd name="connsiteX84" fmla="*/ 231228 w 311241"/>
                <a:gd name="connsiteY84" fmla="*/ 48253 h 346012"/>
                <a:gd name="connsiteX85" fmla="*/ 246650 w 311241"/>
                <a:gd name="connsiteY85" fmla="*/ 63675 h 346012"/>
                <a:gd name="connsiteX86" fmla="*/ 251389 w 311241"/>
                <a:gd name="connsiteY86" fmla="*/ 58271 h 346012"/>
                <a:gd name="connsiteX87" fmla="*/ 246650 w 311241"/>
                <a:gd name="connsiteY87" fmla="*/ 53532 h 346012"/>
                <a:gd name="connsiteX88" fmla="*/ 241371 w 311241"/>
                <a:gd name="connsiteY88" fmla="*/ 48253 h 346012"/>
                <a:gd name="connsiteX89" fmla="*/ 241371 w 311241"/>
                <a:gd name="connsiteY89" fmla="*/ 33354 h 346012"/>
                <a:gd name="connsiteX90" fmla="*/ 285937 w 311241"/>
                <a:gd name="connsiteY90" fmla="*/ 33354 h 346012"/>
                <a:gd name="connsiteX91" fmla="*/ 301207 w 311241"/>
                <a:gd name="connsiteY91" fmla="*/ 48624 h 346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11241" h="346012">
                  <a:moveTo>
                    <a:pt x="285937" y="23232"/>
                  </a:moveTo>
                  <a:lnTo>
                    <a:pt x="264276" y="23232"/>
                  </a:lnTo>
                  <a:lnTo>
                    <a:pt x="264276" y="15488"/>
                  </a:lnTo>
                  <a:cubicBezTo>
                    <a:pt x="264300" y="6959"/>
                    <a:pt x="257405" y="24"/>
                    <a:pt x="248875" y="0"/>
                  </a:cubicBezTo>
                  <a:cubicBezTo>
                    <a:pt x="248868" y="0"/>
                    <a:pt x="248861" y="0"/>
                    <a:pt x="248853" y="0"/>
                  </a:cubicBezTo>
                  <a:lnTo>
                    <a:pt x="246541" y="0"/>
                  </a:lnTo>
                  <a:cubicBezTo>
                    <a:pt x="238029" y="12"/>
                    <a:pt x="231131" y="6910"/>
                    <a:pt x="231119" y="15423"/>
                  </a:cubicBezTo>
                  <a:lnTo>
                    <a:pt x="231119" y="23167"/>
                  </a:lnTo>
                  <a:lnTo>
                    <a:pt x="80188" y="23167"/>
                  </a:lnTo>
                  <a:lnTo>
                    <a:pt x="80188" y="15488"/>
                  </a:lnTo>
                  <a:cubicBezTo>
                    <a:pt x="80212" y="6959"/>
                    <a:pt x="73317" y="24"/>
                    <a:pt x="64787" y="0"/>
                  </a:cubicBezTo>
                  <a:cubicBezTo>
                    <a:pt x="64773" y="0"/>
                    <a:pt x="64758" y="0"/>
                    <a:pt x="64744" y="0"/>
                  </a:cubicBezTo>
                  <a:lnTo>
                    <a:pt x="62562" y="0"/>
                  </a:lnTo>
                  <a:cubicBezTo>
                    <a:pt x="54033" y="-48"/>
                    <a:pt x="47079" y="6827"/>
                    <a:pt x="47031" y="15357"/>
                  </a:cubicBezTo>
                  <a:cubicBezTo>
                    <a:pt x="47031" y="15401"/>
                    <a:pt x="47031" y="15444"/>
                    <a:pt x="47031" y="15488"/>
                  </a:cubicBezTo>
                  <a:lnTo>
                    <a:pt x="47031" y="23232"/>
                  </a:lnTo>
                  <a:lnTo>
                    <a:pt x="25479" y="23232"/>
                  </a:lnTo>
                  <a:cubicBezTo>
                    <a:pt x="11443" y="23196"/>
                    <a:pt x="36" y="34544"/>
                    <a:pt x="0" y="48580"/>
                  </a:cubicBezTo>
                  <a:cubicBezTo>
                    <a:pt x="0" y="48587"/>
                    <a:pt x="0" y="48594"/>
                    <a:pt x="0" y="48602"/>
                  </a:cubicBezTo>
                  <a:lnTo>
                    <a:pt x="0" y="320665"/>
                  </a:lnTo>
                  <a:cubicBezTo>
                    <a:pt x="12" y="334651"/>
                    <a:pt x="11340" y="345989"/>
                    <a:pt x="25326" y="346013"/>
                  </a:cubicBezTo>
                  <a:lnTo>
                    <a:pt x="285981" y="346013"/>
                  </a:lnTo>
                  <a:cubicBezTo>
                    <a:pt x="299941" y="345953"/>
                    <a:pt x="311229" y="334625"/>
                    <a:pt x="311241" y="320665"/>
                  </a:cubicBezTo>
                  <a:lnTo>
                    <a:pt x="311241" y="48602"/>
                  </a:lnTo>
                  <a:cubicBezTo>
                    <a:pt x="311217" y="34626"/>
                    <a:pt x="299913" y="23292"/>
                    <a:pt x="285937" y="23232"/>
                  </a:cubicBezTo>
                  <a:close/>
                  <a:moveTo>
                    <a:pt x="241262" y="15488"/>
                  </a:moveTo>
                  <a:cubicBezTo>
                    <a:pt x="241262" y="12573"/>
                    <a:pt x="243626" y="10209"/>
                    <a:pt x="246541" y="10209"/>
                  </a:cubicBezTo>
                  <a:lnTo>
                    <a:pt x="248853" y="10209"/>
                  </a:lnTo>
                  <a:cubicBezTo>
                    <a:pt x="251769" y="10209"/>
                    <a:pt x="254132" y="12573"/>
                    <a:pt x="254132" y="15488"/>
                  </a:cubicBezTo>
                  <a:lnTo>
                    <a:pt x="254132" y="23232"/>
                  </a:lnTo>
                  <a:lnTo>
                    <a:pt x="241262" y="23232"/>
                  </a:lnTo>
                  <a:close/>
                  <a:moveTo>
                    <a:pt x="62562" y="10209"/>
                  </a:moveTo>
                  <a:lnTo>
                    <a:pt x="64744" y="10209"/>
                  </a:lnTo>
                  <a:cubicBezTo>
                    <a:pt x="67659" y="10197"/>
                    <a:pt x="70032" y="12551"/>
                    <a:pt x="70045" y="15466"/>
                  </a:cubicBezTo>
                  <a:cubicBezTo>
                    <a:pt x="70045" y="15474"/>
                    <a:pt x="70045" y="15481"/>
                    <a:pt x="70045" y="15488"/>
                  </a:cubicBezTo>
                  <a:lnTo>
                    <a:pt x="70045" y="23232"/>
                  </a:lnTo>
                  <a:lnTo>
                    <a:pt x="57174" y="23232"/>
                  </a:lnTo>
                  <a:lnTo>
                    <a:pt x="57174" y="15488"/>
                  </a:lnTo>
                  <a:lnTo>
                    <a:pt x="57174" y="15488"/>
                  </a:lnTo>
                  <a:cubicBezTo>
                    <a:pt x="57174" y="12573"/>
                    <a:pt x="59537" y="10209"/>
                    <a:pt x="62452" y="10208"/>
                  </a:cubicBezTo>
                  <a:cubicBezTo>
                    <a:pt x="62489" y="10208"/>
                    <a:pt x="62526" y="10208"/>
                    <a:pt x="62562" y="10209"/>
                  </a:cubicBezTo>
                  <a:close/>
                  <a:moveTo>
                    <a:pt x="301163" y="320665"/>
                  </a:moveTo>
                  <a:cubicBezTo>
                    <a:pt x="301163" y="329098"/>
                    <a:pt x="294327" y="335935"/>
                    <a:pt x="285893" y="335935"/>
                  </a:cubicBezTo>
                  <a:lnTo>
                    <a:pt x="25326" y="335935"/>
                  </a:lnTo>
                  <a:cubicBezTo>
                    <a:pt x="16893" y="335935"/>
                    <a:pt x="10056" y="329098"/>
                    <a:pt x="10056" y="320665"/>
                  </a:cubicBezTo>
                  <a:lnTo>
                    <a:pt x="10056" y="320665"/>
                  </a:lnTo>
                  <a:cubicBezTo>
                    <a:pt x="14452" y="323988"/>
                    <a:pt x="19815" y="325781"/>
                    <a:pt x="25326" y="325770"/>
                  </a:cubicBezTo>
                  <a:lnTo>
                    <a:pt x="230791" y="325770"/>
                  </a:lnTo>
                  <a:cubicBezTo>
                    <a:pt x="237522" y="325785"/>
                    <a:pt x="243979" y="323106"/>
                    <a:pt x="248723" y="318331"/>
                  </a:cubicBezTo>
                  <a:lnTo>
                    <a:pt x="301076" y="265978"/>
                  </a:lnTo>
                  <a:close/>
                  <a:moveTo>
                    <a:pt x="243618" y="309147"/>
                  </a:moveTo>
                  <a:cubicBezTo>
                    <a:pt x="244021" y="307476"/>
                    <a:pt x="244226" y="305762"/>
                    <a:pt x="244229" y="304043"/>
                  </a:cubicBezTo>
                  <a:lnTo>
                    <a:pt x="244229" y="270210"/>
                  </a:lnTo>
                  <a:cubicBezTo>
                    <a:pt x="244241" y="263829"/>
                    <a:pt x="249410" y="258660"/>
                    <a:pt x="255790" y="258648"/>
                  </a:cubicBezTo>
                  <a:lnTo>
                    <a:pt x="289624" y="258648"/>
                  </a:lnTo>
                  <a:cubicBezTo>
                    <a:pt x="291343" y="258646"/>
                    <a:pt x="293057" y="258441"/>
                    <a:pt x="294728" y="258037"/>
                  </a:cubicBezTo>
                  <a:close/>
                  <a:moveTo>
                    <a:pt x="301185" y="95654"/>
                  </a:moveTo>
                  <a:lnTo>
                    <a:pt x="257841" y="95654"/>
                  </a:lnTo>
                  <a:cubicBezTo>
                    <a:pt x="255046" y="95654"/>
                    <a:pt x="252780" y="97920"/>
                    <a:pt x="252780" y="100715"/>
                  </a:cubicBezTo>
                  <a:cubicBezTo>
                    <a:pt x="252780" y="103510"/>
                    <a:pt x="255046" y="105776"/>
                    <a:pt x="257841" y="105776"/>
                  </a:cubicBezTo>
                  <a:lnTo>
                    <a:pt x="301163" y="105776"/>
                  </a:lnTo>
                  <a:lnTo>
                    <a:pt x="301163" y="236943"/>
                  </a:lnTo>
                  <a:cubicBezTo>
                    <a:pt x="301163" y="243328"/>
                    <a:pt x="295987" y="248505"/>
                    <a:pt x="289602" y="248505"/>
                  </a:cubicBezTo>
                  <a:lnTo>
                    <a:pt x="255768" y="248505"/>
                  </a:lnTo>
                  <a:cubicBezTo>
                    <a:pt x="243814" y="248576"/>
                    <a:pt x="234145" y="258255"/>
                    <a:pt x="234085" y="270210"/>
                  </a:cubicBezTo>
                  <a:lnTo>
                    <a:pt x="234085" y="304043"/>
                  </a:lnTo>
                  <a:cubicBezTo>
                    <a:pt x="234073" y="310432"/>
                    <a:pt x="228891" y="315604"/>
                    <a:pt x="222502" y="315604"/>
                  </a:cubicBezTo>
                  <a:lnTo>
                    <a:pt x="25479" y="315604"/>
                  </a:lnTo>
                  <a:cubicBezTo>
                    <a:pt x="17045" y="315604"/>
                    <a:pt x="10209" y="308768"/>
                    <a:pt x="10209" y="300335"/>
                  </a:cubicBezTo>
                  <a:lnTo>
                    <a:pt x="10209" y="105776"/>
                  </a:lnTo>
                  <a:lnTo>
                    <a:pt x="237554" y="105776"/>
                  </a:lnTo>
                  <a:cubicBezTo>
                    <a:pt x="240349" y="105776"/>
                    <a:pt x="242615" y="103510"/>
                    <a:pt x="242615" y="100715"/>
                  </a:cubicBezTo>
                  <a:cubicBezTo>
                    <a:pt x="242615" y="97920"/>
                    <a:pt x="240349" y="95654"/>
                    <a:pt x="237554" y="95654"/>
                  </a:cubicBezTo>
                  <a:lnTo>
                    <a:pt x="10209" y="95654"/>
                  </a:lnTo>
                  <a:lnTo>
                    <a:pt x="10209" y="48602"/>
                  </a:lnTo>
                  <a:cubicBezTo>
                    <a:pt x="10209" y="40168"/>
                    <a:pt x="17045" y="33332"/>
                    <a:pt x="25479" y="33332"/>
                  </a:cubicBezTo>
                  <a:lnTo>
                    <a:pt x="47140" y="33332"/>
                  </a:lnTo>
                  <a:lnTo>
                    <a:pt x="47140" y="48231"/>
                  </a:lnTo>
                  <a:cubicBezTo>
                    <a:pt x="47152" y="56743"/>
                    <a:pt x="54050" y="63641"/>
                    <a:pt x="62562" y="63653"/>
                  </a:cubicBezTo>
                  <a:cubicBezTo>
                    <a:pt x="65363" y="63470"/>
                    <a:pt x="67485" y="61050"/>
                    <a:pt x="67301" y="58249"/>
                  </a:cubicBezTo>
                  <a:cubicBezTo>
                    <a:pt x="67134" y="55704"/>
                    <a:pt x="65107" y="53677"/>
                    <a:pt x="62562" y="53510"/>
                  </a:cubicBezTo>
                  <a:cubicBezTo>
                    <a:pt x="59647" y="53510"/>
                    <a:pt x="57283" y="51146"/>
                    <a:pt x="57283" y="48231"/>
                  </a:cubicBezTo>
                  <a:lnTo>
                    <a:pt x="57283" y="33354"/>
                  </a:lnTo>
                  <a:lnTo>
                    <a:pt x="231228" y="33354"/>
                  </a:lnTo>
                  <a:lnTo>
                    <a:pt x="231228" y="48253"/>
                  </a:lnTo>
                  <a:cubicBezTo>
                    <a:pt x="231240" y="56765"/>
                    <a:pt x="238138" y="63663"/>
                    <a:pt x="246650" y="63675"/>
                  </a:cubicBezTo>
                  <a:cubicBezTo>
                    <a:pt x="249451" y="63491"/>
                    <a:pt x="251573" y="61072"/>
                    <a:pt x="251389" y="58271"/>
                  </a:cubicBezTo>
                  <a:cubicBezTo>
                    <a:pt x="251222" y="55726"/>
                    <a:pt x="249195" y="53699"/>
                    <a:pt x="246650" y="53532"/>
                  </a:cubicBezTo>
                  <a:cubicBezTo>
                    <a:pt x="243735" y="53532"/>
                    <a:pt x="241371" y="51168"/>
                    <a:pt x="241371" y="48253"/>
                  </a:cubicBezTo>
                  <a:lnTo>
                    <a:pt x="241371" y="33354"/>
                  </a:lnTo>
                  <a:lnTo>
                    <a:pt x="285937" y="33354"/>
                  </a:lnTo>
                  <a:cubicBezTo>
                    <a:pt x="294370" y="33354"/>
                    <a:pt x="301207" y="40190"/>
                    <a:pt x="301207" y="48624"/>
                  </a:cubicBezTo>
                  <a:close/>
                </a:path>
              </a:pathLst>
            </a:custGeom>
            <a:solidFill>
              <a:srgbClr val="1F6898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 94">
              <a:extLst>
                <a:ext uri="{FF2B5EF4-FFF2-40B4-BE49-F238E27FC236}">
                  <a16:creationId xmlns:a16="http://schemas.microsoft.com/office/drawing/2014/main" id="{54950C1A-C3DC-A240-A86C-740DF5FD5F66}"/>
                </a:ext>
              </a:extLst>
            </p:cNvPr>
            <p:cNvSpPr/>
            <p:nvPr/>
          </p:nvSpPr>
          <p:spPr>
            <a:xfrm>
              <a:off x="6654432" y="1647764"/>
              <a:ext cx="43911" cy="43933"/>
            </a:xfrm>
            <a:custGeom>
              <a:avLst/>
              <a:gdLst>
                <a:gd name="connsiteX0" fmla="*/ 0 w 43911"/>
                <a:gd name="connsiteY0" fmla="*/ 9904 h 43933"/>
                <a:gd name="connsiteX1" fmla="*/ 0 w 43911"/>
                <a:gd name="connsiteY1" fmla="*/ 34030 h 43933"/>
                <a:gd name="connsiteX2" fmla="*/ 9882 w 43911"/>
                <a:gd name="connsiteY2" fmla="*/ 43933 h 43933"/>
                <a:gd name="connsiteX3" fmla="*/ 34030 w 43911"/>
                <a:gd name="connsiteY3" fmla="*/ 43933 h 43933"/>
                <a:gd name="connsiteX4" fmla="*/ 43911 w 43911"/>
                <a:gd name="connsiteY4" fmla="*/ 34030 h 43933"/>
                <a:gd name="connsiteX5" fmla="*/ 43911 w 43911"/>
                <a:gd name="connsiteY5" fmla="*/ 9904 h 43933"/>
                <a:gd name="connsiteX6" fmla="*/ 34030 w 43911"/>
                <a:gd name="connsiteY6" fmla="*/ 0 h 43933"/>
                <a:gd name="connsiteX7" fmla="*/ 9794 w 43911"/>
                <a:gd name="connsiteY7" fmla="*/ 0 h 43933"/>
                <a:gd name="connsiteX8" fmla="*/ 0 w 43911"/>
                <a:gd name="connsiteY8" fmla="*/ 9904 h 43933"/>
                <a:gd name="connsiteX9" fmla="*/ 10144 w 43911"/>
                <a:gd name="connsiteY9" fmla="*/ 10143 h 43933"/>
                <a:gd name="connsiteX10" fmla="*/ 33790 w 43911"/>
                <a:gd name="connsiteY10" fmla="*/ 10143 h 43933"/>
                <a:gd name="connsiteX11" fmla="*/ 33790 w 43911"/>
                <a:gd name="connsiteY11" fmla="*/ 33790 h 43933"/>
                <a:gd name="connsiteX12" fmla="*/ 10056 w 43911"/>
                <a:gd name="connsiteY12" fmla="*/ 33790 h 43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11" h="43933">
                  <a:moveTo>
                    <a:pt x="0" y="9904"/>
                  </a:moveTo>
                  <a:lnTo>
                    <a:pt x="0" y="34030"/>
                  </a:lnTo>
                  <a:cubicBezTo>
                    <a:pt x="0" y="39491"/>
                    <a:pt x="4421" y="43921"/>
                    <a:pt x="9882" y="43933"/>
                  </a:cubicBezTo>
                  <a:lnTo>
                    <a:pt x="34030" y="43933"/>
                  </a:lnTo>
                  <a:cubicBezTo>
                    <a:pt x="39491" y="43921"/>
                    <a:pt x="43911" y="39491"/>
                    <a:pt x="43911" y="34030"/>
                  </a:cubicBezTo>
                  <a:lnTo>
                    <a:pt x="43911" y="9904"/>
                  </a:lnTo>
                  <a:cubicBezTo>
                    <a:pt x="43911" y="4442"/>
                    <a:pt x="39491" y="12"/>
                    <a:pt x="34030" y="0"/>
                  </a:cubicBezTo>
                  <a:lnTo>
                    <a:pt x="9794" y="0"/>
                  </a:lnTo>
                  <a:cubicBezTo>
                    <a:pt x="4368" y="60"/>
                    <a:pt x="0" y="4476"/>
                    <a:pt x="0" y="9904"/>
                  </a:cubicBezTo>
                  <a:close/>
                  <a:moveTo>
                    <a:pt x="10144" y="10143"/>
                  </a:moveTo>
                  <a:lnTo>
                    <a:pt x="33790" y="10143"/>
                  </a:lnTo>
                  <a:lnTo>
                    <a:pt x="33790" y="33790"/>
                  </a:lnTo>
                  <a:lnTo>
                    <a:pt x="10056" y="33790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 95">
              <a:extLst>
                <a:ext uri="{FF2B5EF4-FFF2-40B4-BE49-F238E27FC236}">
                  <a16:creationId xmlns:a16="http://schemas.microsoft.com/office/drawing/2014/main" id="{AE250629-4C8C-9641-A17B-DCE95BF2D8B1}"/>
                </a:ext>
              </a:extLst>
            </p:cNvPr>
            <p:cNvSpPr/>
            <p:nvPr/>
          </p:nvSpPr>
          <p:spPr>
            <a:xfrm>
              <a:off x="6447767" y="1710457"/>
              <a:ext cx="43911" cy="43911"/>
            </a:xfrm>
            <a:custGeom>
              <a:avLst/>
              <a:gdLst>
                <a:gd name="connsiteX0" fmla="*/ 34008 w 43911"/>
                <a:gd name="connsiteY0" fmla="*/ 0 h 43911"/>
                <a:gd name="connsiteX1" fmla="*/ 9882 w 43911"/>
                <a:gd name="connsiteY1" fmla="*/ 0 h 43911"/>
                <a:gd name="connsiteX2" fmla="*/ 0 w 43911"/>
                <a:gd name="connsiteY2" fmla="*/ 9882 h 43911"/>
                <a:gd name="connsiteX3" fmla="*/ 0 w 43911"/>
                <a:gd name="connsiteY3" fmla="*/ 9904 h 43911"/>
                <a:gd name="connsiteX4" fmla="*/ 0 w 43911"/>
                <a:gd name="connsiteY4" fmla="*/ 34030 h 43911"/>
                <a:gd name="connsiteX5" fmla="*/ 9882 w 43911"/>
                <a:gd name="connsiteY5" fmla="*/ 43911 h 43911"/>
                <a:gd name="connsiteX6" fmla="*/ 34008 w 43911"/>
                <a:gd name="connsiteY6" fmla="*/ 43911 h 43911"/>
                <a:gd name="connsiteX7" fmla="*/ 43911 w 43911"/>
                <a:gd name="connsiteY7" fmla="*/ 34030 h 43911"/>
                <a:gd name="connsiteX8" fmla="*/ 43911 w 43911"/>
                <a:gd name="connsiteY8" fmla="*/ 9904 h 43911"/>
                <a:gd name="connsiteX9" fmla="*/ 34008 w 43911"/>
                <a:gd name="connsiteY9" fmla="*/ 0 h 43911"/>
                <a:gd name="connsiteX10" fmla="*/ 33768 w 43911"/>
                <a:gd name="connsiteY10" fmla="*/ 33768 h 43911"/>
                <a:gd name="connsiteX11" fmla="*/ 10122 w 43911"/>
                <a:gd name="connsiteY11" fmla="*/ 33768 h 43911"/>
                <a:gd name="connsiteX12" fmla="*/ 10122 w 43911"/>
                <a:gd name="connsiteY12" fmla="*/ 10144 h 43911"/>
                <a:gd name="connsiteX13" fmla="*/ 33768 w 43911"/>
                <a:gd name="connsiteY13" fmla="*/ 10144 h 4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11" h="43911">
                  <a:moveTo>
                    <a:pt x="34008" y="0"/>
                  </a:moveTo>
                  <a:lnTo>
                    <a:pt x="9882" y="0"/>
                  </a:lnTo>
                  <a:cubicBezTo>
                    <a:pt x="4424" y="0"/>
                    <a:pt x="0" y="4424"/>
                    <a:pt x="0" y="9882"/>
                  </a:cubicBezTo>
                  <a:cubicBezTo>
                    <a:pt x="0" y="9889"/>
                    <a:pt x="0" y="9896"/>
                    <a:pt x="0" y="9904"/>
                  </a:cubicBezTo>
                  <a:lnTo>
                    <a:pt x="0" y="34030"/>
                  </a:lnTo>
                  <a:cubicBezTo>
                    <a:pt x="0" y="39487"/>
                    <a:pt x="4424" y="43911"/>
                    <a:pt x="9882" y="43911"/>
                  </a:cubicBezTo>
                  <a:lnTo>
                    <a:pt x="34008" y="43911"/>
                  </a:lnTo>
                  <a:cubicBezTo>
                    <a:pt x="39469" y="43911"/>
                    <a:pt x="43899" y="39491"/>
                    <a:pt x="43911" y="34030"/>
                  </a:cubicBezTo>
                  <a:lnTo>
                    <a:pt x="43911" y="9904"/>
                  </a:lnTo>
                  <a:cubicBezTo>
                    <a:pt x="43911" y="4434"/>
                    <a:pt x="39478" y="0"/>
                    <a:pt x="34008" y="0"/>
                  </a:cubicBezTo>
                  <a:close/>
                  <a:moveTo>
                    <a:pt x="33768" y="33768"/>
                  </a:moveTo>
                  <a:lnTo>
                    <a:pt x="10122" y="33768"/>
                  </a:lnTo>
                  <a:lnTo>
                    <a:pt x="10122" y="10144"/>
                  </a:lnTo>
                  <a:lnTo>
                    <a:pt x="33768" y="10144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6D1C4B9A-434A-4E4C-B0E1-A4269FEA4B1D}"/>
                </a:ext>
              </a:extLst>
            </p:cNvPr>
            <p:cNvSpPr/>
            <p:nvPr/>
          </p:nvSpPr>
          <p:spPr>
            <a:xfrm>
              <a:off x="6654345" y="1711963"/>
              <a:ext cx="43911" cy="43911"/>
            </a:xfrm>
            <a:custGeom>
              <a:avLst/>
              <a:gdLst>
                <a:gd name="connsiteX0" fmla="*/ 34030 w 43911"/>
                <a:gd name="connsiteY0" fmla="*/ 0 h 43911"/>
                <a:gd name="connsiteX1" fmla="*/ 9882 w 43911"/>
                <a:gd name="connsiteY1" fmla="*/ 0 h 43911"/>
                <a:gd name="connsiteX2" fmla="*/ 0 w 43911"/>
                <a:gd name="connsiteY2" fmla="*/ 9882 h 43911"/>
                <a:gd name="connsiteX3" fmla="*/ 0 w 43911"/>
                <a:gd name="connsiteY3" fmla="*/ 34030 h 43911"/>
                <a:gd name="connsiteX4" fmla="*/ 9882 w 43911"/>
                <a:gd name="connsiteY4" fmla="*/ 43911 h 43911"/>
                <a:gd name="connsiteX5" fmla="*/ 34030 w 43911"/>
                <a:gd name="connsiteY5" fmla="*/ 43911 h 43911"/>
                <a:gd name="connsiteX6" fmla="*/ 43911 w 43911"/>
                <a:gd name="connsiteY6" fmla="*/ 34030 h 43911"/>
                <a:gd name="connsiteX7" fmla="*/ 43911 w 43911"/>
                <a:gd name="connsiteY7" fmla="*/ 9882 h 43911"/>
                <a:gd name="connsiteX8" fmla="*/ 34030 w 43911"/>
                <a:gd name="connsiteY8" fmla="*/ 0 h 43911"/>
                <a:gd name="connsiteX9" fmla="*/ 33790 w 43911"/>
                <a:gd name="connsiteY9" fmla="*/ 33790 h 43911"/>
                <a:gd name="connsiteX10" fmla="*/ 10143 w 43911"/>
                <a:gd name="connsiteY10" fmla="*/ 33790 h 43911"/>
                <a:gd name="connsiteX11" fmla="*/ 10143 w 43911"/>
                <a:gd name="connsiteY11" fmla="*/ 10143 h 43911"/>
                <a:gd name="connsiteX12" fmla="*/ 33790 w 43911"/>
                <a:gd name="connsiteY12" fmla="*/ 10143 h 4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11" h="43911">
                  <a:moveTo>
                    <a:pt x="34030" y="0"/>
                  </a:moveTo>
                  <a:lnTo>
                    <a:pt x="9882" y="0"/>
                  </a:lnTo>
                  <a:cubicBezTo>
                    <a:pt x="4424" y="0"/>
                    <a:pt x="0" y="4424"/>
                    <a:pt x="0" y="9882"/>
                  </a:cubicBezTo>
                  <a:lnTo>
                    <a:pt x="0" y="34030"/>
                  </a:lnTo>
                  <a:cubicBezTo>
                    <a:pt x="0" y="39487"/>
                    <a:pt x="4424" y="43911"/>
                    <a:pt x="9882" y="43911"/>
                  </a:cubicBezTo>
                  <a:lnTo>
                    <a:pt x="34030" y="43911"/>
                  </a:lnTo>
                  <a:cubicBezTo>
                    <a:pt x="39487" y="43911"/>
                    <a:pt x="43911" y="39487"/>
                    <a:pt x="43911" y="34030"/>
                  </a:cubicBezTo>
                  <a:lnTo>
                    <a:pt x="43911" y="9882"/>
                  </a:lnTo>
                  <a:cubicBezTo>
                    <a:pt x="43911" y="4424"/>
                    <a:pt x="39487" y="0"/>
                    <a:pt x="34030" y="0"/>
                  </a:cubicBezTo>
                  <a:close/>
                  <a:moveTo>
                    <a:pt x="33790" y="33790"/>
                  </a:moveTo>
                  <a:lnTo>
                    <a:pt x="10143" y="33790"/>
                  </a:lnTo>
                  <a:lnTo>
                    <a:pt x="10143" y="10143"/>
                  </a:lnTo>
                  <a:lnTo>
                    <a:pt x="33790" y="10143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152B5841-FCA7-814A-BE86-E319E217E85F}"/>
                </a:ext>
              </a:extLst>
            </p:cNvPr>
            <p:cNvSpPr/>
            <p:nvPr/>
          </p:nvSpPr>
          <p:spPr>
            <a:xfrm>
              <a:off x="6516612" y="1647764"/>
              <a:ext cx="44020" cy="43933"/>
            </a:xfrm>
            <a:custGeom>
              <a:avLst/>
              <a:gdLst>
                <a:gd name="connsiteX0" fmla="*/ 34030 w 44020"/>
                <a:gd name="connsiteY0" fmla="*/ 0 h 43933"/>
                <a:gd name="connsiteX1" fmla="*/ 9904 w 44020"/>
                <a:gd name="connsiteY1" fmla="*/ 0 h 43933"/>
                <a:gd name="connsiteX2" fmla="*/ 0 w 44020"/>
                <a:gd name="connsiteY2" fmla="*/ 9904 h 43933"/>
                <a:gd name="connsiteX3" fmla="*/ 0 w 44020"/>
                <a:gd name="connsiteY3" fmla="*/ 34030 h 43933"/>
                <a:gd name="connsiteX4" fmla="*/ 9904 w 44020"/>
                <a:gd name="connsiteY4" fmla="*/ 43933 h 43933"/>
                <a:gd name="connsiteX5" fmla="*/ 34030 w 44020"/>
                <a:gd name="connsiteY5" fmla="*/ 43933 h 43933"/>
                <a:gd name="connsiteX6" fmla="*/ 44020 w 44020"/>
                <a:gd name="connsiteY6" fmla="*/ 34074 h 43933"/>
                <a:gd name="connsiteX7" fmla="*/ 44021 w 44020"/>
                <a:gd name="connsiteY7" fmla="*/ 34030 h 43933"/>
                <a:gd name="connsiteX8" fmla="*/ 44021 w 44020"/>
                <a:gd name="connsiteY8" fmla="*/ 9904 h 43933"/>
                <a:gd name="connsiteX9" fmla="*/ 34074 w 44020"/>
                <a:gd name="connsiteY9" fmla="*/ 0 h 43933"/>
                <a:gd name="connsiteX10" fmla="*/ 34030 w 44020"/>
                <a:gd name="connsiteY10" fmla="*/ 0 h 43933"/>
                <a:gd name="connsiteX11" fmla="*/ 33790 w 44020"/>
                <a:gd name="connsiteY11" fmla="*/ 33790 h 43933"/>
                <a:gd name="connsiteX12" fmla="*/ 10143 w 44020"/>
                <a:gd name="connsiteY12" fmla="*/ 33790 h 43933"/>
                <a:gd name="connsiteX13" fmla="*/ 10143 w 44020"/>
                <a:gd name="connsiteY13" fmla="*/ 10144 h 43933"/>
                <a:gd name="connsiteX14" fmla="*/ 33790 w 44020"/>
                <a:gd name="connsiteY14" fmla="*/ 10144 h 43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4020" h="43933">
                  <a:moveTo>
                    <a:pt x="34030" y="0"/>
                  </a:moveTo>
                  <a:lnTo>
                    <a:pt x="9904" y="0"/>
                  </a:lnTo>
                  <a:cubicBezTo>
                    <a:pt x="4439" y="12"/>
                    <a:pt x="12" y="4439"/>
                    <a:pt x="0" y="9904"/>
                  </a:cubicBezTo>
                  <a:lnTo>
                    <a:pt x="0" y="34030"/>
                  </a:lnTo>
                  <a:cubicBezTo>
                    <a:pt x="12" y="39495"/>
                    <a:pt x="4439" y="43921"/>
                    <a:pt x="9904" y="43933"/>
                  </a:cubicBezTo>
                  <a:lnTo>
                    <a:pt x="34030" y="43933"/>
                  </a:lnTo>
                  <a:cubicBezTo>
                    <a:pt x="39511" y="43970"/>
                    <a:pt x="43984" y="39555"/>
                    <a:pt x="44020" y="34074"/>
                  </a:cubicBezTo>
                  <a:cubicBezTo>
                    <a:pt x="44020" y="34059"/>
                    <a:pt x="44020" y="34045"/>
                    <a:pt x="44021" y="34030"/>
                  </a:cubicBezTo>
                  <a:lnTo>
                    <a:pt x="44021" y="9904"/>
                  </a:lnTo>
                  <a:cubicBezTo>
                    <a:pt x="44009" y="4422"/>
                    <a:pt x="39555" y="-12"/>
                    <a:pt x="34074" y="0"/>
                  </a:cubicBezTo>
                  <a:cubicBezTo>
                    <a:pt x="34059" y="0"/>
                    <a:pt x="34044" y="0"/>
                    <a:pt x="34030" y="0"/>
                  </a:cubicBezTo>
                  <a:close/>
                  <a:moveTo>
                    <a:pt x="33790" y="33790"/>
                  </a:moveTo>
                  <a:lnTo>
                    <a:pt x="10143" y="33790"/>
                  </a:lnTo>
                  <a:lnTo>
                    <a:pt x="10143" y="10144"/>
                  </a:lnTo>
                  <a:lnTo>
                    <a:pt x="33790" y="10144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 98">
              <a:extLst>
                <a:ext uri="{FF2B5EF4-FFF2-40B4-BE49-F238E27FC236}">
                  <a16:creationId xmlns:a16="http://schemas.microsoft.com/office/drawing/2014/main" id="{8AC26750-2020-B942-B416-D16AA1CA2531}"/>
                </a:ext>
              </a:extLst>
            </p:cNvPr>
            <p:cNvSpPr/>
            <p:nvPr/>
          </p:nvSpPr>
          <p:spPr>
            <a:xfrm>
              <a:off x="6585478" y="1647764"/>
              <a:ext cx="43933" cy="43933"/>
            </a:xfrm>
            <a:custGeom>
              <a:avLst/>
              <a:gdLst>
                <a:gd name="connsiteX0" fmla="*/ 34052 w 43933"/>
                <a:gd name="connsiteY0" fmla="*/ 0 h 43933"/>
                <a:gd name="connsiteX1" fmla="*/ 9904 w 43933"/>
                <a:gd name="connsiteY1" fmla="*/ 0 h 43933"/>
                <a:gd name="connsiteX2" fmla="*/ 0 w 43933"/>
                <a:gd name="connsiteY2" fmla="*/ 9904 h 43933"/>
                <a:gd name="connsiteX3" fmla="*/ 0 w 43933"/>
                <a:gd name="connsiteY3" fmla="*/ 34030 h 43933"/>
                <a:gd name="connsiteX4" fmla="*/ 9904 w 43933"/>
                <a:gd name="connsiteY4" fmla="*/ 43933 h 43933"/>
                <a:gd name="connsiteX5" fmla="*/ 34052 w 43933"/>
                <a:gd name="connsiteY5" fmla="*/ 43933 h 43933"/>
                <a:gd name="connsiteX6" fmla="*/ 43933 w 43933"/>
                <a:gd name="connsiteY6" fmla="*/ 34030 h 43933"/>
                <a:gd name="connsiteX7" fmla="*/ 43933 w 43933"/>
                <a:gd name="connsiteY7" fmla="*/ 9904 h 43933"/>
                <a:gd name="connsiteX8" fmla="*/ 34052 w 43933"/>
                <a:gd name="connsiteY8" fmla="*/ 0 h 43933"/>
                <a:gd name="connsiteX9" fmla="*/ 33812 w 43933"/>
                <a:gd name="connsiteY9" fmla="*/ 33790 h 43933"/>
                <a:gd name="connsiteX10" fmla="*/ 10056 w 43933"/>
                <a:gd name="connsiteY10" fmla="*/ 33790 h 43933"/>
                <a:gd name="connsiteX11" fmla="*/ 10056 w 43933"/>
                <a:gd name="connsiteY11" fmla="*/ 10143 h 43933"/>
                <a:gd name="connsiteX12" fmla="*/ 33703 w 43933"/>
                <a:gd name="connsiteY12" fmla="*/ 10143 h 43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33" h="43933">
                  <a:moveTo>
                    <a:pt x="34052" y="0"/>
                  </a:moveTo>
                  <a:lnTo>
                    <a:pt x="9904" y="0"/>
                  </a:lnTo>
                  <a:cubicBezTo>
                    <a:pt x="4439" y="12"/>
                    <a:pt x="12" y="4439"/>
                    <a:pt x="0" y="9904"/>
                  </a:cubicBezTo>
                  <a:lnTo>
                    <a:pt x="0" y="34030"/>
                  </a:lnTo>
                  <a:cubicBezTo>
                    <a:pt x="12" y="39494"/>
                    <a:pt x="4439" y="43921"/>
                    <a:pt x="9904" y="43933"/>
                  </a:cubicBezTo>
                  <a:lnTo>
                    <a:pt x="34052" y="43933"/>
                  </a:lnTo>
                  <a:cubicBezTo>
                    <a:pt x="39513" y="43921"/>
                    <a:pt x="43933" y="39491"/>
                    <a:pt x="43933" y="34030"/>
                  </a:cubicBezTo>
                  <a:lnTo>
                    <a:pt x="43933" y="9904"/>
                  </a:lnTo>
                  <a:cubicBezTo>
                    <a:pt x="43933" y="4442"/>
                    <a:pt x="39513" y="12"/>
                    <a:pt x="34052" y="0"/>
                  </a:cubicBezTo>
                  <a:close/>
                  <a:moveTo>
                    <a:pt x="33812" y="33790"/>
                  </a:moveTo>
                  <a:lnTo>
                    <a:pt x="10056" y="33790"/>
                  </a:lnTo>
                  <a:lnTo>
                    <a:pt x="10056" y="10143"/>
                  </a:lnTo>
                  <a:lnTo>
                    <a:pt x="33703" y="10143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2EB40CB4-F9D2-7940-BA8E-A5324DCC7FFD}"/>
                </a:ext>
              </a:extLst>
            </p:cNvPr>
            <p:cNvSpPr/>
            <p:nvPr/>
          </p:nvSpPr>
          <p:spPr>
            <a:xfrm>
              <a:off x="6583617" y="1716317"/>
              <a:ext cx="45781" cy="38248"/>
            </a:xfrm>
            <a:custGeom>
              <a:avLst/>
              <a:gdLst>
                <a:gd name="connsiteX0" fmla="*/ 16455 w 45781"/>
                <a:gd name="connsiteY0" fmla="*/ 38249 h 38248"/>
                <a:gd name="connsiteX1" fmla="*/ 16847 w 45781"/>
                <a:gd name="connsiteY1" fmla="*/ 38249 h 38248"/>
                <a:gd name="connsiteX2" fmla="*/ 22475 w 45781"/>
                <a:gd name="connsiteY2" fmla="*/ 35413 h 38248"/>
                <a:gd name="connsiteX3" fmla="*/ 44638 w 45781"/>
                <a:gd name="connsiteY3" fmla="*/ 8276 h 38248"/>
                <a:gd name="connsiteX4" fmla="*/ 43918 w 45781"/>
                <a:gd name="connsiteY4" fmla="*/ 1143 h 38248"/>
                <a:gd name="connsiteX5" fmla="*/ 36785 w 45781"/>
                <a:gd name="connsiteY5" fmla="*/ 1863 h 38248"/>
                <a:gd name="connsiteX6" fmla="*/ 16280 w 45781"/>
                <a:gd name="connsiteY6" fmla="*/ 26949 h 38248"/>
                <a:gd name="connsiteX7" fmla="*/ 8471 w 45781"/>
                <a:gd name="connsiteY7" fmla="*/ 19183 h 38248"/>
                <a:gd name="connsiteX8" fmla="*/ 1294 w 45781"/>
                <a:gd name="connsiteY8" fmla="*/ 19584 h 38248"/>
                <a:gd name="connsiteX9" fmla="*/ 1294 w 45781"/>
                <a:gd name="connsiteY9" fmla="*/ 26360 h 38248"/>
                <a:gd name="connsiteX10" fmla="*/ 10958 w 45781"/>
                <a:gd name="connsiteY10" fmla="*/ 36002 h 38248"/>
                <a:gd name="connsiteX11" fmla="*/ 16455 w 45781"/>
                <a:gd name="connsiteY11" fmla="*/ 38249 h 38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781" h="38248">
                  <a:moveTo>
                    <a:pt x="16455" y="38249"/>
                  </a:moveTo>
                  <a:lnTo>
                    <a:pt x="16847" y="38249"/>
                  </a:lnTo>
                  <a:cubicBezTo>
                    <a:pt x="19039" y="38139"/>
                    <a:pt x="21083" y="37109"/>
                    <a:pt x="22475" y="35413"/>
                  </a:cubicBezTo>
                  <a:lnTo>
                    <a:pt x="44638" y="8276"/>
                  </a:lnTo>
                  <a:cubicBezTo>
                    <a:pt x="46409" y="6108"/>
                    <a:pt x="46087" y="2914"/>
                    <a:pt x="43918" y="1143"/>
                  </a:cubicBezTo>
                  <a:cubicBezTo>
                    <a:pt x="41750" y="-628"/>
                    <a:pt x="38556" y="-306"/>
                    <a:pt x="36785" y="1863"/>
                  </a:cubicBezTo>
                  <a:lnTo>
                    <a:pt x="16280" y="26949"/>
                  </a:lnTo>
                  <a:lnTo>
                    <a:pt x="8471" y="19183"/>
                  </a:lnTo>
                  <a:cubicBezTo>
                    <a:pt x="6378" y="17312"/>
                    <a:pt x="3165" y="17491"/>
                    <a:pt x="1294" y="19584"/>
                  </a:cubicBezTo>
                  <a:cubicBezTo>
                    <a:pt x="-431" y="21513"/>
                    <a:pt x="-431" y="24431"/>
                    <a:pt x="1294" y="26360"/>
                  </a:cubicBezTo>
                  <a:lnTo>
                    <a:pt x="10958" y="36002"/>
                  </a:lnTo>
                  <a:cubicBezTo>
                    <a:pt x="12421" y="37447"/>
                    <a:pt x="14398" y="38255"/>
                    <a:pt x="16455" y="38249"/>
                  </a:cubicBezTo>
                  <a:close/>
                </a:path>
              </a:pathLst>
            </a:custGeom>
            <a:solidFill>
              <a:srgbClr val="1F6898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9D974C57-8285-7B4C-9AE8-5A2ECCC0B976}"/>
                </a:ext>
              </a:extLst>
            </p:cNvPr>
            <p:cNvSpPr/>
            <p:nvPr/>
          </p:nvSpPr>
          <p:spPr>
            <a:xfrm>
              <a:off x="6447767" y="1647764"/>
              <a:ext cx="43911" cy="43933"/>
            </a:xfrm>
            <a:custGeom>
              <a:avLst/>
              <a:gdLst>
                <a:gd name="connsiteX0" fmla="*/ 34008 w 43911"/>
                <a:gd name="connsiteY0" fmla="*/ 0 h 43933"/>
                <a:gd name="connsiteX1" fmla="*/ 9882 w 43911"/>
                <a:gd name="connsiteY1" fmla="*/ 0 h 43933"/>
                <a:gd name="connsiteX2" fmla="*/ 0 w 43911"/>
                <a:gd name="connsiteY2" fmla="*/ 9904 h 43933"/>
                <a:gd name="connsiteX3" fmla="*/ 0 w 43911"/>
                <a:gd name="connsiteY3" fmla="*/ 34030 h 43933"/>
                <a:gd name="connsiteX4" fmla="*/ 9882 w 43911"/>
                <a:gd name="connsiteY4" fmla="*/ 43933 h 43933"/>
                <a:gd name="connsiteX5" fmla="*/ 34008 w 43911"/>
                <a:gd name="connsiteY5" fmla="*/ 43933 h 43933"/>
                <a:gd name="connsiteX6" fmla="*/ 43911 w 43911"/>
                <a:gd name="connsiteY6" fmla="*/ 34030 h 43933"/>
                <a:gd name="connsiteX7" fmla="*/ 43911 w 43911"/>
                <a:gd name="connsiteY7" fmla="*/ 9904 h 43933"/>
                <a:gd name="connsiteX8" fmla="*/ 34008 w 43911"/>
                <a:gd name="connsiteY8" fmla="*/ 0 h 43933"/>
                <a:gd name="connsiteX9" fmla="*/ 33768 w 43911"/>
                <a:gd name="connsiteY9" fmla="*/ 33790 h 43933"/>
                <a:gd name="connsiteX10" fmla="*/ 10122 w 43911"/>
                <a:gd name="connsiteY10" fmla="*/ 33790 h 43933"/>
                <a:gd name="connsiteX11" fmla="*/ 10122 w 43911"/>
                <a:gd name="connsiteY11" fmla="*/ 10143 h 43933"/>
                <a:gd name="connsiteX12" fmla="*/ 33768 w 43911"/>
                <a:gd name="connsiteY12" fmla="*/ 10143 h 43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11" h="43933">
                  <a:moveTo>
                    <a:pt x="34008" y="0"/>
                  </a:moveTo>
                  <a:lnTo>
                    <a:pt x="9882" y="0"/>
                  </a:lnTo>
                  <a:cubicBezTo>
                    <a:pt x="4421" y="12"/>
                    <a:pt x="0" y="4442"/>
                    <a:pt x="0" y="9904"/>
                  </a:cubicBezTo>
                  <a:lnTo>
                    <a:pt x="0" y="34030"/>
                  </a:lnTo>
                  <a:cubicBezTo>
                    <a:pt x="0" y="39491"/>
                    <a:pt x="4421" y="43921"/>
                    <a:pt x="9882" y="43933"/>
                  </a:cubicBezTo>
                  <a:lnTo>
                    <a:pt x="34008" y="43933"/>
                  </a:lnTo>
                  <a:cubicBezTo>
                    <a:pt x="39473" y="43921"/>
                    <a:pt x="43899" y="39494"/>
                    <a:pt x="43911" y="34030"/>
                  </a:cubicBezTo>
                  <a:lnTo>
                    <a:pt x="43911" y="9904"/>
                  </a:lnTo>
                  <a:cubicBezTo>
                    <a:pt x="43899" y="4439"/>
                    <a:pt x="39473" y="12"/>
                    <a:pt x="34008" y="0"/>
                  </a:cubicBezTo>
                  <a:close/>
                  <a:moveTo>
                    <a:pt x="33768" y="33790"/>
                  </a:moveTo>
                  <a:lnTo>
                    <a:pt x="10122" y="33790"/>
                  </a:lnTo>
                  <a:lnTo>
                    <a:pt x="10122" y="10143"/>
                  </a:lnTo>
                  <a:lnTo>
                    <a:pt x="33768" y="10143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621C6FF0-3F11-1840-AAE6-188E9B053DEE}"/>
                </a:ext>
              </a:extLst>
            </p:cNvPr>
            <p:cNvSpPr/>
            <p:nvPr/>
          </p:nvSpPr>
          <p:spPr>
            <a:xfrm>
              <a:off x="6516612" y="1710457"/>
              <a:ext cx="43933" cy="43911"/>
            </a:xfrm>
            <a:custGeom>
              <a:avLst/>
              <a:gdLst>
                <a:gd name="connsiteX0" fmla="*/ 34030 w 43933"/>
                <a:gd name="connsiteY0" fmla="*/ 0 h 43911"/>
                <a:gd name="connsiteX1" fmla="*/ 9904 w 43933"/>
                <a:gd name="connsiteY1" fmla="*/ 0 h 43911"/>
                <a:gd name="connsiteX2" fmla="*/ 0 w 43933"/>
                <a:gd name="connsiteY2" fmla="*/ 9904 h 43911"/>
                <a:gd name="connsiteX3" fmla="*/ 0 w 43933"/>
                <a:gd name="connsiteY3" fmla="*/ 34030 h 43911"/>
                <a:gd name="connsiteX4" fmla="*/ 9904 w 43933"/>
                <a:gd name="connsiteY4" fmla="*/ 43911 h 43911"/>
                <a:gd name="connsiteX5" fmla="*/ 34030 w 43933"/>
                <a:gd name="connsiteY5" fmla="*/ 43911 h 43911"/>
                <a:gd name="connsiteX6" fmla="*/ 43933 w 43933"/>
                <a:gd name="connsiteY6" fmla="*/ 34030 h 43911"/>
                <a:gd name="connsiteX7" fmla="*/ 43933 w 43933"/>
                <a:gd name="connsiteY7" fmla="*/ 9904 h 43911"/>
                <a:gd name="connsiteX8" fmla="*/ 34030 w 43933"/>
                <a:gd name="connsiteY8" fmla="*/ 0 h 43911"/>
                <a:gd name="connsiteX9" fmla="*/ 33790 w 43933"/>
                <a:gd name="connsiteY9" fmla="*/ 33768 h 43911"/>
                <a:gd name="connsiteX10" fmla="*/ 10143 w 43933"/>
                <a:gd name="connsiteY10" fmla="*/ 33768 h 43911"/>
                <a:gd name="connsiteX11" fmla="*/ 10143 w 43933"/>
                <a:gd name="connsiteY11" fmla="*/ 10144 h 43911"/>
                <a:gd name="connsiteX12" fmla="*/ 33790 w 43933"/>
                <a:gd name="connsiteY12" fmla="*/ 10144 h 4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33" h="43911">
                  <a:moveTo>
                    <a:pt x="34030" y="0"/>
                  </a:moveTo>
                  <a:lnTo>
                    <a:pt x="9904" y="0"/>
                  </a:lnTo>
                  <a:cubicBezTo>
                    <a:pt x="4434" y="0"/>
                    <a:pt x="0" y="4434"/>
                    <a:pt x="0" y="9904"/>
                  </a:cubicBezTo>
                  <a:lnTo>
                    <a:pt x="0" y="34030"/>
                  </a:lnTo>
                  <a:cubicBezTo>
                    <a:pt x="12" y="39491"/>
                    <a:pt x="4442" y="43911"/>
                    <a:pt x="9904" y="43911"/>
                  </a:cubicBezTo>
                  <a:lnTo>
                    <a:pt x="34030" y="43911"/>
                  </a:lnTo>
                  <a:cubicBezTo>
                    <a:pt x="39491" y="43911"/>
                    <a:pt x="43921" y="39491"/>
                    <a:pt x="43933" y="34030"/>
                  </a:cubicBezTo>
                  <a:lnTo>
                    <a:pt x="43933" y="9904"/>
                  </a:lnTo>
                  <a:cubicBezTo>
                    <a:pt x="43933" y="4434"/>
                    <a:pt x="39499" y="0"/>
                    <a:pt x="34030" y="0"/>
                  </a:cubicBezTo>
                  <a:close/>
                  <a:moveTo>
                    <a:pt x="33790" y="33768"/>
                  </a:moveTo>
                  <a:lnTo>
                    <a:pt x="10143" y="33768"/>
                  </a:lnTo>
                  <a:lnTo>
                    <a:pt x="10143" y="10144"/>
                  </a:lnTo>
                  <a:lnTo>
                    <a:pt x="33790" y="10144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255E8AA2-ACDB-E849-9F5E-9C0F35F94B5D}"/>
                </a:ext>
              </a:extLst>
            </p:cNvPr>
            <p:cNvSpPr/>
            <p:nvPr/>
          </p:nvSpPr>
          <p:spPr>
            <a:xfrm>
              <a:off x="6516612" y="1773129"/>
              <a:ext cx="43933" cy="43933"/>
            </a:xfrm>
            <a:custGeom>
              <a:avLst/>
              <a:gdLst>
                <a:gd name="connsiteX0" fmla="*/ 34030 w 43933"/>
                <a:gd name="connsiteY0" fmla="*/ 0 h 43933"/>
                <a:gd name="connsiteX1" fmla="*/ 9904 w 43933"/>
                <a:gd name="connsiteY1" fmla="*/ 0 h 43933"/>
                <a:gd name="connsiteX2" fmla="*/ 0 w 43933"/>
                <a:gd name="connsiteY2" fmla="*/ 9904 h 43933"/>
                <a:gd name="connsiteX3" fmla="*/ 0 w 43933"/>
                <a:gd name="connsiteY3" fmla="*/ 34030 h 43933"/>
                <a:gd name="connsiteX4" fmla="*/ 9904 w 43933"/>
                <a:gd name="connsiteY4" fmla="*/ 43933 h 43933"/>
                <a:gd name="connsiteX5" fmla="*/ 34030 w 43933"/>
                <a:gd name="connsiteY5" fmla="*/ 43933 h 43933"/>
                <a:gd name="connsiteX6" fmla="*/ 43933 w 43933"/>
                <a:gd name="connsiteY6" fmla="*/ 34030 h 43933"/>
                <a:gd name="connsiteX7" fmla="*/ 43933 w 43933"/>
                <a:gd name="connsiteY7" fmla="*/ 9904 h 43933"/>
                <a:gd name="connsiteX8" fmla="*/ 34030 w 43933"/>
                <a:gd name="connsiteY8" fmla="*/ 0 h 43933"/>
                <a:gd name="connsiteX9" fmla="*/ 33790 w 43933"/>
                <a:gd name="connsiteY9" fmla="*/ 33790 h 43933"/>
                <a:gd name="connsiteX10" fmla="*/ 10143 w 43933"/>
                <a:gd name="connsiteY10" fmla="*/ 33790 h 43933"/>
                <a:gd name="connsiteX11" fmla="*/ 10143 w 43933"/>
                <a:gd name="connsiteY11" fmla="*/ 10143 h 43933"/>
                <a:gd name="connsiteX12" fmla="*/ 33790 w 43933"/>
                <a:gd name="connsiteY12" fmla="*/ 10143 h 43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33" h="43933">
                  <a:moveTo>
                    <a:pt x="34030" y="0"/>
                  </a:moveTo>
                  <a:lnTo>
                    <a:pt x="9904" y="0"/>
                  </a:lnTo>
                  <a:cubicBezTo>
                    <a:pt x="4439" y="12"/>
                    <a:pt x="12" y="4439"/>
                    <a:pt x="0" y="9904"/>
                  </a:cubicBezTo>
                  <a:lnTo>
                    <a:pt x="0" y="34030"/>
                  </a:lnTo>
                  <a:cubicBezTo>
                    <a:pt x="12" y="39494"/>
                    <a:pt x="4439" y="43921"/>
                    <a:pt x="9904" y="43933"/>
                  </a:cubicBezTo>
                  <a:lnTo>
                    <a:pt x="34030" y="43933"/>
                  </a:lnTo>
                  <a:cubicBezTo>
                    <a:pt x="39494" y="43921"/>
                    <a:pt x="43921" y="39494"/>
                    <a:pt x="43933" y="34030"/>
                  </a:cubicBezTo>
                  <a:lnTo>
                    <a:pt x="43933" y="9904"/>
                  </a:lnTo>
                  <a:cubicBezTo>
                    <a:pt x="43921" y="4439"/>
                    <a:pt x="39494" y="12"/>
                    <a:pt x="34030" y="0"/>
                  </a:cubicBezTo>
                  <a:close/>
                  <a:moveTo>
                    <a:pt x="33790" y="33790"/>
                  </a:moveTo>
                  <a:lnTo>
                    <a:pt x="10143" y="33790"/>
                  </a:lnTo>
                  <a:lnTo>
                    <a:pt x="10143" y="10143"/>
                  </a:lnTo>
                  <a:lnTo>
                    <a:pt x="33790" y="10143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4650DD3D-D599-BB46-896A-2AEAB6F36687}"/>
                </a:ext>
              </a:extLst>
            </p:cNvPr>
            <p:cNvSpPr/>
            <p:nvPr/>
          </p:nvSpPr>
          <p:spPr>
            <a:xfrm>
              <a:off x="6585478" y="1773129"/>
              <a:ext cx="43933" cy="43933"/>
            </a:xfrm>
            <a:custGeom>
              <a:avLst/>
              <a:gdLst>
                <a:gd name="connsiteX0" fmla="*/ 34052 w 43933"/>
                <a:gd name="connsiteY0" fmla="*/ 0 h 43933"/>
                <a:gd name="connsiteX1" fmla="*/ 9904 w 43933"/>
                <a:gd name="connsiteY1" fmla="*/ 0 h 43933"/>
                <a:gd name="connsiteX2" fmla="*/ 0 w 43933"/>
                <a:gd name="connsiteY2" fmla="*/ 9904 h 43933"/>
                <a:gd name="connsiteX3" fmla="*/ 0 w 43933"/>
                <a:gd name="connsiteY3" fmla="*/ 34030 h 43933"/>
                <a:gd name="connsiteX4" fmla="*/ 9904 w 43933"/>
                <a:gd name="connsiteY4" fmla="*/ 43933 h 43933"/>
                <a:gd name="connsiteX5" fmla="*/ 34052 w 43933"/>
                <a:gd name="connsiteY5" fmla="*/ 43933 h 43933"/>
                <a:gd name="connsiteX6" fmla="*/ 43933 w 43933"/>
                <a:gd name="connsiteY6" fmla="*/ 34030 h 43933"/>
                <a:gd name="connsiteX7" fmla="*/ 43933 w 43933"/>
                <a:gd name="connsiteY7" fmla="*/ 9904 h 43933"/>
                <a:gd name="connsiteX8" fmla="*/ 34052 w 43933"/>
                <a:gd name="connsiteY8" fmla="*/ 0 h 43933"/>
                <a:gd name="connsiteX9" fmla="*/ 33812 w 43933"/>
                <a:gd name="connsiteY9" fmla="*/ 33790 h 43933"/>
                <a:gd name="connsiteX10" fmla="*/ 10056 w 43933"/>
                <a:gd name="connsiteY10" fmla="*/ 33790 h 43933"/>
                <a:gd name="connsiteX11" fmla="*/ 10056 w 43933"/>
                <a:gd name="connsiteY11" fmla="*/ 10143 h 43933"/>
                <a:gd name="connsiteX12" fmla="*/ 33703 w 43933"/>
                <a:gd name="connsiteY12" fmla="*/ 10143 h 43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33" h="43933">
                  <a:moveTo>
                    <a:pt x="34052" y="0"/>
                  </a:moveTo>
                  <a:lnTo>
                    <a:pt x="9904" y="0"/>
                  </a:lnTo>
                  <a:cubicBezTo>
                    <a:pt x="4439" y="12"/>
                    <a:pt x="12" y="4439"/>
                    <a:pt x="0" y="9904"/>
                  </a:cubicBezTo>
                  <a:lnTo>
                    <a:pt x="0" y="34030"/>
                  </a:lnTo>
                  <a:cubicBezTo>
                    <a:pt x="12" y="39494"/>
                    <a:pt x="4439" y="43921"/>
                    <a:pt x="9904" y="43933"/>
                  </a:cubicBezTo>
                  <a:lnTo>
                    <a:pt x="34052" y="43933"/>
                  </a:lnTo>
                  <a:cubicBezTo>
                    <a:pt x="39513" y="43921"/>
                    <a:pt x="43933" y="39491"/>
                    <a:pt x="43933" y="34030"/>
                  </a:cubicBezTo>
                  <a:lnTo>
                    <a:pt x="43933" y="9904"/>
                  </a:lnTo>
                  <a:cubicBezTo>
                    <a:pt x="43933" y="4442"/>
                    <a:pt x="39513" y="12"/>
                    <a:pt x="34052" y="0"/>
                  </a:cubicBezTo>
                  <a:close/>
                  <a:moveTo>
                    <a:pt x="33812" y="33790"/>
                  </a:moveTo>
                  <a:lnTo>
                    <a:pt x="10056" y="33790"/>
                  </a:lnTo>
                  <a:lnTo>
                    <a:pt x="10056" y="10143"/>
                  </a:lnTo>
                  <a:lnTo>
                    <a:pt x="33703" y="10143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5" name="Graphic 126">
            <a:extLst>
              <a:ext uri="{FF2B5EF4-FFF2-40B4-BE49-F238E27FC236}">
                <a16:creationId xmlns:a16="http://schemas.microsoft.com/office/drawing/2014/main" id="{EA2C6A32-CBD0-334A-B34B-E560C29130E9}"/>
              </a:ext>
            </a:extLst>
          </p:cNvPr>
          <p:cNvGrpSpPr/>
          <p:nvPr userDrawn="1"/>
        </p:nvGrpSpPr>
        <p:grpSpPr>
          <a:xfrm>
            <a:off x="7305468" y="1527062"/>
            <a:ext cx="331787" cy="308088"/>
            <a:chOff x="7305468" y="1527062"/>
            <a:chExt cx="331787" cy="308088"/>
          </a:xfrm>
        </p:grpSpPr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3948C31C-917E-9E4E-B67B-2259A83D53F2}"/>
                </a:ext>
              </a:extLst>
            </p:cNvPr>
            <p:cNvSpPr/>
            <p:nvPr/>
          </p:nvSpPr>
          <p:spPr>
            <a:xfrm>
              <a:off x="7351726" y="1611751"/>
              <a:ext cx="148762" cy="17116"/>
            </a:xfrm>
            <a:custGeom>
              <a:avLst/>
              <a:gdLst>
                <a:gd name="connsiteX0" fmla="*/ 8731 w 148762"/>
                <a:gd name="connsiteY0" fmla="*/ 17116 h 17116"/>
                <a:gd name="connsiteX1" fmla="*/ 140032 w 148762"/>
                <a:gd name="connsiteY1" fmla="*/ 17116 h 17116"/>
                <a:gd name="connsiteX2" fmla="*/ 148763 w 148762"/>
                <a:gd name="connsiteY2" fmla="*/ 8558 h 17116"/>
                <a:gd name="connsiteX3" fmla="*/ 140032 w 148762"/>
                <a:gd name="connsiteY3" fmla="*/ 0 h 17116"/>
                <a:gd name="connsiteX4" fmla="*/ 8731 w 148762"/>
                <a:gd name="connsiteY4" fmla="*/ 0 h 17116"/>
                <a:gd name="connsiteX5" fmla="*/ 0 w 148762"/>
                <a:gd name="connsiteY5" fmla="*/ 8558 h 17116"/>
                <a:gd name="connsiteX6" fmla="*/ 8731 w 148762"/>
                <a:gd name="connsiteY6" fmla="*/ 17116 h 17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762" h="17116">
                  <a:moveTo>
                    <a:pt x="8731" y="17116"/>
                  </a:moveTo>
                  <a:lnTo>
                    <a:pt x="140032" y="17116"/>
                  </a:lnTo>
                  <a:cubicBezTo>
                    <a:pt x="144854" y="17116"/>
                    <a:pt x="148763" y="13284"/>
                    <a:pt x="148763" y="8558"/>
                  </a:cubicBezTo>
                  <a:cubicBezTo>
                    <a:pt x="148763" y="3832"/>
                    <a:pt x="144854" y="0"/>
                    <a:pt x="140032" y="0"/>
                  </a:cubicBezTo>
                  <a:lnTo>
                    <a:pt x="8731" y="0"/>
                  </a:lnTo>
                  <a:cubicBezTo>
                    <a:pt x="3909" y="0"/>
                    <a:pt x="0" y="3832"/>
                    <a:pt x="0" y="8558"/>
                  </a:cubicBezTo>
                  <a:cubicBezTo>
                    <a:pt x="0" y="13284"/>
                    <a:pt x="3909" y="17116"/>
                    <a:pt x="8731" y="17116"/>
                  </a:cubicBezTo>
                  <a:close/>
                </a:path>
              </a:pathLst>
            </a:custGeom>
            <a:solidFill>
              <a:srgbClr val="BD5C7A"/>
            </a:solidFill>
            <a:ln w="170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 106">
              <a:extLst>
                <a:ext uri="{FF2B5EF4-FFF2-40B4-BE49-F238E27FC236}">
                  <a16:creationId xmlns:a16="http://schemas.microsoft.com/office/drawing/2014/main" id="{FC41C93D-57C3-1948-82F7-40B65B163F62}"/>
                </a:ext>
              </a:extLst>
            </p:cNvPr>
            <p:cNvSpPr/>
            <p:nvPr/>
          </p:nvSpPr>
          <p:spPr>
            <a:xfrm>
              <a:off x="7351726" y="1657759"/>
              <a:ext cx="120910" cy="17116"/>
            </a:xfrm>
            <a:custGeom>
              <a:avLst/>
              <a:gdLst>
                <a:gd name="connsiteX0" fmla="*/ 8731 w 120910"/>
                <a:gd name="connsiteY0" fmla="*/ 17116 h 17116"/>
                <a:gd name="connsiteX1" fmla="*/ 112179 w 120910"/>
                <a:gd name="connsiteY1" fmla="*/ 17116 h 17116"/>
                <a:gd name="connsiteX2" fmla="*/ 120910 w 120910"/>
                <a:gd name="connsiteY2" fmla="*/ 8558 h 17116"/>
                <a:gd name="connsiteX3" fmla="*/ 112179 w 120910"/>
                <a:gd name="connsiteY3" fmla="*/ 0 h 17116"/>
                <a:gd name="connsiteX4" fmla="*/ 8731 w 120910"/>
                <a:gd name="connsiteY4" fmla="*/ 0 h 17116"/>
                <a:gd name="connsiteX5" fmla="*/ 0 w 120910"/>
                <a:gd name="connsiteY5" fmla="*/ 8558 h 17116"/>
                <a:gd name="connsiteX6" fmla="*/ 8731 w 120910"/>
                <a:gd name="connsiteY6" fmla="*/ 17116 h 17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910" h="17116">
                  <a:moveTo>
                    <a:pt x="8731" y="17116"/>
                  </a:moveTo>
                  <a:lnTo>
                    <a:pt x="112179" y="17116"/>
                  </a:lnTo>
                  <a:cubicBezTo>
                    <a:pt x="117001" y="17116"/>
                    <a:pt x="120910" y="13284"/>
                    <a:pt x="120910" y="8558"/>
                  </a:cubicBezTo>
                  <a:cubicBezTo>
                    <a:pt x="120910" y="3832"/>
                    <a:pt x="117001" y="0"/>
                    <a:pt x="112179" y="0"/>
                  </a:cubicBezTo>
                  <a:lnTo>
                    <a:pt x="8731" y="0"/>
                  </a:lnTo>
                  <a:cubicBezTo>
                    <a:pt x="3909" y="0"/>
                    <a:pt x="0" y="3832"/>
                    <a:pt x="0" y="8558"/>
                  </a:cubicBezTo>
                  <a:cubicBezTo>
                    <a:pt x="0" y="13284"/>
                    <a:pt x="3909" y="17116"/>
                    <a:pt x="8731" y="17116"/>
                  </a:cubicBezTo>
                  <a:close/>
                </a:path>
              </a:pathLst>
            </a:custGeom>
            <a:solidFill>
              <a:srgbClr val="BD5C7A"/>
            </a:solidFill>
            <a:ln w="170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532BF901-64E5-1546-8ACD-EDBAC7C408D5}"/>
                </a:ext>
              </a:extLst>
            </p:cNvPr>
            <p:cNvSpPr/>
            <p:nvPr/>
          </p:nvSpPr>
          <p:spPr>
            <a:xfrm>
              <a:off x="7351726" y="1751281"/>
              <a:ext cx="120910" cy="17116"/>
            </a:xfrm>
            <a:custGeom>
              <a:avLst/>
              <a:gdLst>
                <a:gd name="connsiteX0" fmla="*/ 8731 w 120910"/>
                <a:gd name="connsiteY0" fmla="*/ 17116 h 17116"/>
                <a:gd name="connsiteX1" fmla="*/ 112179 w 120910"/>
                <a:gd name="connsiteY1" fmla="*/ 17116 h 17116"/>
                <a:gd name="connsiteX2" fmla="*/ 120910 w 120910"/>
                <a:gd name="connsiteY2" fmla="*/ 8558 h 17116"/>
                <a:gd name="connsiteX3" fmla="*/ 112179 w 120910"/>
                <a:gd name="connsiteY3" fmla="*/ 0 h 17116"/>
                <a:gd name="connsiteX4" fmla="*/ 8731 w 120910"/>
                <a:gd name="connsiteY4" fmla="*/ 0 h 17116"/>
                <a:gd name="connsiteX5" fmla="*/ 0 w 120910"/>
                <a:gd name="connsiteY5" fmla="*/ 8558 h 17116"/>
                <a:gd name="connsiteX6" fmla="*/ 8731 w 120910"/>
                <a:gd name="connsiteY6" fmla="*/ 17116 h 17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910" h="17116">
                  <a:moveTo>
                    <a:pt x="8731" y="17116"/>
                  </a:moveTo>
                  <a:lnTo>
                    <a:pt x="112179" y="17116"/>
                  </a:lnTo>
                  <a:cubicBezTo>
                    <a:pt x="117001" y="17116"/>
                    <a:pt x="120910" y="13284"/>
                    <a:pt x="120910" y="8558"/>
                  </a:cubicBezTo>
                  <a:cubicBezTo>
                    <a:pt x="120910" y="3832"/>
                    <a:pt x="117001" y="0"/>
                    <a:pt x="112179" y="0"/>
                  </a:cubicBezTo>
                  <a:lnTo>
                    <a:pt x="8731" y="0"/>
                  </a:lnTo>
                  <a:cubicBezTo>
                    <a:pt x="3909" y="0"/>
                    <a:pt x="0" y="3832"/>
                    <a:pt x="0" y="8558"/>
                  </a:cubicBezTo>
                  <a:cubicBezTo>
                    <a:pt x="0" y="13284"/>
                    <a:pt x="3909" y="17116"/>
                    <a:pt x="8731" y="17116"/>
                  </a:cubicBezTo>
                  <a:close/>
                </a:path>
              </a:pathLst>
            </a:custGeom>
            <a:solidFill>
              <a:srgbClr val="BD5C7A"/>
            </a:solidFill>
            <a:ln w="170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 108">
              <a:extLst>
                <a:ext uri="{FF2B5EF4-FFF2-40B4-BE49-F238E27FC236}">
                  <a16:creationId xmlns:a16="http://schemas.microsoft.com/office/drawing/2014/main" id="{114A3656-2E63-724C-B9B9-D48ADFF3CDE1}"/>
                </a:ext>
              </a:extLst>
            </p:cNvPr>
            <p:cNvSpPr/>
            <p:nvPr/>
          </p:nvSpPr>
          <p:spPr>
            <a:xfrm>
              <a:off x="7351726" y="1703750"/>
              <a:ext cx="92271" cy="17116"/>
            </a:xfrm>
            <a:custGeom>
              <a:avLst/>
              <a:gdLst>
                <a:gd name="connsiteX0" fmla="*/ 83540 w 92271"/>
                <a:gd name="connsiteY0" fmla="*/ 0 h 17116"/>
                <a:gd name="connsiteX1" fmla="*/ 8731 w 92271"/>
                <a:gd name="connsiteY1" fmla="*/ 0 h 17116"/>
                <a:gd name="connsiteX2" fmla="*/ 0 w 92271"/>
                <a:gd name="connsiteY2" fmla="*/ 8558 h 17116"/>
                <a:gd name="connsiteX3" fmla="*/ 8731 w 92271"/>
                <a:gd name="connsiteY3" fmla="*/ 17116 h 17116"/>
                <a:gd name="connsiteX4" fmla="*/ 83540 w 92271"/>
                <a:gd name="connsiteY4" fmla="*/ 17116 h 17116"/>
                <a:gd name="connsiteX5" fmla="*/ 92272 w 92271"/>
                <a:gd name="connsiteY5" fmla="*/ 8558 h 17116"/>
                <a:gd name="connsiteX6" fmla="*/ 83540 w 92271"/>
                <a:gd name="connsiteY6" fmla="*/ 0 h 17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271" h="17116">
                  <a:moveTo>
                    <a:pt x="83540" y="0"/>
                  </a:moveTo>
                  <a:lnTo>
                    <a:pt x="8731" y="0"/>
                  </a:lnTo>
                  <a:cubicBezTo>
                    <a:pt x="3909" y="0"/>
                    <a:pt x="0" y="3832"/>
                    <a:pt x="0" y="8558"/>
                  </a:cubicBezTo>
                  <a:cubicBezTo>
                    <a:pt x="0" y="13284"/>
                    <a:pt x="3909" y="17116"/>
                    <a:pt x="8731" y="17116"/>
                  </a:cubicBezTo>
                  <a:lnTo>
                    <a:pt x="83540" y="17116"/>
                  </a:lnTo>
                  <a:cubicBezTo>
                    <a:pt x="88363" y="17116"/>
                    <a:pt x="92272" y="13284"/>
                    <a:pt x="92272" y="8558"/>
                  </a:cubicBezTo>
                  <a:cubicBezTo>
                    <a:pt x="92272" y="3832"/>
                    <a:pt x="88363" y="0"/>
                    <a:pt x="83540" y="0"/>
                  </a:cubicBezTo>
                  <a:close/>
                </a:path>
              </a:pathLst>
            </a:custGeom>
            <a:solidFill>
              <a:srgbClr val="BD5C7A"/>
            </a:solidFill>
            <a:ln w="170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FB0B0251-4ACA-2F4A-95F3-EE1992C20073}"/>
                </a:ext>
              </a:extLst>
            </p:cNvPr>
            <p:cNvSpPr/>
            <p:nvPr/>
          </p:nvSpPr>
          <p:spPr>
            <a:xfrm>
              <a:off x="7306201" y="1527969"/>
              <a:ext cx="328571" cy="311340"/>
            </a:xfrm>
            <a:custGeom>
              <a:avLst/>
              <a:gdLst>
                <a:gd name="connsiteX0" fmla="*/ 321781 w 328571"/>
                <a:gd name="connsiteY0" fmla="*/ 49380 h 311340"/>
                <a:gd name="connsiteX1" fmla="*/ 309191 w 328571"/>
                <a:gd name="connsiteY1" fmla="*/ 37090 h 311340"/>
                <a:gd name="connsiteX2" fmla="*/ 276344 w 328571"/>
                <a:gd name="connsiteY2" fmla="*/ 37090 h 311340"/>
                <a:gd name="connsiteX3" fmla="*/ 268119 w 328571"/>
                <a:gd name="connsiteY3" fmla="*/ 45186 h 311340"/>
                <a:gd name="connsiteX4" fmla="*/ 250656 w 328571"/>
                <a:gd name="connsiteY4" fmla="*/ 62302 h 311340"/>
                <a:gd name="connsiteX5" fmla="*/ 250656 w 328571"/>
                <a:gd name="connsiteY5" fmla="*/ 54754 h 311340"/>
                <a:gd name="connsiteX6" fmla="*/ 248753 w 328571"/>
                <a:gd name="connsiteY6" fmla="*/ 50218 h 311340"/>
                <a:gd name="connsiteX7" fmla="*/ 244754 w 328571"/>
                <a:gd name="connsiteY7" fmla="*/ 46299 h 311340"/>
                <a:gd name="connsiteX8" fmla="*/ 244754 w 328571"/>
                <a:gd name="connsiteY8" fmla="*/ 46299 h 311340"/>
                <a:gd name="connsiteX9" fmla="*/ 201098 w 328571"/>
                <a:gd name="connsiteY9" fmla="*/ 3509 h 311340"/>
                <a:gd name="connsiteX10" fmla="*/ 201098 w 328571"/>
                <a:gd name="connsiteY10" fmla="*/ 3509 h 311340"/>
                <a:gd name="connsiteX11" fmla="*/ 199352 w 328571"/>
                <a:gd name="connsiteY11" fmla="*/ 1883 h 311340"/>
                <a:gd name="connsiteX12" fmla="*/ 194707 w 328571"/>
                <a:gd name="connsiteY12" fmla="*/ 0 h 311340"/>
                <a:gd name="connsiteX13" fmla="*/ 31310 w 328571"/>
                <a:gd name="connsiteY13" fmla="*/ 0 h 311340"/>
                <a:gd name="connsiteX14" fmla="*/ 0 w 328571"/>
                <a:gd name="connsiteY14" fmla="*/ 30501 h 311340"/>
                <a:gd name="connsiteX15" fmla="*/ 0 w 328571"/>
                <a:gd name="connsiteY15" fmla="*/ 280668 h 311340"/>
                <a:gd name="connsiteX16" fmla="*/ 31310 w 328571"/>
                <a:gd name="connsiteY16" fmla="*/ 311340 h 311340"/>
                <a:gd name="connsiteX17" fmla="*/ 219399 w 328571"/>
                <a:gd name="connsiteY17" fmla="*/ 311340 h 311340"/>
                <a:gd name="connsiteX18" fmla="*/ 250726 w 328571"/>
                <a:gd name="connsiteY18" fmla="*/ 280668 h 311340"/>
                <a:gd name="connsiteX19" fmla="*/ 250726 w 328571"/>
                <a:gd name="connsiteY19" fmla="*/ 151220 h 311340"/>
                <a:gd name="connsiteX20" fmla="*/ 321798 w 328571"/>
                <a:gd name="connsiteY20" fmla="*/ 81575 h 311340"/>
                <a:gd name="connsiteX21" fmla="*/ 321781 w 328571"/>
                <a:gd name="connsiteY21" fmla="*/ 49380 h 311340"/>
                <a:gd name="connsiteX22" fmla="*/ 203036 w 328571"/>
                <a:gd name="connsiteY22" fmla="*/ 23466 h 311340"/>
                <a:gd name="connsiteX23" fmla="*/ 224375 w 328571"/>
                <a:gd name="connsiteY23" fmla="*/ 44382 h 311340"/>
                <a:gd name="connsiteX24" fmla="*/ 202966 w 328571"/>
                <a:gd name="connsiteY24" fmla="*/ 44382 h 311340"/>
                <a:gd name="connsiteX25" fmla="*/ 237682 w 328571"/>
                <a:gd name="connsiteY25" fmla="*/ 280668 h 311340"/>
                <a:gd name="connsiteX26" fmla="*/ 219468 w 328571"/>
                <a:gd name="connsiteY26" fmla="*/ 298503 h 311340"/>
                <a:gd name="connsiteX27" fmla="*/ 31310 w 328571"/>
                <a:gd name="connsiteY27" fmla="*/ 298503 h 311340"/>
                <a:gd name="connsiteX28" fmla="*/ 13114 w 328571"/>
                <a:gd name="connsiteY28" fmla="*/ 280668 h 311340"/>
                <a:gd name="connsiteX29" fmla="*/ 13114 w 328571"/>
                <a:gd name="connsiteY29" fmla="*/ 30501 h 311340"/>
                <a:gd name="connsiteX30" fmla="*/ 31310 w 328571"/>
                <a:gd name="connsiteY30" fmla="*/ 12666 h 311340"/>
                <a:gd name="connsiteX31" fmla="*/ 189869 w 328571"/>
                <a:gd name="connsiteY31" fmla="*/ 12666 h 311340"/>
                <a:gd name="connsiteX32" fmla="*/ 189869 w 328571"/>
                <a:gd name="connsiteY32" fmla="*/ 50800 h 311340"/>
                <a:gd name="connsiteX33" fmla="*/ 196418 w 328571"/>
                <a:gd name="connsiteY33" fmla="*/ 57219 h 311340"/>
                <a:gd name="connsiteX34" fmla="*/ 237402 w 328571"/>
                <a:gd name="connsiteY34" fmla="*/ 57219 h 311340"/>
                <a:gd name="connsiteX35" fmla="*/ 237612 w 328571"/>
                <a:gd name="connsiteY35" fmla="*/ 57424 h 311340"/>
                <a:gd name="connsiteX36" fmla="*/ 237612 w 328571"/>
                <a:gd name="connsiteY36" fmla="*/ 75071 h 311340"/>
                <a:gd name="connsiteX37" fmla="*/ 180579 w 328571"/>
                <a:gd name="connsiteY37" fmla="*/ 130886 h 311340"/>
                <a:gd name="connsiteX38" fmla="*/ 180387 w 328571"/>
                <a:gd name="connsiteY38" fmla="*/ 131074 h 311340"/>
                <a:gd name="connsiteX39" fmla="*/ 180387 w 328571"/>
                <a:gd name="connsiteY39" fmla="*/ 131074 h 311340"/>
                <a:gd name="connsiteX40" fmla="*/ 180073 w 328571"/>
                <a:gd name="connsiteY40" fmla="*/ 131485 h 311340"/>
                <a:gd name="connsiteX41" fmla="*/ 180073 w 328571"/>
                <a:gd name="connsiteY41" fmla="*/ 131588 h 311340"/>
                <a:gd name="connsiteX42" fmla="*/ 179829 w 328571"/>
                <a:gd name="connsiteY42" fmla="*/ 131947 h 311340"/>
                <a:gd name="connsiteX43" fmla="*/ 179741 w 328571"/>
                <a:gd name="connsiteY43" fmla="*/ 132084 h 311340"/>
                <a:gd name="connsiteX44" fmla="*/ 179602 w 328571"/>
                <a:gd name="connsiteY44" fmla="*/ 132444 h 311340"/>
                <a:gd name="connsiteX45" fmla="*/ 179602 w 328571"/>
                <a:gd name="connsiteY45" fmla="*/ 132444 h 311340"/>
                <a:gd name="connsiteX46" fmla="*/ 159921 w 328571"/>
                <a:gd name="connsiteY46" fmla="*/ 189919 h 311340"/>
                <a:gd name="connsiteX47" fmla="*/ 162825 w 328571"/>
                <a:gd name="connsiteY47" fmla="*/ 195641 h 311340"/>
                <a:gd name="connsiteX48" fmla="*/ 164339 w 328571"/>
                <a:gd name="connsiteY48" fmla="*/ 195876 h 311340"/>
                <a:gd name="connsiteX49" fmla="*/ 165824 w 328571"/>
                <a:gd name="connsiteY49" fmla="*/ 195653 h 311340"/>
                <a:gd name="connsiteX50" fmla="*/ 224183 w 328571"/>
                <a:gd name="connsiteY50" fmla="*/ 176569 h 311340"/>
                <a:gd name="connsiteX51" fmla="*/ 224183 w 328571"/>
                <a:gd name="connsiteY51" fmla="*/ 176569 h 311340"/>
                <a:gd name="connsiteX52" fmla="*/ 224602 w 328571"/>
                <a:gd name="connsiteY52" fmla="*/ 176380 h 311340"/>
                <a:gd name="connsiteX53" fmla="*/ 224707 w 328571"/>
                <a:gd name="connsiteY53" fmla="*/ 176380 h 311340"/>
                <a:gd name="connsiteX54" fmla="*/ 225161 w 328571"/>
                <a:gd name="connsiteY54" fmla="*/ 176107 h 311340"/>
                <a:gd name="connsiteX55" fmla="*/ 225580 w 328571"/>
                <a:gd name="connsiteY55" fmla="*/ 175799 h 311340"/>
                <a:gd name="connsiteX56" fmla="*/ 225668 w 328571"/>
                <a:gd name="connsiteY56" fmla="*/ 175696 h 311340"/>
                <a:gd name="connsiteX57" fmla="*/ 225860 w 328571"/>
                <a:gd name="connsiteY57" fmla="*/ 175525 h 311340"/>
                <a:gd name="connsiteX58" fmla="*/ 237455 w 328571"/>
                <a:gd name="connsiteY58" fmla="*/ 164142 h 311340"/>
                <a:gd name="connsiteX59" fmla="*/ 185871 w 328571"/>
                <a:gd name="connsiteY59" fmla="*/ 142593 h 311340"/>
                <a:gd name="connsiteX60" fmla="*/ 214055 w 328571"/>
                <a:gd name="connsiteY60" fmla="*/ 170253 h 311340"/>
                <a:gd name="connsiteX61" fmla="*/ 171639 w 328571"/>
                <a:gd name="connsiteY61" fmla="*/ 184100 h 311340"/>
                <a:gd name="connsiteX62" fmla="*/ 222786 w 328571"/>
                <a:gd name="connsiteY62" fmla="*/ 165871 h 311340"/>
                <a:gd name="connsiteX63" fmla="*/ 190428 w 328571"/>
                <a:gd name="connsiteY63" fmla="*/ 134172 h 311340"/>
                <a:gd name="connsiteX64" fmla="*/ 271367 w 328571"/>
                <a:gd name="connsiteY64" fmla="*/ 54857 h 311340"/>
                <a:gd name="connsiteX65" fmla="*/ 303707 w 328571"/>
                <a:gd name="connsiteY65" fmla="*/ 86539 h 311340"/>
                <a:gd name="connsiteX66" fmla="*/ 315337 w 328571"/>
                <a:gd name="connsiteY66" fmla="*/ 75156 h 311340"/>
                <a:gd name="connsiteX67" fmla="*/ 310395 w 328571"/>
                <a:gd name="connsiteY67" fmla="*/ 80017 h 311340"/>
                <a:gd name="connsiteX68" fmla="*/ 277968 w 328571"/>
                <a:gd name="connsiteY68" fmla="*/ 48387 h 311340"/>
                <a:gd name="connsiteX69" fmla="*/ 282927 w 328571"/>
                <a:gd name="connsiteY69" fmla="*/ 43509 h 311340"/>
                <a:gd name="connsiteX70" fmla="*/ 302625 w 328571"/>
                <a:gd name="connsiteY70" fmla="*/ 43509 h 311340"/>
                <a:gd name="connsiteX71" fmla="*/ 315268 w 328571"/>
                <a:gd name="connsiteY71" fmla="*/ 55901 h 311340"/>
                <a:gd name="connsiteX72" fmla="*/ 315233 w 328571"/>
                <a:gd name="connsiteY72" fmla="*/ 75208 h 311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328571" h="311340">
                  <a:moveTo>
                    <a:pt x="321781" y="49380"/>
                  </a:moveTo>
                  <a:lnTo>
                    <a:pt x="309191" y="37090"/>
                  </a:lnTo>
                  <a:cubicBezTo>
                    <a:pt x="300116" y="28209"/>
                    <a:pt x="285418" y="28209"/>
                    <a:pt x="276344" y="37090"/>
                  </a:cubicBezTo>
                  <a:lnTo>
                    <a:pt x="268119" y="45186"/>
                  </a:lnTo>
                  <a:lnTo>
                    <a:pt x="250656" y="62302"/>
                  </a:lnTo>
                  <a:lnTo>
                    <a:pt x="250656" y="54754"/>
                  </a:lnTo>
                  <a:cubicBezTo>
                    <a:pt x="250656" y="53056"/>
                    <a:pt x="249972" y="51426"/>
                    <a:pt x="248753" y="50218"/>
                  </a:cubicBezTo>
                  <a:lnTo>
                    <a:pt x="244754" y="46299"/>
                  </a:lnTo>
                  <a:lnTo>
                    <a:pt x="244754" y="46299"/>
                  </a:lnTo>
                  <a:lnTo>
                    <a:pt x="201098" y="3509"/>
                  </a:lnTo>
                  <a:lnTo>
                    <a:pt x="201098" y="3509"/>
                  </a:lnTo>
                  <a:lnTo>
                    <a:pt x="199352" y="1883"/>
                  </a:lnTo>
                  <a:cubicBezTo>
                    <a:pt x="198123" y="671"/>
                    <a:pt x="196450" y="-7"/>
                    <a:pt x="194707" y="0"/>
                  </a:cubicBezTo>
                  <a:lnTo>
                    <a:pt x="31310" y="0"/>
                  </a:lnTo>
                  <a:cubicBezTo>
                    <a:pt x="14120" y="65"/>
                    <a:pt x="172" y="13653"/>
                    <a:pt x="0" y="30501"/>
                  </a:cubicBezTo>
                  <a:lnTo>
                    <a:pt x="0" y="280668"/>
                  </a:lnTo>
                  <a:cubicBezTo>
                    <a:pt x="77" y="297583"/>
                    <a:pt x="14053" y="311274"/>
                    <a:pt x="31310" y="311340"/>
                  </a:cubicBezTo>
                  <a:lnTo>
                    <a:pt x="219399" y="311340"/>
                  </a:lnTo>
                  <a:cubicBezTo>
                    <a:pt x="236687" y="311340"/>
                    <a:pt x="250707" y="297613"/>
                    <a:pt x="250726" y="280668"/>
                  </a:cubicBezTo>
                  <a:lnTo>
                    <a:pt x="250726" y="151220"/>
                  </a:lnTo>
                  <a:lnTo>
                    <a:pt x="321798" y="81575"/>
                  </a:lnTo>
                  <a:cubicBezTo>
                    <a:pt x="330836" y="72668"/>
                    <a:pt x="330828" y="58277"/>
                    <a:pt x="321781" y="49380"/>
                  </a:cubicBezTo>
                  <a:close/>
                  <a:moveTo>
                    <a:pt x="203036" y="23466"/>
                  </a:moveTo>
                  <a:lnTo>
                    <a:pt x="224375" y="44382"/>
                  </a:lnTo>
                  <a:lnTo>
                    <a:pt x="202966" y="44382"/>
                  </a:lnTo>
                  <a:close/>
                  <a:moveTo>
                    <a:pt x="237682" y="280668"/>
                  </a:moveTo>
                  <a:cubicBezTo>
                    <a:pt x="237672" y="290521"/>
                    <a:pt x="229521" y="298503"/>
                    <a:pt x="219468" y="298503"/>
                  </a:cubicBezTo>
                  <a:lnTo>
                    <a:pt x="31310" y="298503"/>
                  </a:lnTo>
                  <a:cubicBezTo>
                    <a:pt x="21269" y="298484"/>
                    <a:pt x="13134" y="290510"/>
                    <a:pt x="13114" y="280668"/>
                  </a:cubicBezTo>
                  <a:lnTo>
                    <a:pt x="13114" y="30501"/>
                  </a:lnTo>
                  <a:cubicBezTo>
                    <a:pt x="13134" y="20659"/>
                    <a:pt x="21269" y="12685"/>
                    <a:pt x="31310" y="12666"/>
                  </a:cubicBezTo>
                  <a:lnTo>
                    <a:pt x="189869" y="12666"/>
                  </a:lnTo>
                  <a:lnTo>
                    <a:pt x="189869" y="50800"/>
                  </a:lnTo>
                  <a:cubicBezTo>
                    <a:pt x="189869" y="54345"/>
                    <a:pt x="192801" y="57219"/>
                    <a:pt x="196418" y="57219"/>
                  </a:cubicBezTo>
                  <a:lnTo>
                    <a:pt x="237402" y="57219"/>
                  </a:lnTo>
                  <a:lnTo>
                    <a:pt x="237612" y="57424"/>
                  </a:lnTo>
                  <a:lnTo>
                    <a:pt x="237612" y="75071"/>
                  </a:lnTo>
                  <a:lnTo>
                    <a:pt x="180579" y="130886"/>
                  </a:lnTo>
                  <a:lnTo>
                    <a:pt x="180387" y="131074"/>
                  </a:lnTo>
                  <a:lnTo>
                    <a:pt x="180387" y="131074"/>
                  </a:lnTo>
                  <a:cubicBezTo>
                    <a:pt x="180300" y="131211"/>
                    <a:pt x="180160" y="131348"/>
                    <a:pt x="180073" y="131485"/>
                  </a:cubicBezTo>
                  <a:lnTo>
                    <a:pt x="180073" y="131588"/>
                  </a:lnTo>
                  <a:lnTo>
                    <a:pt x="179829" y="131947"/>
                  </a:lnTo>
                  <a:lnTo>
                    <a:pt x="179741" y="132084"/>
                  </a:lnTo>
                  <a:lnTo>
                    <a:pt x="179602" y="132444"/>
                  </a:lnTo>
                  <a:lnTo>
                    <a:pt x="179602" y="132444"/>
                  </a:lnTo>
                  <a:lnTo>
                    <a:pt x="159921" y="189919"/>
                  </a:lnTo>
                  <a:cubicBezTo>
                    <a:pt x="159111" y="192285"/>
                    <a:pt x="160411" y="194847"/>
                    <a:pt x="162825" y="195641"/>
                  </a:cubicBezTo>
                  <a:cubicBezTo>
                    <a:pt x="163313" y="195801"/>
                    <a:pt x="163825" y="195881"/>
                    <a:pt x="164339" y="195876"/>
                  </a:cubicBezTo>
                  <a:cubicBezTo>
                    <a:pt x="164842" y="195872"/>
                    <a:pt x="165342" y="195797"/>
                    <a:pt x="165824" y="195653"/>
                  </a:cubicBezTo>
                  <a:lnTo>
                    <a:pt x="224183" y="176569"/>
                  </a:lnTo>
                  <a:lnTo>
                    <a:pt x="224183" y="176569"/>
                  </a:lnTo>
                  <a:cubicBezTo>
                    <a:pt x="224332" y="176527"/>
                    <a:pt x="224473" y="176464"/>
                    <a:pt x="224602" y="176380"/>
                  </a:cubicBezTo>
                  <a:lnTo>
                    <a:pt x="224707" y="176380"/>
                  </a:lnTo>
                  <a:lnTo>
                    <a:pt x="225161" y="176107"/>
                  </a:lnTo>
                  <a:lnTo>
                    <a:pt x="225580" y="175799"/>
                  </a:lnTo>
                  <a:lnTo>
                    <a:pt x="225668" y="175696"/>
                  </a:lnTo>
                  <a:cubicBezTo>
                    <a:pt x="225744" y="175654"/>
                    <a:pt x="225810" y="175595"/>
                    <a:pt x="225860" y="175525"/>
                  </a:cubicBezTo>
                  <a:lnTo>
                    <a:pt x="237455" y="164142"/>
                  </a:lnTo>
                  <a:close/>
                  <a:moveTo>
                    <a:pt x="185871" y="142593"/>
                  </a:moveTo>
                  <a:lnTo>
                    <a:pt x="214055" y="170253"/>
                  </a:lnTo>
                  <a:lnTo>
                    <a:pt x="171639" y="184100"/>
                  </a:lnTo>
                  <a:close/>
                  <a:moveTo>
                    <a:pt x="222786" y="165871"/>
                  </a:moveTo>
                  <a:lnTo>
                    <a:pt x="190428" y="134172"/>
                  </a:lnTo>
                  <a:lnTo>
                    <a:pt x="271367" y="54857"/>
                  </a:lnTo>
                  <a:lnTo>
                    <a:pt x="303707" y="86539"/>
                  </a:lnTo>
                  <a:close/>
                  <a:moveTo>
                    <a:pt x="315337" y="75156"/>
                  </a:moveTo>
                  <a:lnTo>
                    <a:pt x="310395" y="80017"/>
                  </a:lnTo>
                  <a:lnTo>
                    <a:pt x="277968" y="48387"/>
                  </a:lnTo>
                  <a:lnTo>
                    <a:pt x="282927" y="43509"/>
                  </a:lnTo>
                  <a:cubicBezTo>
                    <a:pt x="288376" y="38200"/>
                    <a:pt x="297176" y="38200"/>
                    <a:pt x="302625" y="43509"/>
                  </a:cubicBezTo>
                  <a:lnTo>
                    <a:pt x="315268" y="55901"/>
                  </a:lnTo>
                  <a:cubicBezTo>
                    <a:pt x="320674" y="61251"/>
                    <a:pt x="320659" y="69876"/>
                    <a:pt x="315233" y="75208"/>
                  </a:cubicBezTo>
                  <a:close/>
                </a:path>
              </a:pathLst>
            </a:custGeom>
            <a:solidFill>
              <a:srgbClr val="1F6896"/>
            </a:solidFill>
            <a:ln w="170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1" name="Graphic 134">
            <a:extLst>
              <a:ext uri="{FF2B5EF4-FFF2-40B4-BE49-F238E27FC236}">
                <a16:creationId xmlns:a16="http://schemas.microsoft.com/office/drawing/2014/main" id="{05C53793-E092-7540-8F82-9F1CDC5A68A5}"/>
              </a:ext>
            </a:extLst>
          </p:cNvPr>
          <p:cNvGrpSpPr/>
          <p:nvPr userDrawn="1"/>
        </p:nvGrpSpPr>
        <p:grpSpPr>
          <a:xfrm>
            <a:off x="3911600" y="2181598"/>
            <a:ext cx="361950" cy="361950"/>
            <a:chOff x="3911600" y="2181598"/>
            <a:chExt cx="361950" cy="361950"/>
          </a:xfrm>
        </p:grpSpPr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D3942AFB-92E5-5341-950A-DA12AFB09C7F}"/>
                </a:ext>
              </a:extLst>
            </p:cNvPr>
            <p:cNvSpPr/>
            <p:nvPr/>
          </p:nvSpPr>
          <p:spPr>
            <a:xfrm>
              <a:off x="3932683" y="2256793"/>
              <a:ext cx="156407" cy="235516"/>
            </a:xfrm>
            <a:custGeom>
              <a:avLst/>
              <a:gdLst>
                <a:gd name="connsiteX0" fmla="*/ 122407 w 156407"/>
                <a:gd name="connsiteY0" fmla="*/ 226241 h 235516"/>
                <a:gd name="connsiteX1" fmla="*/ 70377 w 156407"/>
                <a:gd name="connsiteY1" fmla="*/ 197783 h 235516"/>
                <a:gd name="connsiteX2" fmla="*/ 57007 w 156407"/>
                <a:gd name="connsiteY2" fmla="*/ 183871 h 235516"/>
                <a:gd name="connsiteX3" fmla="*/ 59066 w 156407"/>
                <a:gd name="connsiteY3" fmla="*/ 183871 h 235516"/>
                <a:gd name="connsiteX4" fmla="*/ 67775 w 156407"/>
                <a:gd name="connsiteY4" fmla="*/ 184165 h 235516"/>
                <a:gd name="connsiteX5" fmla="*/ 66033 w 156407"/>
                <a:gd name="connsiteY5" fmla="*/ 181767 h 235516"/>
                <a:gd name="connsiteX6" fmla="*/ 62844 w 156407"/>
                <a:gd name="connsiteY6" fmla="*/ 176609 h 235516"/>
                <a:gd name="connsiteX7" fmla="*/ 59066 w 156407"/>
                <a:gd name="connsiteY7" fmla="*/ 176745 h 235516"/>
                <a:gd name="connsiteX8" fmla="*/ 51895 w 156407"/>
                <a:gd name="connsiteY8" fmla="*/ 177039 h 235516"/>
                <a:gd name="connsiteX9" fmla="*/ 32983 w 156407"/>
                <a:gd name="connsiteY9" fmla="*/ 123221 h 235516"/>
                <a:gd name="connsiteX10" fmla="*/ 38502 w 156407"/>
                <a:gd name="connsiteY10" fmla="*/ 123448 h 235516"/>
                <a:gd name="connsiteX11" fmla="*/ 47280 w 156407"/>
                <a:gd name="connsiteY11" fmla="*/ 123719 h 235516"/>
                <a:gd name="connsiteX12" fmla="*/ 47031 w 156407"/>
                <a:gd name="connsiteY12" fmla="*/ 116028 h 235516"/>
                <a:gd name="connsiteX13" fmla="*/ 38502 w 156407"/>
                <a:gd name="connsiteY13" fmla="*/ 116299 h 235516"/>
                <a:gd name="connsiteX14" fmla="*/ 32870 w 156407"/>
                <a:gd name="connsiteY14" fmla="*/ 116548 h 235516"/>
                <a:gd name="connsiteX15" fmla="*/ 48479 w 156407"/>
                <a:gd name="connsiteY15" fmla="*/ 63681 h 235516"/>
                <a:gd name="connsiteX16" fmla="*/ 55831 w 156407"/>
                <a:gd name="connsiteY16" fmla="*/ 63997 h 235516"/>
                <a:gd name="connsiteX17" fmla="*/ 59518 w 156407"/>
                <a:gd name="connsiteY17" fmla="*/ 64110 h 235516"/>
                <a:gd name="connsiteX18" fmla="*/ 63500 w 156407"/>
                <a:gd name="connsiteY18" fmla="*/ 56600 h 235516"/>
                <a:gd name="connsiteX19" fmla="*/ 55831 w 156407"/>
                <a:gd name="connsiteY19" fmla="*/ 56849 h 235516"/>
                <a:gd name="connsiteX20" fmla="*/ 53003 w 156407"/>
                <a:gd name="connsiteY20" fmla="*/ 56849 h 235516"/>
                <a:gd name="connsiteX21" fmla="*/ 70445 w 156407"/>
                <a:gd name="connsiteY21" fmla="*/ 37620 h 235516"/>
                <a:gd name="connsiteX22" fmla="*/ 112182 w 156407"/>
                <a:gd name="connsiteY22" fmla="*/ 12691 h 235516"/>
                <a:gd name="connsiteX23" fmla="*/ 149214 w 156407"/>
                <a:gd name="connsiteY23" fmla="*/ 1086 h 235516"/>
                <a:gd name="connsiteX24" fmla="*/ 155797 w 156407"/>
                <a:gd name="connsiteY24" fmla="*/ 0 h 235516"/>
                <a:gd name="connsiteX25" fmla="*/ 134872 w 156407"/>
                <a:gd name="connsiteY25" fmla="*/ 0 h 235516"/>
                <a:gd name="connsiteX26" fmla="*/ 0 w 156407"/>
                <a:gd name="connsiteY26" fmla="*/ 117769 h 235516"/>
                <a:gd name="connsiteX27" fmla="*/ 134872 w 156407"/>
                <a:gd name="connsiteY27" fmla="*/ 235516 h 235516"/>
                <a:gd name="connsiteX28" fmla="*/ 156408 w 156407"/>
                <a:gd name="connsiteY28" fmla="*/ 235516 h 235516"/>
                <a:gd name="connsiteX29" fmla="*/ 122407 w 156407"/>
                <a:gd name="connsiteY29" fmla="*/ 226241 h 235516"/>
                <a:gd name="connsiteX30" fmla="*/ 4049 w 156407"/>
                <a:gd name="connsiteY30" fmla="*/ 117769 h 235516"/>
                <a:gd name="connsiteX31" fmla="*/ 119805 w 156407"/>
                <a:gd name="connsiteY31" fmla="*/ 4818 h 235516"/>
                <a:gd name="connsiteX32" fmla="*/ 41737 w 156407"/>
                <a:gd name="connsiteY32" fmla="*/ 57527 h 235516"/>
                <a:gd name="connsiteX33" fmla="*/ 26558 w 156407"/>
                <a:gd name="connsiteY33" fmla="*/ 60423 h 235516"/>
                <a:gd name="connsiteX34" fmla="*/ 38140 w 156407"/>
                <a:gd name="connsiteY34" fmla="*/ 63092 h 235516"/>
                <a:gd name="connsiteX35" fmla="*/ 22622 w 156407"/>
                <a:gd name="connsiteY35" fmla="*/ 117091 h 235516"/>
                <a:gd name="connsiteX36" fmla="*/ 9230 w 156407"/>
                <a:gd name="connsiteY36" fmla="*/ 119873 h 235516"/>
                <a:gd name="connsiteX37" fmla="*/ 22803 w 156407"/>
                <a:gd name="connsiteY37" fmla="*/ 122678 h 235516"/>
                <a:gd name="connsiteX38" fmla="*/ 41624 w 156407"/>
                <a:gd name="connsiteY38" fmla="*/ 177695 h 235516"/>
                <a:gd name="connsiteX39" fmla="*/ 29951 w 156407"/>
                <a:gd name="connsiteY39" fmla="*/ 180364 h 235516"/>
                <a:gd name="connsiteX40" fmla="*/ 45787 w 156407"/>
                <a:gd name="connsiteY40" fmla="*/ 183328 h 235516"/>
                <a:gd name="connsiteX41" fmla="*/ 119941 w 156407"/>
                <a:gd name="connsiteY41" fmla="*/ 230721 h 235516"/>
                <a:gd name="connsiteX42" fmla="*/ 4049 w 156407"/>
                <a:gd name="connsiteY42" fmla="*/ 117769 h 23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56407" h="235516">
                  <a:moveTo>
                    <a:pt x="122407" y="226241"/>
                  </a:moveTo>
                  <a:cubicBezTo>
                    <a:pt x="103183" y="220694"/>
                    <a:pt x="85418" y="210977"/>
                    <a:pt x="70377" y="197783"/>
                  </a:cubicBezTo>
                  <a:cubicBezTo>
                    <a:pt x="65562" y="193504"/>
                    <a:pt x="61092" y="188852"/>
                    <a:pt x="57007" y="183871"/>
                  </a:cubicBezTo>
                  <a:lnTo>
                    <a:pt x="59066" y="183871"/>
                  </a:lnTo>
                  <a:lnTo>
                    <a:pt x="67775" y="184165"/>
                  </a:lnTo>
                  <a:cubicBezTo>
                    <a:pt x="67210" y="183350"/>
                    <a:pt x="66576" y="182604"/>
                    <a:pt x="66033" y="181767"/>
                  </a:cubicBezTo>
                  <a:cubicBezTo>
                    <a:pt x="64925" y="180093"/>
                    <a:pt x="63771" y="178373"/>
                    <a:pt x="62844" y="176609"/>
                  </a:cubicBezTo>
                  <a:lnTo>
                    <a:pt x="59066" y="176745"/>
                  </a:lnTo>
                  <a:lnTo>
                    <a:pt x="51895" y="177039"/>
                  </a:lnTo>
                  <a:cubicBezTo>
                    <a:pt x="40656" y="161234"/>
                    <a:pt x="34101" y="142582"/>
                    <a:pt x="32983" y="123221"/>
                  </a:cubicBezTo>
                  <a:lnTo>
                    <a:pt x="38502" y="123448"/>
                  </a:lnTo>
                  <a:lnTo>
                    <a:pt x="47280" y="123719"/>
                  </a:lnTo>
                  <a:cubicBezTo>
                    <a:pt x="47121" y="121163"/>
                    <a:pt x="47031" y="118584"/>
                    <a:pt x="47031" y="116028"/>
                  </a:cubicBezTo>
                  <a:lnTo>
                    <a:pt x="38502" y="116299"/>
                  </a:lnTo>
                  <a:lnTo>
                    <a:pt x="32870" y="116548"/>
                  </a:lnTo>
                  <a:cubicBezTo>
                    <a:pt x="33127" y="97828"/>
                    <a:pt x="38527" y="79538"/>
                    <a:pt x="48479" y="63681"/>
                  </a:cubicBezTo>
                  <a:lnTo>
                    <a:pt x="55831" y="63997"/>
                  </a:lnTo>
                  <a:lnTo>
                    <a:pt x="59518" y="64110"/>
                  </a:lnTo>
                  <a:cubicBezTo>
                    <a:pt x="60740" y="61532"/>
                    <a:pt x="62074" y="59043"/>
                    <a:pt x="63500" y="56600"/>
                  </a:cubicBezTo>
                  <a:lnTo>
                    <a:pt x="55831" y="56849"/>
                  </a:lnTo>
                  <a:lnTo>
                    <a:pt x="53003" y="56849"/>
                  </a:lnTo>
                  <a:cubicBezTo>
                    <a:pt x="58097" y="49821"/>
                    <a:pt x="63946" y="43373"/>
                    <a:pt x="70445" y="37620"/>
                  </a:cubicBezTo>
                  <a:cubicBezTo>
                    <a:pt x="82727" y="26844"/>
                    <a:pt x="96871" y="18396"/>
                    <a:pt x="112182" y="12691"/>
                  </a:cubicBezTo>
                  <a:cubicBezTo>
                    <a:pt x="123876" y="6991"/>
                    <a:pt x="136359" y="3079"/>
                    <a:pt x="149214" y="1086"/>
                  </a:cubicBezTo>
                  <a:cubicBezTo>
                    <a:pt x="151476" y="679"/>
                    <a:pt x="153580" y="339"/>
                    <a:pt x="155797" y="0"/>
                  </a:cubicBezTo>
                  <a:lnTo>
                    <a:pt x="134872" y="0"/>
                  </a:lnTo>
                  <a:cubicBezTo>
                    <a:pt x="60514" y="0"/>
                    <a:pt x="0" y="52822"/>
                    <a:pt x="0" y="117769"/>
                  </a:cubicBezTo>
                  <a:cubicBezTo>
                    <a:pt x="0" y="182717"/>
                    <a:pt x="60514" y="235516"/>
                    <a:pt x="134872" y="235516"/>
                  </a:cubicBezTo>
                  <a:lnTo>
                    <a:pt x="156408" y="235516"/>
                  </a:lnTo>
                  <a:cubicBezTo>
                    <a:pt x="144770" y="233674"/>
                    <a:pt x="133368" y="230564"/>
                    <a:pt x="122407" y="226241"/>
                  </a:cubicBezTo>
                  <a:close/>
                  <a:moveTo>
                    <a:pt x="4049" y="117769"/>
                  </a:moveTo>
                  <a:cubicBezTo>
                    <a:pt x="4049" y="59496"/>
                    <a:pt x="54745" y="11311"/>
                    <a:pt x="119805" y="4818"/>
                  </a:cubicBezTo>
                  <a:cubicBezTo>
                    <a:pt x="88297" y="12442"/>
                    <a:pt x="60585" y="31152"/>
                    <a:pt x="41737" y="57527"/>
                  </a:cubicBezTo>
                  <a:cubicBezTo>
                    <a:pt x="26558" y="58432"/>
                    <a:pt x="26558" y="59405"/>
                    <a:pt x="26558" y="60423"/>
                  </a:cubicBezTo>
                  <a:cubicBezTo>
                    <a:pt x="26558" y="61441"/>
                    <a:pt x="26558" y="62255"/>
                    <a:pt x="38140" y="63092"/>
                  </a:cubicBezTo>
                  <a:cubicBezTo>
                    <a:pt x="28160" y="79349"/>
                    <a:pt x="22795" y="98016"/>
                    <a:pt x="22622" y="117091"/>
                  </a:cubicBezTo>
                  <a:cubicBezTo>
                    <a:pt x="9252" y="117950"/>
                    <a:pt x="9230" y="118901"/>
                    <a:pt x="9230" y="119873"/>
                  </a:cubicBezTo>
                  <a:cubicBezTo>
                    <a:pt x="9230" y="120846"/>
                    <a:pt x="9230" y="121796"/>
                    <a:pt x="22803" y="122678"/>
                  </a:cubicBezTo>
                  <a:cubicBezTo>
                    <a:pt x="23843" y="142410"/>
                    <a:pt x="30360" y="161461"/>
                    <a:pt x="41624" y="177695"/>
                  </a:cubicBezTo>
                  <a:cubicBezTo>
                    <a:pt x="29974" y="178554"/>
                    <a:pt x="29951" y="179437"/>
                    <a:pt x="29951" y="180364"/>
                  </a:cubicBezTo>
                  <a:cubicBezTo>
                    <a:pt x="29951" y="181292"/>
                    <a:pt x="29951" y="182400"/>
                    <a:pt x="45787" y="183328"/>
                  </a:cubicBezTo>
                  <a:cubicBezTo>
                    <a:pt x="64599" y="206874"/>
                    <a:pt x="90671" y="223537"/>
                    <a:pt x="119941" y="230721"/>
                  </a:cubicBezTo>
                  <a:cubicBezTo>
                    <a:pt x="54745" y="224205"/>
                    <a:pt x="4049" y="176021"/>
                    <a:pt x="4049" y="117769"/>
                  </a:cubicBezTo>
                  <a:close/>
                </a:path>
              </a:pathLst>
            </a:custGeom>
            <a:solidFill>
              <a:srgbClr val="BD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5A3FAEDB-C38A-E54B-B433-527D3854B4E0}"/>
                </a:ext>
              </a:extLst>
            </p:cNvPr>
            <p:cNvSpPr/>
            <p:nvPr/>
          </p:nvSpPr>
          <p:spPr>
            <a:xfrm>
              <a:off x="3912453" y="2249076"/>
              <a:ext cx="369896" cy="252642"/>
            </a:xfrm>
            <a:custGeom>
              <a:avLst/>
              <a:gdLst>
                <a:gd name="connsiteX0" fmla="*/ 151935 w 369896"/>
                <a:gd name="connsiteY0" fmla="*/ 252576 h 252642"/>
                <a:gd name="connsiteX1" fmla="*/ 141619 w 369896"/>
                <a:gd name="connsiteY1" fmla="*/ 252576 h 252642"/>
                <a:gd name="connsiteX2" fmla="*/ 20049 w 369896"/>
                <a:gd name="connsiteY2" fmla="*/ 193759 h 252642"/>
                <a:gd name="connsiteX3" fmla="*/ 12312 w 369896"/>
                <a:gd name="connsiteY3" fmla="*/ 71759 h 252642"/>
                <a:gd name="connsiteX4" fmla="*/ 107121 w 369896"/>
                <a:gd name="connsiteY4" fmla="*/ 3894 h 252642"/>
                <a:gd name="connsiteX5" fmla="*/ 151912 w 369896"/>
                <a:gd name="connsiteY5" fmla="*/ 3 h 252642"/>
                <a:gd name="connsiteX6" fmla="*/ 211543 w 369896"/>
                <a:gd name="connsiteY6" fmla="*/ 3 h 252642"/>
                <a:gd name="connsiteX7" fmla="*/ 286195 w 369896"/>
                <a:gd name="connsiteY7" fmla="*/ 10522 h 252642"/>
                <a:gd name="connsiteX8" fmla="*/ 338475 w 369896"/>
                <a:gd name="connsiteY8" fmla="*/ 44070 h 252642"/>
                <a:gd name="connsiteX9" fmla="*/ 338475 w 369896"/>
                <a:gd name="connsiteY9" fmla="*/ 44228 h 252642"/>
                <a:gd name="connsiteX10" fmla="*/ 369896 w 369896"/>
                <a:gd name="connsiteY10" fmla="*/ 127680 h 252642"/>
                <a:gd name="connsiteX11" fmla="*/ 288458 w 369896"/>
                <a:gd name="connsiteY11" fmla="*/ 241830 h 252642"/>
                <a:gd name="connsiteX12" fmla="*/ 211543 w 369896"/>
                <a:gd name="connsiteY12" fmla="*/ 252553 h 252642"/>
                <a:gd name="connsiteX13" fmla="*/ 152478 w 369896"/>
                <a:gd name="connsiteY13" fmla="*/ 11359 h 252642"/>
                <a:gd name="connsiteX14" fmla="*/ 108976 w 369896"/>
                <a:gd name="connsiteY14" fmla="*/ 15114 h 252642"/>
                <a:gd name="connsiteX15" fmla="*/ 22447 w 369896"/>
                <a:gd name="connsiteY15" fmla="*/ 76736 h 252642"/>
                <a:gd name="connsiteX16" fmla="*/ 29437 w 369896"/>
                <a:gd name="connsiteY16" fmla="*/ 187470 h 252642"/>
                <a:gd name="connsiteX17" fmla="*/ 141890 w 369896"/>
                <a:gd name="connsiteY17" fmla="*/ 241174 h 252642"/>
                <a:gd name="connsiteX18" fmla="*/ 151935 w 369896"/>
                <a:gd name="connsiteY18" fmla="*/ 241174 h 252642"/>
                <a:gd name="connsiteX19" fmla="*/ 211408 w 369896"/>
                <a:gd name="connsiteY19" fmla="*/ 241174 h 252642"/>
                <a:gd name="connsiteX20" fmla="*/ 284793 w 369896"/>
                <a:gd name="connsiteY20" fmla="*/ 231040 h 252642"/>
                <a:gd name="connsiteX21" fmla="*/ 358631 w 369896"/>
                <a:gd name="connsiteY21" fmla="*/ 127477 h 252642"/>
                <a:gd name="connsiteX22" fmla="*/ 330059 w 369896"/>
                <a:gd name="connsiteY22" fmla="*/ 51626 h 252642"/>
                <a:gd name="connsiteX23" fmla="*/ 282689 w 369896"/>
                <a:gd name="connsiteY23" fmla="*/ 21222 h 252642"/>
                <a:gd name="connsiteX24" fmla="*/ 211656 w 369896"/>
                <a:gd name="connsiteY24" fmla="*/ 11291 h 252642"/>
                <a:gd name="connsiteX25" fmla="*/ 152478 w 369896"/>
                <a:gd name="connsiteY25" fmla="*/ 11291 h 25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9896" h="252642">
                  <a:moveTo>
                    <a:pt x="151935" y="252576"/>
                  </a:moveTo>
                  <a:lnTo>
                    <a:pt x="141619" y="252576"/>
                  </a:lnTo>
                  <a:cubicBezTo>
                    <a:pt x="93919" y="254017"/>
                    <a:pt x="48525" y="232055"/>
                    <a:pt x="20049" y="193759"/>
                  </a:cubicBezTo>
                  <a:cubicBezTo>
                    <a:pt x="-3594" y="157213"/>
                    <a:pt x="-6524" y="110999"/>
                    <a:pt x="12312" y="71759"/>
                  </a:cubicBezTo>
                  <a:cubicBezTo>
                    <a:pt x="30600" y="34725"/>
                    <a:pt x="66168" y="9265"/>
                    <a:pt x="107121" y="3894"/>
                  </a:cubicBezTo>
                  <a:cubicBezTo>
                    <a:pt x="121907" y="1278"/>
                    <a:pt x="136896" y="-24"/>
                    <a:pt x="151912" y="3"/>
                  </a:cubicBezTo>
                  <a:lnTo>
                    <a:pt x="211543" y="3"/>
                  </a:lnTo>
                  <a:cubicBezTo>
                    <a:pt x="236804" y="-110"/>
                    <a:pt x="261949" y="3433"/>
                    <a:pt x="286195" y="10522"/>
                  </a:cubicBezTo>
                  <a:cubicBezTo>
                    <a:pt x="306121" y="17224"/>
                    <a:pt x="324080" y="28749"/>
                    <a:pt x="338475" y="44070"/>
                  </a:cubicBezTo>
                  <a:lnTo>
                    <a:pt x="338475" y="44228"/>
                  </a:lnTo>
                  <a:cubicBezTo>
                    <a:pt x="358798" y="67269"/>
                    <a:pt x="369976" y="96957"/>
                    <a:pt x="369896" y="127680"/>
                  </a:cubicBezTo>
                  <a:cubicBezTo>
                    <a:pt x="368888" y="178884"/>
                    <a:pt x="336546" y="224216"/>
                    <a:pt x="288458" y="241830"/>
                  </a:cubicBezTo>
                  <a:cubicBezTo>
                    <a:pt x="263538" y="249406"/>
                    <a:pt x="237584" y="253024"/>
                    <a:pt x="211543" y="252553"/>
                  </a:cubicBezTo>
                  <a:close/>
                  <a:moveTo>
                    <a:pt x="152478" y="11359"/>
                  </a:moveTo>
                  <a:cubicBezTo>
                    <a:pt x="137894" y="11324"/>
                    <a:pt x="123337" y="12581"/>
                    <a:pt x="108976" y="15114"/>
                  </a:cubicBezTo>
                  <a:cubicBezTo>
                    <a:pt x="71645" y="19898"/>
                    <a:pt x="39175" y="43022"/>
                    <a:pt x="22447" y="76736"/>
                  </a:cubicBezTo>
                  <a:cubicBezTo>
                    <a:pt x="5632" y="112403"/>
                    <a:pt x="8271" y="154200"/>
                    <a:pt x="29437" y="187470"/>
                  </a:cubicBezTo>
                  <a:cubicBezTo>
                    <a:pt x="55943" y="222611"/>
                    <a:pt x="97898" y="242648"/>
                    <a:pt x="141890" y="241174"/>
                  </a:cubicBezTo>
                  <a:cubicBezTo>
                    <a:pt x="145223" y="241174"/>
                    <a:pt x="148571" y="241174"/>
                    <a:pt x="151935" y="241174"/>
                  </a:cubicBezTo>
                  <a:lnTo>
                    <a:pt x="211408" y="241174"/>
                  </a:lnTo>
                  <a:cubicBezTo>
                    <a:pt x="236247" y="241632"/>
                    <a:pt x="261007" y="238213"/>
                    <a:pt x="284793" y="231040"/>
                  </a:cubicBezTo>
                  <a:cubicBezTo>
                    <a:pt x="328390" y="215027"/>
                    <a:pt x="357704" y="173913"/>
                    <a:pt x="358631" y="127477"/>
                  </a:cubicBezTo>
                  <a:cubicBezTo>
                    <a:pt x="358679" y="99554"/>
                    <a:pt x="348517" y="72577"/>
                    <a:pt x="330059" y="51626"/>
                  </a:cubicBezTo>
                  <a:cubicBezTo>
                    <a:pt x="317003" y="37758"/>
                    <a:pt x="300735" y="27316"/>
                    <a:pt x="282689" y="21222"/>
                  </a:cubicBezTo>
                  <a:cubicBezTo>
                    <a:pt x="259613" y="14510"/>
                    <a:pt x="235689" y="11165"/>
                    <a:pt x="211656" y="11291"/>
                  </a:cubicBezTo>
                  <a:lnTo>
                    <a:pt x="152478" y="11291"/>
                  </a:ln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928F0A3B-D194-3F4F-941E-5A59690A9031}"/>
                </a:ext>
              </a:extLst>
            </p:cNvPr>
            <p:cNvSpPr/>
            <p:nvPr/>
          </p:nvSpPr>
          <p:spPr>
            <a:xfrm>
              <a:off x="3976890" y="2251722"/>
              <a:ext cx="304057" cy="247130"/>
            </a:xfrm>
            <a:custGeom>
              <a:avLst/>
              <a:gdLst>
                <a:gd name="connsiteX0" fmla="*/ 147197 w 304057"/>
                <a:gd name="connsiteY0" fmla="*/ 247057 h 247130"/>
                <a:gd name="connsiteX1" fmla="*/ 138600 w 304057"/>
                <a:gd name="connsiteY1" fmla="*/ 247057 h 247130"/>
                <a:gd name="connsiteX2" fmla="*/ 19632 w 304057"/>
                <a:gd name="connsiteY2" fmla="*/ 189575 h 247130"/>
                <a:gd name="connsiteX3" fmla="*/ 12053 w 304057"/>
                <a:gd name="connsiteY3" fmla="*/ 70131 h 247130"/>
                <a:gd name="connsiteX4" fmla="*/ 104803 w 304057"/>
                <a:gd name="connsiteY4" fmla="*/ 3781 h 247130"/>
                <a:gd name="connsiteX5" fmla="*/ 222120 w 304057"/>
                <a:gd name="connsiteY5" fmla="*/ 10251 h 247130"/>
                <a:gd name="connsiteX6" fmla="*/ 273200 w 304057"/>
                <a:gd name="connsiteY6" fmla="*/ 42985 h 247130"/>
                <a:gd name="connsiteX7" fmla="*/ 273336 w 304057"/>
                <a:gd name="connsiteY7" fmla="*/ 43143 h 247130"/>
                <a:gd name="connsiteX8" fmla="*/ 304057 w 304057"/>
                <a:gd name="connsiteY8" fmla="*/ 124853 h 247130"/>
                <a:gd name="connsiteX9" fmla="*/ 224269 w 304057"/>
                <a:gd name="connsiteY9" fmla="*/ 236538 h 247130"/>
                <a:gd name="connsiteX10" fmla="*/ 147197 w 304057"/>
                <a:gd name="connsiteY10" fmla="*/ 247057 h 247130"/>
                <a:gd name="connsiteX11" fmla="*/ 149097 w 304057"/>
                <a:gd name="connsiteY11" fmla="*/ 11314 h 247130"/>
                <a:gd name="connsiteX12" fmla="*/ 106636 w 304057"/>
                <a:gd name="connsiteY12" fmla="*/ 14866 h 247130"/>
                <a:gd name="connsiteX13" fmla="*/ 22188 w 304057"/>
                <a:gd name="connsiteY13" fmla="*/ 75063 h 247130"/>
                <a:gd name="connsiteX14" fmla="*/ 28975 w 304057"/>
                <a:gd name="connsiteY14" fmla="*/ 183173 h 247130"/>
                <a:gd name="connsiteX15" fmla="*/ 138804 w 304057"/>
                <a:gd name="connsiteY15" fmla="*/ 235655 h 247130"/>
                <a:gd name="connsiteX16" fmla="*/ 220627 w 304057"/>
                <a:gd name="connsiteY16" fmla="*/ 225838 h 247130"/>
                <a:gd name="connsiteX17" fmla="*/ 292700 w 304057"/>
                <a:gd name="connsiteY17" fmla="*/ 124695 h 247130"/>
                <a:gd name="connsiteX18" fmla="*/ 264989 w 304057"/>
                <a:gd name="connsiteY18" fmla="*/ 50608 h 247130"/>
                <a:gd name="connsiteX19" fmla="*/ 218614 w 304057"/>
                <a:gd name="connsiteY19" fmla="*/ 20929 h 247130"/>
                <a:gd name="connsiteX20" fmla="*/ 149097 w 304057"/>
                <a:gd name="connsiteY20" fmla="*/ 11314 h 24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04057" h="247130">
                  <a:moveTo>
                    <a:pt x="147197" y="247057"/>
                  </a:moveTo>
                  <a:cubicBezTo>
                    <a:pt x="144391" y="247057"/>
                    <a:pt x="141519" y="247057"/>
                    <a:pt x="138600" y="247057"/>
                  </a:cubicBezTo>
                  <a:cubicBezTo>
                    <a:pt x="91935" y="248480"/>
                    <a:pt x="47517" y="227019"/>
                    <a:pt x="19632" y="189575"/>
                  </a:cubicBezTo>
                  <a:cubicBezTo>
                    <a:pt x="-3518" y="153795"/>
                    <a:pt x="-6388" y="108550"/>
                    <a:pt x="12053" y="70131"/>
                  </a:cubicBezTo>
                  <a:cubicBezTo>
                    <a:pt x="29966" y="33927"/>
                    <a:pt x="64754" y="9041"/>
                    <a:pt x="104803" y="3781"/>
                  </a:cubicBezTo>
                  <a:cubicBezTo>
                    <a:pt x="143898" y="-2911"/>
                    <a:pt x="183998" y="-699"/>
                    <a:pt x="222120" y="10251"/>
                  </a:cubicBezTo>
                  <a:cubicBezTo>
                    <a:pt x="241580" y="16795"/>
                    <a:pt x="259125" y="28038"/>
                    <a:pt x="273200" y="42985"/>
                  </a:cubicBezTo>
                  <a:lnTo>
                    <a:pt x="273336" y="43143"/>
                  </a:lnTo>
                  <a:cubicBezTo>
                    <a:pt x="293230" y="65703"/>
                    <a:pt x="304160" y="94775"/>
                    <a:pt x="304057" y="124853"/>
                  </a:cubicBezTo>
                  <a:cubicBezTo>
                    <a:pt x="303037" y="174973"/>
                    <a:pt x="271351" y="219325"/>
                    <a:pt x="224269" y="236538"/>
                  </a:cubicBezTo>
                  <a:cubicBezTo>
                    <a:pt x="199307" y="244149"/>
                    <a:pt x="173285" y="247700"/>
                    <a:pt x="147197" y="247057"/>
                  </a:cubicBezTo>
                  <a:close/>
                  <a:moveTo>
                    <a:pt x="149097" y="11314"/>
                  </a:moveTo>
                  <a:cubicBezTo>
                    <a:pt x="134866" y="11237"/>
                    <a:pt x="120656" y="12426"/>
                    <a:pt x="106636" y="14866"/>
                  </a:cubicBezTo>
                  <a:cubicBezTo>
                    <a:pt x="70199" y="19569"/>
                    <a:pt x="38517" y="42153"/>
                    <a:pt x="22188" y="75063"/>
                  </a:cubicBezTo>
                  <a:cubicBezTo>
                    <a:pt x="5749" y="109876"/>
                    <a:pt x="8311" y="150688"/>
                    <a:pt x="28975" y="183173"/>
                  </a:cubicBezTo>
                  <a:cubicBezTo>
                    <a:pt x="54859" y="217501"/>
                    <a:pt x="95834" y="237081"/>
                    <a:pt x="138804" y="235655"/>
                  </a:cubicBezTo>
                  <a:cubicBezTo>
                    <a:pt x="166440" y="237117"/>
                    <a:pt x="194121" y="233795"/>
                    <a:pt x="220627" y="225838"/>
                  </a:cubicBezTo>
                  <a:cubicBezTo>
                    <a:pt x="263189" y="210184"/>
                    <a:pt x="291798" y="170035"/>
                    <a:pt x="292700" y="124695"/>
                  </a:cubicBezTo>
                  <a:cubicBezTo>
                    <a:pt x="292811" y="97446"/>
                    <a:pt x="282955" y="71096"/>
                    <a:pt x="264989" y="50608"/>
                  </a:cubicBezTo>
                  <a:cubicBezTo>
                    <a:pt x="252194" y="37067"/>
                    <a:pt x="236270" y="26875"/>
                    <a:pt x="218614" y="20929"/>
                  </a:cubicBezTo>
                  <a:cubicBezTo>
                    <a:pt x="196023" y="14406"/>
                    <a:pt x="172610" y="11168"/>
                    <a:pt x="149097" y="11314"/>
                  </a:cubicBez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CD573791-AE0D-EB41-A61E-EFCC20310E52}"/>
                </a:ext>
              </a:extLst>
            </p:cNvPr>
            <p:cNvSpPr/>
            <p:nvPr/>
          </p:nvSpPr>
          <p:spPr>
            <a:xfrm>
              <a:off x="4005807" y="2273519"/>
              <a:ext cx="197252" cy="141197"/>
            </a:xfrm>
            <a:custGeom>
              <a:avLst/>
              <a:gdLst>
                <a:gd name="connsiteX0" fmla="*/ 197252 w 197252"/>
                <a:gd name="connsiteY0" fmla="*/ 14017 h 141197"/>
                <a:gd name="connsiteX1" fmla="*/ 15440 w 197252"/>
                <a:gd name="connsiteY1" fmla="*/ 48719 h 141197"/>
                <a:gd name="connsiteX2" fmla="*/ 6595 w 197252"/>
                <a:gd name="connsiteY2" fmla="*/ 141197 h 141197"/>
                <a:gd name="connsiteX3" fmla="*/ 197252 w 197252"/>
                <a:gd name="connsiteY3" fmla="*/ 14017 h 14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252" h="141197">
                  <a:moveTo>
                    <a:pt x="197252" y="14017"/>
                  </a:moveTo>
                  <a:cubicBezTo>
                    <a:pt x="197252" y="14017"/>
                    <a:pt x="71814" y="-34394"/>
                    <a:pt x="15440" y="48719"/>
                  </a:cubicBezTo>
                  <a:cubicBezTo>
                    <a:pt x="-1395" y="76604"/>
                    <a:pt x="-4650" y="110627"/>
                    <a:pt x="6595" y="141197"/>
                  </a:cubicBezTo>
                  <a:cubicBezTo>
                    <a:pt x="6595" y="141197"/>
                    <a:pt x="2591" y="-22608"/>
                    <a:pt x="197252" y="14017"/>
                  </a:cubicBezTo>
                  <a:close/>
                </a:path>
              </a:pathLst>
            </a:custGeom>
            <a:solidFill>
              <a:srgbClr val="BD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071FAB22-BD17-9546-B0E5-818EEB322BA2}"/>
                </a:ext>
              </a:extLst>
            </p:cNvPr>
            <p:cNvSpPr/>
            <p:nvPr/>
          </p:nvSpPr>
          <p:spPr>
            <a:xfrm>
              <a:off x="4056366" y="2318098"/>
              <a:ext cx="167349" cy="114430"/>
            </a:xfrm>
            <a:custGeom>
              <a:avLst/>
              <a:gdLst>
                <a:gd name="connsiteX0" fmla="*/ 65616 w 167349"/>
                <a:gd name="connsiteY0" fmla="*/ 1493 h 114430"/>
                <a:gd name="connsiteX1" fmla="*/ 51138 w 167349"/>
                <a:gd name="connsiteY1" fmla="*/ 31467 h 114430"/>
                <a:gd name="connsiteX2" fmla="*/ 44669 w 167349"/>
                <a:gd name="connsiteY2" fmla="*/ 101595 h 114430"/>
                <a:gd name="connsiteX3" fmla="*/ 46931 w 167349"/>
                <a:gd name="connsiteY3" fmla="*/ 103653 h 114430"/>
                <a:gd name="connsiteX4" fmla="*/ 58966 w 167349"/>
                <a:gd name="connsiteY4" fmla="*/ 93066 h 114430"/>
                <a:gd name="connsiteX5" fmla="*/ 81452 w 167349"/>
                <a:gd name="connsiteY5" fmla="*/ 6515 h 114430"/>
                <a:gd name="connsiteX6" fmla="*/ 89845 w 167349"/>
                <a:gd name="connsiteY6" fmla="*/ 204 h 114430"/>
                <a:gd name="connsiteX7" fmla="*/ 90342 w 167349"/>
                <a:gd name="connsiteY7" fmla="*/ 1991 h 114430"/>
                <a:gd name="connsiteX8" fmla="*/ 81565 w 167349"/>
                <a:gd name="connsiteY8" fmla="*/ 13302 h 114430"/>
                <a:gd name="connsiteX9" fmla="*/ 78986 w 167349"/>
                <a:gd name="connsiteY9" fmla="*/ 21423 h 114430"/>
                <a:gd name="connsiteX10" fmla="*/ 69394 w 167349"/>
                <a:gd name="connsiteY10" fmla="*/ 101142 h 114430"/>
                <a:gd name="connsiteX11" fmla="*/ 72675 w 167349"/>
                <a:gd name="connsiteY11" fmla="*/ 103405 h 114430"/>
                <a:gd name="connsiteX12" fmla="*/ 83171 w 167349"/>
                <a:gd name="connsiteY12" fmla="*/ 93044 h 114430"/>
                <a:gd name="connsiteX13" fmla="*/ 101789 w 167349"/>
                <a:gd name="connsiteY13" fmla="*/ 54587 h 114430"/>
                <a:gd name="connsiteX14" fmla="*/ 120588 w 167349"/>
                <a:gd name="connsiteY14" fmla="*/ 53931 h 114430"/>
                <a:gd name="connsiteX15" fmla="*/ 115633 w 167349"/>
                <a:gd name="connsiteY15" fmla="*/ 97998 h 114430"/>
                <a:gd name="connsiteX16" fmla="*/ 117602 w 167349"/>
                <a:gd name="connsiteY16" fmla="*/ 104128 h 114430"/>
                <a:gd name="connsiteX17" fmla="*/ 119637 w 167349"/>
                <a:gd name="connsiteY17" fmla="*/ 103653 h 114430"/>
                <a:gd name="connsiteX18" fmla="*/ 132193 w 167349"/>
                <a:gd name="connsiteY18" fmla="*/ 90759 h 114430"/>
                <a:gd name="connsiteX19" fmla="*/ 142146 w 167349"/>
                <a:gd name="connsiteY19" fmla="*/ 29386 h 114430"/>
                <a:gd name="connsiteX20" fmla="*/ 159610 w 167349"/>
                <a:gd name="connsiteY20" fmla="*/ 6583 h 114430"/>
                <a:gd name="connsiteX21" fmla="*/ 156036 w 167349"/>
                <a:gd name="connsiteY21" fmla="*/ 10723 h 114430"/>
                <a:gd name="connsiteX22" fmla="*/ 141355 w 167349"/>
                <a:gd name="connsiteY22" fmla="*/ 58704 h 114430"/>
                <a:gd name="connsiteX23" fmla="*/ 146965 w 167349"/>
                <a:gd name="connsiteY23" fmla="*/ 56442 h 114430"/>
                <a:gd name="connsiteX24" fmla="*/ 158751 w 167349"/>
                <a:gd name="connsiteY24" fmla="*/ 46601 h 114430"/>
                <a:gd name="connsiteX25" fmla="*/ 164022 w 167349"/>
                <a:gd name="connsiteY25" fmla="*/ 51759 h 114430"/>
                <a:gd name="connsiteX26" fmla="*/ 158049 w 167349"/>
                <a:gd name="connsiteY26" fmla="*/ 95804 h 114430"/>
                <a:gd name="connsiteX27" fmla="*/ 138798 w 167349"/>
                <a:gd name="connsiteY27" fmla="*/ 113901 h 114430"/>
                <a:gd name="connsiteX28" fmla="*/ 134704 w 167349"/>
                <a:gd name="connsiteY28" fmla="*/ 113494 h 114430"/>
                <a:gd name="connsiteX29" fmla="*/ 132441 w 167349"/>
                <a:gd name="connsiteY29" fmla="*/ 96799 h 114430"/>
                <a:gd name="connsiteX30" fmla="*/ 131672 w 167349"/>
                <a:gd name="connsiteY30" fmla="*/ 96301 h 114430"/>
                <a:gd name="connsiteX31" fmla="*/ 112218 w 167349"/>
                <a:gd name="connsiteY31" fmla="*/ 114218 h 114430"/>
                <a:gd name="connsiteX32" fmla="*/ 109955 w 167349"/>
                <a:gd name="connsiteY32" fmla="*/ 113698 h 114430"/>
                <a:gd name="connsiteX33" fmla="*/ 107263 w 167349"/>
                <a:gd name="connsiteY33" fmla="*/ 103472 h 114430"/>
                <a:gd name="connsiteX34" fmla="*/ 92695 w 167349"/>
                <a:gd name="connsiteY34" fmla="*/ 114308 h 114430"/>
                <a:gd name="connsiteX35" fmla="*/ 87673 w 167349"/>
                <a:gd name="connsiteY35" fmla="*/ 108789 h 114430"/>
                <a:gd name="connsiteX36" fmla="*/ 83714 w 167349"/>
                <a:gd name="connsiteY36" fmla="*/ 97636 h 114430"/>
                <a:gd name="connsiteX37" fmla="*/ 65277 w 167349"/>
                <a:gd name="connsiteY37" fmla="*/ 114060 h 114430"/>
                <a:gd name="connsiteX38" fmla="*/ 61522 w 167349"/>
                <a:gd name="connsiteY38" fmla="*/ 111209 h 114430"/>
                <a:gd name="connsiteX39" fmla="*/ 59260 w 167349"/>
                <a:gd name="connsiteY39" fmla="*/ 97432 h 114430"/>
                <a:gd name="connsiteX40" fmla="*/ 58242 w 167349"/>
                <a:gd name="connsiteY40" fmla="*/ 97659 h 114430"/>
                <a:gd name="connsiteX41" fmla="*/ 40325 w 167349"/>
                <a:gd name="connsiteY41" fmla="*/ 114082 h 114430"/>
                <a:gd name="connsiteX42" fmla="*/ 36796 w 167349"/>
                <a:gd name="connsiteY42" fmla="*/ 111820 h 114430"/>
                <a:gd name="connsiteX43" fmla="*/ 34398 w 167349"/>
                <a:gd name="connsiteY43" fmla="*/ 94243 h 114430"/>
                <a:gd name="connsiteX44" fmla="*/ 33380 w 167349"/>
                <a:gd name="connsiteY44" fmla="*/ 94243 h 114430"/>
                <a:gd name="connsiteX45" fmla="*/ 8066 w 167349"/>
                <a:gd name="connsiteY45" fmla="*/ 114399 h 114430"/>
                <a:gd name="connsiteX46" fmla="*/ 5284 w 167349"/>
                <a:gd name="connsiteY46" fmla="*/ 112340 h 114430"/>
                <a:gd name="connsiteX47" fmla="*/ 11143 w 167349"/>
                <a:gd name="connsiteY47" fmla="*/ 53750 h 114430"/>
                <a:gd name="connsiteX48" fmla="*/ 22454 w 167349"/>
                <a:gd name="connsiteY48" fmla="*/ 48682 h 114430"/>
                <a:gd name="connsiteX49" fmla="*/ 27634 w 167349"/>
                <a:gd name="connsiteY49" fmla="*/ 56690 h 114430"/>
                <a:gd name="connsiteX50" fmla="*/ 27634 w 167349"/>
                <a:gd name="connsiteY50" fmla="*/ 65106 h 114430"/>
                <a:gd name="connsiteX51" fmla="*/ 9967 w 167349"/>
                <a:gd name="connsiteY51" fmla="*/ 81529 h 114430"/>
                <a:gd name="connsiteX52" fmla="*/ 12568 w 167349"/>
                <a:gd name="connsiteY52" fmla="*/ 104513 h 114430"/>
                <a:gd name="connsiteX53" fmla="*/ 15894 w 167349"/>
                <a:gd name="connsiteY53" fmla="*/ 104988 h 114430"/>
                <a:gd name="connsiteX54" fmla="*/ 16369 w 167349"/>
                <a:gd name="connsiteY54" fmla="*/ 104513 h 114430"/>
                <a:gd name="connsiteX55" fmla="*/ 34466 w 167349"/>
                <a:gd name="connsiteY55" fmla="*/ 87343 h 114430"/>
                <a:gd name="connsiteX56" fmla="*/ 54441 w 167349"/>
                <a:gd name="connsiteY56" fmla="*/ 10248 h 114430"/>
                <a:gd name="connsiteX57" fmla="*/ 65390 w 167349"/>
                <a:gd name="connsiteY57" fmla="*/ 0 h 114430"/>
                <a:gd name="connsiteX58" fmla="*/ 65905 w 167349"/>
                <a:gd name="connsiteY58" fmla="*/ 1101 h 114430"/>
                <a:gd name="connsiteX59" fmla="*/ 65616 w 167349"/>
                <a:gd name="connsiteY59" fmla="*/ 1493 h 114430"/>
                <a:gd name="connsiteX60" fmla="*/ 20825 w 167349"/>
                <a:gd name="connsiteY60" fmla="*/ 50583 h 114430"/>
                <a:gd name="connsiteX61" fmla="*/ 17251 w 167349"/>
                <a:gd name="connsiteY61" fmla="*/ 52845 h 114430"/>
                <a:gd name="connsiteX62" fmla="*/ 10691 w 167349"/>
                <a:gd name="connsiteY62" fmla="*/ 76756 h 114430"/>
                <a:gd name="connsiteX63" fmla="*/ 21685 w 167349"/>
                <a:gd name="connsiteY63" fmla="*/ 67164 h 114430"/>
                <a:gd name="connsiteX64" fmla="*/ 23336 w 167349"/>
                <a:gd name="connsiteY64" fmla="*/ 53931 h 114430"/>
                <a:gd name="connsiteX65" fmla="*/ 20825 w 167349"/>
                <a:gd name="connsiteY65" fmla="*/ 50583 h 114430"/>
                <a:gd name="connsiteX66" fmla="*/ 111675 w 167349"/>
                <a:gd name="connsiteY66" fmla="*/ 55491 h 114430"/>
                <a:gd name="connsiteX67" fmla="*/ 101811 w 167349"/>
                <a:gd name="connsiteY67" fmla="*/ 58048 h 114430"/>
                <a:gd name="connsiteX68" fmla="*/ 93396 w 167349"/>
                <a:gd name="connsiteY68" fmla="*/ 90352 h 114430"/>
                <a:gd name="connsiteX69" fmla="*/ 97084 w 167349"/>
                <a:gd name="connsiteY69" fmla="*/ 104151 h 114430"/>
                <a:gd name="connsiteX70" fmla="*/ 106517 w 167349"/>
                <a:gd name="connsiteY70" fmla="*/ 98631 h 114430"/>
                <a:gd name="connsiteX71" fmla="*/ 111969 w 167349"/>
                <a:gd name="connsiteY71" fmla="*/ 56849 h 114430"/>
                <a:gd name="connsiteX72" fmla="*/ 152394 w 167349"/>
                <a:gd name="connsiteY72" fmla="*/ 56623 h 114430"/>
                <a:gd name="connsiteX73" fmla="*/ 142915 w 167349"/>
                <a:gd name="connsiteY73" fmla="*/ 66237 h 114430"/>
                <a:gd name="connsiteX74" fmla="*/ 142531 w 167349"/>
                <a:gd name="connsiteY74" fmla="*/ 103291 h 114430"/>
                <a:gd name="connsiteX75" fmla="*/ 143526 w 167349"/>
                <a:gd name="connsiteY75" fmla="*/ 105848 h 114430"/>
                <a:gd name="connsiteX76" fmla="*/ 150313 w 167349"/>
                <a:gd name="connsiteY76" fmla="*/ 101165 h 114430"/>
                <a:gd name="connsiteX77" fmla="*/ 156489 w 167349"/>
                <a:gd name="connsiteY77" fmla="*/ 61079 h 114430"/>
                <a:gd name="connsiteX78" fmla="*/ 152281 w 167349"/>
                <a:gd name="connsiteY78" fmla="*/ 56623 h 11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67349" h="114430">
                  <a:moveTo>
                    <a:pt x="65616" y="1493"/>
                  </a:moveTo>
                  <a:cubicBezTo>
                    <a:pt x="55414" y="7782"/>
                    <a:pt x="54781" y="20790"/>
                    <a:pt x="51138" y="31467"/>
                  </a:cubicBezTo>
                  <a:cubicBezTo>
                    <a:pt x="44631" y="54236"/>
                    <a:pt x="42437" y="78020"/>
                    <a:pt x="44669" y="101595"/>
                  </a:cubicBezTo>
                  <a:cubicBezTo>
                    <a:pt x="45089" y="102576"/>
                    <a:pt x="45914" y="103327"/>
                    <a:pt x="46931" y="103653"/>
                  </a:cubicBezTo>
                  <a:cubicBezTo>
                    <a:pt x="51401" y="100683"/>
                    <a:pt x="55449" y="97122"/>
                    <a:pt x="58966" y="93066"/>
                  </a:cubicBezTo>
                  <a:cubicBezTo>
                    <a:pt x="60055" y="62921"/>
                    <a:pt x="67730" y="33379"/>
                    <a:pt x="81452" y="6515"/>
                  </a:cubicBezTo>
                  <a:cubicBezTo>
                    <a:pt x="83402" y="3473"/>
                    <a:pt x="86381" y="1233"/>
                    <a:pt x="89845" y="204"/>
                  </a:cubicBezTo>
                  <a:cubicBezTo>
                    <a:pt x="90614" y="204"/>
                    <a:pt x="90862" y="1493"/>
                    <a:pt x="90342" y="1991"/>
                  </a:cubicBezTo>
                  <a:cubicBezTo>
                    <a:pt x="85184" y="3891"/>
                    <a:pt x="83375" y="8325"/>
                    <a:pt x="81565" y="13302"/>
                  </a:cubicBezTo>
                  <a:cubicBezTo>
                    <a:pt x="80542" y="15954"/>
                    <a:pt x="79681" y="18666"/>
                    <a:pt x="78986" y="21423"/>
                  </a:cubicBezTo>
                  <a:cubicBezTo>
                    <a:pt x="70677" y="47129"/>
                    <a:pt x="67420" y="74199"/>
                    <a:pt x="69394" y="101142"/>
                  </a:cubicBezTo>
                  <a:cubicBezTo>
                    <a:pt x="69892" y="102432"/>
                    <a:pt x="71136" y="103970"/>
                    <a:pt x="72675" y="103405"/>
                  </a:cubicBezTo>
                  <a:cubicBezTo>
                    <a:pt x="76779" y="100623"/>
                    <a:pt x="80337" y="97111"/>
                    <a:pt x="83171" y="93044"/>
                  </a:cubicBezTo>
                  <a:cubicBezTo>
                    <a:pt x="81650" y="77743"/>
                    <a:pt x="88844" y="62884"/>
                    <a:pt x="101789" y="54587"/>
                  </a:cubicBezTo>
                  <a:cubicBezTo>
                    <a:pt x="107580" y="51339"/>
                    <a:pt x="114584" y="51095"/>
                    <a:pt x="120588" y="53931"/>
                  </a:cubicBezTo>
                  <a:cubicBezTo>
                    <a:pt x="117522" y="68426"/>
                    <a:pt x="115863" y="83184"/>
                    <a:pt x="115633" y="97998"/>
                  </a:cubicBezTo>
                  <a:cubicBezTo>
                    <a:pt x="115792" y="99785"/>
                    <a:pt x="115633" y="102839"/>
                    <a:pt x="117602" y="104128"/>
                  </a:cubicBezTo>
                  <a:lnTo>
                    <a:pt x="119637" y="103653"/>
                  </a:lnTo>
                  <a:lnTo>
                    <a:pt x="132193" y="90759"/>
                  </a:lnTo>
                  <a:cubicBezTo>
                    <a:pt x="134190" y="70109"/>
                    <a:pt x="137515" y="49609"/>
                    <a:pt x="142146" y="29386"/>
                  </a:cubicBezTo>
                  <a:cubicBezTo>
                    <a:pt x="145019" y="20224"/>
                    <a:pt x="151715" y="7578"/>
                    <a:pt x="159610" y="6583"/>
                  </a:cubicBezTo>
                  <a:cubicBezTo>
                    <a:pt x="162529" y="9184"/>
                    <a:pt x="159316" y="7624"/>
                    <a:pt x="156036" y="10723"/>
                  </a:cubicBezTo>
                  <a:cubicBezTo>
                    <a:pt x="146696" y="25003"/>
                    <a:pt x="141604" y="41642"/>
                    <a:pt x="141355" y="58704"/>
                  </a:cubicBezTo>
                  <a:cubicBezTo>
                    <a:pt x="143323" y="59247"/>
                    <a:pt x="143617" y="59020"/>
                    <a:pt x="146965" y="56442"/>
                  </a:cubicBezTo>
                  <a:lnTo>
                    <a:pt x="158751" y="46601"/>
                  </a:lnTo>
                  <a:cubicBezTo>
                    <a:pt x="161533" y="46375"/>
                    <a:pt x="163026" y="49700"/>
                    <a:pt x="164022" y="51759"/>
                  </a:cubicBezTo>
                  <a:cubicBezTo>
                    <a:pt x="170055" y="66451"/>
                    <a:pt x="167778" y="83248"/>
                    <a:pt x="158049" y="95804"/>
                  </a:cubicBezTo>
                  <a:cubicBezTo>
                    <a:pt x="153095" y="103224"/>
                    <a:pt x="146510" y="109414"/>
                    <a:pt x="138798" y="113901"/>
                  </a:cubicBezTo>
                  <a:cubicBezTo>
                    <a:pt x="135699" y="114942"/>
                    <a:pt x="134885" y="113698"/>
                    <a:pt x="134704" y="113494"/>
                  </a:cubicBezTo>
                  <a:cubicBezTo>
                    <a:pt x="132828" y="108139"/>
                    <a:pt x="132058" y="102460"/>
                    <a:pt x="132441" y="96799"/>
                  </a:cubicBezTo>
                  <a:lnTo>
                    <a:pt x="131672" y="96301"/>
                  </a:lnTo>
                  <a:lnTo>
                    <a:pt x="112218" y="114218"/>
                  </a:lnTo>
                  <a:cubicBezTo>
                    <a:pt x="111720" y="114218"/>
                    <a:pt x="110385" y="114580"/>
                    <a:pt x="109955" y="113698"/>
                  </a:cubicBezTo>
                  <a:cubicBezTo>
                    <a:pt x="108448" y="110480"/>
                    <a:pt x="107536" y="107015"/>
                    <a:pt x="107263" y="103472"/>
                  </a:cubicBezTo>
                  <a:cubicBezTo>
                    <a:pt x="102151" y="106481"/>
                    <a:pt x="97807" y="111277"/>
                    <a:pt x="92695" y="114308"/>
                  </a:cubicBezTo>
                  <a:cubicBezTo>
                    <a:pt x="89912" y="114535"/>
                    <a:pt x="88646" y="111096"/>
                    <a:pt x="87673" y="108789"/>
                  </a:cubicBezTo>
                  <a:cubicBezTo>
                    <a:pt x="85411" y="103201"/>
                    <a:pt x="85297" y="101889"/>
                    <a:pt x="83714" y="97636"/>
                  </a:cubicBezTo>
                  <a:lnTo>
                    <a:pt x="65277" y="114060"/>
                  </a:lnTo>
                  <a:cubicBezTo>
                    <a:pt x="63241" y="115055"/>
                    <a:pt x="62042" y="112838"/>
                    <a:pt x="61522" y="111209"/>
                  </a:cubicBezTo>
                  <a:cubicBezTo>
                    <a:pt x="60476" y="106670"/>
                    <a:pt x="59721" y="102068"/>
                    <a:pt x="59260" y="97432"/>
                  </a:cubicBezTo>
                  <a:lnTo>
                    <a:pt x="58242" y="97659"/>
                  </a:lnTo>
                  <a:lnTo>
                    <a:pt x="40325" y="114082"/>
                  </a:lnTo>
                  <a:cubicBezTo>
                    <a:pt x="38425" y="114648"/>
                    <a:pt x="37746" y="113901"/>
                    <a:pt x="36796" y="111820"/>
                  </a:cubicBezTo>
                  <a:cubicBezTo>
                    <a:pt x="35469" y="106045"/>
                    <a:pt x="34667" y="100162"/>
                    <a:pt x="34398" y="94243"/>
                  </a:cubicBezTo>
                  <a:lnTo>
                    <a:pt x="33380" y="94243"/>
                  </a:lnTo>
                  <a:cubicBezTo>
                    <a:pt x="25525" y="101663"/>
                    <a:pt x="17057" y="108405"/>
                    <a:pt x="8066" y="114399"/>
                  </a:cubicBezTo>
                  <a:cubicBezTo>
                    <a:pt x="6800" y="114648"/>
                    <a:pt x="5804" y="113381"/>
                    <a:pt x="5284" y="112340"/>
                  </a:cubicBezTo>
                  <a:cubicBezTo>
                    <a:pt x="-3470" y="93182"/>
                    <a:pt x="-1231" y="70795"/>
                    <a:pt x="11143" y="53750"/>
                  </a:cubicBezTo>
                  <a:cubicBezTo>
                    <a:pt x="12704" y="52098"/>
                    <a:pt x="17274" y="46465"/>
                    <a:pt x="22454" y="48682"/>
                  </a:cubicBezTo>
                  <a:cubicBezTo>
                    <a:pt x="25395" y="49723"/>
                    <a:pt x="26775" y="52053"/>
                    <a:pt x="27634" y="56690"/>
                  </a:cubicBezTo>
                  <a:cubicBezTo>
                    <a:pt x="28526" y="59425"/>
                    <a:pt x="28526" y="62371"/>
                    <a:pt x="27634" y="65106"/>
                  </a:cubicBezTo>
                  <a:lnTo>
                    <a:pt x="9967" y="81529"/>
                  </a:lnTo>
                  <a:cubicBezTo>
                    <a:pt x="8753" y="89285"/>
                    <a:pt x="9652" y="97225"/>
                    <a:pt x="12568" y="104513"/>
                  </a:cubicBezTo>
                  <a:cubicBezTo>
                    <a:pt x="13355" y="105563"/>
                    <a:pt x="14844" y="105775"/>
                    <a:pt x="15894" y="104988"/>
                  </a:cubicBezTo>
                  <a:cubicBezTo>
                    <a:pt x="16074" y="104853"/>
                    <a:pt x="16234" y="104693"/>
                    <a:pt x="16369" y="104513"/>
                  </a:cubicBezTo>
                  <a:lnTo>
                    <a:pt x="34466" y="87343"/>
                  </a:lnTo>
                  <a:cubicBezTo>
                    <a:pt x="36201" y="60614"/>
                    <a:pt x="42978" y="34456"/>
                    <a:pt x="54441" y="10248"/>
                  </a:cubicBezTo>
                  <a:cubicBezTo>
                    <a:pt x="55889" y="7556"/>
                    <a:pt x="60640" y="204"/>
                    <a:pt x="65390" y="0"/>
                  </a:cubicBezTo>
                  <a:cubicBezTo>
                    <a:pt x="65837" y="162"/>
                    <a:pt x="66067" y="655"/>
                    <a:pt x="65905" y="1101"/>
                  </a:cubicBezTo>
                  <a:cubicBezTo>
                    <a:pt x="65849" y="1257"/>
                    <a:pt x="65748" y="1393"/>
                    <a:pt x="65616" y="1493"/>
                  </a:cubicBezTo>
                  <a:close/>
                  <a:moveTo>
                    <a:pt x="20825" y="50583"/>
                  </a:moveTo>
                  <a:cubicBezTo>
                    <a:pt x="19497" y="51096"/>
                    <a:pt x="18283" y="51864"/>
                    <a:pt x="17251" y="52845"/>
                  </a:cubicBezTo>
                  <a:cubicBezTo>
                    <a:pt x="13480" y="60294"/>
                    <a:pt x="11249" y="68426"/>
                    <a:pt x="10691" y="76756"/>
                  </a:cubicBezTo>
                  <a:cubicBezTo>
                    <a:pt x="14762" y="73521"/>
                    <a:pt x="18359" y="70196"/>
                    <a:pt x="21685" y="67164"/>
                  </a:cubicBezTo>
                  <a:lnTo>
                    <a:pt x="23336" y="53931"/>
                  </a:lnTo>
                  <a:cubicBezTo>
                    <a:pt x="24105" y="51895"/>
                    <a:pt x="22861" y="50605"/>
                    <a:pt x="20825" y="50583"/>
                  </a:cubicBezTo>
                  <a:close/>
                  <a:moveTo>
                    <a:pt x="111675" y="55491"/>
                  </a:moveTo>
                  <a:cubicBezTo>
                    <a:pt x="108193" y="53937"/>
                    <a:pt x="104099" y="54998"/>
                    <a:pt x="101811" y="58048"/>
                  </a:cubicBezTo>
                  <a:cubicBezTo>
                    <a:pt x="94432" y="67074"/>
                    <a:pt x="91359" y="78872"/>
                    <a:pt x="93396" y="90352"/>
                  </a:cubicBezTo>
                  <a:cubicBezTo>
                    <a:pt x="93414" y="95193"/>
                    <a:pt x="94684" y="99947"/>
                    <a:pt x="97084" y="104151"/>
                  </a:cubicBezTo>
                  <a:cubicBezTo>
                    <a:pt x="100929" y="104513"/>
                    <a:pt x="103870" y="100894"/>
                    <a:pt x="106517" y="98631"/>
                  </a:cubicBezTo>
                  <a:cubicBezTo>
                    <a:pt x="107919" y="84628"/>
                    <a:pt x="109571" y="70603"/>
                    <a:pt x="111969" y="56849"/>
                  </a:cubicBezTo>
                  <a:close/>
                  <a:moveTo>
                    <a:pt x="152394" y="56623"/>
                  </a:moveTo>
                  <a:cubicBezTo>
                    <a:pt x="147970" y="58271"/>
                    <a:pt x="144501" y="61790"/>
                    <a:pt x="142915" y="66237"/>
                  </a:cubicBezTo>
                  <a:cubicBezTo>
                    <a:pt x="141002" y="78505"/>
                    <a:pt x="140872" y="90986"/>
                    <a:pt x="142531" y="103291"/>
                  </a:cubicBezTo>
                  <a:lnTo>
                    <a:pt x="143526" y="105848"/>
                  </a:lnTo>
                  <a:cubicBezTo>
                    <a:pt x="146037" y="105848"/>
                    <a:pt x="149023" y="102794"/>
                    <a:pt x="150313" y="101165"/>
                  </a:cubicBezTo>
                  <a:cubicBezTo>
                    <a:pt x="158425" y="89463"/>
                    <a:pt x="160702" y="74680"/>
                    <a:pt x="156489" y="61079"/>
                  </a:cubicBezTo>
                  <a:cubicBezTo>
                    <a:pt x="156330" y="59948"/>
                    <a:pt x="155833" y="55537"/>
                    <a:pt x="152281" y="56623"/>
                  </a:cubicBezTo>
                  <a:close/>
                </a:path>
              </a:pathLst>
            </a:custGeom>
            <a:solidFill>
              <a:srgbClr val="BD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7" name="Graphic 142">
            <a:extLst>
              <a:ext uri="{FF2B5EF4-FFF2-40B4-BE49-F238E27FC236}">
                <a16:creationId xmlns:a16="http://schemas.microsoft.com/office/drawing/2014/main" id="{1FD0E696-B8FB-6243-B61A-4CD53932DCA5}"/>
              </a:ext>
            </a:extLst>
          </p:cNvPr>
          <p:cNvGrpSpPr/>
          <p:nvPr userDrawn="1"/>
        </p:nvGrpSpPr>
        <p:grpSpPr>
          <a:xfrm>
            <a:off x="4675827" y="2206752"/>
            <a:ext cx="298450" cy="298450"/>
            <a:chOff x="4675827" y="2206752"/>
            <a:chExt cx="298450" cy="298450"/>
          </a:xfrm>
        </p:grpSpPr>
        <p:sp>
          <p:nvSpPr>
            <p:cNvPr id="118" name="Freeform 117">
              <a:extLst>
                <a:ext uri="{FF2B5EF4-FFF2-40B4-BE49-F238E27FC236}">
                  <a16:creationId xmlns:a16="http://schemas.microsoft.com/office/drawing/2014/main" id="{B0486240-E19C-E34D-8C11-95CA3AAD9B4A}"/>
                </a:ext>
              </a:extLst>
            </p:cNvPr>
            <p:cNvSpPr/>
            <p:nvPr/>
          </p:nvSpPr>
          <p:spPr>
            <a:xfrm>
              <a:off x="4751492" y="2209325"/>
              <a:ext cx="146420" cy="299737"/>
            </a:xfrm>
            <a:custGeom>
              <a:avLst/>
              <a:gdLst>
                <a:gd name="connsiteX0" fmla="*/ 112731 w 146420"/>
                <a:gd name="connsiteY0" fmla="*/ 164857 h 299737"/>
                <a:gd name="connsiteX1" fmla="*/ 112731 w 146420"/>
                <a:gd name="connsiteY1" fmla="*/ 38594 h 299737"/>
                <a:gd name="connsiteX2" fmla="*/ 72431 w 146420"/>
                <a:gd name="connsiteY2" fmla="*/ 10 h 299737"/>
                <a:gd name="connsiteX3" fmla="*/ 33847 w 146420"/>
                <a:gd name="connsiteY3" fmla="*/ 38594 h 299737"/>
                <a:gd name="connsiteX4" fmla="*/ 33847 w 146420"/>
                <a:gd name="connsiteY4" fmla="*/ 164801 h 299737"/>
                <a:gd name="connsiteX5" fmla="*/ 11499 w 146420"/>
                <a:gd name="connsiteY5" fmla="*/ 265900 h 299737"/>
                <a:gd name="connsiteX6" fmla="*/ 73019 w 146420"/>
                <a:gd name="connsiteY6" fmla="*/ 299738 h 299737"/>
                <a:gd name="connsiteX7" fmla="*/ 73410 w 146420"/>
                <a:gd name="connsiteY7" fmla="*/ 299738 h 299737"/>
                <a:gd name="connsiteX8" fmla="*/ 146420 w 146420"/>
                <a:gd name="connsiteY8" fmla="*/ 226320 h 299737"/>
                <a:gd name="connsiteX9" fmla="*/ 112582 w 146420"/>
                <a:gd name="connsiteY9" fmla="*/ 164801 h 299737"/>
                <a:gd name="connsiteX10" fmla="*/ 42428 w 146420"/>
                <a:gd name="connsiteY10" fmla="*/ 280301 h 299737"/>
                <a:gd name="connsiteX11" fmla="*/ 19701 w 146420"/>
                <a:gd name="connsiteY11" fmla="*/ 195530 h 299737"/>
                <a:gd name="connsiteX12" fmla="*/ 42428 w 146420"/>
                <a:gd name="connsiteY12" fmla="*/ 172803 h 299737"/>
                <a:gd name="connsiteX13" fmla="*/ 45226 w 146420"/>
                <a:gd name="connsiteY13" fmla="*/ 167935 h 299737"/>
                <a:gd name="connsiteX14" fmla="*/ 45226 w 146420"/>
                <a:gd name="connsiteY14" fmla="*/ 38594 h 299737"/>
                <a:gd name="connsiteX15" fmla="*/ 74183 w 146420"/>
                <a:gd name="connsiteY15" fmla="*/ 11088 h 299737"/>
                <a:gd name="connsiteX16" fmla="*/ 101689 w 146420"/>
                <a:gd name="connsiteY16" fmla="*/ 38594 h 299737"/>
                <a:gd name="connsiteX17" fmla="*/ 101689 w 146420"/>
                <a:gd name="connsiteY17" fmla="*/ 167935 h 299737"/>
                <a:gd name="connsiteX18" fmla="*/ 104487 w 146420"/>
                <a:gd name="connsiteY18" fmla="*/ 172803 h 299737"/>
                <a:gd name="connsiteX19" fmla="*/ 127206 w 146420"/>
                <a:gd name="connsiteY19" fmla="*/ 257581 h 299737"/>
                <a:gd name="connsiteX20" fmla="*/ 42428 w 146420"/>
                <a:gd name="connsiteY20" fmla="*/ 280301 h 29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6420" h="299737">
                  <a:moveTo>
                    <a:pt x="112731" y="164857"/>
                  </a:moveTo>
                  <a:lnTo>
                    <a:pt x="112731" y="38594"/>
                  </a:lnTo>
                  <a:cubicBezTo>
                    <a:pt x="112257" y="16811"/>
                    <a:pt x="94215" y="-464"/>
                    <a:pt x="72431" y="10"/>
                  </a:cubicBezTo>
                  <a:cubicBezTo>
                    <a:pt x="51315" y="469"/>
                    <a:pt x="34306" y="17477"/>
                    <a:pt x="33847" y="38594"/>
                  </a:cubicBezTo>
                  <a:lnTo>
                    <a:pt x="33847" y="164801"/>
                  </a:lnTo>
                  <a:cubicBezTo>
                    <a:pt x="-242" y="186547"/>
                    <a:pt x="-10247" y="231811"/>
                    <a:pt x="11499" y="265900"/>
                  </a:cubicBezTo>
                  <a:cubicBezTo>
                    <a:pt x="24907" y="286918"/>
                    <a:pt x="48089" y="299668"/>
                    <a:pt x="73019" y="299738"/>
                  </a:cubicBezTo>
                  <a:lnTo>
                    <a:pt x="73410" y="299738"/>
                  </a:lnTo>
                  <a:cubicBezTo>
                    <a:pt x="113845" y="299625"/>
                    <a:pt x="146532" y="266755"/>
                    <a:pt x="146420" y="226320"/>
                  </a:cubicBezTo>
                  <a:cubicBezTo>
                    <a:pt x="146350" y="201390"/>
                    <a:pt x="133600" y="178209"/>
                    <a:pt x="112582" y="164801"/>
                  </a:cubicBezTo>
                  <a:close/>
                  <a:moveTo>
                    <a:pt x="42428" y="280301"/>
                  </a:moveTo>
                  <a:cubicBezTo>
                    <a:pt x="12743" y="263168"/>
                    <a:pt x="2568" y="225215"/>
                    <a:pt x="19701" y="195530"/>
                  </a:cubicBezTo>
                  <a:cubicBezTo>
                    <a:pt x="25149" y="186090"/>
                    <a:pt x="32988" y="178251"/>
                    <a:pt x="42428" y="172803"/>
                  </a:cubicBezTo>
                  <a:cubicBezTo>
                    <a:pt x="44166" y="171799"/>
                    <a:pt x="45234" y="169942"/>
                    <a:pt x="45226" y="167935"/>
                  </a:cubicBezTo>
                  <a:lnTo>
                    <a:pt x="45226" y="38594"/>
                  </a:lnTo>
                  <a:cubicBezTo>
                    <a:pt x="45626" y="23002"/>
                    <a:pt x="58591" y="10687"/>
                    <a:pt x="74183" y="11088"/>
                  </a:cubicBezTo>
                  <a:cubicBezTo>
                    <a:pt x="89211" y="11474"/>
                    <a:pt x="101302" y="23566"/>
                    <a:pt x="101689" y="38594"/>
                  </a:cubicBezTo>
                  <a:lnTo>
                    <a:pt x="101689" y="167935"/>
                  </a:lnTo>
                  <a:cubicBezTo>
                    <a:pt x="101681" y="169942"/>
                    <a:pt x="102748" y="171799"/>
                    <a:pt x="104487" y="172803"/>
                  </a:cubicBezTo>
                  <a:cubicBezTo>
                    <a:pt x="134171" y="189940"/>
                    <a:pt x="144343" y="227897"/>
                    <a:pt x="127206" y="257581"/>
                  </a:cubicBezTo>
                  <a:cubicBezTo>
                    <a:pt x="110069" y="287266"/>
                    <a:pt x="72112" y="297438"/>
                    <a:pt x="42428" y="280301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D88568F2-3940-1B4F-AD79-AFE766CDC94A}"/>
                </a:ext>
              </a:extLst>
            </p:cNvPr>
            <p:cNvSpPr/>
            <p:nvPr/>
          </p:nvSpPr>
          <p:spPr>
            <a:xfrm>
              <a:off x="4786080" y="2304942"/>
              <a:ext cx="77719" cy="167963"/>
            </a:xfrm>
            <a:custGeom>
              <a:avLst/>
              <a:gdLst>
                <a:gd name="connsiteX0" fmla="*/ 44455 w 77719"/>
                <a:gd name="connsiteY0" fmla="*/ 90654 h 167963"/>
                <a:gd name="connsiteX1" fmla="*/ 44455 w 77719"/>
                <a:gd name="connsiteY1" fmla="*/ 5596 h 167963"/>
                <a:gd name="connsiteX2" fmla="*/ 38860 w 77719"/>
                <a:gd name="connsiteY2" fmla="*/ 0 h 167963"/>
                <a:gd name="connsiteX3" fmla="*/ 33264 w 77719"/>
                <a:gd name="connsiteY3" fmla="*/ 5596 h 167963"/>
                <a:gd name="connsiteX4" fmla="*/ 33264 w 77719"/>
                <a:gd name="connsiteY4" fmla="*/ 90654 h 167963"/>
                <a:gd name="connsiteX5" fmla="*/ 410 w 77719"/>
                <a:gd name="connsiteY5" fmla="*/ 134700 h 167963"/>
                <a:gd name="connsiteX6" fmla="*/ 44455 w 77719"/>
                <a:gd name="connsiteY6" fmla="*/ 167553 h 167963"/>
                <a:gd name="connsiteX7" fmla="*/ 77309 w 77719"/>
                <a:gd name="connsiteY7" fmla="*/ 123508 h 167963"/>
                <a:gd name="connsiteX8" fmla="*/ 44455 w 77719"/>
                <a:gd name="connsiteY8" fmla="*/ 90654 h 167963"/>
                <a:gd name="connsiteX9" fmla="*/ 38860 w 77719"/>
                <a:gd name="connsiteY9" fmla="*/ 156462 h 167963"/>
                <a:gd name="connsiteX10" fmla="*/ 10620 w 77719"/>
                <a:gd name="connsiteY10" fmla="*/ 129656 h 167963"/>
                <a:gd name="connsiteX11" fmla="*/ 37426 w 77719"/>
                <a:gd name="connsiteY11" fmla="*/ 101417 h 167963"/>
                <a:gd name="connsiteX12" fmla="*/ 38860 w 77719"/>
                <a:gd name="connsiteY12" fmla="*/ 101417 h 167963"/>
                <a:gd name="connsiteX13" fmla="*/ 38860 w 77719"/>
                <a:gd name="connsiteY13" fmla="*/ 101417 h 167963"/>
                <a:gd name="connsiteX14" fmla="*/ 67099 w 77719"/>
                <a:gd name="connsiteY14" fmla="*/ 128223 h 167963"/>
                <a:gd name="connsiteX15" fmla="*/ 40293 w 77719"/>
                <a:gd name="connsiteY15" fmla="*/ 156462 h 167963"/>
                <a:gd name="connsiteX16" fmla="*/ 38860 w 77719"/>
                <a:gd name="connsiteY16" fmla="*/ 156462 h 167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719" h="167963">
                  <a:moveTo>
                    <a:pt x="44455" y="90654"/>
                  </a:moveTo>
                  <a:lnTo>
                    <a:pt x="44455" y="5596"/>
                  </a:lnTo>
                  <a:cubicBezTo>
                    <a:pt x="44455" y="2505"/>
                    <a:pt x="41950" y="0"/>
                    <a:pt x="38860" y="0"/>
                  </a:cubicBezTo>
                  <a:cubicBezTo>
                    <a:pt x="35769" y="0"/>
                    <a:pt x="33264" y="2505"/>
                    <a:pt x="33264" y="5596"/>
                  </a:cubicBezTo>
                  <a:lnTo>
                    <a:pt x="33264" y="90654"/>
                  </a:lnTo>
                  <a:cubicBezTo>
                    <a:pt x="12029" y="93745"/>
                    <a:pt x="-2680" y="113464"/>
                    <a:pt x="410" y="134700"/>
                  </a:cubicBezTo>
                  <a:cubicBezTo>
                    <a:pt x="3501" y="155935"/>
                    <a:pt x="23220" y="170643"/>
                    <a:pt x="44455" y="167553"/>
                  </a:cubicBezTo>
                  <a:cubicBezTo>
                    <a:pt x="65690" y="164462"/>
                    <a:pt x="80399" y="144743"/>
                    <a:pt x="77309" y="123508"/>
                  </a:cubicBezTo>
                  <a:cubicBezTo>
                    <a:pt x="74833" y="106494"/>
                    <a:pt x="61469" y="93130"/>
                    <a:pt x="44455" y="90654"/>
                  </a:cubicBezTo>
                  <a:close/>
                  <a:moveTo>
                    <a:pt x="38860" y="156462"/>
                  </a:moveTo>
                  <a:cubicBezTo>
                    <a:pt x="23659" y="156858"/>
                    <a:pt x="11016" y="144857"/>
                    <a:pt x="10620" y="129656"/>
                  </a:cubicBezTo>
                  <a:cubicBezTo>
                    <a:pt x="10225" y="114456"/>
                    <a:pt x="22226" y="101813"/>
                    <a:pt x="37426" y="101417"/>
                  </a:cubicBezTo>
                  <a:cubicBezTo>
                    <a:pt x="37904" y="101405"/>
                    <a:pt x="38382" y="101405"/>
                    <a:pt x="38860" y="101417"/>
                  </a:cubicBezTo>
                  <a:lnTo>
                    <a:pt x="38860" y="101417"/>
                  </a:lnTo>
                  <a:cubicBezTo>
                    <a:pt x="54060" y="101021"/>
                    <a:pt x="66703" y="113023"/>
                    <a:pt x="67099" y="128223"/>
                  </a:cubicBezTo>
                  <a:cubicBezTo>
                    <a:pt x="67495" y="143424"/>
                    <a:pt x="55493" y="156067"/>
                    <a:pt x="40293" y="156462"/>
                  </a:cubicBezTo>
                  <a:cubicBezTo>
                    <a:pt x="39815" y="156475"/>
                    <a:pt x="39337" y="156475"/>
                    <a:pt x="38860" y="156462"/>
                  </a:cubicBezTo>
                  <a:close/>
                </a:path>
              </a:pathLst>
            </a:custGeom>
            <a:solidFill>
              <a:srgbClr val="BD5C7A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 119">
              <a:extLst>
                <a:ext uri="{FF2B5EF4-FFF2-40B4-BE49-F238E27FC236}">
                  <a16:creationId xmlns:a16="http://schemas.microsoft.com/office/drawing/2014/main" id="{5FF30303-EBD6-474E-BB5F-0367C951D535}"/>
                </a:ext>
              </a:extLst>
            </p:cNvPr>
            <p:cNvSpPr/>
            <p:nvPr/>
          </p:nvSpPr>
          <p:spPr>
            <a:xfrm>
              <a:off x="4878194" y="2247024"/>
              <a:ext cx="46222" cy="11191"/>
            </a:xfrm>
            <a:custGeom>
              <a:avLst/>
              <a:gdLst>
                <a:gd name="connsiteX0" fmla="*/ 40627 w 46222"/>
                <a:gd name="connsiteY0" fmla="*/ 0 h 11191"/>
                <a:gd name="connsiteX1" fmla="*/ 5596 w 46222"/>
                <a:gd name="connsiteY1" fmla="*/ 0 h 11191"/>
                <a:gd name="connsiteX2" fmla="*/ 0 w 46222"/>
                <a:gd name="connsiteY2" fmla="*/ 5596 h 11191"/>
                <a:gd name="connsiteX3" fmla="*/ 5596 w 46222"/>
                <a:gd name="connsiteY3" fmla="*/ 11192 h 11191"/>
                <a:gd name="connsiteX4" fmla="*/ 40627 w 46222"/>
                <a:gd name="connsiteY4" fmla="*/ 11192 h 11191"/>
                <a:gd name="connsiteX5" fmla="*/ 46222 w 46222"/>
                <a:gd name="connsiteY5" fmla="*/ 5596 h 11191"/>
                <a:gd name="connsiteX6" fmla="*/ 40627 w 46222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22" h="11191">
                  <a:moveTo>
                    <a:pt x="40627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40627" y="11192"/>
                  </a:lnTo>
                  <a:cubicBezTo>
                    <a:pt x="43717" y="11192"/>
                    <a:pt x="46222" y="8686"/>
                    <a:pt x="46222" y="5596"/>
                  </a:cubicBezTo>
                  <a:cubicBezTo>
                    <a:pt x="46222" y="2505"/>
                    <a:pt x="43717" y="0"/>
                    <a:pt x="40627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F7801B41-EEC6-F84A-8481-831FF94BAC76}"/>
                </a:ext>
              </a:extLst>
            </p:cNvPr>
            <p:cNvSpPr/>
            <p:nvPr/>
          </p:nvSpPr>
          <p:spPr>
            <a:xfrm>
              <a:off x="4885245" y="2275059"/>
              <a:ext cx="31710" cy="11191"/>
            </a:xfrm>
            <a:custGeom>
              <a:avLst/>
              <a:gdLst>
                <a:gd name="connsiteX0" fmla="*/ 26114 w 31710"/>
                <a:gd name="connsiteY0" fmla="*/ 0 h 11191"/>
                <a:gd name="connsiteX1" fmla="*/ 5596 w 31710"/>
                <a:gd name="connsiteY1" fmla="*/ 0 h 11191"/>
                <a:gd name="connsiteX2" fmla="*/ 0 w 31710"/>
                <a:gd name="connsiteY2" fmla="*/ 5596 h 11191"/>
                <a:gd name="connsiteX3" fmla="*/ 5596 w 31710"/>
                <a:gd name="connsiteY3" fmla="*/ 11192 h 11191"/>
                <a:gd name="connsiteX4" fmla="*/ 26114 w 31710"/>
                <a:gd name="connsiteY4" fmla="*/ 11192 h 11191"/>
                <a:gd name="connsiteX5" fmla="*/ 31710 w 31710"/>
                <a:gd name="connsiteY5" fmla="*/ 5596 h 11191"/>
                <a:gd name="connsiteX6" fmla="*/ 26114 w 31710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10" h="11191">
                  <a:moveTo>
                    <a:pt x="26114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26114" y="11192"/>
                  </a:lnTo>
                  <a:cubicBezTo>
                    <a:pt x="29205" y="11192"/>
                    <a:pt x="31710" y="8686"/>
                    <a:pt x="31710" y="5596"/>
                  </a:cubicBezTo>
                  <a:cubicBezTo>
                    <a:pt x="31710" y="2505"/>
                    <a:pt x="29205" y="0"/>
                    <a:pt x="26114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16A97DD1-144F-A048-9E64-CF44A03BFFEB}"/>
                </a:ext>
              </a:extLst>
            </p:cNvPr>
            <p:cNvSpPr/>
            <p:nvPr/>
          </p:nvSpPr>
          <p:spPr>
            <a:xfrm>
              <a:off x="4878194" y="2303095"/>
              <a:ext cx="46222" cy="11191"/>
            </a:xfrm>
            <a:custGeom>
              <a:avLst/>
              <a:gdLst>
                <a:gd name="connsiteX0" fmla="*/ 40627 w 46222"/>
                <a:gd name="connsiteY0" fmla="*/ 0 h 11191"/>
                <a:gd name="connsiteX1" fmla="*/ 5596 w 46222"/>
                <a:gd name="connsiteY1" fmla="*/ 0 h 11191"/>
                <a:gd name="connsiteX2" fmla="*/ 0 w 46222"/>
                <a:gd name="connsiteY2" fmla="*/ 5596 h 11191"/>
                <a:gd name="connsiteX3" fmla="*/ 5596 w 46222"/>
                <a:gd name="connsiteY3" fmla="*/ 11192 h 11191"/>
                <a:gd name="connsiteX4" fmla="*/ 40627 w 46222"/>
                <a:gd name="connsiteY4" fmla="*/ 11192 h 11191"/>
                <a:gd name="connsiteX5" fmla="*/ 46222 w 46222"/>
                <a:gd name="connsiteY5" fmla="*/ 5596 h 11191"/>
                <a:gd name="connsiteX6" fmla="*/ 40627 w 46222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22" h="11191">
                  <a:moveTo>
                    <a:pt x="40627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7"/>
                    <a:pt x="2505" y="11192"/>
                    <a:pt x="5596" y="11192"/>
                  </a:cubicBezTo>
                  <a:lnTo>
                    <a:pt x="40627" y="11192"/>
                  </a:lnTo>
                  <a:cubicBezTo>
                    <a:pt x="43717" y="11192"/>
                    <a:pt x="46222" y="8686"/>
                    <a:pt x="46222" y="5596"/>
                  </a:cubicBezTo>
                  <a:cubicBezTo>
                    <a:pt x="46222" y="2505"/>
                    <a:pt x="43717" y="0"/>
                    <a:pt x="40627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757EBCD7-30E6-5245-9943-DBA6B82B1798}"/>
                </a:ext>
              </a:extLst>
            </p:cNvPr>
            <p:cNvSpPr/>
            <p:nvPr/>
          </p:nvSpPr>
          <p:spPr>
            <a:xfrm>
              <a:off x="4885245" y="2331112"/>
              <a:ext cx="31710" cy="11191"/>
            </a:xfrm>
            <a:custGeom>
              <a:avLst/>
              <a:gdLst>
                <a:gd name="connsiteX0" fmla="*/ 26114 w 31710"/>
                <a:gd name="connsiteY0" fmla="*/ 0 h 11191"/>
                <a:gd name="connsiteX1" fmla="*/ 5596 w 31710"/>
                <a:gd name="connsiteY1" fmla="*/ 0 h 11191"/>
                <a:gd name="connsiteX2" fmla="*/ 0 w 31710"/>
                <a:gd name="connsiteY2" fmla="*/ 5596 h 11191"/>
                <a:gd name="connsiteX3" fmla="*/ 5596 w 31710"/>
                <a:gd name="connsiteY3" fmla="*/ 11192 h 11191"/>
                <a:gd name="connsiteX4" fmla="*/ 26114 w 31710"/>
                <a:gd name="connsiteY4" fmla="*/ 11192 h 11191"/>
                <a:gd name="connsiteX5" fmla="*/ 31710 w 31710"/>
                <a:gd name="connsiteY5" fmla="*/ 5596 h 11191"/>
                <a:gd name="connsiteX6" fmla="*/ 26114 w 31710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10" h="11191">
                  <a:moveTo>
                    <a:pt x="26114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26114" y="11192"/>
                  </a:lnTo>
                  <a:cubicBezTo>
                    <a:pt x="29205" y="11192"/>
                    <a:pt x="31710" y="8686"/>
                    <a:pt x="31710" y="5596"/>
                  </a:cubicBezTo>
                  <a:cubicBezTo>
                    <a:pt x="31710" y="2505"/>
                    <a:pt x="29205" y="0"/>
                    <a:pt x="26114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 123">
              <a:extLst>
                <a:ext uri="{FF2B5EF4-FFF2-40B4-BE49-F238E27FC236}">
                  <a16:creationId xmlns:a16="http://schemas.microsoft.com/office/drawing/2014/main" id="{80BB2136-6CAA-D842-A7A1-7A44BCC23B14}"/>
                </a:ext>
              </a:extLst>
            </p:cNvPr>
            <p:cNvSpPr/>
            <p:nvPr/>
          </p:nvSpPr>
          <p:spPr>
            <a:xfrm>
              <a:off x="4878194" y="2359148"/>
              <a:ext cx="46222" cy="11191"/>
            </a:xfrm>
            <a:custGeom>
              <a:avLst/>
              <a:gdLst>
                <a:gd name="connsiteX0" fmla="*/ 40627 w 46222"/>
                <a:gd name="connsiteY0" fmla="*/ 0 h 11191"/>
                <a:gd name="connsiteX1" fmla="*/ 5596 w 46222"/>
                <a:gd name="connsiteY1" fmla="*/ 0 h 11191"/>
                <a:gd name="connsiteX2" fmla="*/ 0 w 46222"/>
                <a:gd name="connsiteY2" fmla="*/ 5596 h 11191"/>
                <a:gd name="connsiteX3" fmla="*/ 5596 w 46222"/>
                <a:gd name="connsiteY3" fmla="*/ 11192 h 11191"/>
                <a:gd name="connsiteX4" fmla="*/ 40627 w 46222"/>
                <a:gd name="connsiteY4" fmla="*/ 11192 h 11191"/>
                <a:gd name="connsiteX5" fmla="*/ 46222 w 46222"/>
                <a:gd name="connsiteY5" fmla="*/ 5596 h 11191"/>
                <a:gd name="connsiteX6" fmla="*/ 40627 w 46222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22" h="11191">
                  <a:moveTo>
                    <a:pt x="40627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40627" y="11192"/>
                  </a:lnTo>
                  <a:cubicBezTo>
                    <a:pt x="43717" y="11192"/>
                    <a:pt x="46222" y="8686"/>
                    <a:pt x="46222" y="5596"/>
                  </a:cubicBezTo>
                  <a:cubicBezTo>
                    <a:pt x="46222" y="2505"/>
                    <a:pt x="43717" y="0"/>
                    <a:pt x="40627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5" name="Graphic 152">
            <a:extLst>
              <a:ext uri="{FF2B5EF4-FFF2-40B4-BE49-F238E27FC236}">
                <a16:creationId xmlns:a16="http://schemas.microsoft.com/office/drawing/2014/main" id="{2EBA26AB-94FE-0942-AE42-5CE193352F50}"/>
              </a:ext>
            </a:extLst>
          </p:cNvPr>
          <p:cNvGrpSpPr/>
          <p:nvPr userDrawn="1"/>
        </p:nvGrpSpPr>
        <p:grpSpPr>
          <a:xfrm>
            <a:off x="5557517" y="2202721"/>
            <a:ext cx="300036" cy="300036"/>
            <a:chOff x="5557517" y="2202721"/>
            <a:chExt cx="300036" cy="300036"/>
          </a:xfrm>
        </p:grpSpPr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F2F1F4D8-056A-0047-A359-E4CDFF89F80F}"/>
                </a:ext>
              </a:extLst>
            </p:cNvPr>
            <p:cNvSpPr/>
            <p:nvPr/>
          </p:nvSpPr>
          <p:spPr>
            <a:xfrm>
              <a:off x="5597531" y="2207818"/>
              <a:ext cx="206369" cy="273273"/>
            </a:xfrm>
            <a:custGeom>
              <a:avLst/>
              <a:gdLst>
                <a:gd name="connsiteX0" fmla="*/ 175149 w 206369"/>
                <a:gd name="connsiteY0" fmla="*/ 29912 h 273273"/>
                <a:gd name="connsiteX1" fmla="*/ 31519 w 206369"/>
                <a:gd name="connsiteY1" fmla="*/ 29582 h 273273"/>
                <a:gd name="connsiteX2" fmla="*/ 31188 w 206369"/>
                <a:gd name="connsiteY2" fmla="*/ 29912 h 273273"/>
                <a:gd name="connsiteX3" fmla="*/ 134 w 206369"/>
                <a:gd name="connsiteY3" fmla="*/ 98958 h 273273"/>
                <a:gd name="connsiteX4" fmla="*/ 21868 w 206369"/>
                <a:gd name="connsiteY4" fmla="*/ 169767 h 273273"/>
                <a:gd name="connsiteX5" fmla="*/ 96877 w 206369"/>
                <a:gd name="connsiteY5" fmla="*/ 270148 h 273273"/>
                <a:gd name="connsiteX6" fmla="*/ 107797 w 206369"/>
                <a:gd name="connsiteY6" fmla="*/ 271716 h 273273"/>
                <a:gd name="connsiteX7" fmla="*/ 109366 w 206369"/>
                <a:gd name="connsiteY7" fmla="*/ 270148 h 273273"/>
                <a:gd name="connsiteX8" fmla="*/ 184375 w 206369"/>
                <a:gd name="connsiteY8" fmla="*/ 169767 h 273273"/>
                <a:gd name="connsiteX9" fmla="*/ 206203 w 206369"/>
                <a:gd name="connsiteY9" fmla="*/ 98977 h 273273"/>
                <a:gd name="connsiteX10" fmla="*/ 175149 w 206369"/>
                <a:gd name="connsiteY10" fmla="*/ 29912 h 273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6369" h="273273">
                  <a:moveTo>
                    <a:pt x="175149" y="29912"/>
                  </a:moveTo>
                  <a:cubicBezTo>
                    <a:pt x="135578" y="-9841"/>
                    <a:pt x="71272" y="-9989"/>
                    <a:pt x="31519" y="29582"/>
                  </a:cubicBezTo>
                  <a:cubicBezTo>
                    <a:pt x="31408" y="29692"/>
                    <a:pt x="31298" y="29802"/>
                    <a:pt x="31188" y="29912"/>
                  </a:cubicBezTo>
                  <a:cubicBezTo>
                    <a:pt x="12833" y="48419"/>
                    <a:pt x="1801" y="72947"/>
                    <a:pt x="134" y="98958"/>
                  </a:cubicBezTo>
                  <a:cubicBezTo>
                    <a:pt x="-1129" y="124377"/>
                    <a:pt x="6562" y="149434"/>
                    <a:pt x="21868" y="169767"/>
                  </a:cubicBezTo>
                  <a:lnTo>
                    <a:pt x="96877" y="270148"/>
                  </a:lnTo>
                  <a:cubicBezTo>
                    <a:pt x="99459" y="273596"/>
                    <a:pt x="104348" y="274299"/>
                    <a:pt x="107797" y="271716"/>
                  </a:cubicBezTo>
                  <a:cubicBezTo>
                    <a:pt x="108392" y="271271"/>
                    <a:pt x="108920" y="270743"/>
                    <a:pt x="109366" y="270148"/>
                  </a:cubicBezTo>
                  <a:lnTo>
                    <a:pt x="184375" y="169767"/>
                  </a:lnTo>
                  <a:cubicBezTo>
                    <a:pt x="199883" y="149540"/>
                    <a:pt x="207628" y="124425"/>
                    <a:pt x="206203" y="98977"/>
                  </a:cubicBezTo>
                  <a:cubicBezTo>
                    <a:pt x="204535" y="72960"/>
                    <a:pt x="193504" y="48426"/>
                    <a:pt x="175149" y="29912"/>
                  </a:cubicBezTo>
                  <a:close/>
                </a:path>
              </a:pathLst>
            </a:custGeom>
            <a:noFill/>
            <a:ln w="9227" cap="flat">
              <a:solidFill>
                <a:srgbClr val="BF5C7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44EC05F2-9817-4940-87F1-E62762787C11}"/>
                </a:ext>
              </a:extLst>
            </p:cNvPr>
            <p:cNvSpPr/>
            <p:nvPr/>
          </p:nvSpPr>
          <p:spPr>
            <a:xfrm>
              <a:off x="5651822" y="2265372"/>
              <a:ext cx="95411" cy="95411"/>
            </a:xfrm>
            <a:custGeom>
              <a:avLst/>
              <a:gdLst>
                <a:gd name="connsiteX0" fmla="*/ 47687 w 95411"/>
                <a:gd name="connsiteY0" fmla="*/ 0 h 95411"/>
                <a:gd name="connsiteX1" fmla="*/ 0 w 95411"/>
                <a:gd name="connsiteY1" fmla="*/ 47724 h 95411"/>
                <a:gd name="connsiteX2" fmla="*/ 47724 w 95411"/>
                <a:gd name="connsiteY2" fmla="*/ 95411 h 95411"/>
                <a:gd name="connsiteX3" fmla="*/ 95411 w 95411"/>
                <a:gd name="connsiteY3" fmla="*/ 47706 h 95411"/>
                <a:gd name="connsiteX4" fmla="*/ 47706 w 95411"/>
                <a:gd name="connsiteY4" fmla="*/ 0 h 95411"/>
                <a:gd name="connsiteX5" fmla="*/ 47687 w 95411"/>
                <a:gd name="connsiteY5" fmla="*/ 0 h 9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411" h="95411">
                  <a:moveTo>
                    <a:pt x="47687" y="0"/>
                  </a:moveTo>
                  <a:cubicBezTo>
                    <a:pt x="21340" y="10"/>
                    <a:pt x="-10" y="21377"/>
                    <a:pt x="0" y="47724"/>
                  </a:cubicBezTo>
                  <a:cubicBezTo>
                    <a:pt x="10" y="74072"/>
                    <a:pt x="21377" y="95422"/>
                    <a:pt x="47724" y="95411"/>
                  </a:cubicBezTo>
                  <a:cubicBezTo>
                    <a:pt x="74064" y="95401"/>
                    <a:pt x="95411" y="74046"/>
                    <a:pt x="95411" y="47706"/>
                  </a:cubicBezTo>
                  <a:cubicBezTo>
                    <a:pt x="95411" y="21359"/>
                    <a:pt x="74053" y="0"/>
                    <a:pt x="47706" y="0"/>
                  </a:cubicBezTo>
                  <a:cubicBezTo>
                    <a:pt x="47699" y="0"/>
                    <a:pt x="47693" y="0"/>
                    <a:pt x="47687" y="0"/>
                  </a:cubicBezTo>
                  <a:close/>
                </a:path>
              </a:pathLst>
            </a:custGeom>
            <a:noFill/>
            <a:ln w="9227" cap="flat">
              <a:solidFill>
                <a:srgbClr val="BF5C7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1F336E0F-A100-CE47-921F-3C41E5E2F6CE}"/>
                </a:ext>
              </a:extLst>
            </p:cNvPr>
            <p:cNvSpPr/>
            <p:nvPr/>
          </p:nvSpPr>
          <p:spPr>
            <a:xfrm>
              <a:off x="5626018" y="2447564"/>
              <a:ext cx="149361" cy="58136"/>
            </a:xfrm>
            <a:custGeom>
              <a:avLst/>
              <a:gdLst>
                <a:gd name="connsiteX0" fmla="*/ 74690 w 149361"/>
                <a:gd name="connsiteY0" fmla="*/ 58137 h 58136"/>
                <a:gd name="connsiteX1" fmla="*/ 0 w 149361"/>
                <a:gd name="connsiteY1" fmla="*/ 25076 h 58136"/>
                <a:gd name="connsiteX2" fmla="*/ 23459 w 149361"/>
                <a:gd name="connsiteY2" fmla="*/ 698 h 58136"/>
                <a:gd name="connsiteX3" fmla="*/ 29647 w 149361"/>
                <a:gd name="connsiteY3" fmla="*/ 3324 h 58136"/>
                <a:gd name="connsiteX4" fmla="*/ 27022 w 149361"/>
                <a:gd name="connsiteY4" fmla="*/ 9512 h 58136"/>
                <a:gd name="connsiteX5" fmla="*/ 9526 w 149361"/>
                <a:gd name="connsiteY5" fmla="*/ 25114 h 58136"/>
                <a:gd name="connsiteX6" fmla="*/ 74690 w 149361"/>
                <a:gd name="connsiteY6" fmla="*/ 48667 h 58136"/>
                <a:gd name="connsiteX7" fmla="*/ 139854 w 149361"/>
                <a:gd name="connsiteY7" fmla="*/ 25114 h 58136"/>
                <a:gd name="connsiteX8" fmla="*/ 123671 w 149361"/>
                <a:gd name="connsiteY8" fmla="*/ 9268 h 58136"/>
                <a:gd name="connsiteX9" fmla="*/ 120652 w 149361"/>
                <a:gd name="connsiteY9" fmla="*/ 3249 h 58136"/>
                <a:gd name="connsiteX10" fmla="*/ 126690 w 149361"/>
                <a:gd name="connsiteY10" fmla="*/ 230 h 58136"/>
                <a:gd name="connsiteX11" fmla="*/ 149362 w 149361"/>
                <a:gd name="connsiteY11" fmla="*/ 25114 h 58136"/>
                <a:gd name="connsiteX12" fmla="*/ 74690 w 149361"/>
                <a:gd name="connsiteY12" fmla="*/ 58137 h 5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9361" h="58136">
                  <a:moveTo>
                    <a:pt x="74690" y="58137"/>
                  </a:moveTo>
                  <a:cubicBezTo>
                    <a:pt x="32123" y="58137"/>
                    <a:pt x="0" y="43922"/>
                    <a:pt x="0" y="25076"/>
                  </a:cubicBezTo>
                  <a:cubicBezTo>
                    <a:pt x="0" y="15456"/>
                    <a:pt x="8326" y="6793"/>
                    <a:pt x="23459" y="698"/>
                  </a:cubicBezTo>
                  <a:cubicBezTo>
                    <a:pt x="25893" y="-285"/>
                    <a:pt x="28663" y="890"/>
                    <a:pt x="29647" y="3324"/>
                  </a:cubicBezTo>
                  <a:cubicBezTo>
                    <a:pt x="30631" y="5758"/>
                    <a:pt x="29456" y="8528"/>
                    <a:pt x="27022" y="9512"/>
                  </a:cubicBezTo>
                  <a:cubicBezTo>
                    <a:pt x="16071" y="13956"/>
                    <a:pt x="9526" y="19788"/>
                    <a:pt x="9526" y="25114"/>
                  </a:cubicBezTo>
                  <a:cubicBezTo>
                    <a:pt x="9526" y="36253"/>
                    <a:pt x="36286" y="48667"/>
                    <a:pt x="74690" y="48667"/>
                  </a:cubicBezTo>
                  <a:cubicBezTo>
                    <a:pt x="113095" y="48667"/>
                    <a:pt x="139854" y="36253"/>
                    <a:pt x="139854" y="25114"/>
                  </a:cubicBezTo>
                  <a:cubicBezTo>
                    <a:pt x="139854" y="19488"/>
                    <a:pt x="138635" y="14238"/>
                    <a:pt x="123671" y="9268"/>
                  </a:cubicBezTo>
                  <a:cubicBezTo>
                    <a:pt x="121183" y="8431"/>
                    <a:pt x="119835" y="5744"/>
                    <a:pt x="120652" y="3249"/>
                  </a:cubicBezTo>
                  <a:cubicBezTo>
                    <a:pt x="121514" y="772"/>
                    <a:pt x="124192" y="-567"/>
                    <a:pt x="126690" y="230"/>
                  </a:cubicBezTo>
                  <a:cubicBezTo>
                    <a:pt x="142798" y="5593"/>
                    <a:pt x="149362" y="12794"/>
                    <a:pt x="149362" y="25114"/>
                  </a:cubicBezTo>
                  <a:cubicBezTo>
                    <a:pt x="149362" y="43941"/>
                    <a:pt x="117258" y="58137"/>
                    <a:pt x="74690" y="58137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9" name="Graphic 158">
            <a:extLst>
              <a:ext uri="{FF2B5EF4-FFF2-40B4-BE49-F238E27FC236}">
                <a16:creationId xmlns:a16="http://schemas.microsoft.com/office/drawing/2014/main" id="{436BE332-0E60-FD43-A002-E7E69D0E2866}"/>
              </a:ext>
            </a:extLst>
          </p:cNvPr>
          <p:cNvGrpSpPr/>
          <p:nvPr userDrawn="1"/>
        </p:nvGrpSpPr>
        <p:grpSpPr>
          <a:xfrm>
            <a:off x="6398688" y="2092025"/>
            <a:ext cx="417512" cy="417512"/>
            <a:chOff x="6711950" y="2005027"/>
            <a:chExt cx="496888" cy="496888"/>
          </a:xfrm>
        </p:grpSpPr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B83E21E8-0D04-DA44-A830-5E4176B2489B}"/>
                </a:ext>
              </a:extLst>
            </p:cNvPr>
            <p:cNvSpPr/>
            <p:nvPr/>
          </p:nvSpPr>
          <p:spPr>
            <a:xfrm>
              <a:off x="6859774" y="2330147"/>
              <a:ext cx="93228" cy="7018"/>
            </a:xfrm>
            <a:custGeom>
              <a:avLst/>
              <a:gdLst>
                <a:gd name="connsiteX0" fmla="*/ 0 w 93228"/>
                <a:gd name="connsiteY0" fmla="*/ 0 h 7018"/>
                <a:gd name="connsiteX1" fmla="*/ 93229 w 93228"/>
                <a:gd name="connsiteY1" fmla="*/ 0 h 7018"/>
                <a:gd name="connsiteX2" fmla="*/ 93229 w 93228"/>
                <a:gd name="connsiteY2" fmla="*/ 7019 h 7018"/>
                <a:gd name="connsiteX3" fmla="*/ 0 w 93228"/>
                <a:gd name="connsiteY3" fmla="*/ 7019 h 7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28" h="7018">
                  <a:moveTo>
                    <a:pt x="0" y="0"/>
                  </a:moveTo>
                  <a:lnTo>
                    <a:pt x="93229" y="0"/>
                  </a:lnTo>
                  <a:lnTo>
                    <a:pt x="93229" y="7019"/>
                  </a:lnTo>
                  <a:lnTo>
                    <a:pt x="0" y="7019"/>
                  </a:lnTo>
                  <a:close/>
                </a:path>
              </a:pathLst>
            </a:custGeom>
            <a:solidFill>
              <a:srgbClr val="C7527B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93BF8259-5E86-BB4C-A1AC-FAC6B3928FF1}"/>
                </a:ext>
              </a:extLst>
            </p:cNvPr>
            <p:cNvSpPr/>
            <p:nvPr/>
          </p:nvSpPr>
          <p:spPr>
            <a:xfrm>
              <a:off x="6856140" y="2299898"/>
              <a:ext cx="103756" cy="192264"/>
            </a:xfrm>
            <a:custGeom>
              <a:avLst/>
              <a:gdLst>
                <a:gd name="connsiteX0" fmla="*/ 88229 w 103756"/>
                <a:gd name="connsiteY0" fmla="*/ 192265 h 192264"/>
                <a:gd name="connsiteX1" fmla="*/ 15528 w 103756"/>
                <a:gd name="connsiteY1" fmla="*/ 192265 h 192264"/>
                <a:gd name="connsiteX2" fmla="*/ 0 w 103756"/>
                <a:gd name="connsiteY2" fmla="*/ 176737 h 192264"/>
                <a:gd name="connsiteX3" fmla="*/ 0 w 103756"/>
                <a:gd name="connsiteY3" fmla="*/ 15528 h 192264"/>
                <a:gd name="connsiteX4" fmla="*/ 15528 w 103756"/>
                <a:gd name="connsiteY4" fmla="*/ 0 h 192264"/>
                <a:gd name="connsiteX5" fmla="*/ 88229 w 103756"/>
                <a:gd name="connsiteY5" fmla="*/ 0 h 192264"/>
                <a:gd name="connsiteX6" fmla="*/ 103756 w 103756"/>
                <a:gd name="connsiteY6" fmla="*/ 15528 h 192264"/>
                <a:gd name="connsiteX7" fmla="*/ 103756 w 103756"/>
                <a:gd name="connsiteY7" fmla="*/ 176706 h 192264"/>
                <a:gd name="connsiteX8" fmla="*/ 88260 w 103756"/>
                <a:gd name="connsiteY8" fmla="*/ 192265 h 192264"/>
                <a:gd name="connsiteX9" fmla="*/ 88229 w 103756"/>
                <a:gd name="connsiteY9" fmla="*/ 192265 h 192264"/>
                <a:gd name="connsiteX10" fmla="*/ 15528 w 103756"/>
                <a:gd name="connsiteY10" fmla="*/ 7298 h 192264"/>
                <a:gd name="connsiteX11" fmla="*/ 7298 w 103756"/>
                <a:gd name="connsiteY11" fmla="*/ 15528 h 192264"/>
                <a:gd name="connsiteX12" fmla="*/ 7298 w 103756"/>
                <a:gd name="connsiteY12" fmla="*/ 176706 h 192264"/>
                <a:gd name="connsiteX13" fmla="*/ 15528 w 103756"/>
                <a:gd name="connsiteY13" fmla="*/ 184904 h 192264"/>
                <a:gd name="connsiteX14" fmla="*/ 88229 w 103756"/>
                <a:gd name="connsiteY14" fmla="*/ 184904 h 192264"/>
                <a:gd name="connsiteX15" fmla="*/ 96458 w 103756"/>
                <a:gd name="connsiteY15" fmla="*/ 176706 h 192264"/>
                <a:gd name="connsiteX16" fmla="*/ 96458 w 103756"/>
                <a:gd name="connsiteY16" fmla="*/ 15528 h 192264"/>
                <a:gd name="connsiteX17" fmla="*/ 88229 w 103756"/>
                <a:gd name="connsiteY17" fmla="*/ 7298 h 19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3756" h="192264">
                  <a:moveTo>
                    <a:pt x="88229" y="192265"/>
                  </a:moveTo>
                  <a:lnTo>
                    <a:pt x="15528" y="192265"/>
                  </a:lnTo>
                  <a:cubicBezTo>
                    <a:pt x="6952" y="192265"/>
                    <a:pt x="0" y="185313"/>
                    <a:pt x="0" y="176737"/>
                  </a:cubicBezTo>
                  <a:lnTo>
                    <a:pt x="0" y="15528"/>
                  </a:lnTo>
                  <a:cubicBezTo>
                    <a:pt x="0" y="6952"/>
                    <a:pt x="6952" y="0"/>
                    <a:pt x="15528" y="0"/>
                  </a:cubicBezTo>
                  <a:lnTo>
                    <a:pt x="88229" y="0"/>
                  </a:lnTo>
                  <a:cubicBezTo>
                    <a:pt x="96804" y="0"/>
                    <a:pt x="103756" y="6952"/>
                    <a:pt x="103756" y="15528"/>
                  </a:cubicBezTo>
                  <a:lnTo>
                    <a:pt x="103756" y="176706"/>
                  </a:lnTo>
                  <a:cubicBezTo>
                    <a:pt x="103774" y="185282"/>
                    <a:pt x="96835" y="192247"/>
                    <a:pt x="88260" y="192265"/>
                  </a:cubicBezTo>
                  <a:cubicBezTo>
                    <a:pt x="88249" y="192265"/>
                    <a:pt x="88239" y="192265"/>
                    <a:pt x="88229" y="192265"/>
                  </a:cubicBezTo>
                  <a:close/>
                  <a:moveTo>
                    <a:pt x="15528" y="7298"/>
                  </a:moveTo>
                  <a:cubicBezTo>
                    <a:pt x="10983" y="7298"/>
                    <a:pt x="7298" y="10983"/>
                    <a:pt x="7298" y="15528"/>
                  </a:cubicBezTo>
                  <a:lnTo>
                    <a:pt x="7298" y="176706"/>
                  </a:lnTo>
                  <a:cubicBezTo>
                    <a:pt x="7315" y="181239"/>
                    <a:pt x="10995" y="184904"/>
                    <a:pt x="15528" y="184904"/>
                  </a:cubicBezTo>
                  <a:lnTo>
                    <a:pt x="88229" y="184904"/>
                  </a:lnTo>
                  <a:cubicBezTo>
                    <a:pt x="92762" y="184904"/>
                    <a:pt x="96441" y="181239"/>
                    <a:pt x="96458" y="176706"/>
                  </a:cubicBezTo>
                  <a:lnTo>
                    <a:pt x="96458" y="15528"/>
                  </a:lnTo>
                  <a:cubicBezTo>
                    <a:pt x="96458" y="10983"/>
                    <a:pt x="92774" y="7298"/>
                    <a:pt x="88229" y="7298"/>
                  </a:cubicBez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900BC10D-2110-BC40-9D64-6199BF3B1450}"/>
                </a:ext>
              </a:extLst>
            </p:cNvPr>
            <p:cNvSpPr/>
            <p:nvPr/>
          </p:nvSpPr>
          <p:spPr>
            <a:xfrm>
              <a:off x="6993157" y="2330147"/>
              <a:ext cx="93228" cy="7018"/>
            </a:xfrm>
            <a:custGeom>
              <a:avLst/>
              <a:gdLst>
                <a:gd name="connsiteX0" fmla="*/ 0 w 93228"/>
                <a:gd name="connsiteY0" fmla="*/ 0 h 7018"/>
                <a:gd name="connsiteX1" fmla="*/ 93229 w 93228"/>
                <a:gd name="connsiteY1" fmla="*/ 0 h 7018"/>
                <a:gd name="connsiteX2" fmla="*/ 93229 w 93228"/>
                <a:gd name="connsiteY2" fmla="*/ 7019 h 7018"/>
                <a:gd name="connsiteX3" fmla="*/ 0 w 93228"/>
                <a:gd name="connsiteY3" fmla="*/ 7019 h 7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28" h="7018">
                  <a:moveTo>
                    <a:pt x="0" y="0"/>
                  </a:moveTo>
                  <a:lnTo>
                    <a:pt x="93229" y="0"/>
                  </a:lnTo>
                  <a:lnTo>
                    <a:pt x="93229" y="7019"/>
                  </a:lnTo>
                  <a:lnTo>
                    <a:pt x="0" y="7019"/>
                  </a:lnTo>
                  <a:close/>
                </a:path>
              </a:pathLst>
            </a:custGeom>
            <a:solidFill>
              <a:srgbClr val="C7527B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92667373-34B2-0D44-B4E4-860A2317E881}"/>
                </a:ext>
              </a:extLst>
            </p:cNvPr>
            <p:cNvSpPr/>
            <p:nvPr/>
          </p:nvSpPr>
          <p:spPr>
            <a:xfrm>
              <a:off x="6989524" y="2299898"/>
              <a:ext cx="103756" cy="192264"/>
            </a:xfrm>
            <a:custGeom>
              <a:avLst/>
              <a:gdLst>
                <a:gd name="connsiteX0" fmla="*/ 88229 w 103756"/>
                <a:gd name="connsiteY0" fmla="*/ 192265 h 192264"/>
                <a:gd name="connsiteX1" fmla="*/ 15528 w 103756"/>
                <a:gd name="connsiteY1" fmla="*/ 192265 h 192264"/>
                <a:gd name="connsiteX2" fmla="*/ 0 w 103756"/>
                <a:gd name="connsiteY2" fmla="*/ 176737 h 192264"/>
                <a:gd name="connsiteX3" fmla="*/ 0 w 103756"/>
                <a:gd name="connsiteY3" fmla="*/ 15528 h 192264"/>
                <a:gd name="connsiteX4" fmla="*/ 15528 w 103756"/>
                <a:gd name="connsiteY4" fmla="*/ 0 h 192264"/>
                <a:gd name="connsiteX5" fmla="*/ 88229 w 103756"/>
                <a:gd name="connsiteY5" fmla="*/ 0 h 192264"/>
                <a:gd name="connsiteX6" fmla="*/ 103756 w 103756"/>
                <a:gd name="connsiteY6" fmla="*/ 15528 h 192264"/>
                <a:gd name="connsiteX7" fmla="*/ 103756 w 103756"/>
                <a:gd name="connsiteY7" fmla="*/ 176706 h 192264"/>
                <a:gd name="connsiteX8" fmla="*/ 88260 w 103756"/>
                <a:gd name="connsiteY8" fmla="*/ 192265 h 192264"/>
                <a:gd name="connsiteX9" fmla="*/ 88229 w 103756"/>
                <a:gd name="connsiteY9" fmla="*/ 192265 h 192264"/>
                <a:gd name="connsiteX10" fmla="*/ 15528 w 103756"/>
                <a:gd name="connsiteY10" fmla="*/ 7298 h 192264"/>
                <a:gd name="connsiteX11" fmla="*/ 7298 w 103756"/>
                <a:gd name="connsiteY11" fmla="*/ 15528 h 192264"/>
                <a:gd name="connsiteX12" fmla="*/ 7298 w 103756"/>
                <a:gd name="connsiteY12" fmla="*/ 176706 h 192264"/>
                <a:gd name="connsiteX13" fmla="*/ 15528 w 103756"/>
                <a:gd name="connsiteY13" fmla="*/ 184904 h 192264"/>
                <a:gd name="connsiteX14" fmla="*/ 88229 w 103756"/>
                <a:gd name="connsiteY14" fmla="*/ 184904 h 192264"/>
                <a:gd name="connsiteX15" fmla="*/ 96458 w 103756"/>
                <a:gd name="connsiteY15" fmla="*/ 176706 h 192264"/>
                <a:gd name="connsiteX16" fmla="*/ 96458 w 103756"/>
                <a:gd name="connsiteY16" fmla="*/ 15528 h 192264"/>
                <a:gd name="connsiteX17" fmla="*/ 88229 w 103756"/>
                <a:gd name="connsiteY17" fmla="*/ 7298 h 19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3756" h="192264">
                  <a:moveTo>
                    <a:pt x="88229" y="192265"/>
                  </a:moveTo>
                  <a:lnTo>
                    <a:pt x="15528" y="192265"/>
                  </a:lnTo>
                  <a:cubicBezTo>
                    <a:pt x="6952" y="192265"/>
                    <a:pt x="0" y="185313"/>
                    <a:pt x="0" y="176737"/>
                  </a:cubicBezTo>
                  <a:lnTo>
                    <a:pt x="0" y="15528"/>
                  </a:lnTo>
                  <a:cubicBezTo>
                    <a:pt x="0" y="6952"/>
                    <a:pt x="6952" y="0"/>
                    <a:pt x="15528" y="0"/>
                  </a:cubicBezTo>
                  <a:lnTo>
                    <a:pt x="88229" y="0"/>
                  </a:lnTo>
                  <a:cubicBezTo>
                    <a:pt x="96804" y="0"/>
                    <a:pt x="103756" y="6952"/>
                    <a:pt x="103756" y="15528"/>
                  </a:cubicBezTo>
                  <a:lnTo>
                    <a:pt x="103756" y="176706"/>
                  </a:lnTo>
                  <a:cubicBezTo>
                    <a:pt x="103774" y="185282"/>
                    <a:pt x="96835" y="192247"/>
                    <a:pt x="88260" y="192265"/>
                  </a:cubicBezTo>
                  <a:cubicBezTo>
                    <a:pt x="88249" y="192265"/>
                    <a:pt x="88239" y="192265"/>
                    <a:pt x="88229" y="192265"/>
                  </a:cubicBezTo>
                  <a:close/>
                  <a:moveTo>
                    <a:pt x="15528" y="7298"/>
                  </a:moveTo>
                  <a:cubicBezTo>
                    <a:pt x="10983" y="7298"/>
                    <a:pt x="7298" y="10983"/>
                    <a:pt x="7298" y="15528"/>
                  </a:cubicBezTo>
                  <a:lnTo>
                    <a:pt x="7298" y="176706"/>
                  </a:lnTo>
                  <a:cubicBezTo>
                    <a:pt x="7315" y="181239"/>
                    <a:pt x="10995" y="184904"/>
                    <a:pt x="15528" y="184904"/>
                  </a:cubicBezTo>
                  <a:lnTo>
                    <a:pt x="88229" y="184904"/>
                  </a:lnTo>
                  <a:cubicBezTo>
                    <a:pt x="92762" y="184904"/>
                    <a:pt x="96441" y="181239"/>
                    <a:pt x="96458" y="176706"/>
                  </a:cubicBezTo>
                  <a:lnTo>
                    <a:pt x="96458" y="15528"/>
                  </a:lnTo>
                  <a:cubicBezTo>
                    <a:pt x="96458" y="10983"/>
                    <a:pt x="92774" y="7298"/>
                    <a:pt x="88229" y="7298"/>
                  </a:cubicBez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E65D7817-1B8C-3648-9401-DB78EA5FAE52}"/>
                </a:ext>
              </a:extLst>
            </p:cNvPr>
            <p:cNvSpPr/>
            <p:nvPr/>
          </p:nvSpPr>
          <p:spPr>
            <a:xfrm>
              <a:off x="6883469" y="2283967"/>
              <a:ext cx="48974" cy="21645"/>
            </a:xfrm>
            <a:custGeom>
              <a:avLst/>
              <a:gdLst>
                <a:gd name="connsiteX0" fmla="*/ 45434 w 48974"/>
                <a:gd name="connsiteY0" fmla="*/ 21646 h 21645"/>
                <a:gd name="connsiteX1" fmla="*/ 3665 w 48974"/>
                <a:gd name="connsiteY1" fmla="*/ 21646 h 21645"/>
                <a:gd name="connsiteX2" fmla="*/ 0 w 48974"/>
                <a:gd name="connsiteY2" fmla="*/ 17981 h 21645"/>
                <a:gd name="connsiteX3" fmla="*/ 0 w 48974"/>
                <a:gd name="connsiteY3" fmla="*/ 3665 h 21645"/>
                <a:gd name="connsiteX4" fmla="*/ 3665 w 48974"/>
                <a:gd name="connsiteY4" fmla="*/ 0 h 21645"/>
                <a:gd name="connsiteX5" fmla="*/ 45434 w 48974"/>
                <a:gd name="connsiteY5" fmla="*/ 0 h 21645"/>
                <a:gd name="connsiteX6" fmla="*/ 48975 w 48974"/>
                <a:gd name="connsiteY6" fmla="*/ 3665 h 21645"/>
                <a:gd name="connsiteX7" fmla="*/ 48975 w 48974"/>
                <a:gd name="connsiteY7" fmla="*/ 18105 h 21645"/>
                <a:gd name="connsiteX8" fmla="*/ 45434 w 48974"/>
                <a:gd name="connsiteY8" fmla="*/ 21646 h 21645"/>
                <a:gd name="connsiteX9" fmla="*/ 7329 w 48974"/>
                <a:gd name="connsiteY9" fmla="*/ 14317 h 21645"/>
                <a:gd name="connsiteX10" fmla="*/ 41770 w 48974"/>
                <a:gd name="connsiteY10" fmla="*/ 14317 h 21645"/>
                <a:gd name="connsiteX11" fmla="*/ 41770 w 48974"/>
                <a:gd name="connsiteY11" fmla="*/ 7205 h 21645"/>
                <a:gd name="connsiteX12" fmla="*/ 7329 w 48974"/>
                <a:gd name="connsiteY12" fmla="*/ 7205 h 2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974" h="21645">
                  <a:moveTo>
                    <a:pt x="45434" y="21646"/>
                  </a:moveTo>
                  <a:lnTo>
                    <a:pt x="3665" y="21646"/>
                  </a:lnTo>
                  <a:cubicBezTo>
                    <a:pt x="1641" y="21646"/>
                    <a:pt x="0" y="20005"/>
                    <a:pt x="0" y="17981"/>
                  </a:cubicBezTo>
                  <a:lnTo>
                    <a:pt x="0" y="3665"/>
                  </a:lnTo>
                  <a:cubicBezTo>
                    <a:pt x="0" y="1641"/>
                    <a:pt x="1641" y="0"/>
                    <a:pt x="3665" y="0"/>
                  </a:cubicBezTo>
                  <a:lnTo>
                    <a:pt x="45434" y="0"/>
                  </a:lnTo>
                  <a:cubicBezTo>
                    <a:pt x="47409" y="67"/>
                    <a:pt x="48976" y="1688"/>
                    <a:pt x="48975" y="3665"/>
                  </a:cubicBezTo>
                  <a:lnTo>
                    <a:pt x="48975" y="18105"/>
                  </a:lnTo>
                  <a:cubicBezTo>
                    <a:pt x="48910" y="20033"/>
                    <a:pt x="47362" y="21581"/>
                    <a:pt x="45434" y="21646"/>
                  </a:cubicBezTo>
                  <a:close/>
                  <a:moveTo>
                    <a:pt x="7329" y="14317"/>
                  </a:moveTo>
                  <a:lnTo>
                    <a:pt x="41770" y="14317"/>
                  </a:lnTo>
                  <a:lnTo>
                    <a:pt x="41770" y="7205"/>
                  </a:lnTo>
                  <a:lnTo>
                    <a:pt x="7329" y="7205"/>
                  </a:ln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6E6861E2-E646-6D4A-A9E8-9808468D666A}"/>
                </a:ext>
              </a:extLst>
            </p:cNvPr>
            <p:cNvSpPr/>
            <p:nvPr/>
          </p:nvSpPr>
          <p:spPr>
            <a:xfrm>
              <a:off x="6899245" y="2135925"/>
              <a:ext cx="17484" cy="153662"/>
            </a:xfrm>
            <a:custGeom>
              <a:avLst/>
              <a:gdLst>
                <a:gd name="connsiteX0" fmla="*/ 13851 w 17484"/>
                <a:gd name="connsiteY0" fmla="*/ 153663 h 153662"/>
                <a:gd name="connsiteX1" fmla="*/ 3665 w 17484"/>
                <a:gd name="connsiteY1" fmla="*/ 153663 h 153662"/>
                <a:gd name="connsiteX2" fmla="*/ 0 w 17484"/>
                <a:gd name="connsiteY2" fmla="*/ 149998 h 153662"/>
                <a:gd name="connsiteX3" fmla="*/ 0 w 17484"/>
                <a:gd name="connsiteY3" fmla="*/ 8137 h 153662"/>
                <a:gd name="connsiteX4" fmla="*/ 8168 w 17484"/>
                <a:gd name="connsiteY4" fmla="*/ 0 h 153662"/>
                <a:gd name="connsiteX5" fmla="*/ 17484 w 17484"/>
                <a:gd name="connsiteY5" fmla="*/ 9317 h 153662"/>
                <a:gd name="connsiteX6" fmla="*/ 17484 w 17484"/>
                <a:gd name="connsiteY6" fmla="*/ 149998 h 153662"/>
                <a:gd name="connsiteX7" fmla="*/ 13851 w 17484"/>
                <a:gd name="connsiteY7" fmla="*/ 153663 h 153662"/>
                <a:gd name="connsiteX8" fmla="*/ 7329 w 17484"/>
                <a:gd name="connsiteY8" fmla="*/ 146334 h 153662"/>
                <a:gd name="connsiteX9" fmla="*/ 10186 w 17484"/>
                <a:gd name="connsiteY9" fmla="*/ 146334 h 153662"/>
                <a:gd name="connsiteX10" fmla="*/ 10186 w 17484"/>
                <a:gd name="connsiteY10" fmla="*/ 9379 h 153662"/>
                <a:gd name="connsiteX11" fmla="*/ 8168 w 17484"/>
                <a:gd name="connsiteY11" fmla="*/ 7329 h 153662"/>
                <a:gd name="connsiteX12" fmla="*/ 7329 w 17484"/>
                <a:gd name="connsiteY12" fmla="*/ 8137 h 15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84" h="153662">
                  <a:moveTo>
                    <a:pt x="13851" y="153663"/>
                  </a:moveTo>
                  <a:lnTo>
                    <a:pt x="3665" y="153663"/>
                  </a:lnTo>
                  <a:cubicBezTo>
                    <a:pt x="1641" y="153663"/>
                    <a:pt x="0" y="152022"/>
                    <a:pt x="0" y="149998"/>
                  </a:cubicBezTo>
                  <a:lnTo>
                    <a:pt x="0" y="8137"/>
                  </a:lnTo>
                  <a:cubicBezTo>
                    <a:pt x="17" y="3638"/>
                    <a:pt x="3669" y="0"/>
                    <a:pt x="8168" y="0"/>
                  </a:cubicBezTo>
                  <a:cubicBezTo>
                    <a:pt x="13313" y="0"/>
                    <a:pt x="17484" y="4171"/>
                    <a:pt x="17484" y="9317"/>
                  </a:cubicBezTo>
                  <a:lnTo>
                    <a:pt x="17484" y="149998"/>
                  </a:lnTo>
                  <a:cubicBezTo>
                    <a:pt x="17484" y="152010"/>
                    <a:pt x="15862" y="153646"/>
                    <a:pt x="13851" y="153663"/>
                  </a:cubicBezTo>
                  <a:close/>
                  <a:moveTo>
                    <a:pt x="7329" y="146334"/>
                  </a:moveTo>
                  <a:lnTo>
                    <a:pt x="10186" y="146334"/>
                  </a:lnTo>
                  <a:lnTo>
                    <a:pt x="10186" y="9379"/>
                  </a:lnTo>
                  <a:cubicBezTo>
                    <a:pt x="10186" y="8259"/>
                    <a:pt x="9287" y="7346"/>
                    <a:pt x="8168" y="7329"/>
                  </a:cubicBezTo>
                  <a:cubicBezTo>
                    <a:pt x="7716" y="7329"/>
                    <a:pt x="7346" y="7686"/>
                    <a:pt x="7329" y="8137"/>
                  </a:cubicBez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 135">
              <a:extLst>
                <a:ext uri="{FF2B5EF4-FFF2-40B4-BE49-F238E27FC236}">
                  <a16:creationId xmlns:a16="http://schemas.microsoft.com/office/drawing/2014/main" id="{4BCE9D96-7D7A-324A-A788-3917ACCAE4A4}"/>
                </a:ext>
              </a:extLst>
            </p:cNvPr>
            <p:cNvSpPr/>
            <p:nvPr/>
          </p:nvSpPr>
          <p:spPr>
            <a:xfrm>
              <a:off x="6726390" y="2330147"/>
              <a:ext cx="93228" cy="7018"/>
            </a:xfrm>
            <a:custGeom>
              <a:avLst/>
              <a:gdLst>
                <a:gd name="connsiteX0" fmla="*/ 0 w 93228"/>
                <a:gd name="connsiteY0" fmla="*/ 0 h 7018"/>
                <a:gd name="connsiteX1" fmla="*/ 93229 w 93228"/>
                <a:gd name="connsiteY1" fmla="*/ 0 h 7018"/>
                <a:gd name="connsiteX2" fmla="*/ 93229 w 93228"/>
                <a:gd name="connsiteY2" fmla="*/ 7019 h 7018"/>
                <a:gd name="connsiteX3" fmla="*/ 0 w 93228"/>
                <a:gd name="connsiteY3" fmla="*/ 7019 h 7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28" h="7018">
                  <a:moveTo>
                    <a:pt x="0" y="0"/>
                  </a:moveTo>
                  <a:lnTo>
                    <a:pt x="93229" y="0"/>
                  </a:lnTo>
                  <a:lnTo>
                    <a:pt x="93229" y="7019"/>
                  </a:lnTo>
                  <a:lnTo>
                    <a:pt x="0" y="7019"/>
                  </a:lnTo>
                  <a:close/>
                </a:path>
              </a:pathLst>
            </a:custGeom>
            <a:solidFill>
              <a:srgbClr val="C7527B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 136">
              <a:extLst>
                <a:ext uri="{FF2B5EF4-FFF2-40B4-BE49-F238E27FC236}">
                  <a16:creationId xmlns:a16="http://schemas.microsoft.com/office/drawing/2014/main" id="{417F9EEC-70B7-3045-9F83-C4F2306BCBD0}"/>
                </a:ext>
              </a:extLst>
            </p:cNvPr>
            <p:cNvSpPr/>
            <p:nvPr/>
          </p:nvSpPr>
          <p:spPr>
            <a:xfrm>
              <a:off x="6722757" y="2299898"/>
              <a:ext cx="103725" cy="192264"/>
            </a:xfrm>
            <a:custGeom>
              <a:avLst/>
              <a:gdLst>
                <a:gd name="connsiteX0" fmla="*/ 88198 w 103725"/>
                <a:gd name="connsiteY0" fmla="*/ 192265 h 192264"/>
                <a:gd name="connsiteX1" fmla="*/ 15528 w 103725"/>
                <a:gd name="connsiteY1" fmla="*/ 192265 h 192264"/>
                <a:gd name="connsiteX2" fmla="*/ 0 w 103725"/>
                <a:gd name="connsiteY2" fmla="*/ 176737 h 192264"/>
                <a:gd name="connsiteX3" fmla="*/ 0 w 103725"/>
                <a:gd name="connsiteY3" fmla="*/ 15528 h 192264"/>
                <a:gd name="connsiteX4" fmla="*/ 15528 w 103725"/>
                <a:gd name="connsiteY4" fmla="*/ 0 h 192264"/>
                <a:gd name="connsiteX5" fmla="*/ 88198 w 103725"/>
                <a:gd name="connsiteY5" fmla="*/ 0 h 192264"/>
                <a:gd name="connsiteX6" fmla="*/ 103725 w 103725"/>
                <a:gd name="connsiteY6" fmla="*/ 15528 h 192264"/>
                <a:gd name="connsiteX7" fmla="*/ 103725 w 103725"/>
                <a:gd name="connsiteY7" fmla="*/ 176706 h 192264"/>
                <a:gd name="connsiteX8" fmla="*/ 88229 w 103725"/>
                <a:gd name="connsiteY8" fmla="*/ 192265 h 192264"/>
                <a:gd name="connsiteX9" fmla="*/ 88198 w 103725"/>
                <a:gd name="connsiteY9" fmla="*/ 192265 h 192264"/>
                <a:gd name="connsiteX10" fmla="*/ 15528 w 103725"/>
                <a:gd name="connsiteY10" fmla="*/ 7298 h 192264"/>
                <a:gd name="connsiteX11" fmla="*/ 7298 w 103725"/>
                <a:gd name="connsiteY11" fmla="*/ 15528 h 192264"/>
                <a:gd name="connsiteX12" fmla="*/ 7298 w 103725"/>
                <a:gd name="connsiteY12" fmla="*/ 176706 h 192264"/>
                <a:gd name="connsiteX13" fmla="*/ 15528 w 103725"/>
                <a:gd name="connsiteY13" fmla="*/ 184904 h 192264"/>
                <a:gd name="connsiteX14" fmla="*/ 88198 w 103725"/>
                <a:gd name="connsiteY14" fmla="*/ 184904 h 192264"/>
                <a:gd name="connsiteX15" fmla="*/ 96427 w 103725"/>
                <a:gd name="connsiteY15" fmla="*/ 176706 h 192264"/>
                <a:gd name="connsiteX16" fmla="*/ 96427 w 103725"/>
                <a:gd name="connsiteY16" fmla="*/ 15528 h 192264"/>
                <a:gd name="connsiteX17" fmla="*/ 88198 w 103725"/>
                <a:gd name="connsiteY17" fmla="*/ 7298 h 19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3725" h="192264">
                  <a:moveTo>
                    <a:pt x="88198" y="192265"/>
                  </a:moveTo>
                  <a:lnTo>
                    <a:pt x="15528" y="192265"/>
                  </a:lnTo>
                  <a:cubicBezTo>
                    <a:pt x="6952" y="192265"/>
                    <a:pt x="0" y="185313"/>
                    <a:pt x="0" y="176737"/>
                  </a:cubicBezTo>
                  <a:lnTo>
                    <a:pt x="0" y="15528"/>
                  </a:lnTo>
                  <a:cubicBezTo>
                    <a:pt x="0" y="6952"/>
                    <a:pt x="6952" y="0"/>
                    <a:pt x="15528" y="0"/>
                  </a:cubicBezTo>
                  <a:lnTo>
                    <a:pt x="88198" y="0"/>
                  </a:lnTo>
                  <a:cubicBezTo>
                    <a:pt x="96773" y="0"/>
                    <a:pt x="103725" y="6952"/>
                    <a:pt x="103725" y="15528"/>
                  </a:cubicBezTo>
                  <a:lnTo>
                    <a:pt x="103725" y="176706"/>
                  </a:lnTo>
                  <a:cubicBezTo>
                    <a:pt x="103743" y="185282"/>
                    <a:pt x="96804" y="192247"/>
                    <a:pt x="88229" y="192265"/>
                  </a:cubicBezTo>
                  <a:cubicBezTo>
                    <a:pt x="88218" y="192265"/>
                    <a:pt x="88208" y="192265"/>
                    <a:pt x="88198" y="192265"/>
                  </a:cubicBezTo>
                  <a:close/>
                  <a:moveTo>
                    <a:pt x="15528" y="7298"/>
                  </a:moveTo>
                  <a:cubicBezTo>
                    <a:pt x="10983" y="7298"/>
                    <a:pt x="7298" y="10983"/>
                    <a:pt x="7298" y="15528"/>
                  </a:cubicBezTo>
                  <a:lnTo>
                    <a:pt x="7298" y="176706"/>
                  </a:lnTo>
                  <a:cubicBezTo>
                    <a:pt x="7315" y="181239"/>
                    <a:pt x="10995" y="184904"/>
                    <a:pt x="15528" y="184904"/>
                  </a:cubicBezTo>
                  <a:lnTo>
                    <a:pt x="88198" y="184904"/>
                  </a:lnTo>
                  <a:cubicBezTo>
                    <a:pt x="92731" y="184904"/>
                    <a:pt x="96410" y="181239"/>
                    <a:pt x="96427" y="176706"/>
                  </a:cubicBezTo>
                  <a:lnTo>
                    <a:pt x="96427" y="15528"/>
                  </a:lnTo>
                  <a:cubicBezTo>
                    <a:pt x="96427" y="10983"/>
                    <a:pt x="92743" y="7298"/>
                    <a:pt x="88198" y="7298"/>
                  </a:cubicBez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 137">
              <a:extLst>
                <a:ext uri="{FF2B5EF4-FFF2-40B4-BE49-F238E27FC236}">
                  <a16:creationId xmlns:a16="http://schemas.microsoft.com/office/drawing/2014/main" id="{CF4DD538-CAB2-D448-B0DB-701BE12A4FA3}"/>
                </a:ext>
              </a:extLst>
            </p:cNvPr>
            <p:cNvSpPr/>
            <p:nvPr/>
          </p:nvSpPr>
          <p:spPr>
            <a:xfrm>
              <a:off x="6741639" y="2255675"/>
              <a:ext cx="65962" cy="49937"/>
            </a:xfrm>
            <a:custGeom>
              <a:avLst/>
              <a:gdLst>
                <a:gd name="connsiteX0" fmla="*/ 62297 w 65962"/>
                <a:gd name="connsiteY0" fmla="*/ 49937 h 49937"/>
                <a:gd name="connsiteX1" fmla="*/ 3665 w 65962"/>
                <a:gd name="connsiteY1" fmla="*/ 49937 h 49937"/>
                <a:gd name="connsiteX2" fmla="*/ 0 w 65962"/>
                <a:gd name="connsiteY2" fmla="*/ 46273 h 49937"/>
                <a:gd name="connsiteX3" fmla="*/ 0 w 65962"/>
                <a:gd name="connsiteY3" fmla="*/ 3665 h 49937"/>
                <a:gd name="connsiteX4" fmla="*/ 3665 w 65962"/>
                <a:gd name="connsiteY4" fmla="*/ 0 h 49937"/>
                <a:gd name="connsiteX5" fmla="*/ 62297 w 65962"/>
                <a:gd name="connsiteY5" fmla="*/ 0 h 49937"/>
                <a:gd name="connsiteX6" fmla="*/ 65962 w 65962"/>
                <a:gd name="connsiteY6" fmla="*/ 3665 h 49937"/>
                <a:gd name="connsiteX7" fmla="*/ 65962 w 65962"/>
                <a:gd name="connsiteY7" fmla="*/ 46273 h 49937"/>
                <a:gd name="connsiteX8" fmla="*/ 62360 w 65962"/>
                <a:gd name="connsiteY8" fmla="*/ 49937 h 49937"/>
                <a:gd name="connsiteX9" fmla="*/ 62297 w 65962"/>
                <a:gd name="connsiteY9" fmla="*/ 49937 h 49937"/>
                <a:gd name="connsiteX10" fmla="*/ 7329 w 65962"/>
                <a:gd name="connsiteY10" fmla="*/ 42608 h 49937"/>
                <a:gd name="connsiteX11" fmla="*/ 58633 w 65962"/>
                <a:gd name="connsiteY11" fmla="*/ 42608 h 49937"/>
                <a:gd name="connsiteX12" fmla="*/ 58633 w 65962"/>
                <a:gd name="connsiteY12" fmla="*/ 7329 h 49937"/>
                <a:gd name="connsiteX13" fmla="*/ 7329 w 65962"/>
                <a:gd name="connsiteY13" fmla="*/ 7329 h 49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962" h="49937">
                  <a:moveTo>
                    <a:pt x="62297" y="49937"/>
                  </a:moveTo>
                  <a:lnTo>
                    <a:pt x="3665" y="49937"/>
                  </a:lnTo>
                  <a:cubicBezTo>
                    <a:pt x="1641" y="49937"/>
                    <a:pt x="0" y="48297"/>
                    <a:pt x="0" y="46273"/>
                  </a:cubicBezTo>
                  <a:lnTo>
                    <a:pt x="0" y="3665"/>
                  </a:lnTo>
                  <a:cubicBezTo>
                    <a:pt x="0" y="1641"/>
                    <a:pt x="1641" y="0"/>
                    <a:pt x="3665" y="0"/>
                  </a:cubicBezTo>
                  <a:lnTo>
                    <a:pt x="62297" y="0"/>
                  </a:lnTo>
                  <a:cubicBezTo>
                    <a:pt x="64321" y="0"/>
                    <a:pt x="65962" y="1641"/>
                    <a:pt x="65962" y="3665"/>
                  </a:cubicBezTo>
                  <a:lnTo>
                    <a:pt x="65962" y="46273"/>
                  </a:lnTo>
                  <a:cubicBezTo>
                    <a:pt x="65979" y="48279"/>
                    <a:pt x="64366" y="49920"/>
                    <a:pt x="62360" y="49937"/>
                  </a:cubicBezTo>
                  <a:cubicBezTo>
                    <a:pt x="62339" y="49937"/>
                    <a:pt x="62318" y="49937"/>
                    <a:pt x="62297" y="49937"/>
                  </a:cubicBezTo>
                  <a:close/>
                  <a:moveTo>
                    <a:pt x="7329" y="42608"/>
                  </a:moveTo>
                  <a:lnTo>
                    <a:pt x="58633" y="42608"/>
                  </a:lnTo>
                  <a:lnTo>
                    <a:pt x="58633" y="7329"/>
                  </a:lnTo>
                  <a:lnTo>
                    <a:pt x="7329" y="7329"/>
                  </a:ln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 138">
              <a:extLst>
                <a:ext uri="{FF2B5EF4-FFF2-40B4-BE49-F238E27FC236}">
                  <a16:creationId xmlns:a16="http://schemas.microsoft.com/office/drawing/2014/main" id="{E92801C6-7984-B343-AD6A-E9AFDE3979EB}"/>
                </a:ext>
              </a:extLst>
            </p:cNvPr>
            <p:cNvSpPr/>
            <p:nvPr/>
          </p:nvSpPr>
          <p:spPr>
            <a:xfrm>
              <a:off x="7003561" y="2279091"/>
              <a:ext cx="75402" cy="28105"/>
            </a:xfrm>
            <a:custGeom>
              <a:avLst/>
              <a:gdLst>
                <a:gd name="connsiteX0" fmla="*/ 71987 w 75402"/>
                <a:gd name="connsiteY0" fmla="*/ 28105 h 28105"/>
                <a:gd name="connsiteX1" fmla="*/ 3665 w 75402"/>
                <a:gd name="connsiteY1" fmla="*/ 28105 h 28105"/>
                <a:gd name="connsiteX2" fmla="*/ 0 w 75402"/>
                <a:gd name="connsiteY2" fmla="*/ 24441 h 28105"/>
                <a:gd name="connsiteX3" fmla="*/ 0 w 75402"/>
                <a:gd name="connsiteY3" fmla="*/ 9317 h 28105"/>
                <a:gd name="connsiteX4" fmla="*/ 9317 w 75402"/>
                <a:gd name="connsiteY4" fmla="*/ 0 h 28105"/>
                <a:gd name="connsiteX5" fmla="*/ 66086 w 75402"/>
                <a:gd name="connsiteY5" fmla="*/ 0 h 28105"/>
                <a:gd name="connsiteX6" fmla="*/ 75403 w 75402"/>
                <a:gd name="connsiteY6" fmla="*/ 9317 h 28105"/>
                <a:gd name="connsiteX7" fmla="*/ 75403 w 75402"/>
                <a:gd name="connsiteY7" fmla="*/ 24441 h 28105"/>
                <a:gd name="connsiteX8" fmla="*/ 71987 w 75402"/>
                <a:gd name="connsiteY8" fmla="*/ 28105 h 28105"/>
                <a:gd name="connsiteX9" fmla="*/ 7329 w 75402"/>
                <a:gd name="connsiteY9" fmla="*/ 20776 h 28105"/>
                <a:gd name="connsiteX10" fmla="*/ 68322 w 75402"/>
                <a:gd name="connsiteY10" fmla="*/ 20776 h 28105"/>
                <a:gd name="connsiteX11" fmla="*/ 68322 w 75402"/>
                <a:gd name="connsiteY11" fmla="*/ 9317 h 28105"/>
                <a:gd name="connsiteX12" fmla="*/ 66210 w 75402"/>
                <a:gd name="connsiteY12" fmla="*/ 7205 h 28105"/>
                <a:gd name="connsiteX13" fmla="*/ 9441 w 75402"/>
                <a:gd name="connsiteY13" fmla="*/ 7205 h 28105"/>
                <a:gd name="connsiteX14" fmla="*/ 7329 w 75402"/>
                <a:gd name="connsiteY14" fmla="*/ 9254 h 28105"/>
                <a:gd name="connsiteX15" fmla="*/ 7329 w 75402"/>
                <a:gd name="connsiteY15" fmla="*/ 9317 h 28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5402" h="28105">
                  <a:moveTo>
                    <a:pt x="71987" y="28105"/>
                  </a:moveTo>
                  <a:lnTo>
                    <a:pt x="3665" y="28105"/>
                  </a:lnTo>
                  <a:cubicBezTo>
                    <a:pt x="1641" y="28105"/>
                    <a:pt x="0" y="26465"/>
                    <a:pt x="0" y="24441"/>
                  </a:cubicBezTo>
                  <a:lnTo>
                    <a:pt x="0" y="9317"/>
                  </a:lnTo>
                  <a:cubicBezTo>
                    <a:pt x="0" y="4171"/>
                    <a:pt x="4171" y="0"/>
                    <a:pt x="9317" y="0"/>
                  </a:cubicBezTo>
                  <a:lnTo>
                    <a:pt x="66086" y="0"/>
                  </a:lnTo>
                  <a:cubicBezTo>
                    <a:pt x="71232" y="0"/>
                    <a:pt x="75403" y="4171"/>
                    <a:pt x="75403" y="9317"/>
                  </a:cubicBezTo>
                  <a:lnTo>
                    <a:pt x="75403" y="24441"/>
                  </a:lnTo>
                  <a:cubicBezTo>
                    <a:pt x="75407" y="26371"/>
                    <a:pt x="73913" y="27974"/>
                    <a:pt x="71987" y="28105"/>
                  </a:cubicBezTo>
                  <a:close/>
                  <a:moveTo>
                    <a:pt x="7329" y="20776"/>
                  </a:moveTo>
                  <a:lnTo>
                    <a:pt x="68322" y="20776"/>
                  </a:lnTo>
                  <a:lnTo>
                    <a:pt x="68322" y="9317"/>
                  </a:lnTo>
                  <a:cubicBezTo>
                    <a:pt x="68322" y="8150"/>
                    <a:pt x="67377" y="7205"/>
                    <a:pt x="66210" y="7205"/>
                  </a:cubicBezTo>
                  <a:lnTo>
                    <a:pt x="9441" y="7205"/>
                  </a:lnTo>
                  <a:cubicBezTo>
                    <a:pt x="8292" y="7188"/>
                    <a:pt x="7346" y="8105"/>
                    <a:pt x="7329" y="9254"/>
                  </a:cubicBezTo>
                  <a:cubicBezTo>
                    <a:pt x="7329" y="9275"/>
                    <a:pt x="7329" y="9296"/>
                    <a:pt x="7329" y="9317"/>
                  </a:cubicBez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2807B65A-8C72-7D4C-8E86-480793C7F49A}"/>
                </a:ext>
              </a:extLst>
            </p:cNvPr>
            <p:cNvSpPr/>
            <p:nvPr/>
          </p:nvSpPr>
          <p:spPr>
            <a:xfrm>
              <a:off x="7014827" y="2202012"/>
              <a:ext cx="53014" cy="37701"/>
            </a:xfrm>
            <a:custGeom>
              <a:avLst/>
              <a:gdLst>
                <a:gd name="connsiteX0" fmla="*/ 49354 w 53014"/>
                <a:gd name="connsiteY0" fmla="*/ 37701 h 37701"/>
                <a:gd name="connsiteX1" fmla="*/ 3703 w 53014"/>
                <a:gd name="connsiteY1" fmla="*/ 37701 h 37701"/>
                <a:gd name="connsiteX2" fmla="*/ 0 w 53014"/>
                <a:gd name="connsiteY2" fmla="*/ 34013 h 37701"/>
                <a:gd name="connsiteX3" fmla="*/ 193 w 53014"/>
                <a:gd name="connsiteY3" fmla="*/ 32826 h 37701"/>
                <a:gd name="connsiteX4" fmla="*/ 9852 w 53014"/>
                <a:gd name="connsiteY4" fmla="*/ 2547 h 37701"/>
                <a:gd name="connsiteX5" fmla="*/ 13361 w 53014"/>
                <a:gd name="connsiteY5" fmla="*/ 0 h 37701"/>
                <a:gd name="connsiteX6" fmla="*/ 38547 w 53014"/>
                <a:gd name="connsiteY6" fmla="*/ 0 h 37701"/>
                <a:gd name="connsiteX7" fmla="*/ 41994 w 53014"/>
                <a:gd name="connsiteY7" fmla="*/ 2422 h 37701"/>
                <a:gd name="connsiteX8" fmla="*/ 52802 w 53014"/>
                <a:gd name="connsiteY8" fmla="*/ 32701 h 37701"/>
                <a:gd name="connsiteX9" fmla="*/ 52336 w 53014"/>
                <a:gd name="connsiteY9" fmla="*/ 36055 h 37701"/>
                <a:gd name="connsiteX10" fmla="*/ 49354 w 53014"/>
                <a:gd name="connsiteY10" fmla="*/ 37701 h 37701"/>
                <a:gd name="connsiteX11" fmla="*/ 8703 w 53014"/>
                <a:gd name="connsiteY11" fmla="*/ 30372 h 37701"/>
                <a:gd name="connsiteX12" fmla="*/ 44137 w 53014"/>
                <a:gd name="connsiteY12" fmla="*/ 30372 h 37701"/>
                <a:gd name="connsiteX13" fmla="*/ 35969 w 53014"/>
                <a:gd name="connsiteY13" fmla="*/ 7422 h 37701"/>
                <a:gd name="connsiteX14" fmla="*/ 16032 w 53014"/>
                <a:gd name="connsiteY14" fmla="*/ 7422 h 37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3014" h="37701">
                  <a:moveTo>
                    <a:pt x="49354" y="37701"/>
                  </a:moveTo>
                  <a:lnTo>
                    <a:pt x="3703" y="37701"/>
                  </a:lnTo>
                  <a:cubicBezTo>
                    <a:pt x="1662" y="37705"/>
                    <a:pt x="4" y="36054"/>
                    <a:pt x="0" y="34013"/>
                  </a:cubicBezTo>
                  <a:cubicBezTo>
                    <a:pt x="-1" y="33609"/>
                    <a:pt x="65" y="33208"/>
                    <a:pt x="193" y="32826"/>
                  </a:cubicBezTo>
                  <a:lnTo>
                    <a:pt x="9852" y="2547"/>
                  </a:lnTo>
                  <a:cubicBezTo>
                    <a:pt x="10348" y="1029"/>
                    <a:pt x="11764" y="1"/>
                    <a:pt x="13361" y="0"/>
                  </a:cubicBezTo>
                  <a:lnTo>
                    <a:pt x="38547" y="0"/>
                  </a:lnTo>
                  <a:cubicBezTo>
                    <a:pt x="40092" y="0"/>
                    <a:pt x="41471" y="969"/>
                    <a:pt x="41994" y="2422"/>
                  </a:cubicBezTo>
                  <a:lnTo>
                    <a:pt x="52802" y="32701"/>
                  </a:lnTo>
                  <a:cubicBezTo>
                    <a:pt x="53203" y="33828"/>
                    <a:pt x="53029" y="35081"/>
                    <a:pt x="52336" y="36055"/>
                  </a:cubicBezTo>
                  <a:cubicBezTo>
                    <a:pt x="51680" y="37069"/>
                    <a:pt x="50561" y="37687"/>
                    <a:pt x="49354" y="37701"/>
                  </a:cubicBezTo>
                  <a:close/>
                  <a:moveTo>
                    <a:pt x="8703" y="30372"/>
                  </a:moveTo>
                  <a:lnTo>
                    <a:pt x="44137" y="30372"/>
                  </a:lnTo>
                  <a:lnTo>
                    <a:pt x="35969" y="7422"/>
                  </a:lnTo>
                  <a:lnTo>
                    <a:pt x="16032" y="7422"/>
                  </a:ln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7C1F1B7C-9B71-E648-8228-1397252E79E2}"/>
                </a:ext>
              </a:extLst>
            </p:cNvPr>
            <p:cNvSpPr/>
            <p:nvPr/>
          </p:nvSpPr>
          <p:spPr>
            <a:xfrm>
              <a:off x="7014430" y="2232384"/>
              <a:ext cx="53912" cy="53912"/>
            </a:xfrm>
            <a:custGeom>
              <a:avLst/>
              <a:gdLst>
                <a:gd name="connsiteX0" fmla="*/ 50248 w 53912"/>
                <a:gd name="connsiteY0" fmla="*/ 53912 h 53912"/>
                <a:gd name="connsiteX1" fmla="*/ 3665 w 53912"/>
                <a:gd name="connsiteY1" fmla="*/ 53912 h 53912"/>
                <a:gd name="connsiteX2" fmla="*/ 0 w 53912"/>
                <a:gd name="connsiteY2" fmla="*/ 50248 h 53912"/>
                <a:gd name="connsiteX3" fmla="*/ 0 w 53912"/>
                <a:gd name="connsiteY3" fmla="*/ 3665 h 53912"/>
                <a:gd name="connsiteX4" fmla="*/ 3665 w 53912"/>
                <a:gd name="connsiteY4" fmla="*/ 0 h 53912"/>
                <a:gd name="connsiteX5" fmla="*/ 50248 w 53912"/>
                <a:gd name="connsiteY5" fmla="*/ 0 h 53912"/>
                <a:gd name="connsiteX6" fmla="*/ 53912 w 53912"/>
                <a:gd name="connsiteY6" fmla="*/ 3665 h 53912"/>
                <a:gd name="connsiteX7" fmla="*/ 53912 w 53912"/>
                <a:gd name="connsiteY7" fmla="*/ 50248 h 53912"/>
                <a:gd name="connsiteX8" fmla="*/ 50248 w 53912"/>
                <a:gd name="connsiteY8" fmla="*/ 53912 h 53912"/>
                <a:gd name="connsiteX9" fmla="*/ 7329 w 53912"/>
                <a:gd name="connsiteY9" fmla="*/ 46583 h 53912"/>
                <a:gd name="connsiteX10" fmla="*/ 46583 w 53912"/>
                <a:gd name="connsiteY10" fmla="*/ 46583 h 53912"/>
                <a:gd name="connsiteX11" fmla="*/ 46583 w 53912"/>
                <a:gd name="connsiteY11" fmla="*/ 7329 h 53912"/>
                <a:gd name="connsiteX12" fmla="*/ 7329 w 53912"/>
                <a:gd name="connsiteY12" fmla="*/ 7329 h 5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912" h="53912">
                  <a:moveTo>
                    <a:pt x="50248" y="53912"/>
                  </a:moveTo>
                  <a:lnTo>
                    <a:pt x="3665" y="53912"/>
                  </a:lnTo>
                  <a:cubicBezTo>
                    <a:pt x="1641" y="53912"/>
                    <a:pt x="0" y="52272"/>
                    <a:pt x="0" y="50248"/>
                  </a:cubicBezTo>
                  <a:lnTo>
                    <a:pt x="0" y="3665"/>
                  </a:lnTo>
                  <a:cubicBezTo>
                    <a:pt x="0" y="1641"/>
                    <a:pt x="1641" y="0"/>
                    <a:pt x="3665" y="0"/>
                  </a:cubicBezTo>
                  <a:lnTo>
                    <a:pt x="50248" y="0"/>
                  </a:lnTo>
                  <a:cubicBezTo>
                    <a:pt x="52272" y="0"/>
                    <a:pt x="53912" y="1641"/>
                    <a:pt x="53912" y="3665"/>
                  </a:cubicBezTo>
                  <a:lnTo>
                    <a:pt x="53912" y="50248"/>
                  </a:lnTo>
                  <a:cubicBezTo>
                    <a:pt x="53912" y="52272"/>
                    <a:pt x="52272" y="53912"/>
                    <a:pt x="50248" y="53912"/>
                  </a:cubicBezTo>
                  <a:close/>
                  <a:moveTo>
                    <a:pt x="7329" y="46583"/>
                  </a:moveTo>
                  <a:lnTo>
                    <a:pt x="46583" y="46583"/>
                  </a:lnTo>
                  <a:lnTo>
                    <a:pt x="46583" y="7329"/>
                  </a:lnTo>
                  <a:lnTo>
                    <a:pt x="7329" y="7329"/>
                  </a:ln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FC405050-B70D-E54D-8389-08B742F60424}"/>
                </a:ext>
              </a:extLst>
            </p:cNvPr>
            <p:cNvSpPr/>
            <p:nvPr/>
          </p:nvSpPr>
          <p:spPr>
            <a:xfrm>
              <a:off x="7023933" y="2190272"/>
              <a:ext cx="33508" cy="19161"/>
            </a:xfrm>
            <a:custGeom>
              <a:avLst/>
              <a:gdLst>
                <a:gd name="connsiteX0" fmla="*/ 29844 w 33508"/>
                <a:gd name="connsiteY0" fmla="*/ 19161 h 19161"/>
                <a:gd name="connsiteX1" fmla="*/ 3696 w 33508"/>
                <a:gd name="connsiteY1" fmla="*/ 19161 h 19161"/>
                <a:gd name="connsiteX2" fmla="*/ 0 w 33508"/>
                <a:gd name="connsiteY2" fmla="*/ 15528 h 19161"/>
                <a:gd name="connsiteX3" fmla="*/ 0 w 33508"/>
                <a:gd name="connsiteY3" fmla="*/ 15497 h 19161"/>
                <a:gd name="connsiteX4" fmla="*/ 0 w 33508"/>
                <a:gd name="connsiteY4" fmla="*/ 3665 h 19161"/>
                <a:gd name="connsiteX5" fmla="*/ 3664 w 33508"/>
                <a:gd name="connsiteY5" fmla="*/ 0 h 19161"/>
                <a:gd name="connsiteX6" fmla="*/ 3696 w 33508"/>
                <a:gd name="connsiteY6" fmla="*/ 0 h 19161"/>
                <a:gd name="connsiteX7" fmla="*/ 29844 w 33508"/>
                <a:gd name="connsiteY7" fmla="*/ 0 h 19161"/>
                <a:gd name="connsiteX8" fmla="*/ 33509 w 33508"/>
                <a:gd name="connsiteY8" fmla="*/ 3665 h 19161"/>
                <a:gd name="connsiteX9" fmla="*/ 33509 w 33508"/>
                <a:gd name="connsiteY9" fmla="*/ 15497 h 19161"/>
                <a:gd name="connsiteX10" fmla="*/ 29844 w 33508"/>
                <a:gd name="connsiteY10" fmla="*/ 19161 h 19161"/>
                <a:gd name="connsiteX11" fmla="*/ 7360 w 33508"/>
                <a:gd name="connsiteY11" fmla="*/ 11832 h 19161"/>
                <a:gd name="connsiteX12" fmla="*/ 26180 w 33508"/>
                <a:gd name="connsiteY12" fmla="*/ 11832 h 19161"/>
                <a:gd name="connsiteX13" fmla="*/ 26180 w 33508"/>
                <a:gd name="connsiteY13" fmla="*/ 7298 h 19161"/>
                <a:gd name="connsiteX14" fmla="*/ 7360 w 33508"/>
                <a:gd name="connsiteY14" fmla="*/ 7298 h 19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08" h="19161">
                  <a:moveTo>
                    <a:pt x="29844" y="19161"/>
                  </a:moveTo>
                  <a:lnTo>
                    <a:pt x="3696" y="19161"/>
                  </a:lnTo>
                  <a:cubicBezTo>
                    <a:pt x="1672" y="19179"/>
                    <a:pt x="17" y="17552"/>
                    <a:pt x="0" y="15528"/>
                  </a:cubicBezTo>
                  <a:cubicBezTo>
                    <a:pt x="0" y="15518"/>
                    <a:pt x="0" y="15507"/>
                    <a:pt x="0" y="15497"/>
                  </a:cubicBezTo>
                  <a:lnTo>
                    <a:pt x="0" y="3665"/>
                  </a:lnTo>
                  <a:cubicBezTo>
                    <a:pt x="0" y="1641"/>
                    <a:pt x="1641" y="0"/>
                    <a:pt x="3664" y="0"/>
                  </a:cubicBezTo>
                  <a:cubicBezTo>
                    <a:pt x="3675" y="0"/>
                    <a:pt x="3685" y="0"/>
                    <a:pt x="3696" y="0"/>
                  </a:cubicBezTo>
                  <a:lnTo>
                    <a:pt x="29844" y="0"/>
                  </a:lnTo>
                  <a:cubicBezTo>
                    <a:pt x="31868" y="0"/>
                    <a:pt x="33509" y="1641"/>
                    <a:pt x="33509" y="3665"/>
                  </a:cubicBezTo>
                  <a:lnTo>
                    <a:pt x="33509" y="15497"/>
                  </a:lnTo>
                  <a:cubicBezTo>
                    <a:pt x="33509" y="17521"/>
                    <a:pt x="31868" y="19161"/>
                    <a:pt x="29844" y="19161"/>
                  </a:cubicBezTo>
                  <a:close/>
                  <a:moveTo>
                    <a:pt x="7360" y="11832"/>
                  </a:moveTo>
                  <a:lnTo>
                    <a:pt x="26180" y="11832"/>
                  </a:lnTo>
                  <a:lnTo>
                    <a:pt x="26180" y="7298"/>
                  </a:lnTo>
                  <a:lnTo>
                    <a:pt x="7360" y="7298"/>
                  </a:ln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0B484F9D-5A85-1049-A087-18F09877C624}"/>
                </a:ext>
              </a:extLst>
            </p:cNvPr>
            <p:cNvSpPr/>
            <p:nvPr/>
          </p:nvSpPr>
          <p:spPr>
            <a:xfrm>
              <a:off x="7036614" y="2036948"/>
              <a:ext cx="165484" cy="177672"/>
            </a:xfrm>
            <a:custGeom>
              <a:avLst/>
              <a:gdLst>
                <a:gd name="connsiteX0" fmla="*/ 165423 w 165484"/>
                <a:gd name="connsiteY0" fmla="*/ 174815 h 177672"/>
                <a:gd name="connsiteX1" fmla="*/ 164833 w 165484"/>
                <a:gd name="connsiteY1" fmla="*/ 159288 h 177672"/>
                <a:gd name="connsiteX2" fmla="*/ 164833 w 165484"/>
                <a:gd name="connsiteY2" fmla="*/ 108916 h 177672"/>
                <a:gd name="connsiteX3" fmla="*/ 163063 w 165484"/>
                <a:gd name="connsiteY3" fmla="*/ 64071 h 177672"/>
                <a:gd name="connsiteX4" fmla="*/ 79669 w 165484"/>
                <a:gd name="connsiteY4" fmla="*/ 688 h 177672"/>
                <a:gd name="connsiteX5" fmla="*/ 48809 w 165484"/>
                <a:gd name="connsiteY5" fmla="*/ 12302 h 177672"/>
                <a:gd name="connsiteX6" fmla="*/ 45176 w 165484"/>
                <a:gd name="connsiteY6" fmla="*/ 14258 h 177672"/>
                <a:gd name="connsiteX7" fmla="*/ 332 w 165484"/>
                <a:gd name="connsiteY7" fmla="*/ 89506 h 177672"/>
                <a:gd name="connsiteX8" fmla="*/ 1543 w 165484"/>
                <a:gd name="connsiteY8" fmla="*/ 115593 h 177672"/>
                <a:gd name="connsiteX9" fmla="*/ 1201 w 165484"/>
                <a:gd name="connsiteY9" fmla="*/ 158542 h 177672"/>
                <a:gd name="connsiteX10" fmla="*/ 6294 w 165484"/>
                <a:gd name="connsiteY10" fmla="*/ 158822 h 177672"/>
                <a:gd name="connsiteX11" fmla="*/ 6294 w 165484"/>
                <a:gd name="connsiteY11" fmla="*/ 127922 h 177672"/>
                <a:gd name="connsiteX12" fmla="*/ 7630 w 165484"/>
                <a:gd name="connsiteY12" fmla="*/ 129568 h 177672"/>
                <a:gd name="connsiteX13" fmla="*/ 105544 w 165484"/>
                <a:gd name="connsiteY13" fmla="*/ 166532 h 177672"/>
                <a:gd name="connsiteX14" fmla="*/ 124678 w 165484"/>
                <a:gd name="connsiteY14" fmla="*/ 154008 h 177672"/>
                <a:gd name="connsiteX15" fmla="*/ 127784 w 165484"/>
                <a:gd name="connsiteY15" fmla="*/ 151772 h 177672"/>
                <a:gd name="connsiteX16" fmla="*/ 157566 w 165484"/>
                <a:gd name="connsiteY16" fmla="*/ 118853 h 177672"/>
                <a:gd name="connsiteX17" fmla="*/ 159274 w 165484"/>
                <a:gd name="connsiteY17" fmla="*/ 116307 h 177672"/>
                <a:gd name="connsiteX18" fmla="*/ 159274 w 165484"/>
                <a:gd name="connsiteY18" fmla="*/ 177673 h 177672"/>
                <a:gd name="connsiteX19" fmla="*/ 165485 w 165484"/>
                <a:gd name="connsiteY19" fmla="*/ 177673 h 177672"/>
                <a:gd name="connsiteX20" fmla="*/ 165423 w 165484"/>
                <a:gd name="connsiteY20" fmla="*/ 174815 h 177672"/>
                <a:gd name="connsiteX21" fmla="*/ 152535 w 165484"/>
                <a:gd name="connsiteY21" fmla="*/ 46494 h 177672"/>
                <a:gd name="connsiteX22" fmla="*/ 148218 w 165484"/>
                <a:gd name="connsiteY22" fmla="*/ 40842 h 177672"/>
                <a:gd name="connsiteX23" fmla="*/ 106728 w 165484"/>
                <a:gd name="connsiteY23" fmla="*/ 15345 h 177672"/>
                <a:gd name="connsiteX24" fmla="*/ 92318 w 165484"/>
                <a:gd name="connsiteY24" fmla="*/ 10811 h 177672"/>
                <a:gd name="connsiteX25" fmla="*/ 71449 w 165484"/>
                <a:gd name="connsiteY25" fmla="*/ 7861 h 177672"/>
                <a:gd name="connsiteX26" fmla="*/ 152535 w 165484"/>
                <a:gd name="connsiteY26" fmla="*/ 46494 h 177672"/>
                <a:gd name="connsiteX27" fmla="*/ 91480 w 165484"/>
                <a:gd name="connsiteY27" fmla="*/ 142890 h 177672"/>
                <a:gd name="connsiteX28" fmla="*/ 37226 w 165484"/>
                <a:gd name="connsiteY28" fmla="*/ 118450 h 177672"/>
                <a:gd name="connsiteX29" fmla="*/ 29586 w 165484"/>
                <a:gd name="connsiteY29" fmla="*/ 108077 h 177672"/>
                <a:gd name="connsiteX30" fmla="*/ 24897 w 165484"/>
                <a:gd name="connsiteY30" fmla="*/ 67984 h 177672"/>
                <a:gd name="connsiteX31" fmla="*/ 33965 w 165484"/>
                <a:gd name="connsiteY31" fmla="*/ 48916 h 177672"/>
                <a:gd name="connsiteX32" fmla="*/ 59710 w 165484"/>
                <a:gd name="connsiteY32" fmla="*/ 31929 h 177672"/>
                <a:gd name="connsiteX33" fmla="*/ 141945 w 165484"/>
                <a:gd name="connsiteY33" fmla="*/ 83419 h 177672"/>
                <a:gd name="connsiteX34" fmla="*/ 141417 w 165484"/>
                <a:gd name="connsiteY34" fmla="*/ 95655 h 177672"/>
                <a:gd name="connsiteX35" fmla="*/ 115454 w 165484"/>
                <a:gd name="connsiteY35" fmla="*/ 137021 h 177672"/>
                <a:gd name="connsiteX36" fmla="*/ 104212 w 165484"/>
                <a:gd name="connsiteY36" fmla="*/ 141151 h 177672"/>
                <a:gd name="connsiteX37" fmla="*/ 91480 w 165484"/>
                <a:gd name="connsiteY37" fmla="*/ 142890 h 177672"/>
                <a:gd name="connsiteX38" fmla="*/ 93250 w 165484"/>
                <a:gd name="connsiteY38" fmla="*/ 148201 h 177672"/>
                <a:gd name="connsiteX39" fmla="*/ 69120 w 165484"/>
                <a:gd name="connsiteY39" fmla="*/ 151120 h 177672"/>
                <a:gd name="connsiteX40" fmla="*/ 54244 w 165484"/>
                <a:gd name="connsiteY40" fmla="*/ 146058 h 177672"/>
                <a:gd name="connsiteX41" fmla="*/ 28996 w 165484"/>
                <a:gd name="connsiteY41" fmla="*/ 118108 h 177672"/>
                <a:gd name="connsiteX42" fmla="*/ 28095 w 165484"/>
                <a:gd name="connsiteY42" fmla="*/ 116214 h 177672"/>
                <a:gd name="connsiteX43" fmla="*/ 93374 w 165484"/>
                <a:gd name="connsiteY43" fmla="*/ 148201 h 177672"/>
                <a:gd name="connsiteX44" fmla="*/ 59586 w 165484"/>
                <a:gd name="connsiteY44" fmla="*/ 26401 h 177672"/>
                <a:gd name="connsiteX45" fmla="*/ 86387 w 165484"/>
                <a:gd name="connsiteY45" fmla="*/ 19072 h 177672"/>
                <a:gd name="connsiteX46" fmla="*/ 100393 w 165484"/>
                <a:gd name="connsiteY46" fmla="*/ 19538 h 177672"/>
                <a:gd name="connsiteX47" fmla="*/ 104088 w 165484"/>
                <a:gd name="connsiteY47" fmla="*/ 20563 h 177672"/>
                <a:gd name="connsiteX48" fmla="*/ 139367 w 165484"/>
                <a:gd name="connsiteY48" fmla="*/ 60655 h 177672"/>
                <a:gd name="connsiteX49" fmla="*/ 139367 w 165484"/>
                <a:gd name="connsiteY49" fmla="*/ 61867 h 177672"/>
                <a:gd name="connsiteX50" fmla="*/ 59586 w 165484"/>
                <a:gd name="connsiteY50" fmla="*/ 26401 h 177672"/>
                <a:gd name="connsiteX51" fmla="*/ 31356 w 165484"/>
                <a:gd name="connsiteY51" fmla="*/ 37612 h 177672"/>
                <a:gd name="connsiteX52" fmla="*/ 37878 w 165484"/>
                <a:gd name="connsiteY52" fmla="*/ 28761 h 177672"/>
                <a:gd name="connsiteX53" fmla="*/ 66635 w 165484"/>
                <a:gd name="connsiteY53" fmla="*/ 14041 h 177672"/>
                <a:gd name="connsiteX54" fmla="*/ 80548 w 165484"/>
                <a:gd name="connsiteY54" fmla="*/ 14041 h 177672"/>
                <a:gd name="connsiteX55" fmla="*/ 65890 w 165484"/>
                <a:gd name="connsiteY55" fmla="*/ 18109 h 177672"/>
                <a:gd name="connsiteX56" fmla="*/ 43934 w 165484"/>
                <a:gd name="connsiteY56" fmla="*/ 30532 h 177672"/>
                <a:gd name="connsiteX57" fmla="*/ 30456 w 165484"/>
                <a:gd name="connsiteY57" fmla="*/ 39662 h 177672"/>
                <a:gd name="connsiteX58" fmla="*/ 31356 w 165484"/>
                <a:gd name="connsiteY58" fmla="*/ 37612 h 177672"/>
                <a:gd name="connsiteX59" fmla="*/ 29089 w 165484"/>
                <a:gd name="connsiteY59" fmla="*/ 30190 h 177672"/>
                <a:gd name="connsiteX60" fmla="*/ 19773 w 165484"/>
                <a:gd name="connsiteY60" fmla="*/ 49631 h 177672"/>
                <a:gd name="connsiteX61" fmla="*/ 19493 w 165484"/>
                <a:gd name="connsiteY61" fmla="*/ 50097 h 177672"/>
                <a:gd name="connsiteX62" fmla="*/ 6357 w 165484"/>
                <a:gd name="connsiteY62" fmla="*/ 70935 h 177672"/>
                <a:gd name="connsiteX63" fmla="*/ 29089 w 165484"/>
                <a:gd name="connsiteY63" fmla="*/ 30190 h 177672"/>
                <a:gd name="connsiteX64" fmla="*/ 6729 w 165484"/>
                <a:gd name="connsiteY64" fmla="*/ 96028 h 177672"/>
                <a:gd name="connsiteX65" fmla="*/ 8344 w 165484"/>
                <a:gd name="connsiteY65" fmla="*/ 82705 h 177672"/>
                <a:gd name="connsiteX66" fmla="*/ 16139 w 165484"/>
                <a:gd name="connsiteY66" fmla="*/ 64071 h 177672"/>
                <a:gd name="connsiteX67" fmla="*/ 18002 w 165484"/>
                <a:gd name="connsiteY67" fmla="*/ 100251 h 177672"/>
                <a:gd name="connsiteX68" fmla="*/ 39089 w 165484"/>
                <a:gd name="connsiteY68" fmla="*/ 140623 h 177672"/>
                <a:gd name="connsiteX69" fmla="*/ 40362 w 165484"/>
                <a:gd name="connsiteY69" fmla="*/ 141959 h 177672"/>
                <a:gd name="connsiteX70" fmla="*/ 40114 w 165484"/>
                <a:gd name="connsiteY70" fmla="*/ 142300 h 177672"/>
                <a:gd name="connsiteX71" fmla="*/ 35766 w 165484"/>
                <a:gd name="connsiteY71" fmla="*/ 139630 h 177672"/>
                <a:gd name="connsiteX72" fmla="*/ 17909 w 165484"/>
                <a:gd name="connsiteY72" fmla="*/ 122642 h 177672"/>
                <a:gd name="connsiteX73" fmla="*/ 6729 w 165484"/>
                <a:gd name="connsiteY73" fmla="*/ 96090 h 177672"/>
                <a:gd name="connsiteX74" fmla="*/ 9617 w 165484"/>
                <a:gd name="connsiteY74" fmla="*/ 119288 h 177672"/>
                <a:gd name="connsiteX75" fmla="*/ 15642 w 165484"/>
                <a:gd name="connsiteY75" fmla="*/ 127828 h 177672"/>
                <a:gd name="connsiteX76" fmla="*/ 57816 w 165484"/>
                <a:gd name="connsiteY76" fmla="*/ 154660 h 177672"/>
                <a:gd name="connsiteX77" fmla="*/ 72474 w 165484"/>
                <a:gd name="connsiteY77" fmla="*/ 159319 h 177672"/>
                <a:gd name="connsiteX78" fmla="*/ 106231 w 165484"/>
                <a:gd name="connsiteY78" fmla="*/ 160064 h 177672"/>
                <a:gd name="connsiteX79" fmla="*/ 14205 w 165484"/>
                <a:gd name="connsiteY79" fmla="*/ 130620 h 177672"/>
                <a:gd name="connsiteX80" fmla="*/ 9617 w 165484"/>
                <a:gd name="connsiteY80" fmla="*/ 119350 h 177672"/>
                <a:gd name="connsiteX81" fmla="*/ 117628 w 165484"/>
                <a:gd name="connsiteY81" fmla="*/ 151306 h 177672"/>
                <a:gd name="connsiteX82" fmla="*/ 84772 w 165484"/>
                <a:gd name="connsiteY82" fmla="*/ 156120 h 177672"/>
                <a:gd name="connsiteX83" fmla="*/ 110827 w 165484"/>
                <a:gd name="connsiteY83" fmla="*/ 146803 h 177672"/>
                <a:gd name="connsiteX84" fmla="*/ 135082 w 165484"/>
                <a:gd name="connsiteY84" fmla="*/ 133232 h 177672"/>
                <a:gd name="connsiteX85" fmla="*/ 117628 w 165484"/>
                <a:gd name="connsiteY85" fmla="*/ 151306 h 177672"/>
                <a:gd name="connsiteX86" fmla="*/ 133933 w 165484"/>
                <a:gd name="connsiteY86" fmla="*/ 126462 h 177672"/>
                <a:gd name="connsiteX87" fmla="*/ 142783 w 165484"/>
                <a:gd name="connsiteY87" fmla="*/ 110934 h 177672"/>
                <a:gd name="connsiteX88" fmla="*/ 133933 w 165484"/>
                <a:gd name="connsiteY88" fmla="*/ 126462 h 177672"/>
                <a:gd name="connsiteX89" fmla="*/ 140330 w 165484"/>
                <a:gd name="connsiteY89" fmla="*/ 135468 h 177672"/>
                <a:gd name="connsiteX90" fmla="*/ 157100 w 165484"/>
                <a:gd name="connsiteY90" fmla="*/ 105593 h 177672"/>
                <a:gd name="connsiteX91" fmla="*/ 140330 w 165484"/>
                <a:gd name="connsiteY91" fmla="*/ 135375 h 177672"/>
                <a:gd name="connsiteX92" fmla="*/ 156696 w 165484"/>
                <a:gd name="connsiteY92" fmla="*/ 89816 h 177672"/>
                <a:gd name="connsiteX93" fmla="*/ 149367 w 165484"/>
                <a:gd name="connsiteY93" fmla="*/ 108295 h 177672"/>
                <a:gd name="connsiteX94" fmla="*/ 148063 w 165484"/>
                <a:gd name="connsiteY94" fmla="*/ 86183 h 177672"/>
                <a:gd name="connsiteX95" fmla="*/ 146417 w 165484"/>
                <a:gd name="connsiteY95" fmla="*/ 67301 h 177672"/>
                <a:gd name="connsiteX96" fmla="*/ 125982 w 165484"/>
                <a:gd name="connsiteY96" fmla="*/ 29631 h 177672"/>
                <a:gd name="connsiteX97" fmla="*/ 124709 w 165484"/>
                <a:gd name="connsiteY97" fmla="*/ 28016 h 177672"/>
                <a:gd name="connsiteX98" fmla="*/ 145050 w 165484"/>
                <a:gd name="connsiteY98" fmla="*/ 45252 h 177672"/>
                <a:gd name="connsiteX99" fmla="*/ 157069 w 165484"/>
                <a:gd name="connsiteY99" fmla="*/ 68637 h 177672"/>
                <a:gd name="connsiteX100" fmla="*/ 156696 w 165484"/>
                <a:gd name="connsiteY100" fmla="*/ 89816 h 177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165484" h="177672">
                  <a:moveTo>
                    <a:pt x="165423" y="174815"/>
                  </a:moveTo>
                  <a:cubicBezTo>
                    <a:pt x="165205" y="169629"/>
                    <a:pt x="164864" y="164443"/>
                    <a:pt x="164833" y="159288"/>
                  </a:cubicBezTo>
                  <a:cubicBezTo>
                    <a:pt x="164833" y="142487"/>
                    <a:pt x="164833" y="125686"/>
                    <a:pt x="164833" y="108916"/>
                  </a:cubicBezTo>
                  <a:cubicBezTo>
                    <a:pt x="165332" y="93944"/>
                    <a:pt x="164740" y="78957"/>
                    <a:pt x="163063" y="64071"/>
                  </a:cubicBezTo>
                  <a:cubicBezTo>
                    <a:pt x="157537" y="23540"/>
                    <a:pt x="120201" y="-4838"/>
                    <a:pt x="79669" y="688"/>
                  </a:cubicBezTo>
                  <a:cubicBezTo>
                    <a:pt x="68641" y="2191"/>
                    <a:pt x="58093" y="6161"/>
                    <a:pt x="48809" y="12302"/>
                  </a:cubicBezTo>
                  <a:cubicBezTo>
                    <a:pt x="47667" y="13075"/>
                    <a:pt x="46450" y="13730"/>
                    <a:pt x="45176" y="14258"/>
                  </a:cubicBezTo>
                  <a:cubicBezTo>
                    <a:pt x="15429" y="26890"/>
                    <a:pt x="-2713" y="57332"/>
                    <a:pt x="332" y="89506"/>
                  </a:cubicBezTo>
                  <a:cubicBezTo>
                    <a:pt x="1108" y="98170"/>
                    <a:pt x="1512" y="106897"/>
                    <a:pt x="1543" y="115593"/>
                  </a:cubicBezTo>
                  <a:cubicBezTo>
                    <a:pt x="1543" y="131369"/>
                    <a:pt x="1326" y="142766"/>
                    <a:pt x="1201" y="158542"/>
                  </a:cubicBezTo>
                  <a:cubicBezTo>
                    <a:pt x="2832" y="157743"/>
                    <a:pt x="4761" y="157849"/>
                    <a:pt x="6294" y="158822"/>
                  </a:cubicBezTo>
                  <a:lnTo>
                    <a:pt x="6294" y="127922"/>
                  </a:lnTo>
                  <a:cubicBezTo>
                    <a:pt x="6910" y="128306"/>
                    <a:pt x="7380" y="128885"/>
                    <a:pt x="7630" y="129568"/>
                  </a:cubicBezTo>
                  <a:cubicBezTo>
                    <a:pt x="24461" y="166813"/>
                    <a:pt x="68298" y="183363"/>
                    <a:pt x="105544" y="166532"/>
                  </a:cubicBezTo>
                  <a:cubicBezTo>
                    <a:pt x="112532" y="163374"/>
                    <a:pt x="118987" y="159149"/>
                    <a:pt x="124678" y="154008"/>
                  </a:cubicBezTo>
                  <a:cubicBezTo>
                    <a:pt x="125641" y="153168"/>
                    <a:pt x="126681" y="152419"/>
                    <a:pt x="127784" y="151772"/>
                  </a:cubicBezTo>
                  <a:cubicBezTo>
                    <a:pt x="141004" y="144302"/>
                    <a:pt x="151452" y="132753"/>
                    <a:pt x="157566" y="118853"/>
                  </a:cubicBezTo>
                  <a:cubicBezTo>
                    <a:pt x="158070" y="117963"/>
                    <a:pt x="158641" y="117111"/>
                    <a:pt x="159274" y="116307"/>
                  </a:cubicBezTo>
                  <a:lnTo>
                    <a:pt x="159274" y="177673"/>
                  </a:lnTo>
                  <a:lnTo>
                    <a:pt x="165485" y="177673"/>
                  </a:lnTo>
                  <a:cubicBezTo>
                    <a:pt x="165423" y="176617"/>
                    <a:pt x="165454" y="175716"/>
                    <a:pt x="165423" y="174815"/>
                  </a:cubicBezTo>
                  <a:close/>
                  <a:moveTo>
                    <a:pt x="152535" y="46494"/>
                  </a:moveTo>
                  <a:cubicBezTo>
                    <a:pt x="150858" y="44289"/>
                    <a:pt x="149585" y="42519"/>
                    <a:pt x="148218" y="40842"/>
                  </a:cubicBezTo>
                  <a:cubicBezTo>
                    <a:pt x="137633" y="27937"/>
                    <a:pt x="123023" y="18959"/>
                    <a:pt x="106728" y="15345"/>
                  </a:cubicBezTo>
                  <a:cubicBezTo>
                    <a:pt x="101852" y="14196"/>
                    <a:pt x="97225" y="11774"/>
                    <a:pt x="92318" y="10811"/>
                  </a:cubicBezTo>
                  <a:cubicBezTo>
                    <a:pt x="85082" y="9352"/>
                    <a:pt x="77691" y="8700"/>
                    <a:pt x="71449" y="7861"/>
                  </a:cubicBezTo>
                  <a:cubicBezTo>
                    <a:pt x="104361" y="-1656"/>
                    <a:pt x="139191" y="14939"/>
                    <a:pt x="152535" y="46494"/>
                  </a:cubicBezTo>
                  <a:close/>
                  <a:moveTo>
                    <a:pt x="91480" y="142890"/>
                  </a:moveTo>
                  <a:cubicBezTo>
                    <a:pt x="70646" y="143284"/>
                    <a:pt x="50735" y="134314"/>
                    <a:pt x="37226" y="118450"/>
                  </a:cubicBezTo>
                  <a:cubicBezTo>
                    <a:pt x="34352" y="115245"/>
                    <a:pt x="31794" y="111772"/>
                    <a:pt x="29586" y="108077"/>
                  </a:cubicBezTo>
                  <a:cubicBezTo>
                    <a:pt x="21780" y="96203"/>
                    <a:pt x="20042" y="81339"/>
                    <a:pt x="24897" y="67984"/>
                  </a:cubicBezTo>
                  <a:cubicBezTo>
                    <a:pt x="27470" y="61424"/>
                    <a:pt x="30500" y="55053"/>
                    <a:pt x="33965" y="48916"/>
                  </a:cubicBezTo>
                  <a:cubicBezTo>
                    <a:pt x="39509" y="39627"/>
                    <a:pt x="48988" y="33372"/>
                    <a:pt x="59710" y="31929"/>
                  </a:cubicBezTo>
                  <a:cubicBezTo>
                    <a:pt x="96613" y="23581"/>
                    <a:pt x="133337" y="46576"/>
                    <a:pt x="141945" y="83419"/>
                  </a:cubicBezTo>
                  <a:cubicBezTo>
                    <a:pt x="142559" y="87494"/>
                    <a:pt x="142379" y="91648"/>
                    <a:pt x="141417" y="95655"/>
                  </a:cubicBezTo>
                  <a:cubicBezTo>
                    <a:pt x="138478" y="112298"/>
                    <a:pt x="129164" y="127138"/>
                    <a:pt x="115454" y="137021"/>
                  </a:cubicBezTo>
                  <a:cubicBezTo>
                    <a:pt x="112016" y="139126"/>
                    <a:pt x="108196" y="140529"/>
                    <a:pt x="104212" y="141151"/>
                  </a:cubicBezTo>
                  <a:cubicBezTo>
                    <a:pt x="100000" y="141944"/>
                    <a:pt x="95750" y="142524"/>
                    <a:pt x="91480" y="142890"/>
                  </a:cubicBezTo>
                  <a:close/>
                  <a:moveTo>
                    <a:pt x="93250" y="148201"/>
                  </a:moveTo>
                  <a:cubicBezTo>
                    <a:pt x="85449" y="150625"/>
                    <a:pt x="77273" y="151614"/>
                    <a:pt x="69120" y="151120"/>
                  </a:cubicBezTo>
                  <a:cubicBezTo>
                    <a:pt x="63789" y="150837"/>
                    <a:pt x="58641" y="149085"/>
                    <a:pt x="54244" y="146058"/>
                  </a:cubicBezTo>
                  <a:cubicBezTo>
                    <a:pt x="43414" y="139245"/>
                    <a:pt x="34676" y="129573"/>
                    <a:pt x="28996" y="118108"/>
                  </a:cubicBezTo>
                  <a:lnTo>
                    <a:pt x="28095" y="116214"/>
                  </a:lnTo>
                  <a:cubicBezTo>
                    <a:pt x="43048" y="137227"/>
                    <a:pt x="67606" y="149260"/>
                    <a:pt x="93374" y="148201"/>
                  </a:cubicBezTo>
                  <a:close/>
                  <a:moveTo>
                    <a:pt x="59586" y="26401"/>
                  </a:moveTo>
                  <a:cubicBezTo>
                    <a:pt x="67882" y="22044"/>
                    <a:pt x="77027" y="19543"/>
                    <a:pt x="86387" y="19072"/>
                  </a:cubicBezTo>
                  <a:cubicBezTo>
                    <a:pt x="91045" y="18855"/>
                    <a:pt x="95703" y="19289"/>
                    <a:pt x="100393" y="19538"/>
                  </a:cubicBezTo>
                  <a:cubicBezTo>
                    <a:pt x="101678" y="19644"/>
                    <a:pt x="102932" y="19992"/>
                    <a:pt x="104088" y="20563"/>
                  </a:cubicBezTo>
                  <a:cubicBezTo>
                    <a:pt x="120800" y="28587"/>
                    <a:pt x="133534" y="43058"/>
                    <a:pt x="139367" y="60655"/>
                  </a:cubicBezTo>
                  <a:cubicBezTo>
                    <a:pt x="139391" y="61059"/>
                    <a:pt x="139391" y="61463"/>
                    <a:pt x="139367" y="61867"/>
                  </a:cubicBezTo>
                  <a:cubicBezTo>
                    <a:pt x="122999" y="34307"/>
                    <a:pt x="91012" y="20087"/>
                    <a:pt x="59586" y="26401"/>
                  </a:cubicBezTo>
                  <a:close/>
                  <a:moveTo>
                    <a:pt x="31356" y="37612"/>
                  </a:moveTo>
                  <a:cubicBezTo>
                    <a:pt x="33427" y="34631"/>
                    <a:pt x="35600" y="31681"/>
                    <a:pt x="37878" y="28761"/>
                  </a:cubicBezTo>
                  <a:cubicBezTo>
                    <a:pt x="44657" y="19655"/>
                    <a:pt x="55284" y="14216"/>
                    <a:pt x="66635" y="14041"/>
                  </a:cubicBezTo>
                  <a:cubicBezTo>
                    <a:pt x="71169" y="13762"/>
                    <a:pt x="75766" y="14041"/>
                    <a:pt x="80548" y="14041"/>
                  </a:cubicBezTo>
                  <a:cubicBezTo>
                    <a:pt x="75548" y="15408"/>
                    <a:pt x="70641" y="16526"/>
                    <a:pt x="65890" y="18109"/>
                  </a:cubicBezTo>
                  <a:cubicBezTo>
                    <a:pt x="57910" y="20953"/>
                    <a:pt x="50482" y="25156"/>
                    <a:pt x="43934" y="30532"/>
                  </a:cubicBezTo>
                  <a:cubicBezTo>
                    <a:pt x="39683" y="33917"/>
                    <a:pt x="35177" y="36970"/>
                    <a:pt x="30456" y="39662"/>
                  </a:cubicBezTo>
                  <a:cubicBezTo>
                    <a:pt x="30705" y="38957"/>
                    <a:pt x="31006" y="38272"/>
                    <a:pt x="31356" y="37612"/>
                  </a:cubicBezTo>
                  <a:close/>
                  <a:moveTo>
                    <a:pt x="29089" y="30190"/>
                  </a:moveTo>
                  <a:lnTo>
                    <a:pt x="19773" y="49631"/>
                  </a:lnTo>
                  <a:lnTo>
                    <a:pt x="19493" y="50097"/>
                  </a:lnTo>
                  <a:cubicBezTo>
                    <a:pt x="14128" y="56369"/>
                    <a:pt x="9703" y="63389"/>
                    <a:pt x="6357" y="70935"/>
                  </a:cubicBezTo>
                  <a:cubicBezTo>
                    <a:pt x="8833" y="55077"/>
                    <a:pt x="16895" y="40626"/>
                    <a:pt x="29089" y="30190"/>
                  </a:cubicBezTo>
                  <a:close/>
                  <a:moveTo>
                    <a:pt x="6729" y="96028"/>
                  </a:moveTo>
                  <a:cubicBezTo>
                    <a:pt x="6664" y="91534"/>
                    <a:pt x="7208" y="87053"/>
                    <a:pt x="8344" y="82705"/>
                  </a:cubicBezTo>
                  <a:cubicBezTo>
                    <a:pt x="9749" y="76059"/>
                    <a:pt x="12393" y="69738"/>
                    <a:pt x="16139" y="64071"/>
                  </a:cubicBezTo>
                  <a:cubicBezTo>
                    <a:pt x="15279" y="76162"/>
                    <a:pt x="15905" y="88313"/>
                    <a:pt x="18002" y="100251"/>
                  </a:cubicBezTo>
                  <a:cubicBezTo>
                    <a:pt x="20332" y="115684"/>
                    <a:pt x="27754" y="129894"/>
                    <a:pt x="39089" y="140623"/>
                  </a:cubicBezTo>
                  <a:lnTo>
                    <a:pt x="40362" y="141959"/>
                  </a:lnTo>
                  <a:lnTo>
                    <a:pt x="40114" y="142300"/>
                  </a:lnTo>
                  <a:cubicBezTo>
                    <a:pt x="38654" y="141400"/>
                    <a:pt x="37008" y="140592"/>
                    <a:pt x="35766" y="139630"/>
                  </a:cubicBezTo>
                  <a:cubicBezTo>
                    <a:pt x="28773" y="135173"/>
                    <a:pt x="22709" y="129404"/>
                    <a:pt x="17909" y="122642"/>
                  </a:cubicBezTo>
                  <a:cubicBezTo>
                    <a:pt x="11985" y="114886"/>
                    <a:pt x="8138" y="105747"/>
                    <a:pt x="6729" y="96090"/>
                  </a:cubicBezTo>
                  <a:close/>
                  <a:moveTo>
                    <a:pt x="9617" y="119288"/>
                  </a:moveTo>
                  <a:cubicBezTo>
                    <a:pt x="11636" y="122176"/>
                    <a:pt x="13499" y="125127"/>
                    <a:pt x="15642" y="127828"/>
                  </a:cubicBezTo>
                  <a:cubicBezTo>
                    <a:pt x="26177" y="141377"/>
                    <a:pt x="41079" y="150859"/>
                    <a:pt x="57816" y="154660"/>
                  </a:cubicBezTo>
                  <a:cubicBezTo>
                    <a:pt x="62784" y="155840"/>
                    <a:pt x="67536" y="158014"/>
                    <a:pt x="72474" y="159319"/>
                  </a:cubicBezTo>
                  <a:cubicBezTo>
                    <a:pt x="83514" y="162193"/>
                    <a:pt x="95074" y="162449"/>
                    <a:pt x="106231" y="160064"/>
                  </a:cubicBezTo>
                  <a:cubicBezTo>
                    <a:pt x="72688" y="177346"/>
                    <a:pt x="31486" y="164163"/>
                    <a:pt x="14205" y="130620"/>
                  </a:cubicBezTo>
                  <a:cubicBezTo>
                    <a:pt x="12343" y="127007"/>
                    <a:pt x="10808" y="123236"/>
                    <a:pt x="9617" y="119350"/>
                  </a:cubicBezTo>
                  <a:close/>
                  <a:moveTo>
                    <a:pt x="117628" y="151306"/>
                  </a:moveTo>
                  <a:cubicBezTo>
                    <a:pt x="107230" y="155555"/>
                    <a:pt x="95952" y="157208"/>
                    <a:pt x="84772" y="156120"/>
                  </a:cubicBezTo>
                  <a:cubicBezTo>
                    <a:pt x="93916" y="154490"/>
                    <a:pt x="102723" y="151341"/>
                    <a:pt x="110827" y="146803"/>
                  </a:cubicBezTo>
                  <a:cubicBezTo>
                    <a:pt x="118777" y="142300"/>
                    <a:pt x="126759" y="137890"/>
                    <a:pt x="135082" y="133232"/>
                  </a:cubicBezTo>
                  <a:cubicBezTo>
                    <a:pt x="130144" y="140251"/>
                    <a:pt x="126231" y="147766"/>
                    <a:pt x="117628" y="151306"/>
                  </a:cubicBezTo>
                  <a:close/>
                  <a:moveTo>
                    <a:pt x="133933" y="126462"/>
                  </a:moveTo>
                  <a:lnTo>
                    <a:pt x="142783" y="110934"/>
                  </a:lnTo>
                  <a:cubicBezTo>
                    <a:pt x="142888" y="117338"/>
                    <a:pt x="139495" y="123289"/>
                    <a:pt x="133933" y="126462"/>
                  </a:cubicBezTo>
                  <a:close/>
                  <a:moveTo>
                    <a:pt x="140330" y="135468"/>
                  </a:moveTo>
                  <a:cubicBezTo>
                    <a:pt x="144783" y="124913"/>
                    <a:pt x="150408" y="114891"/>
                    <a:pt x="157100" y="105593"/>
                  </a:cubicBezTo>
                  <a:cubicBezTo>
                    <a:pt x="154231" y="116824"/>
                    <a:pt x="148445" y="127098"/>
                    <a:pt x="140330" y="135375"/>
                  </a:cubicBezTo>
                  <a:close/>
                  <a:moveTo>
                    <a:pt x="156696" y="89816"/>
                  </a:moveTo>
                  <a:cubicBezTo>
                    <a:pt x="155261" y="96329"/>
                    <a:pt x="152786" y="102569"/>
                    <a:pt x="149367" y="108295"/>
                  </a:cubicBezTo>
                  <a:cubicBezTo>
                    <a:pt x="148963" y="101152"/>
                    <a:pt x="148560" y="93667"/>
                    <a:pt x="148063" y="86183"/>
                  </a:cubicBezTo>
                  <a:cubicBezTo>
                    <a:pt x="147890" y="79862"/>
                    <a:pt x="147340" y="73557"/>
                    <a:pt x="146417" y="67301"/>
                  </a:cubicBezTo>
                  <a:cubicBezTo>
                    <a:pt x="143637" y="52943"/>
                    <a:pt x="136502" y="39790"/>
                    <a:pt x="125982" y="29631"/>
                  </a:cubicBezTo>
                  <a:cubicBezTo>
                    <a:pt x="125475" y="29164"/>
                    <a:pt x="125045" y="28619"/>
                    <a:pt x="124709" y="28016"/>
                  </a:cubicBezTo>
                  <a:cubicBezTo>
                    <a:pt x="132613" y="32287"/>
                    <a:pt x="139540" y="38156"/>
                    <a:pt x="145050" y="45252"/>
                  </a:cubicBezTo>
                  <a:cubicBezTo>
                    <a:pt x="150432" y="52259"/>
                    <a:pt x="154504" y="60181"/>
                    <a:pt x="157069" y="68637"/>
                  </a:cubicBezTo>
                  <a:cubicBezTo>
                    <a:pt x="158890" y="75597"/>
                    <a:pt x="158761" y="82924"/>
                    <a:pt x="156696" y="89816"/>
                  </a:cubicBez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4" name="Graphic 175">
            <a:extLst>
              <a:ext uri="{FF2B5EF4-FFF2-40B4-BE49-F238E27FC236}">
                <a16:creationId xmlns:a16="http://schemas.microsoft.com/office/drawing/2014/main" id="{E2F89D3F-D2BE-BE45-A227-58941577200D}"/>
              </a:ext>
            </a:extLst>
          </p:cNvPr>
          <p:cNvGrpSpPr/>
          <p:nvPr userDrawn="1"/>
        </p:nvGrpSpPr>
        <p:grpSpPr>
          <a:xfrm>
            <a:off x="7281264" y="2176702"/>
            <a:ext cx="325465" cy="325465"/>
            <a:chOff x="7281264" y="2176702"/>
            <a:chExt cx="325465" cy="325465"/>
          </a:xfrm>
        </p:grpSpPr>
        <p:sp>
          <p:nvSpPr>
            <p:cNvPr id="145" name="Freeform 144">
              <a:extLst>
                <a:ext uri="{FF2B5EF4-FFF2-40B4-BE49-F238E27FC236}">
                  <a16:creationId xmlns:a16="http://schemas.microsoft.com/office/drawing/2014/main" id="{A79AA5FF-07C8-6F4A-B95A-CB0DDC684737}"/>
                </a:ext>
              </a:extLst>
            </p:cNvPr>
            <p:cNvSpPr/>
            <p:nvPr/>
          </p:nvSpPr>
          <p:spPr>
            <a:xfrm>
              <a:off x="7379981" y="2294276"/>
              <a:ext cx="136329" cy="136410"/>
            </a:xfrm>
            <a:custGeom>
              <a:avLst/>
              <a:gdLst>
                <a:gd name="connsiteX0" fmla="*/ 122741 w 136329"/>
                <a:gd name="connsiteY0" fmla="*/ 84743 h 136410"/>
                <a:gd name="connsiteX1" fmla="*/ 91578 w 136329"/>
                <a:gd name="connsiteY1" fmla="*/ 84743 h 136410"/>
                <a:gd name="connsiteX2" fmla="*/ 84743 w 136329"/>
                <a:gd name="connsiteY2" fmla="*/ 91537 h 136410"/>
                <a:gd name="connsiteX3" fmla="*/ 84743 w 136329"/>
                <a:gd name="connsiteY3" fmla="*/ 91578 h 136410"/>
                <a:gd name="connsiteX4" fmla="*/ 84743 w 136329"/>
                <a:gd name="connsiteY4" fmla="*/ 122741 h 136410"/>
                <a:gd name="connsiteX5" fmla="*/ 51586 w 136329"/>
                <a:gd name="connsiteY5" fmla="*/ 122741 h 136410"/>
                <a:gd name="connsiteX6" fmla="*/ 51586 w 136329"/>
                <a:gd name="connsiteY6" fmla="*/ 91578 h 136410"/>
                <a:gd name="connsiteX7" fmla="*/ 44792 w 136329"/>
                <a:gd name="connsiteY7" fmla="*/ 84743 h 136410"/>
                <a:gd name="connsiteX8" fmla="*/ 44772 w 136329"/>
                <a:gd name="connsiteY8" fmla="*/ 84743 h 136410"/>
                <a:gd name="connsiteX9" fmla="*/ 13608 w 136329"/>
                <a:gd name="connsiteY9" fmla="*/ 84743 h 136410"/>
                <a:gd name="connsiteX10" fmla="*/ 13608 w 136329"/>
                <a:gd name="connsiteY10" fmla="*/ 51647 h 136410"/>
                <a:gd name="connsiteX11" fmla="*/ 44772 w 136329"/>
                <a:gd name="connsiteY11" fmla="*/ 51647 h 136410"/>
                <a:gd name="connsiteX12" fmla="*/ 51586 w 136329"/>
                <a:gd name="connsiteY12" fmla="*/ 44833 h 136410"/>
                <a:gd name="connsiteX13" fmla="*/ 51586 w 136329"/>
                <a:gd name="connsiteY13" fmla="*/ 13588 h 136410"/>
                <a:gd name="connsiteX14" fmla="*/ 84682 w 136329"/>
                <a:gd name="connsiteY14" fmla="*/ 13588 h 136410"/>
                <a:gd name="connsiteX15" fmla="*/ 84682 w 136329"/>
                <a:gd name="connsiteY15" fmla="*/ 44751 h 136410"/>
                <a:gd name="connsiteX16" fmla="*/ 91476 w 136329"/>
                <a:gd name="connsiteY16" fmla="*/ 51586 h 136410"/>
                <a:gd name="connsiteX17" fmla="*/ 91496 w 136329"/>
                <a:gd name="connsiteY17" fmla="*/ 51586 h 136410"/>
                <a:gd name="connsiteX18" fmla="*/ 122741 w 136329"/>
                <a:gd name="connsiteY18" fmla="*/ 51586 h 136410"/>
                <a:gd name="connsiteX19" fmla="*/ 126219 w 136329"/>
                <a:gd name="connsiteY19" fmla="*/ 37957 h 136410"/>
                <a:gd name="connsiteX20" fmla="*/ 98392 w 136329"/>
                <a:gd name="connsiteY20" fmla="*/ 37957 h 136410"/>
                <a:gd name="connsiteX21" fmla="*/ 98392 w 136329"/>
                <a:gd name="connsiteY21" fmla="*/ 10171 h 136410"/>
                <a:gd name="connsiteX22" fmla="*/ 88221 w 136329"/>
                <a:gd name="connsiteY22" fmla="*/ 0 h 136410"/>
                <a:gd name="connsiteX23" fmla="*/ 48108 w 136329"/>
                <a:gd name="connsiteY23" fmla="*/ 0 h 136410"/>
                <a:gd name="connsiteX24" fmla="*/ 37937 w 136329"/>
                <a:gd name="connsiteY24" fmla="*/ 10171 h 136410"/>
                <a:gd name="connsiteX25" fmla="*/ 37937 w 136329"/>
                <a:gd name="connsiteY25" fmla="*/ 37937 h 136410"/>
                <a:gd name="connsiteX26" fmla="*/ 10171 w 136329"/>
                <a:gd name="connsiteY26" fmla="*/ 37937 h 136410"/>
                <a:gd name="connsiteX27" fmla="*/ 0 w 136329"/>
                <a:gd name="connsiteY27" fmla="*/ 48108 h 136410"/>
                <a:gd name="connsiteX28" fmla="*/ 0 w 136329"/>
                <a:gd name="connsiteY28" fmla="*/ 88282 h 136410"/>
                <a:gd name="connsiteX29" fmla="*/ 10171 w 136329"/>
                <a:gd name="connsiteY29" fmla="*/ 98453 h 136410"/>
                <a:gd name="connsiteX30" fmla="*/ 37957 w 136329"/>
                <a:gd name="connsiteY30" fmla="*/ 98453 h 136410"/>
                <a:gd name="connsiteX31" fmla="*/ 37957 w 136329"/>
                <a:gd name="connsiteY31" fmla="*/ 126240 h 136410"/>
                <a:gd name="connsiteX32" fmla="*/ 48128 w 136329"/>
                <a:gd name="connsiteY32" fmla="*/ 136411 h 136410"/>
                <a:gd name="connsiteX33" fmla="*/ 88160 w 136329"/>
                <a:gd name="connsiteY33" fmla="*/ 136411 h 136410"/>
                <a:gd name="connsiteX34" fmla="*/ 98331 w 136329"/>
                <a:gd name="connsiteY34" fmla="*/ 126240 h 136410"/>
                <a:gd name="connsiteX35" fmla="*/ 98331 w 136329"/>
                <a:gd name="connsiteY35" fmla="*/ 98372 h 136410"/>
                <a:gd name="connsiteX36" fmla="*/ 126158 w 136329"/>
                <a:gd name="connsiteY36" fmla="*/ 98372 h 136410"/>
                <a:gd name="connsiteX37" fmla="*/ 136329 w 136329"/>
                <a:gd name="connsiteY37" fmla="*/ 88201 h 136410"/>
                <a:gd name="connsiteX38" fmla="*/ 136329 w 136329"/>
                <a:gd name="connsiteY38" fmla="*/ 48169 h 136410"/>
                <a:gd name="connsiteX39" fmla="*/ 126158 w 136329"/>
                <a:gd name="connsiteY39" fmla="*/ 37998 h 136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36329" h="136410">
                  <a:moveTo>
                    <a:pt x="122741" y="84743"/>
                  </a:moveTo>
                  <a:lnTo>
                    <a:pt x="91578" y="84743"/>
                  </a:lnTo>
                  <a:cubicBezTo>
                    <a:pt x="87814" y="84732"/>
                    <a:pt x="84754" y="87773"/>
                    <a:pt x="84743" y="91537"/>
                  </a:cubicBezTo>
                  <a:cubicBezTo>
                    <a:pt x="84743" y="91551"/>
                    <a:pt x="84743" y="91564"/>
                    <a:pt x="84743" y="91578"/>
                  </a:cubicBezTo>
                  <a:lnTo>
                    <a:pt x="84743" y="122741"/>
                  </a:lnTo>
                  <a:lnTo>
                    <a:pt x="51586" y="122741"/>
                  </a:lnTo>
                  <a:lnTo>
                    <a:pt x="51586" y="91578"/>
                  </a:lnTo>
                  <a:cubicBezTo>
                    <a:pt x="51597" y="87814"/>
                    <a:pt x="48556" y="84754"/>
                    <a:pt x="44792" y="84743"/>
                  </a:cubicBezTo>
                  <a:cubicBezTo>
                    <a:pt x="44785" y="84743"/>
                    <a:pt x="44779" y="84743"/>
                    <a:pt x="44772" y="84743"/>
                  </a:cubicBezTo>
                  <a:lnTo>
                    <a:pt x="13608" y="84743"/>
                  </a:lnTo>
                  <a:lnTo>
                    <a:pt x="13608" y="51647"/>
                  </a:lnTo>
                  <a:lnTo>
                    <a:pt x="44772" y="51647"/>
                  </a:lnTo>
                  <a:cubicBezTo>
                    <a:pt x="48535" y="51647"/>
                    <a:pt x="51586" y="48596"/>
                    <a:pt x="51586" y="44833"/>
                  </a:cubicBezTo>
                  <a:lnTo>
                    <a:pt x="51586" y="13588"/>
                  </a:lnTo>
                  <a:lnTo>
                    <a:pt x="84682" y="13588"/>
                  </a:lnTo>
                  <a:lnTo>
                    <a:pt x="84682" y="44751"/>
                  </a:lnTo>
                  <a:cubicBezTo>
                    <a:pt x="84671" y="48515"/>
                    <a:pt x="87712" y="51575"/>
                    <a:pt x="91476" y="51586"/>
                  </a:cubicBezTo>
                  <a:cubicBezTo>
                    <a:pt x="91483" y="51586"/>
                    <a:pt x="91490" y="51586"/>
                    <a:pt x="91496" y="51586"/>
                  </a:cubicBezTo>
                  <a:lnTo>
                    <a:pt x="122741" y="51586"/>
                  </a:lnTo>
                  <a:close/>
                  <a:moveTo>
                    <a:pt x="126219" y="37957"/>
                  </a:moveTo>
                  <a:lnTo>
                    <a:pt x="98392" y="37957"/>
                  </a:lnTo>
                  <a:lnTo>
                    <a:pt x="98392" y="10171"/>
                  </a:lnTo>
                  <a:cubicBezTo>
                    <a:pt x="98392" y="4554"/>
                    <a:pt x="93839" y="0"/>
                    <a:pt x="88221" y="0"/>
                  </a:cubicBezTo>
                  <a:lnTo>
                    <a:pt x="48108" y="0"/>
                  </a:lnTo>
                  <a:cubicBezTo>
                    <a:pt x="42491" y="0"/>
                    <a:pt x="37937" y="4554"/>
                    <a:pt x="37937" y="10171"/>
                  </a:cubicBezTo>
                  <a:lnTo>
                    <a:pt x="37937" y="37937"/>
                  </a:lnTo>
                  <a:lnTo>
                    <a:pt x="10171" y="37937"/>
                  </a:lnTo>
                  <a:cubicBezTo>
                    <a:pt x="4554" y="37937"/>
                    <a:pt x="0" y="42491"/>
                    <a:pt x="0" y="48108"/>
                  </a:cubicBezTo>
                  <a:lnTo>
                    <a:pt x="0" y="88282"/>
                  </a:lnTo>
                  <a:cubicBezTo>
                    <a:pt x="0" y="93900"/>
                    <a:pt x="4554" y="98453"/>
                    <a:pt x="10171" y="98453"/>
                  </a:cubicBezTo>
                  <a:lnTo>
                    <a:pt x="37957" y="98453"/>
                  </a:lnTo>
                  <a:lnTo>
                    <a:pt x="37957" y="126240"/>
                  </a:lnTo>
                  <a:cubicBezTo>
                    <a:pt x="37957" y="131857"/>
                    <a:pt x="42511" y="136411"/>
                    <a:pt x="48128" y="136411"/>
                  </a:cubicBezTo>
                  <a:lnTo>
                    <a:pt x="88160" y="136411"/>
                  </a:lnTo>
                  <a:cubicBezTo>
                    <a:pt x="93778" y="136411"/>
                    <a:pt x="98331" y="131857"/>
                    <a:pt x="98331" y="126240"/>
                  </a:cubicBezTo>
                  <a:lnTo>
                    <a:pt x="98331" y="98372"/>
                  </a:lnTo>
                  <a:lnTo>
                    <a:pt x="126158" y="98372"/>
                  </a:lnTo>
                  <a:cubicBezTo>
                    <a:pt x="131776" y="98372"/>
                    <a:pt x="136329" y="93818"/>
                    <a:pt x="136329" y="88201"/>
                  </a:cubicBezTo>
                  <a:lnTo>
                    <a:pt x="136329" y="48169"/>
                  </a:lnTo>
                  <a:cubicBezTo>
                    <a:pt x="136329" y="42552"/>
                    <a:pt x="131776" y="37998"/>
                    <a:pt x="126158" y="37998"/>
                  </a:cubicBezTo>
                </a:path>
              </a:pathLst>
            </a:custGeom>
            <a:solidFill>
              <a:srgbClr val="BD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 145">
              <a:extLst>
                <a:ext uri="{FF2B5EF4-FFF2-40B4-BE49-F238E27FC236}">
                  <a16:creationId xmlns:a16="http://schemas.microsoft.com/office/drawing/2014/main" id="{4EC4AB46-1F1A-0447-BA57-FD73EC1846D3}"/>
                </a:ext>
              </a:extLst>
            </p:cNvPr>
            <p:cNvSpPr/>
            <p:nvPr/>
          </p:nvSpPr>
          <p:spPr>
            <a:xfrm>
              <a:off x="7282283" y="2198663"/>
              <a:ext cx="331748" cy="287023"/>
            </a:xfrm>
            <a:custGeom>
              <a:avLst/>
              <a:gdLst>
                <a:gd name="connsiteX0" fmla="*/ 317998 w 331748"/>
                <a:gd name="connsiteY0" fmla="*/ 239835 h 287023"/>
                <a:gd name="connsiteX1" fmla="*/ 290430 w 331748"/>
                <a:gd name="connsiteY1" fmla="*/ 273256 h 287023"/>
                <a:gd name="connsiteX2" fmla="*/ 284576 w 331748"/>
                <a:gd name="connsiteY2" fmla="*/ 273256 h 287023"/>
                <a:gd name="connsiteX3" fmla="*/ 47150 w 331748"/>
                <a:gd name="connsiteY3" fmla="*/ 273256 h 287023"/>
                <a:gd name="connsiteX4" fmla="*/ 13729 w 331748"/>
                <a:gd name="connsiteY4" fmla="*/ 245598 h 287023"/>
                <a:gd name="connsiteX5" fmla="*/ 13729 w 331748"/>
                <a:gd name="connsiteY5" fmla="*/ 239835 h 287023"/>
                <a:gd name="connsiteX6" fmla="*/ 13729 w 331748"/>
                <a:gd name="connsiteY6" fmla="*/ 91606 h 287023"/>
                <a:gd name="connsiteX7" fmla="*/ 41319 w 331748"/>
                <a:gd name="connsiteY7" fmla="*/ 58166 h 287023"/>
                <a:gd name="connsiteX8" fmla="*/ 47150 w 331748"/>
                <a:gd name="connsiteY8" fmla="*/ 58164 h 287023"/>
                <a:gd name="connsiteX9" fmla="*/ 284576 w 331748"/>
                <a:gd name="connsiteY9" fmla="*/ 58164 h 287023"/>
                <a:gd name="connsiteX10" fmla="*/ 317999 w 331748"/>
                <a:gd name="connsiteY10" fmla="*/ 85820 h 287023"/>
                <a:gd name="connsiteX11" fmla="*/ 317998 w 331748"/>
                <a:gd name="connsiteY11" fmla="*/ 91606 h 287023"/>
                <a:gd name="connsiteX12" fmla="*/ 116962 w 331748"/>
                <a:gd name="connsiteY12" fmla="*/ 20512 h 287023"/>
                <a:gd name="connsiteX13" fmla="*/ 122327 w 331748"/>
                <a:gd name="connsiteY13" fmla="*/ 13209 h 287023"/>
                <a:gd name="connsiteX14" fmla="*/ 124265 w 331748"/>
                <a:gd name="connsiteY14" fmla="*/ 13209 h 287023"/>
                <a:gd name="connsiteX15" fmla="*/ 207482 w 331748"/>
                <a:gd name="connsiteY15" fmla="*/ 13209 h 287023"/>
                <a:gd name="connsiteX16" fmla="*/ 214785 w 331748"/>
                <a:gd name="connsiteY16" fmla="*/ 20512 h 287023"/>
                <a:gd name="connsiteX17" fmla="*/ 214785 w 331748"/>
                <a:gd name="connsiteY17" fmla="*/ 44373 h 287023"/>
                <a:gd name="connsiteX18" fmla="*/ 116962 w 331748"/>
                <a:gd name="connsiteY18" fmla="*/ 44373 h 287023"/>
                <a:gd name="connsiteX19" fmla="*/ 284515 w 331748"/>
                <a:gd name="connsiteY19" fmla="*/ 44515 h 287023"/>
                <a:gd name="connsiteX20" fmla="*/ 228352 w 331748"/>
                <a:gd name="connsiteY20" fmla="*/ 44515 h 287023"/>
                <a:gd name="connsiteX21" fmla="*/ 228352 w 331748"/>
                <a:gd name="connsiteY21" fmla="*/ 20512 h 287023"/>
                <a:gd name="connsiteX22" fmla="*/ 209192 w 331748"/>
                <a:gd name="connsiteY22" fmla="*/ 29 h 287023"/>
                <a:gd name="connsiteX23" fmla="*/ 209170 w 331748"/>
                <a:gd name="connsiteY23" fmla="*/ 28 h 287023"/>
                <a:gd name="connsiteX24" fmla="*/ 207482 w 331748"/>
                <a:gd name="connsiteY24" fmla="*/ 28 h 287023"/>
                <a:gd name="connsiteX25" fmla="*/ 124244 w 331748"/>
                <a:gd name="connsiteY25" fmla="*/ 28 h 287023"/>
                <a:gd name="connsiteX26" fmla="*/ 103395 w 331748"/>
                <a:gd name="connsiteY26" fmla="*/ 18790 h 287023"/>
                <a:gd name="connsiteX27" fmla="*/ 103394 w 331748"/>
                <a:gd name="connsiteY27" fmla="*/ 18803 h 287023"/>
                <a:gd name="connsiteX28" fmla="*/ 103394 w 331748"/>
                <a:gd name="connsiteY28" fmla="*/ 20492 h 287023"/>
                <a:gd name="connsiteX29" fmla="*/ 103394 w 331748"/>
                <a:gd name="connsiteY29" fmla="*/ 44373 h 287023"/>
                <a:gd name="connsiteX30" fmla="*/ 47150 w 331748"/>
                <a:gd name="connsiteY30" fmla="*/ 44373 h 287023"/>
                <a:gd name="connsiteX31" fmla="*/ 97 w 331748"/>
                <a:gd name="connsiteY31" fmla="*/ 85615 h 287023"/>
                <a:gd name="connsiteX32" fmla="*/ 100 w 331748"/>
                <a:gd name="connsiteY32" fmla="*/ 91463 h 287023"/>
                <a:gd name="connsiteX33" fmla="*/ 100 w 331748"/>
                <a:gd name="connsiteY33" fmla="*/ 239835 h 287023"/>
                <a:gd name="connsiteX34" fmla="*/ 41301 w 331748"/>
                <a:gd name="connsiteY34" fmla="*/ 286923 h 287023"/>
                <a:gd name="connsiteX35" fmla="*/ 47150 w 331748"/>
                <a:gd name="connsiteY35" fmla="*/ 286925 h 287023"/>
                <a:gd name="connsiteX36" fmla="*/ 284576 w 331748"/>
                <a:gd name="connsiteY36" fmla="*/ 286925 h 287023"/>
                <a:gd name="connsiteX37" fmla="*/ 331648 w 331748"/>
                <a:gd name="connsiteY37" fmla="*/ 245705 h 287023"/>
                <a:gd name="connsiteX38" fmla="*/ 331647 w 331748"/>
                <a:gd name="connsiteY38" fmla="*/ 239835 h 287023"/>
                <a:gd name="connsiteX39" fmla="*/ 331647 w 331748"/>
                <a:gd name="connsiteY39" fmla="*/ 91606 h 287023"/>
                <a:gd name="connsiteX40" fmla="*/ 290490 w 331748"/>
                <a:gd name="connsiteY40" fmla="*/ 44516 h 287023"/>
                <a:gd name="connsiteX41" fmla="*/ 284576 w 331748"/>
                <a:gd name="connsiteY41" fmla="*/ 44515 h 287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31748" h="287023">
                  <a:moveTo>
                    <a:pt x="317998" y="239835"/>
                  </a:moveTo>
                  <a:cubicBezTo>
                    <a:pt x="319614" y="256676"/>
                    <a:pt x="307272" y="271639"/>
                    <a:pt x="290430" y="273256"/>
                  </a:cubicBezTo>
                  <a:cubicBezTo>
                    <a:pt x="288484" y="273443"/>
                    <a:pt x="286523" y="273443"/>
                    <a:pt x="284576" y="273256"/>
                  </a:cubicBezTo>
                  <a:lnTo>
                    <a:pt x="47150" y="273256"/>
                  </a:lnTo>
                  <a:cubicBezTo>
                    <a:pt x="30283" y="274847"/>
                    <a:pt x="15320" y="262465"/>
                    <a:pt x="13729" y="245598"/>
                  </a:cubicBezTo>
                  <a:cubicBezTo>
                    <a:pt x="13548" y="243681"/>
                    <a:pt x="13548" y="241752"/>
                    <a:pt x="13729" y="239835"/>
                  </a:cubicBezTo>
                  <a:lnTo>
                    <a:pt x="13729" y="91606"/>
                  </a:lnTo>
                  <a:cubicBezTo>
                    <a:pt x="12113" y="74753"/>
                    <a:pt x="24466" y="59781"/>
                    <a:pt x="41319" y="58166"/>
                  </a:cubicBezTo>
                  <a:cubicBezTo>
                    <a:pt x="43258" y="57980"/>
                    <a:pt x="45210" y="57979"/>
                    <a:pt x="47150" y="58164"/>
                  </a:cubicBezTo>
                  <a:lnTo>
                    <a:pt x="284576" y="58164"/>
                  </a:lnTo>
                  <a:cubicBezTo>
                    <a:pt x="301443" y="56572"/>
                    <a:pt x="316407" y="68953"/>
                    <a:pt x="317999" y="85820"/>
                  </a:cubicBezTo>
                  <a:cubicBezTo>
                    <a:pt x="318181" y="87744"/>
                    <a:pt x="318181" y="89681"/>
                    <a:pt x="317998" y="91606"/>
                  </a:cubicBezTo>
                  <a:close/>
                  <a:moveTo>
                    <a:pt x="116962" y="20512"/>
                  </a:moveTo>
                  <a:cubicBezTo>
                    <a:pt x="116427" y="17014"/>
                    <a:pt x="118829" y="13744"/>
                    <a:pt x="122327" y="13209"/>
                  </a:cubicBezTo>
                  <a:cubicBezTo>
                    <a:pt x="122969" y="13111"/>
                    <a:pt x="123623" y="13111"/>
                    <a:pt x="124265" y="13209"/>
                  </a:cubicBezTo>
                  <a:lnTo>
                    <a:pt x="207482" y="13209"/>
                  </a:lnTo>
                  <a:cubicBezTo>
                    <a:pt x="214785" y="13209"/>
                    <a:pt x="214785" y="18457"/>
                    <a:pt x="214785" y="20512"/>
                  </a:cubicBezTo>
                  <a:lnTo>
                    <a:pt x="214785" y="44373"/>
                  </a:lnTo>
                  <a:lnTo>
                    <a:pt x="116962" y="44373"/>
                  </a:lnTo>
                  <a:close/>
                  <a:moveTo>
                    <a:pt x="284515" y="44515"/>
                  </a:moveTo>
                  <a:lnTo>
                    <a:pt x="228352" y="44515"/>
                  </a:lnTo>
                  <a:lnTo>
                    <a:pt x="228352" y="20512"/>
                  </a:lnTo>
                  <a:cubicBezTo>
                    <a:pt x="228718" y="9565"/>
                    <a:pt x="220139" y="394"/>
                    <a:pt x="209192" y="29"/>
                  </a:cubicBezTo>
                  <a:cubicBezTo>
                    <a:pt x="209185" y="28"/>
                    <a:pt x="209177" y="28"/>
                    <a:pt x="209170" y="28"/>
                  </a:cubicBezTo>
                  <a:cubicBezTo>
                    <a:pt x="208608" y="-3"/>
                    <a:pt x="208044" y="-3"/>
                    <a:pt x="207482" y="28"/>
                  </a:cubicBezTo>
                  <a:lnTo>
                    <a:pt x="124244" y="28"/>
                  </a:lnTo>
                  <a:cubicBezTo>
                    <a:pt x="113306" y="-549"/>
                    <a:pt x="103971" y="7851"/>
                    <a:pt x="103395" y="18790"/>
                  </a:cubicBezTo>
                  <a:cubicBezTo>
                    <a:pt x="103395" y="18794"/>
                    <a:pt x="103394" y="18799"/>
                    <a:pt x="103394" y="18803"/>
                  </a:cubicBezTo>
                  <a:cubicBezTo>
                    <a:pt x="103364" y="19366"/>
                    <a:pt x="103364" y="19929"/>
                    <a:pt x="103394" y="20492"/>
                  </a:cubicBezTo>
                  <a:lnTo>
                    <a:pt x="103394" y="44373"/>
                  </a:lnTo>
                  <a:lnTo>
                    <a:pt x="47150" y="44373"/>
                  </a:lnTo>
                  <a:cubicBezTo>
                    <a:pt x="22768" y="42768"/>
                    <a:pt x="1702" y="61233"/>
                    <a:pt x="97" y="85615"/>
                  </a:cubicBezTo>
                  <a:cubicBezTo>
                    <a:pt x="-31" y="87562"/>
                    <a:pt x="-30" y="89516"/>
                    <a:pt x="100" y="91463"/>
                  </a:cubicBezTo>
                  <a:lnTo>
                    <a:pt x="100" y="239835"/>
                  </a:lnTo>
                  <a:cubicBezTo>
                    <a:pt x="-1526" y="264215"/>
                    <a:pt x="16921" y="285297"/>
                    <a:pt x="41301" y="286923"/>
                  </a:cubicBezTo>
                  <a:cubicBezTo>
                    <a:pt x="43249" y="287053"/>
                    <a:pt x="45202" y="287054"/>
                    <a:pt x="47150" y="286925"/>
                  </a:cubicBezTo>
                  <a:lnTo>
                    <a:pt x="284576" y="286925"/>
                  </a:lnTo>
                  <a:cubicBezTo>
                    <a:pt x="308958" y="288541"/>
                    <a:pt x="330032" y="270086"/>
                    <a:pt x="331648" y="245705"/>
                  </a:cubicBezTo>
                  <a:cubicBezTo>
                    <a:pt x="331778" y="243750"/>
                    <a:pt x="331777" y="241789"/>
                    <a:pt x="331647" y="239835"/>
                  </a:cubicBezTo>
                  <a:lnTo>
                    <a:pt x="331647" y="91606"/>
                  </a:lnTo>
                  <a:cubicBezTo>
                    <a:pt x="333285" y="67237"/>
                    <a:pt x="314859" y="46155"/>
                    <a:pt x="290490" y="44516"/>
                  </a:cubicBezTo>
                  <a:cubicBezTo>
                    <a:pt x="288521" y="44384"/>
                    <a:pt x="286546" y="44383"/>
                    <a:pt x="284576" y="44515"/>
                  </a:cubicBezTo>
                </a:path>
              </a:pathLst>
            </a:custGeom>
            <a:solidFill>
              <a:srgbClr val="1F6896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7" name="Graphic 180">
            <a:extLst>
              <a:ext uri="{FF2B5EF4-FFF2-40B4-BE49-F238E27FC236}">
                <a16:creationId xmlns:a16="http://schemas.microsoft.com/office/drawing/2014/main" id="{77AC5708-CCE2-ED49-B1BB-EC94159C2347}"/>
              </a:ext>
            </a:extLst>
          </p:cNvPr>
          <p:cNvGrpSpPr/>
          <p:nvPr userDrawn="1"/>
        </p:nvGrpSpPr>
        <p:grpSpPr>
          <a:xfrm>
            <a:off x="3885405" y="2797967"/>
            <a:ext cx="374652" cy="374652"/>
            <a:chOff x="3885405" y="2797967"/>
            <a:chExt cx="374652" cy="374652"/>
          </a:xfrm>
        </p:grpSpPr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A8E9626F-4329-CE46-9BF2-DE5873315141}"/>
                </a:ext>
              </a:extLst>
            </p:cNvPr>
            <p:cNvSpPr/>
            <p:nvPr/>
          </p:nvSpPr>
          <p:spPr>
            <a:xfrm>
              <a:off x="3891212" y="2803563"/>
              <a:ext cx="159695" cy="143783"/>
            </a:xfrm>
            <a:custGeom>
              <a:avLst/>
              <a:gdLst>
                <a:gd name="connsiteX0" fmla="*/ 0 w 159695"/>
                <a:gd name="connsiteY0" fmla="*/ 23978 h 143783"/>
                <a:gd name="connsiteX1" fmla="*/ 0 w 159695"/>
                <a:gd name="connsiteY1" fmla="*/ 93218 h 143783"/>
                <a:gd name="connsiteX2" fmla="*/ 23954 w 159695"/>
                <a:gd name="connsiteY2" fmla="*/ 117172 h 143783"/>
                <a:gd name="connsiteX3" fmla="*/ 79192 w 159695"/>
                <a:gd name="connsiteY3" fmla="*/ 117172 h 143783"/>
                <a:gd name="connsiteX4" fmla="*/ 129185 w 159695"/>
                <a:gd name="connsiteY4" fmla="*/ 143468 h 143783"/>
                <a:gd name="connsiteX5" fmla="*/ 132768 w 159695"/>
                <a:gd name="connsiteY5" fmla="*/ 142389 h 143783"/>
                <a:gd name="connsiteX6" fmla="*/ 133025 w 159695"/>
                <a:gd name="connsiteY6" fmla="*/ 140588 h 143783"/>
                <a:gd name="connsiteX7" fmla="*/ 128342 w 159695"/>
                <a:gd name="connsiteY7" fmla="*/ 117172 h 143783"/>
                <a:gd name="connsiteX8" fmla="*/ 135741 w 159695"/>
                <a:gd name="connsiteY8" fmla="*/ 117172 h 143783"/>
                <a:gd name="connsiteX9" fmla="*/ 159695 w 159695"/>
                <a:gd name="connsiteY9" fmla="*/ 93171 h 143783"/>
                <a:gd name="connsiteX10" fmla="*/ 159695 w 159695"/>
                <a:gd name="connsiteY10" fmla="*/ 23978 h 143783"/>
                <a:gd name="connsiteX11" fmla="*/ 135741 w 159695"/>
                <a:gd name="connsiteY11" fmla="*/ 0 h 143783"/>
                <a:gd name="connsiteX12" fmla="*/ 23954 w 159695"/>
                <a:gd name="connsiteY12" fmla="*/ 0 h 143783"/>
                <a:gd name="connsiteX13" fmla="*/ 0 w 159695"/>
                <a:gd name="connsiteY13" fmla="*/ 23978 h 143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9695" h="143783">
                  <a:moveTo>
                    <a:pt x="0" y="23978"/>
                  </a:moveTo>
                  <a:lnTo>
                    <a:pt x="0" y="93218"/>
                  </a:lnTo>
                  <a:cubicBezTo>
                    <a:pt x="13" y="106442"/>
                    <a:pt x="10730" y="117159"/>
                    <a:pt x="23954" y="117172"/>
                  </a:cubicBezTo>
                  <a:lnTo>
                    <a:pt x="79192" y="117172"/>
                  </a:lnTo>
                  <a:lnTo>
                    <a:pt x="129185" y="143468"/>
                  </a:lnTo>
                  <a:cubicBezTo>
                    <a:pt x="130472" y="144160"/>
                    <a:pt x="132076" y="143676"/>
                    <a:pt x="132768" y="142389"/>
                  </a:cubicBezTo>
                  <a:cubicBezTo>
                    <a:pt x="133064" y="141838"/>
                    <a:pt x="133155" y="141200"/>
                    <a:pt x="133025" y="140588"/>
                  </a:cubicBezTo>
                  <a:lnTo>
                    <a:pt x="128342" y="117172"/>
                  </a:lnTo>
                  <a:lnTo>
                    <a:pt x="135741" y="117172"/>
                  </a:lnTo>
                  <a:cubicBezTo>
                    <a:pt x="148984" y="117159"/>
                    <a:pt x="159708" y="106414"/>
                    <a:pt x="159695" y="93171"/>
                  </a:cubicBezTo>
                  <a:lnTo>
                    <a:pt x="159695" y="23978"/>
                  </a:lnTo>
                  <a:cubicBezTo>
                    <a:pt x="159683" y="10750"/>
                    <a:pt x="148969" y="26"/>
                    <a:pt x="135741" y="0"/>
                  </a:cubicBezTo>
                  <a:lnTo>
                    <a:pt x="23954" y="0"/>
                  </a:lnTo>
                  <a:cubicBezTo>
                    <a:pt x="10726" y="26"/>
                    <a:pt x="13" y="10750"/>
                    <a:pt x="0" y="23978"/>
                  </a:cubicBezTo>
                  <a:close/>
                </a:path>
              </a:pathLst>
            </a:custGeom>
            <a:noFill/>
            <a:ln w="9287" cap="rnd">
              <a:solidFill>
                <a:srgbClr val="1F689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BF96F95F-B6B1-A942-9563-3DB12E40BA30}"/>
                </a:ext>
              </a:extLst>
            </p:cNvPr>
            <p:cNvSpPr/>
            <p:nvPr/>
          </p:nvSpPr>
          <p:spPr>
            <a:xfrm>
              <a:off x="4032738" y="2883143"/>
              <a:ext cx="219325" cy="278704"/>
            </a:xfrm>
            <a:custGeom>
              <a:avLst/>
              <a:gdLst>
                <a:gd name="connsiteX0" fmla="*/ 136652 w 219325"/>
                <a:gd name="connsiteY0" fmla="*/ 254539 h 278704"/>
                <a:gd name="connsiteX1" fmla="*/ 191867 w 219325"/>
                <a:gd name="connsiteY1" fmla="*/ 196773 h 278704"/>
                <a:gd name="connsiteX2" fmla="*/ 194934 w 219325"/>
                <a:gd name="connsiteY2" fmla="*/ 176565 h 278704"/>
                <a:gd name="connsiteX3" fmla="*/ 193389 w 219325"/>
                <a:gd name="connsiteY3" fmla="*/ 173849 h 278704"/>
                <a:gd name="connsiteX4" fmla="*/ 181189 w 219325"/>
                <a:gd name="connsiteY4" fmla="*/ 169329 h 278704"/>
                <a:gd name="connsiteX5" fmla="*/ 180206 w 219325"/>
                <a:gd name="connsiteY5" fmla="*/ 172233 h 278704"/>
                <a:gd name="connsiteX6" fmla="*/ 153160 w 219325"/>
                <a:gd name="connsiteY6" fmla="*/ 214920 h 278704"/>
                <a:gd name="connsiteX7" fmla="*/ 68078 w 219325"/>
                <a:gd name="connsiteY7" fmla="*/ 216894 h 278704"/>
                <a:gd name="connsiteX8" fmla="*/ 65749 w 219325"/>
                <a:gd name="connsiteY8" fmla="*/ 214545 h 278704"/>
                <a:gd name="connsiteX9" fmla="*/ 38166 w 219325"/>
                <a:gd name="connsiteY9" fmla="*/ 169353 h 278704"/>
                <a:gd name="connsiteX10" fmla="*/ 25591 w 219325"/>
                <a:gd name="connsiteY10" fmla="*/ 173638 h 278704"/>
                <a:gd name="connsiteX11" fmla="*/ 8943 w 219325"/>
                <a:gd name="connsiteY11" fmla="*/ 173942 h 278704"/>
                <a:gd name="connsiteX12" fmla="*/ 183 w 219325"/>
                <a:gd name="connsiteY12" fmla="*/ 164543 h 278704"/>
                <a:gd name="connsiteX13" fmla="*/ 209 w 219325"/>
                <a:gd name="connsiteY13" fmla="*/ 164108 h 278704"/>
                <a:gd name="connsiteX14" fmla="*/ 209 w 219325"/>
                <a:gd name="connsiteY14" fmla="*/ 143244 h 278704"/>
                <a:gd name="connsiteX15" fmla="*/ 864 w 219325"/>
                <a:gd name="connsiteY15" fmla="*/ 94961 h 278704"/>
                <a:gd name="connsiteX16" fmla="*/ 59872 w 219325"/>
                <a:gd name="connsiteY16" fmla="*/ 11039 h 278704"/>
                <a:gd name="connsiteX17" fmla="*/ 166835 w 219325"/>
                <a:gd name="connsiteY17" fmla="*/ 14551 h 278704"/>
                <a:gd name="connsiteX18" fmla="*/ 218350 w 219325"/>
                <a:gd name="connsiteY18" fmla="*/ 92338 h 278704"/>
                <a:gd name="connsiteX19" fmla="*/ 219193 w 219325"/>
                <a:gd name="connsiteY19" fmla="*/ 140270 h 278704"/>
                <a:gd name="connsiteX20" fmla="*/ 219193 w 219325"/>
                <a:gd name="connsiteY20" fmla="*/ 162515 h 278704"/>
                <a:gd name="connsiteX21" fmla="*/ 208258 w 219325"/>
                <a:gd name="connsiteY21" fmla="*/ 174223 h 278704"/>
                <a:gd name="connsiteX22" fmla="*/ 206712 w 219325"/>
                <a:gd name="connsiteY22" fmla="*/ 174387 h 278704"/>
                <a:gd name="connsiteX23" fmla="*/ 204628 w 219325"/>
                <a:gd name="connsiteY23" fmla="*/ 190778 h 278704"/>
                <a:gd name="connsiteX24" fmla="*/ 139532 w 219325"/>
                <a:gd name="connsiteY24" fmla="*/ 265217 h 278704"/>
                <a:gd name="connsiteX25" fmla="*/ 136324 w 219325"/>
                <a:gd name="connsiteY25" fmla="*/ 268776 h 278704"/>
                <a:gd name="connsiteX26" fmla="*/ 125834 w 219325"/>
                <a:gd name="connsiteY26" fmla="*/ 278564 h 278704"/>
                <a:gd name="connsiteX27" fmla="*/ 93848 w 219325"/>
                <a:gd name="connsiteY27" fmla="*/ 278564 h 278704"/>
                <a:gd name="connsiteX28" fmla="*/ 82983 w 219325"/>
                <a:gd name="connsiteY28" fmla="*/ 267582 h 278704"/>
                <a:gd name="connsiteX29" fmla="*/ 82983 w 219325"/>
                <a:gd name="connsiteY29" fmla="*/ 255406 h 278704"/>
                <a:gd name="connsiteX30" fmla="*/ 94036 w 219325"/>
                <a:gd name="connsiteY30" fmla="*/ 244588 h 278704"/>
                <a:gd name="connsiteX31" fmla="*/ 125319 w 219325"/>
                <a:gd name="connsiteY31" fmla="*/ 244588 h 278704"/>
                <a:gd name="connsiteX32" fmla="*/ 136652 w 219325"/>
                <a:gd name="connsiteY32" fmla="*/ 254539 h 278704"/>
                <a:gd name="connsiteX33" fmla="*/ 45612 w 219325"/>
                <a:gd name="connsiteY33" fmla="*/ 123879 h 278704"/>
                <a:gd name="connsiteX34" fmla="*/ 45612 w 219325"/>
                <a:gd name="connsiteY34" fmla="*/ 143853 h 278704"/>
                <a:gd name="connsiteX35" fmla="*/ 75865 w 219325"/>
                <a:gd name="connsiteY35" fmla="*/ 208598 h 278704"/>
                <a:gd name="connsiteX36" fmla="*/ 142694 w 219325"/>
                <a:gd name="connsiteY36" fmla="*/ 209323 h 278704"/>
                <a:gd name="connsiteX37" fmla="*/ 169739 w 219325"/>
                <a:gd name="connsiteY37" fmla="*/ 168440 h 278704"/>
                <a:gd name="connsiteX38" fmla="*/ 173673 w 219325"/>
                <a:gd name="connsiteY38" fmla="*/ 132707 h 278704"/>
                <a:gd name="connsiteX39" fmla="*/ 93146 w 219325"/>
                <a:gd name="connsiteY39" fmla="*/ 99808 h 278704"/>
                <a:gd name="connsiteX40" fmla="*/ 45612 w 219325"/>
                <a:gd name="connsiteY40" fmla="*/ 123879 h 278704"/>
                <a:gd name="connsiteX41" fmla="*/ 207953 w 219325"/>
                <a:gd name="connsiteY41" fmla="*/ 113155 h 278704"/>
                <a:gd name="connsiteX42" fmla="*/ 207953 w 219325"/>
                <a:gd name="connsiteY42" fmla="*/ 99433 h 278704"/>
                <a:gd name="connsiteX43" fmla="*/ 160138 w 219325"/>
                <a:gd name="connsiteY43" fmla="*/ 23449 h 278704"/>
                <a:gd name="connsiteX44" fmla="*/ 90172 w 219325"/>
                <a:gd name="connsiteY44" fmla="*/ 13497 h 278704"/>
                <a:gd name="connsiteX45" fmla="*/ 12338 w 219325"/>
                <a:gd name="connsiteY45" fmla="*/ 90769 h 278704"/>
                <a:gd name="connsiteX46" fmla="*/ 11074 w 219325"/>
                <a:gd name="connsiteY46" fmla="*/ 113038 h 278704"/>
                <a:gd name="connsiteX47" fmla="*/ 34302 w 219325"/>
                <a:gd name="connsiteY47" fmla="*/ 115379 h 278704"/>
                <a:gd name="connsiteX48" fmla="*/ 52800 w 219325"/>
                <a:gd name="connsiteY48" fmla="*/ 60001 h 278704"/>
                <a:gd name="connsiteX49" fmla="*/ 106188 w 219325"/>
                <a:gd name="connsiteY49" fmla="*/ 33893 h 278704"/>
                <a:gd name="connsiteX50" fmla="*/ 156017 w 219325"/>
                <a:gd name="connsiteY50" fmla="*/ 49932 h 278704"/>
                <a:gd name="connsiteX51" fmla="*/ 185053 w 219325"/>
                <a:gd name="connsiteY51" fmla="*/ 115497 h 278704"/>
                <a:gd name="connsiteX52" fmla="*/ 173907 w 219325"/>
                <a:gd name="connsiteY52" fmla="*/ 121585 h 278704"/>
                <a:gd name="connsiteX53" fmla="*/ 173907 w 219325"/>
                <a:gd name="connsiteY53" fmla="*/ 109877 h 278704"/>
                <a:gd name="connsiteX54" fmla="*/ 109630 w 219325"/>
                <a:gd name="connsiteY54" fmla="*/ 45741 h 278704"/>
                <a:gd name="connsiteX55" fmla="*/ 45495 w 219325"/>
                <a:gd name="connsiteY55" fmla="*/ 110017 h 278704"/>
                <a:gd name="connsiteX56" fmla="*/ 47485 w 219325"/>
                <a:gd name="connsiteY56" fmla="*/ 112827 h 278704"/>
                <a:gd name="connsiteX57" fmla="*/ 77457 w 219325"/>
                <a:gd name="connsiteY57" fmla="*/ 103086 h 278704"/>
                <a:gd name="connsiteX58" fmla="*/ 86824 w 219325"/>
                <a:gd name="connsiteY58" fmla="*/ 85360 h 278704"/>
                <a:gd name="connsiteX59" fmla="*/ 92233 w 219325"/>
                <a:gd name="connsiteY59" fmla="*/ 80349 h 278704"/>
                <a:gd name="connsiteX60" fmla="*/ 98110 w 219325"/>
                <a:gd name="connsiteY60" fmla="*/ 84845 h 278704"/>
                <a:gd name="connsiteX61" fmla="*/ 104011 w 219325"/>
                <a:gd name="connsiteY61" fmla="*/ 95406 h 278704"/>
                <a:gd name="connsiteX62" fmla="*/ 173907 w 219325"/>
                <a:gd name="connsiteY62" fmla="*/ 121585 h 278704"/>
                <a:gd name="connsiteX63" fmla="*/ 11495 w 219325"/>
                <a:gd name="connsiteY63" fmla="*/ 162562 h 278704"/>
                <a:gd name="connsiteX64" fmla="*/ 25427 w 219325"/>
                <a:gd name="connsiteY64" fmla="*/ 162445 h 278704"/>
                <a:gd name="connsiteX65" fmla="*/ 34208 w 219325"/>
                <a:gd name="connsiteY65" fmla="*/ 151533 h 278704"/>
                <a:gd name="connsiteX66" fmla="*/ 34208 w 219325"/>
                <a:gd name="connsiteY66" fmla="*/ 135915 h 278704"/>
                <a:gd name="connsiteX67" fmla="*/ 26341 w 219325"/>
                <a:gd name="connsiteY67" fmla="*/ 125729 h 278704"/>
                <a:gd name="connsiteX68" fmla="*/ 11565 w 219325"/>
                <a:gd name="connsiteY68" fmla="*/ 124793 h 278704"/>
                <a:gd name="connsiteX69" fmla="*/ 207860 w 219325"/>
                <a:gd name="connsiteY69" fmla="*/ 125097 h 278704"/>
                <a:gd name="connsiteX70" fmla="*/ 195707 w 219325"/>
                <a:gd name="connsiteY70" fmla="*/ 125097 h 278704"/>
                <a:gd name="connsiteX71" fmla="*/ 185053 w 219325"/>
                <a:gd name="connsiteY71" fmla="*/ 136664 h 278704"/>
                <a:gd name="connsiteX72" fmla="*/ 185053 w 219325"/>
                <a:gd name="connsiteY72" fmla="*/ 151604 h 278704"/>
                <a:gd name="connsiteX73" fmla="*/ 194419 w 219325"/>
                <a:gd name="connsiteY73" fmla="*/ 162539 h 278704"/>
                <a:gd name="connsiteX74" fmla="*/ 207930 w 219325"/>
                <a:gd name="connsiteY74" fmla="*/ 162539 h 278704"/>
                <a:gd name="connsiteX75" fmla="*/ 94106 w 219325"/>
                <a:gd name="connsiteY75" fmla="*/ 267254 h 278704"/>
                <a:gd name="connsiteX76" fmla="*/ 125061 w 219325"/>
                <a:gd name="connsiteY76" fmla="*/ 267254 h 278704"/>
                <a:gd name="connsiteX77" fmla="*/ 125061 w 219325"/>
                <a:gd name="connsiteY77" fmla="*/ 256038 h 278704"/>
                <a:gd name="connsiteX78" fmla="*/ 94106 w 219325"/>
                <a:gd name="connsiteY78" fmla="*/ 256038 h 278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219325" h="278704">
                  <a:moveTo>
                    <a:pt x="136652" y="254539"/>
                  </a:moveTo>
                  <a:cubicBezTo>
                    <a:pt x="164202" y="246773"/>
                    <a:pt x="185352" y="224645"/>
                    <a:pt x="191867" y="196773"/>
                  </a:cubicBezTo>
                  <a:cubicBezTo>
                    <a:pt x="193304" y="190106"/>
                    <a:pt x="194329" y="183357"/>
                    <a:pt x="194934" y="176565"/>
                  </a:cubicBezTo>
                  <a:cubicBezTo>
                    <a:pt x="194887" y="175463"/>
                    <a:pt x="194312" y="174452"/>
                    <a:pt x="193389" y="173849"/>
                  </a:cubicBezTo>
                  <a:cubicBezTo>
                    <a:pt x="189502" y="172233"/>
                    <a:pt x="185498" y="170898"/>
                    <a:pt x="181189" y="169329"/>
                  </a:cubicBezTo>
                  <a:lnTo>
                    <a:pt x="180206" y="172233"/>
                  </a:lnTo>
                  <a:cubicBezTo>
                    <a:pt x="174914" y="188505"/>
                    <a:pt x="165613" y="203185"/>
                    <a:pt x="153160" y="214920"/>
                  </a:cubicBezTo>
                  <a:cubicBezTo>
                    <a:pt x="130211" y="238960"/>
                    <a:pt x="92118" y="239844"/>
                    <a:pt x="68078" y="216894"/>
                  </a:cubicBezTo>
                  <a:cubicBezTo>
                    <a:pt x="67280" y="216132"/>
                    <a:pt x="66504" y="215349"/>
                    <a:pt x="65749" y="214545"/>
                  </a:cubicBezTo>
                  <a:cubicBezTo>
                    <a:pt x="52820" y="202105"/>
                    <a:pt x="43319" y="186539"/>
                    <a:pt x="38166" y="169353"/>
                  </a:cubicBezTo>
                  <a:cubicBezTo>
                    <a:pt x="34124" y="171187"/>
                    <a:pt x="29912" y="172622"/>
                    <a:pt x="25591" y="173638"/>
                  </a:cubicBezTo>
                  <a:cubicBezTo>
                    <a:pt x="20064" y="174267"/>
                    <a:pt x="14489" y="174368"/>
                    <a:pt x="8943" y="173942"/>
                  </a:cubicBezTo>
                  <a:cubicBezTo>
                    <a:pt x="3928" y="173766"/>
                    <a:pt x="6" y="169557"/>
                    <a:pt x="183" y="164543"/>
                  </a:cubicBezTo>
                  <a:cubicBezTo>
                    <a:pt x="188" y="164397"/>
                    <a:pt x="197" y="164252"/>
                    <a:pt x="209" y="164108"/>
                  </a:cubicBezTo>
                  <a:cubicBezTo>
                    <a:pt x="209" y="157083"/>
                    <a:pt x="209" y="150199"/>
                    <a:pt x="209" y="143244"/>
                  </a:cubicBezTo>
                  <a:cubicBezTo>
                    <a:pt x="209" y="127158"/>
                    <a:pt x="-564" y="110954"/>
                    <a:pt x="864" y="94961"/>
                  </a:cubicBezTo>
                  <a:cubicBezTo>
                    <a:pt x="2474" y="57870"/>
                    <a:pt x="25513" y="25103"/>
                    <a:pt x="59872" y="11039"/>
                  </a:cubicBezTo>
                  <a:cubicBezTo>
                    <a:pt x="94063" y="-4831"/>
                    <a:pt x="133759" y="-3528"/>
                    <a:pt x="166835" y="14551"/>
                  </a:cubicBezTo>
                  <a:cubicBezTo>
                    <a:pt x="196494" y="29613"/>
                    <a:pt x="216057" y="59153"/>
                    <a:pt x="218350" y="92338"/>
                  </a:cubicBezTo>
                  <a:cubicBezTo>
                    <a:pt x="219989" y="108167"/>
                    <a:pt x="219029" y="124277"/>
                    <a:pt x="219193" y="140270"/>
                  </a:cubicBezTo>
                  <a:cubicBezTo>
                    <a:pt x="219193" y="147670"/>
                    <a:pt x="219193" y="155093"/>
                    <a:pt x="219193" y="162515"/>
                  </a:cubicBezTo>
                  <a:cubicBezTo>
                    <a:pt x="219193" y="170500"/>
                    <a:pt x="216149" y="173708"/>
                    <a:pt x="208258" y="174223"/>
                  </a:cubicBezTo>
                  <a:cubicBezTo>
                    <a:pt x="207813" y="174223"/>
                    <a:pt x="207368" y="174223"/>
                    <a:pt x="206712" y="174387"/>
                  </a:cubicBezTo>
                  <a:cubicBezTo>
                    <a:pt x="206010" y="179913"/>
                    <a:pt x="205612" y="185439"/>
                    <a:pt x="204628" y="190778"/>
                  </a:cubicBezTo>
                  <a:cubicBezTo>
                    <a:pt x="199729" y="226358"/>
                    <a:pt x="174142" y="255618"/>
                    <a:pt x="139532" y="265217"/>
                  </a:cubicBezTo>
                  <a:cubicBezTo>
                    <a:pt x="137565" y="265849"/>
                    <a:pt x="136535" y="266411"/>
                    <a:pt x="136324" y="268776"/>
                  </a:cubicBezTo>
                  <a:cubicBezTo>
                    <a:pt x="135826" y="274232"/>
                    <a:pt x="131311" y="278444"/>
                    <a:pt x="125834" y="278564"/>
                  </a:cubicBezTo>
                  <a:cubicBezTo>
                    <a:pt x="115172" y="278751"/>
                    <a:pt x="104510" y="278751"/>
                    <a:pt x="93848" y="278564"/>
                  </a:cubicBezTo>
                  <a:cubicBezTo>
                    <a:pt x="87855" y="278438"/>
                    <a:pt x="83045" y="273576"/>
                    <a:pt x="82983" y="267582"/>
                  </a:cubicBezTo>
                  <a:cubicBezTo>
                    <a:pt x="82796" y="263531"/>
                    <a:pt x="82796" y="259457"/>
                    <a:pt x="82983" y="255406"/>
                  </a:cubicBezTo>
                  <a:cubicBezTo>
                    <a:pt x="83207" y="249435"/>
                    <a:pt x="88062" y="244683"/>
                    <a:pt x="94036" y="244588"/>
                  </a:cubicBezTo>
                  <a:cubicBezTo>
                    <a:pt x="104456" y="244447"/>
                    <a:pt x="114899" y="244424"/>
                    <a:pt x="125319" y="244588"/>
                  </a:cubicBezTo>
                  <a:cubicBezTo>
                    <a:pt x="131015" y="244706"/>
                    <a:pt x="135799" y="248906"/>
                    <a:pt x="136652" y="254539"/>
                  </a:cubicBezTo>
                  <a:close/>
                  <a:moveTo>
                    <a:pt x="45612" y="123879"/>
                  </a:moveTo>
                  <a:cubicBezTo>
                    <a:pt x="45612" y="130904"/>
                    <a:pt x="45612" y="137390"/>
                    <a:pt x="45612" y="143853"/>
                  </a:cubicBezTo>
                  <a:cubicBezTo>
                    <a:pt x="45862" y="168793"/>
                    <a:pt x="56895" y="192404"/>
                    <a:pt x="75865" y="208598"/>
                  </a:cubicBezTo>
                  <a:cubicBezTo>
                    <a:pt x="94302" y="226817"/>
                    <a:pt x="123865" y="227138"/>
                    <a:pt x="142694" y="209323"/>
                  </a:cubicBezTo>
                  <a:cubicBezTo>
                    <a:pt x="155365" y="198502"/>
                    <a:pt x="164737" y="184335"/>
                    <a:pt x="169739" y="168440"/>
                  </a:cubicBezTo>
                  <a:cubicBezTo>
                    <a:pt x="173377" y="156901"/>
                    <a:pt x="174714" y="144761"/>
                    <a:pt x="173673" y="132707"/>
                  </a:cubicBezTo>
                  <a:cubicBezTo>
                    <a:pt x="142881" y="136908"/>
                    <a:pt x="112187" y="124367"/>
                    <a:pt x="93146" y="99808"/>
                  </a:cubicBezTo>
                  <a:cubicBezTo>
                    <a:pt x="84970" y="118046"/>
                    <a:pt x="65152" y="128082"/>
                    <a:pt x="45612" y="123879"/>
                  </a:cubicBezTo>
                  <a:close/>
                  <a:moveTo>
                    <a:pt x="207953" y="113155"/>
                  </a:moveTo>
                  <a:cubicBezTo>
                    <a:pt x="207953" y="108683"/>
                    <a:pt x="208211" y="104046"/>
                    <a:pt x="207953" y="99433"/>
                  </a:cubicBezTo>
                  <a:cubicBezTo>
                    <a:pt x="207202" y="67239"/>
                    <a:pt x="188838" y="38056"/>
                    <a:pt x="160138" y="23449"/>
                  </a:cubicBezTo>
                  <a:cubicBezTo>
                    <a:pt x="138544" y="12530"/>
                    <a:pt x="113954" y="9033"/>
                    <a:pt x="90172" y="13497"/>
                  </a:cubicBezTo>
                  <a:cubicBezTo>
                    <a:pt x="49585" y="18374"/>
                    <a:pt x="17509" y="50219"/>
                    <a:pt x="12338" y="90769"/>
                  </a:cubicBezTo>
                  <a:cubicBezTo>
                    <a:pt x="11214" y="98216"/>
                    <a:pt x="11448" y="105896"/>
                    <a:pt x="11074" y="113038"/>
                  </a:cubicBezTo>
                  <a:lnTo>
                    <a:pt x="34302" y="115379"/>
                  </a:lnTo>
                  <a:cubicBezTo>
                    <a:pt x="32889" y="95198"/>
                    <a:pt x="39542" y="75281"/>
                    <a:pt x="52800" y="60001"/>
                  </a:cubicBezTo>
                  <a:cubicBezTo>
                    <a:pt x="66130" y="44173"/>
                    <a:pt x="85511" y="34695"/>
                    <a:pt x="106188" y="33893"/>
                  </a:cubicBezTo>
                  <a:cubicBezTo>
                    <a:pt x="124226" y="32771"/>
                    <a:pt x="142021" y="38499"/>
                    <a:pt x="156017" y="49932"/>
                  </a:cubicBezTo>
                  <a:cubicBezTo>
                    <a:pt x="176130" y="65495"/>
                    <a:pt x="187046" y="90144"/>
                    <a:pt x="185053" y="115497"/>
                  </a:cubicBezTo>
                  <a:close/>
                  <a:moveTo>
                    <a:pt x="173907" y="121585"/>
                  </a:moveTo>
                  <a:cubicBezTo>
                    <a:pt x="173907" y="117417"/>
                    <a:pt x="173907" y="113623"/>
                    <a:pt x="173907" y="109877"/>
                  </a:cubicBezTo>
                  <a:cubicBezTo>
                    <a:pt x="173868" y="74417"/>
                    <a:pt x="145090" y="45702"/>
                    <a:pt x="109630" y="45741"/>
                  </a:cubicBezTo>
                  <a:cubicBezTo>
                    <a:pt x="74170" y="45780"/>
                    <a:pt x="45456" y="74557"/>
                    <a:pt x="45495" y="110017"/>
                  </a:cubicBezTo>
                  <a:cubicBezTo>
                    <a:pt x="45495" y="111001"/>
                    <a:pt x="46689" y="112710"/>
                    <a:pt x="47485" y="112827"/>
                  </a:cubicBezTo>
                  <a:cubicBezTo>
                    <a:pt x="58496" y="115117"/>
                    <a:pt x="69897" y="111412"/>
                    <a:pt x="77457" y="103086"/>
                  </a:cubicBezTo>
                  <a:cubicBezTo>
                    <a:pt x="81868" y="97954"/>
                    <a:pt x="85069" y="91896"/>
                    <a:pt x="86824" y="85360"/>
                  </a:cubicBezTo>
                  <a:cubicBezTo>
                    <a:pt x="87643" y="82574"/>
                    <a:pt x="89165" y="80490"/>
                    <a:pt x="92233" y="80349"/>
                  </a:cubicBezTo>
                  <a:cubicBezTo>
                    <a:pt x="95300" y="80209"/>
                    <a:pt x="96916" y="82246"/>
                    <a:pt x="98110" y="84845"/>
                  </a:cubicBezTo>
                  <a:cubicBezTo>
                    <a:pt x="99713" y="88557"/>
                    <a:pt x="101690" y="92095"/>
                    <a:pt x="104011" y="95406"/>
                  </a:cubicBezTo>
                  <a:cubicBezTo>
                    <a:pt x="121234" y="115605"/>
                    <a:pt x="147652" y="125499"/>
                    <a:pt x="173907" y="121585"/>
                  </a:cubicBezTo>
                  <a:close/>
                  <a:moveTo>
                    <a:pt x="11495" y="162562"/>
                  </a:moveTo>
                  <a:cubicBezTo>
                    <a:pt x="16137" y="162817"/>
                    <a:pt x="20790" y="162778"/>
                    <a:pt x="25427" y="162445"/>
                  </a:cubicBezTo>
                  <a:cubicBezTo>
                    <a:pt x="30704" y="161571"/>
                    <a:pt x="34483" y="156875"/>
                    <a:pt x="34208" y="151533"/>
                  </a:cubicBezTo>
                  <a:cubicBezTo>
                    <a:pt x="34208" y="146335"/>
                    <a:pt x="34208" y="141113"/>
                    <a:pt x="34208" y="135915"/>
                  </a:cubicBezTo>
                  <a:cubicBezTo>
                    <a:pt x="34317" y="131089"/>
                    <a:pt x="31038" y="126844"/>
                    <a:pt x="26341" y="125729"/>
                  </a:cubicBezTo>
                  <a:cubicBezTo>
                    <a:pt x="21439" y="125119"/>
                    <a:pt x="16505" y="124806"/>
                    <a:pt x="11565" y="124793"/>
                  </a:cubicBezTo>
                  <a:close/>
                  <a:moveTo>
                    <a:pt x="207860" y="125097"/>
                  </a:moveTo>
                  <a:cubicBezTo>
                    <a:pt x="203551" y="125097"/>
                    <a:pt x="199617" y="124863"/>
                    <a:pt x="195707" y="125097"/>
                  </a:cubicBezTo>
                  <a:cubicBezTo>
                    <a:pt x="189617" y="125449"/>
                    <a:pt x="184904" y="130566"/>
                    <a:pt x="185053" y="136664"/>
                  </a:cubicBezTo>
                  <a:cubicBezTo>
                    <a:pt x="185053" y="141652"/>
                    <a:pt x="185053" y="146616"/>
                    <a:pt x="185053" y="151604"/>
                  </a:cubicBezTo>
                  <a:cubicBezTo>
                    <a:pt x="184900" y="157114"/>
                    <a:pt x="188950" y="161843"/>
                    <a:pt x="194419" y="162539"/>
                  </a:cubicBezTo>
                  <a:cubicBezTo>
                    <a:pt x="198918" y="162809"/>
                    <a:pt x="203430" y="162809"/>
                    <a:pt x="207930" y="162539"/>
                  </a:cubicBezTo>
                  <a:close/>
                  <a:moveTo>
                    <a:pt x="94106" y="267254"/>
                  </a:moveTo>
                  <a:lnTo>
                    <a:pt x="125061" y="267254"/>
                  </a:lnTo>
                  <a:lnTo>
                    <a:pt x="125061" y="256038"/>
                  </a:lnTo>
                  <a:lnTo>
                    <a:pt x="94106" y="256038"/>
                  </a:lnTo>
                  <a:close/>
                </a:path>
              </a:pathLst>
            </a:custGeom>
            <a:solidFill>
              <a:srgbClr val="1F6898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38FECC5C-6B6A-5946-BC96-E9F2442F197D}"/>
                </a:ext>
              </a:extLst>
            </p:cNvPr>
            <p:cNvSpPr/>
            <p:nvPr/>
          </p:nvSpPr>
          <p:spPr>
            <a:xfrm>
              <a:off x="3909939" y="2854783"/>
              <a:ext cx="120247" cy="10082"/>
            </a:xfrm>
            <a:custGeom>
              <a:avLst/>
              <a:gdLst>
                <a:gd name="connsiteX0" fmla="*/ 60442 w 120247"/>
                <a:gd name="connsiteY0" fmla="*/ 37 h 10082"/>
                <a:gd name="connsiteX1" fmla="*/ 113876 w 120247"/>
                <a:gd name="connsiteY1" fmla="*/ 37 h 10082"/>
                <a:gd name="connsiteX2" fmla="*/ 120245 w 120247"/>
                <a:gd name="connsiteY2" fmla="*/ 4837 h 10082"/>
                <a:gd name="connsiteX3" fmla="*/ 113853 w 120247"/>
                <a:gd name="connsiteY3" fmla="*/ 10082 h 10082"/>
                <a:gd name="connsiteX4" fmla="*/ 6140 w 120247"/>
                <a:gd name="connsiteY4" fmla="*/ 10082 h 10082"/>
                <a:gd name="connsiteX5" fmla="*/ 193 w 120247"/>
                <a:gd name="connsiteY5" fmla="*/ 6078 h 10082"/>
                <a:gd name="connsiteX6" fmla="*/ 2792 w 120247"/>
                <a:gd name="connsiteY6" fmla="*/ 599 h 10082"/>
                <a:gd name="connsiteX7" fmla="*/ 6773 w 120247"/>
                <a:gd name="connsiteY7" fmla="*/ 13 h 10082"/>
                <a:gd name="connsiteX8" fmla="*/ 60629 w 120247"/>
                <a:gd name="connsiteY8" fmla="*/ 13 h 10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247" h="10082">
                  <a:moveTo>
                    <a:pt x="60442" y="37"/>
                  </a:moveTo>
                  <a:lnTo>
                    <a:pt x="113876" y="37"/>
                  </a:lnTo>
                  <a:cubicBezTo>
                    <a:pt x="118044" y="37"/>
                    <a:pt x="120175" y="1652"/>
                    <a:pt x="120245" y="4837"/>
                  </a:cubicBezTo>
                  <a:cubicBezTo>
                    <a:pt x="120316" y="8022"/>
                    <a:pt x="118044" y="10082"/>
                    <a:pt x="113853" y="10082"/>
                  </a:cubicBezTo>
                  <a:lnTo>
                    <a:pt x="6140" y="10082"/>
                  </a:lnTo>
                  <a:cubicBezTo>
                    <a:pt x="3237" y="10082"/>
                    <a:pt x="895" y="9169"/>
                    <a:pt x="193" y="6078"/>
                  </a:cubicBezTo>
                  <a:cubicBezTo>
                    <a:pt x="-477" y="3855"/>
                    <a:pt x="647" y="1486"/>
                    <a:pt x="2792" y="599"/>
                  </a:cubicBezTo>
                  <a:cubicBezTo>
                    <a:pt x="4067" y="143"/>
                    <a:pt x="5420" y="-56"/>
                    <a:pt x="6773" y="13"/>
                  </a:cubicBezTo>
                  <a:lnTo>
                    <a:pt x="60629" y="13"/>
                  </a:lnTo>
                  <a:close/>
                </a:path>
              </a:pathLst>
            </a:custGeom>
            <a:solidFill>
              <a:srgbClr val="BD5C7A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4DC62D80-D620-394D-A2DB-FAC13D4620AB}"/>
                </a:ext>
              </a:extLst>
            </p:cNvPr>
            <p:cNvSpPr/>
            <p:nvPr/>
          </p:nvSpPr>
          <p:spPr>
            <a:xfrm>
              <a:off x="3909909" y="2831886"/>
              <a:ext cx="120225" cy="10116"/>
            </a:xfrm>
            <a:custGeom>
              <a:avLst/>
              <a:gdLst>
                <a:gd name="connsiteX0" fmla="*/ 60120 w 120225"/>
                <a:gd name="connsiteY0" fmla="*/ 10055 h 10116"/>
                <a:gd name="connsiteX1" fmla="*/ 7646 w 120225"/>
                <a:gd name="connsiteY1" fmla="*/ 10055 h 10116"/>
                <a:gd name="connsiteX2" fmla="*/ 4204 w 120225"/>
                <a:gd name="connsiteY2" fmla="*/ 10055 h 10116"/>
                <a:gd name="connsiteX3" fmla="*/ 59 w 120225"/>
                <a:gd name="connsiteY3" fmla="*/ 5630 h 10116"/>
                <a:gd name="connsiteX4" fmla="*/ 3595 w 120225"/>
                <a:gd name="connsiteY4" fmla="*/ 338 h 10116"/>
                <a:gd name="connsiteX5" fmla="*/ 7013 w 120225"/>
                <a:gd name="connsiteY5" fmla="*/ 10 h 10116"/>
                <a:gd name="connsiteX6" fmla="*/ 113204 w 120225"/>
                <a:gd name="connsiteY6" fmla="*/ 10 h 10116"/>
                <a:gd name="connsiteX7" fmla="*/ 116623 w 120225"/>
                <a:gd name="connsiteY7" fmla="*/ 361 h 10116"/>
                <a:gd name="connsiteX8" fmla="*/ 120158 w 120225"/>
                <a:gd name="connsiteY8" fmla="*/ 5559 h 10116"/>
                <a:gd name="connsiteX9" fmla="*/ 115990 w 120225"/>
                <a:gd name="connsiteY9" fmla="*/ 9938 h 10116"/>
                <a:gd name="connsiteX10" fmla="*/ 112853 w 120225"/>
                <a:gd name="connsiteY10" fmla="*/ 9938 h 1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0225" h="10116">
                  <a:moveTo>
                    <a:pt x="60120" y="10055"/>
                  </a:moveTo>
                  <a:lnTo>
                    <a:pt x="7646" y="10055"/>
                  </a:lnTo>
                  <a:cubicBezTo>
                    <a:pt x="6500" y="10137"/>
                    <a:pt x="5349" y="10137"/>
                    <a:pt x="4204" y="10055"/>
                  </a:cubicBezTo>
                  <a:cubicBezTo>
                    <a:pt x="1896" y="9853"/>
                    <a:pt x="110" y="7946"/>
                    <a:pt x="59" y="5630"/>
                  </a:cubicBezTo>
                  <a:cubicBezTo>
                    <a:pt x="-326" y="3213"/>
                    <a:pt x="1214" y="907"/>
                    <a:pt x="3595" y="338"/>
                  </a:cubicBezTo>
                  <a:cubicBezTo>
                    <a:pt x="4714" y="75"/>
                    <a:pt x="5864" y="-35"/>
                    <a:pt x="7013" y="10"/>
                  </a:cubicBezTo>
                  <a:cubicBezTo>
                    <a:pt x="42418" y="10"/>
                    <a:pt x="77815" y="10"/>
                    <a:pt x="113204" y="10"/>
                  </a:cubicBezTo>
                  <a:cubicBezTo>
                    <a:pt x="114354" y="-28"/>
                    <a:pt x="115504" y="90"/>
                    <a:pt x="116623" y="361"/>
                  </a:cubicBezTo>
                  <a:cubicBezTo>
                    <a:pt x="119011" y="856"/>
                    <a:pt x="120576" y="3156"/>
                    <a:pt x="120158" y="5559"/>
                  </a:cubicBezTo>
                  <a:cubicBezTo>
                    <a:pt x="120093" y="7870"/>
                    <a:pt x="118295" y="9759"/>
                    <a:pt x="115990" y="9938"/>
                  </a:cubicBezTo>
                  <a:cubicBezTo>
                    <a:pt x="114946" y="10020"/>
                    <a:pt x="113897" y="10020"/>
                    <a:pt x="112853" y="9938"/>
                  </a:cubicBezTo>
                  <a:close/>
                </a:path>
              </a:pathLst>
            </a:custGeom>
            <a:solidFill>
              <a:srgbClr val="BD5C7A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 151">
              <a:extLst>
                <a:ext uri="{FF2B5EF4-FFF2-40B4-BE49-F238E27FC236}">
                  <a16:creationId xmlns:a16="http://schemas.microsoft.com/office/drawing/2014/main" id="{6AB2A2EC-C605-2840-9F02-E27326A121BF}"/>
                </a:ext>
              </a:extLst>
            </p:cNvPr>
            <p:cNvSpPr/>
            <p:nvPr/>
          </p:nvSpPr>
          <p:spPr>
            <a:xfrm>
              <a:off x="3909859" y="2877627"/>
              <a:ext cx="82711" cy="10032"/>
            </a:xfrm>
            <a:custGeom>
              <a:avLst/>
              <a:gdLst>
                <a:gd name="connsiteX0" fmla="*/ 41531 w 82711"/>
                <a:gd name="connsiteY0" fmla="*/ 10022 h 10032"/>
                <a:gd name="connsiteX1" fmla="*/ 5986 w 82711"/>
                <a:gd name="connsiteY1" fmla="*/ 10022 h 10032"/>
                <a:gd name="connsiteX2" fmla="*/ 109 w 82711"/>
                <a:gd name="connsiteY2" fmla="*/ 6018 h 10032"/>
                <a:gd name="connsiteX3" fmla="*/ 5869 w 82711"/>
                <a:gd name="connsiteY3" fmla="*/ 0 h 10032"/>
                <a:gd name="connsiteX4" fmla="*/ 49539 w 82711"/>
                <a:gd name="connsiteY4" fmla="*/ 0 h 10032"/>
                <a:gd name="connsiteX5" fmla="*/ 77544 w 82711"/>
                <a:gd name="connsiteY5" fmla="*/ 0 h 10032"/>
                <a:gd name="connsiteX6" fmla="*/ 82696 w 82711"/>
                <a:gd name="connsiteY6" fmla="*/ 3606 h 10032"/>
                <a:gd name="connsiteX7" fmla="*/ 81033 w 82711"/>
                <a:gd name="connsiteY7" fmla="*/ 8828 h 10032"/>
                <a:gd name="connsiteX8" fmla="*/ 76725 w 82711"/>
                <a:gd name="connsiteY8" fmla="*/ 9999 h 10032"/>
                <a:gd name="connsiteX9" fmla="*/ 41531 w 82711"/>
                <a:gd name="connsiteY9" fmla="*/ 10022 h 1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711" h="10032">
                  <a:moveTo>
                    <a:pt x="41531" y="10022"/>
                  </a:moveTo>
                  <a:lnTo>
                    <a:pt x="5986" y="10022"/>
                  </a:lnTo>
                  <a:cubicBezTo>
                    <a:pt x="2591" y="10022"/>
                    <a:pt x="577" y="8594"/>
                    <a:pt x="109" y="6018"/>
                  </a:cubicBezTo>
                  <a:cubicBezTo>
                    <a:pt x="-547" y="2529"/>
                    <a:pt x="1818" y="0"/>
                    <a:pt x="5869" y="0"/>
                  </a:cubicBezTo>
                  <a:cubicBezTo>
                    <a:pt x="20410" y="0"/>
                    <a:pt x="34975" y="0"/>
                    <a:pt x="49539" y="0"/>
                  </a:cubicBezTo>
                  <a:lnTo>
                    <a:pt x="77544" y="0"/>
                  </a:lnTo>
                  <a:cubicBezTo>
                    <a:pt x="80144" y="0"/>
                    <a:pt x="82368" y="1054"/>
                    <a:pt x="82696" y="3606"/>
                  </a:cubicBezTo>
                  <a:cubicBezTo>
                    <a:pt x="82819" y="5494"/>
                    <a:pt x="82225" y="7358"/>
                    <a:pt x="81033" y="8828"/>
                  </a:cubicBezTo>
                  <a:cubicBezTo>
                    <a:pt x="79794" y="9743"/>
                    <a:pt x="78257" y="10161"/>
                    <a:pt x="76725" y="9999"/>
                  </a:cubicBezTo>
                  <a:cubicBezTo>
                    <a:pt x="64994" y="10045"/>
                    <a:pt x="53262" y="10022"/>
                    <a:pt x="41531" y="10022"/>
                  </a:cubicBezTo>
                  <a:close/>
                </a:path>
              </a:pathLst>
            </a:custGeom>
            <a:solidFill>
              <a:srgbClr val="BD5C7A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 152">
              <a:extLst>
                <a:ext uri="{FF2B5EF4-FFF2-40B4-BE49-F238E27FC236}">
                  <a16:creationId xmlns:a16="http://schemas.microsoft.com/office/drawing/2014/main" id="{1B4C94C3-CDFF-B948-A26A-8C973B2DBDE6}"/>
                </a:ext>
              </a:extLst>
            </p:cNvPr>
            <p:cNvSpPr/>
            <p:nvPr/>
          </p:nvSpPr>
          <p:spPr>
            <a:xfrm>
              <a:off x="4123134" y="3069903"/>
              <a:ext cx="38455" cy="16639"/>
            </a:xfrm>
            <a:custGeom>
              <a:avLst/>
              <a:gdLst>
                <a:gd name="connsiteX0" fmla="*/ 19352 w 38455"/>
                <a:gd name="connsiteY0" fmla="*/ 16639 h 16639"/>
                <a:gd name="connsiteX1" fmla="*/ 2235 w 38455"/>
                <a:gd name="connsiteY1" fmla="*/ 10013 h 16639"/>
                <a:gd name="connsiteX2" fmla="*/ 1052 w 38455"/>
                <a:gd name="connsiteY2" fmla="*/ 2388 h 16639"/>
                <a:gd name="connsiteX3" fmla="*/ 1112 w 38455"/>
                <a:gd name="connsiteY3" fmla="*/ 2309 h 16639"/>
                <a:gd name="connsiteX4" fmla="*/ 8322 w 38455"/>
                <a:gd name="connsiteY4" fmla="*/ 878 h 16639"/>
                <a:gd name="connsiteX5" fmla="*/ 8792 w 38455"/>
                <a:gd name="connsiteY5" fmla="*/ 1232 h 16639"/>
                <a:gd name="connsiteX6" fmla="*/ 29866 w 38455"/>
                <a:gd name="connsiteY6" fmla="*/ 1232 h 16639"/>
                <a:gd name="connsiteX7" fmla="*/ 37079 w 38455"/>
                <a:gd name="connsiteY7" fmla="*/ 1985 h 16639"/>
                <a:gd name="connsiteX8" fmla="*/ 37289 w 38455"/>
                <a:gd name="connsiteY8" fmla="*/ 2262 h 16639"/>
                <a:gd name="connsiteX9" fmla="*/ 36376 w 38455"/>
                <a:gd name="connsiteY9" fmla="*/ 10036 h 16639"/>
                <a:gd name="connsiteX10" fmla="*/ 19352 w 38455"/>
                <a:gd name="connsiteY10" fmla="*/ 16639 h 1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455" h="16639">
                  <a:moveTo>
                    <a:pt x="19352" y="16639"/>
                  </a:moveTo>
                  <a:cubicBezTo>
                    <a:pt x="13056" y="16457"/>
                    <a:pt x="7013" y="14117"/>
                    <a:pt x="2235" y="10013"/>
                  </a:cubicBezTo>
                  <a:cubicBezTo>
                    <a:pt x="-197" y="8234"/>
                    <a:pt x="-726" y="4820"/>
                    <a:pt x="1052" y="2388"/>
                  </a:cubicBezTo>
                  <a:cubicBezTo>
                    <a:pt x="1072" y="2362"/>
                    <a:pt x="1092" y="2335"/>
                    <a:pt x="1112" y="2309"/>
                  </a:cubicBezTo>
                  <a:cubicBezTo>
                    <a:pt x="2708" y="-77"/>
                    <a:pt x="5936" y="-718"/>
                    <a:pt x="8322" y="878"/>
                  </a:cubicBezTo>
                  <a:cubicBezTo>
                    <a:pt x="8485" y="987"/>
                    <a:pt x="8642" y="1105"/>
                    <a:pt x="8792" y="1232"/>
                  </a:cubicBezTo>
                  <a:cubicBezTo>
                    <a:pt x="14723" y="6776"/>
                    <a:pt x="23935" y="6776"/>
                    <a:pt x="29866" y="1232"/>
                  </a:cubicBezTo>
                  <a:cubicBezTo>
                    <a:pt x="32066" y="-552"/>
                    <a:pt x="35295" y="-215"/>
                    <a:pt x="37079" y="1985"/>
                  </a:cubicBezTo>
                  <a:cubicBezTo>
                    <a:pt x="37152" y="2075"/>
                    <a:pt x="37222" y="2167"/>
                    <a:pt x="37289" y="2262"/>
                  </a:cubicBezTo>
                  <a:cubicBezTo>
                    <a:pt x="39149" y="4671"/>
                    <a:pt x="38743" y="8124"/>
                    <a:pt x="36376" y="10036"/>
                  </a:cubicBezTo>
                  <a:cubicBezTo>
                    <a:pt x="31623" y="14119"/>
                    <a:pt x="25615" y="16450"/>
                    <a:pt x="19352" y="16639"/>
                  </a:cubicBezTo>
                  <a:close/>
                </a:path>
              </a:pathLst>
            </a:custGeom>
            <a:solidFill>
              <a:srgbClr val="1F6898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 153">
              <a:extLst>
                <a:ext uri="{FF2B5EF4-FFF2-40B4-BE49-F238E27FC236}">
                  <a16:creationId xmlns:a16="http://schemas.microsoft.com/office/drawing/2014/main" id="{9B03A011-A35B-3C4E-A377-9C1C38DFE8AA}"/>
                </a:ext>
              </a:extLst>
            </p:cNvPr>
            <p:cNvSpPr/>
            <p:nvPr/>
          </p:nvSpPr>
          <p:spPr>
            <a:xfrm>
              <a:off x="4107054" y="3028047"/>
              <a:ext cx="15249" cy="15246"/>
            </a:xfrm>
            <a:custGeom>
              <a:avLst/>
              <a:gdLst>
                <a:gd name="connsiteX0" fmla="*/ 4 w 15249"/>
                <a:gd name="connsiteY0" fmla="*/ 7402 h 15246"/>
                <a:gd name="connsiteX1" fmla="*/ 7354 w 15249"/>
                <a:gd name="connsiteY1" fmla="*/ 0 h 15246"/>
                <a:gd name="connsiteX2" fmla="*/ 7568 w 15249"/>
                <a:gd name="connsiteY2" fmla="*/ 2 h 15246"/>
                <a:gd name="connsiteX3" fmla="*/ 15249 w 15249"/>
                <a:gd name="connsiteY3" fmla="*/ 7541 h 15246"/>
                <a:gd name="connsiteX4" fmla="*/ 15248 w 15249"/>
                <a:gd name="connsiteY4" fmla="*/ 7753 h 15246"/>
                <a:gd name="connsiteX5" fmla="*/ 7568 w 15249"/>
                <a:gd name="connsiteY5" fmla="*/ 15246 h 15246"/>
                <a:gd name="connsiteX6" fmla="*/ 0 w 15249"/>
                <a:gd name="connsiteY6" fmla="*/ 7640 h 15246"/>
                <a:gd name="connsiteX7" fmla="*/ 4 w 15249"/>
                <a:gd name="connsiteY7" fmla="*/ 7402 h 1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49" h="15246">
                  <a:moveTo>
                    <a:pt x="4" y="7402"/>
                  </a:moveTo>
                  <a:cubicBezTo>
                    <a:pt x="-10" y="3328"/>
                    <a:pt x="3281" y="14"/>
                    <a:pt x="7354" y="0"/>
                  </a:cubicBezTo>
                  <a:cubicBezTo>
                    <a:pt x="7426" y="0"/>
                    <a:pt x="7497" y="1"/>
                    <a:pt x="7568" y="2"/>
                  </a:cubicBezTo>
                  <a:cubicBezTo>
                    <a:pt x="11770" y="-37"/>
                    <a:pt x="15209" y="3338"/>
                    <a:pt x="15249" y="7541"/>
                  </a:cubicBezTo>
                  <a:cubicBezTo>
                    <a:pt x="15250" y="7611"/>
                    <a:pt x="15249" y="7682"/>
                    <a:pt x="15248" y="7753"/>
                  </a:cubicBezTo>
                  <a:cubicBezTo>
                    <a:pt x="15064" y="11885"/>
                    <a:pt x="11703" y="15164"/>
                    <a:pt x="7568" y="15246"/>
                  </a:cubicBezTo>
                  <a:cubicBezTo>
                    <a:pt x="3378" y="15236"/>
                    <a:pt x="-10" y="11830"/>
                    <a:pt x="0" y="7640"/>
                  </a:cubicBezTo>
                  <a:cubicBezTo>
                    <a:pt x="0" y="7561"/>
                    <a:pt x="2" y="7481"/>
                    <a:pt x="4" y="7402"/>
                  </a:cubicBezTo>
                  <a:close/>
                </a:path>
              </a:pathLst>
            </a:custGeom>
            <a:solidFill>
              <a:srgbClr val="1F6898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 154">
              <a:extLst>
                <a:ext uri="{FF2B5EF4-FFF2-40B4-BE49-F238E27FC236}">
                  <a16:creationId xmlns:a16="http://schemas.microsoft.com/office/drawing/2014/main" id="{1285E2B0-BAC3-EA45-B0C0-77DE594A36EF}"/>
                </a:ext>
              </a:extLst>
            </p:cNvPr>
            <p:cNvSpPr/>
            <p:nvPr/>
          </p:nvSpPr>
          <p:spPr>
            <a:xfrm>
              <a:off x="4162644" y="3028048"/>
              <a:ext cx="15248" cy="15245"/>
            </a:xfrm>
            <a:custGeom>
              <a:avLst/>
              <a:gdLst>
                <a:gd name="connsiteX0" fmla="*/ 3 w 15248"/>
                <a:gd name="connsiteY0" fmla="*/ 7401 h 15245"/>
                <a:gd name="connsiteX1" fmla="*/ 7447 w 15248"/>
                <a:gd name="connsiteY1" fmla="*/ 0 h 15245"/>
                <a:gd name="connsiteX2" fmla="*/ 7590 w 15248"/>
                <a:gd name="connsiteY2" fmla="*/ 2 h 15245"/>
                <a:gd name="connsiteX3" fmla="*/ 15248 w 15248"/>
                <a:gd name="connsiteY3" fmla="*/ 7516 h 15245"/>
                <a:gd name="connsiteX4" fmla="*/ 15247 w 15248"/>
                <a:gd name="connsiteY4" fmla="*/ 7752 h 15245"/>
                <a:gd name="connsiteX5" fmla="*/ 7566 w 15248"/>
                <a:gd name="connsiteY5" fmla="*/ 15245 h 15245"/>
                <a:gd name="connsiteX6" fmla="*/ 0 w 15248"/>
                <a:gd name="connsiteY6" fmla="*/ 7545 h 15245"/>
                <a:gd name="connsiteX7" fmla="*/ 3 w 15248"/>
                <a:gd name="connsiteY7" fmla="*/ 7401 h 1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48" h="15245">
                  <a:moveTo>
                    <a:pt x="3" y="7401"/>
                  </a:moveTo>
                  <a:cubicBezTo>
                    <a:pt x="15" y="3302"/>
                    <a:pt x="3348" y="-12"/>
                    <a:pt x="7447" y="0"/>
                  </a:cubicBezTo>
                  <a:cubicBezTo>
                    <a:pt x="7495" y="0"/>
                    <a:pt x="7542" y="1"/>
                    <a:pt x="7590" y="2"/>
                  </a:cubicBezTo>
                  <a:cubicBezTo>
                    <a:pt x="11779" y="-38"/>
                    <a:pt x="15208" y="3326"/>
                    <a:pt x="15248" y="7516"/>
                  </a:cubicBezTo>
                  <a:cubicBezTo>
                    <a:pt x="15249" y="7595"/>
                    <a:pt x="15248" y="7674"/>
                    <a:pt x="15247" y="7752"/>
                  </a:cubicBezTo>
                  <a:cubicBezTo>
                    <a:pt x="15074" y="11889"/>
                    <a:pt x="11706" y="15175"/>
                    <a:pt x="7566" y="15245"/>
                  </a:cubicBezTo>
                  <a:cubicBezTo>
                    <a:pt x="3350" y="15208"/>
                    <a:pt x="-37" y="11761"/>
                    <a:pt x="0" y="7545"/>
                  </a:cubicBezTo>
                  <a:cubicBezTo>
                    <a:pt x="1" y="7497"/>
                    <a:pt x="2" y="7449"/>
                    <a:pt x="3" y="7401"/>
                  </a:cubicBezTo>
                  <a:close/>
                </a:path>
              </a:pathLst>
            </a:custGeom>
            <a:solidFill>
              <a:srgbClr val="1F6898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 155">
              <a:extLst>
                <a:ext uri="{FF2B5EF4-FFF2-40B4-BE49-F238E27FC236}">
                  <a16:creationId xmlns:a16="http://schemas.microsoft.com/office/drawing/2014/main" id="{4853907A-2F02-EA4E-8AB2-B8FF9492E223}"/>
                </a:ext>
              </a:extLst>
            </p:cNvPr>
            <p:cNvSpPr/>
            <p:nvPr/>
          </p:nvSpPr>
          <p:spPr>
            <a:xfrm>
              <a:off x="3912933" y="2974629"/>
              <a:ext cx="76858" cy="73321"/>
            </a:xfrm>
            <a:custGeom>
              <a:avLst/>
              <a:gdLst>
                <a:gd name="connsiteX0" fmla="*/ 55597 w 76858"/>
                <a:gd name="connsiteY0" fmla="*/ 594 h 73321"/>
                <a:gd name="connsiteX1" fmla="*/ 48318 w 76858"/>
                <a:gd name="connsiteY1" fmla="*/ 2947 h 73321"/>
                <a:gd name="connsiteX2" fmla="*/ 47776 w 76858"/>
                <a:gd name="connsiteY2" fmla="*/ 4669 h 73321"/>
                <a:gd name="connsiteX3" fmla="*/ 45130 w 76858"/>
                <a:gd name="connsiteY3" fmla="*/ 23401 h 73321"/>
                <a:gd name="connsiteX4" fmla="*/ 31690 w 76858"/>
                <a:gd name="connsiteY4" fmla="*/ 23401 h 73321"/>
                <a:gd name="connsiteX5" fmla="*/ 28669 w 76858"/>
                <a:gd name="connsiteY5" fmla="*/ 4716 h 73321"/>
                <a:gd name="connsiteX6" fmla="*/ 22451 w 76858"/>
                <a:gd name="connsiteY6" fmla="*/ 204 h 73321"/>
                <a:gd name="connsiteX7" fmla="*/ 20871 w 76858"/>
                <a:gd name="connsiteY7" fmla="*/ 711 h 73321"/>
                <a:gd name="connsiteX8" fmla="*/ 4256 w 76858"/>
                <a:gd name="connsiteY8" fmla="*/ 52451 h 73321"/>
                <a:gd name="connsiteX9" fmla="*/ 55995 w 76858"/>
                <a:gd name="connsiteY9" fmla="*/ 69066 h 73321"/>
                <a:gd name="connsiteX10" fmla="*/ 76858 w 76858"/>
                <a:gd name="connsiteY10" fmla="*/ 34969 h 73321"/>
                <a:gd name="connsiteX11" fmla="*/ 76858 w 76858"/>
                <a:gd name="connsiteY11" fmla="*/ 34969 h 73321"/>
                <a:gd name="connsiteX12" fmla="*/ 55597 w 76858"/>
                <a:gd name="connsiteY12" fmla="*/ 594 h 73321"/>
                <a:gd name="connsiteX13" fmla="*/ 66134 w 76858"/>
                <a:gd name="connsiteY13" fmla="*/ 35016 h 73321"/>
                <a:gd name="connsiteX14" fmla="*/ 38504 w 76858"/>
                <a:gd name="connsiteY14" fmla="*/ 62787 h 73321"/>
                <a:gd name="connsiteX15" fmla="*/ 10733 w 76858"/>
                <a:gd name="connsiteY15" fmla="*/ 35157 h 73321"/>
                <a:gd name="connsiteX16" fmla="*/ 18858 w 76858"/>
                <a:gd name="connsiteY16" fmla="*/ 15487 h 73321"/>
                <a:gd name="connsiteX17" fmla="*/ 19303 w 76858"/>
                <a:gd name="connsiteY17" fmla="*/ 14901 h 73321"/>
                <a:gd name="connsiteX18" fmla="*/ 21644 w 76858"/>
                <a:gd name="connsiteY18" fmla="*/ 29583 h 73321"/>
                <a:gd name="connsiteX19" fmla="*/ 27006 w 76858"/>
                <a:gd name="connsiteY19" fmla="*/ 34266 h 73321"/>
                <a:gd name="connsiteX20" fmla="*/ 49743 w 76858"/>
                <a:gd name="connsiteY20" fmla="*/ 34266 h 73321"/>
                <a:gd name="connsiteX21" fmla="*/ 55105 w 76858"/>
                <a:gd name="connsiteY21" fmla="*/ 29583 h 73321"/>
                <a:gd name="connsiteX22" fmla="*/ 57189 w 76858"/>
                <a:gd name="connsiteY22" fmla="*/ 14995 h 73321"/>
                <a:gd name="connsiteX23" fmla="*/ 66134 w 76858"/>
                <a:gd name="connsiteY23" fmla="*/ 35016 h 7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6858" h="73321">
                  <a:moveTo>
                    <a:pt x="55597" y="594"/>
                  </a:moveTo>
                  <a:cubicBezTo>
                    <a:pt x="52937" y="-766"/>
                    <a:pt x="49679" y="288"/>
                    <a:pt x="48318" y="2947"/>
                  </a:cubicBezTo>
                  <a:cubicBezTo>
                    <a:pt x="48042" y="3487"/>
                    <a:pt x="47859" y="4069"/>
                    <a:pt x="47776" y="4669"/>
                  </a:cubicBezTo>
                  <a:lnTo>
                    <a:pt x="45130" y="23401"/>
                  </a:lnTo>
                  <a:lnTo>
                    <a:pt x="31690" y="23401"/>
                  </a:lnTo>
                  <a:lnTo>
                    <a:pt x="28669" y="4716"/>
                  </a:lnTo>
                  <a:cubicBezTo>
                    <a:pt x="28198" y="1753"/>
                    <a:pt x="25414" y="-267"/>
                    <a:pt x="22451" y="204"/>
                  </a:cubicBezTo>
                  <a:cubicBezTo>
                    <a:pt x="21901" y="291"/>
                    <a:pt x="21369" y="462"/>
                    <a:pt x="20871" y="711"/>
                  </a:cubicBezTo>
                  <a:cubicBezTo>
                    <a:pt x="1996" y="10411"/>
                    <a:pt x="-5443" y="33575"/>
                    <a:pt x="4256" y="52451"/>
                  </a:cubicBezTo>
                  <a:cubicBezTo>
                    <a:pt x="13955" y="71326"/>
                    <a:pt x="37120" y="78765"/>
                    <a:pt x="55995" y="69066"/>
                  </a:cubicBezTo>
                  <a:cubicBezTo>
                    <a:pt x="68779" y="62497"/>
                    <a:pt x="76829" y="49342"/>
                    <a:pt x="76858" y="34969"/>
                  </a:cubicBezTo>
                  <a:lnTo>
                    <a:pt x="76858" y="34969"/>
                  </a:lnTo>
                  <a:cubicBezTo>
                    <a:pt x="76792" y="20426"/>
                    <a:pt x="68579" y="7149"/>
                    <a:pt x="55597" y="594"/>
                  </a:cubicBezTo>
                  <a:close/>
                  <a:moveTo>
                    <a:pt x="66134" y="35016"/>
                  </a:moveTo>
                  <a:cubicBezTo>
                    <a:pt x="66173" y="50314"/>
                    <a:pt x="53803" y="62748"/>
                    <a:pt x="38504" y="62787"/>
                  </a:cubicBezTo>
                  <a:cubicBezTo>
                    <a:pt x="23205" y="62826"/>
                    <a:pt x="10772" y="50455"/>
                    <a:pt x="10733" y="35157"/>
                  </a:cubicBezTo>
                  <a:cubicBezTo>
                    <a:pt x="10714" y="27780"/>
                    <a:pt x="13638" y="20700"/>
                    <a:pt x="18858" y="15487"/>
                  </a:cubicBezTo>
                  <a:lnTo>
                    <a:pt x="19303" y="14901"/>
                  </a:lnTo>
                  <a:lnTo>
                    <a:pt x="21644" y="29583"/>
                  </a:lnTo>
                  <a:cubicBezTo>
                    <a:pt x="22017" y="32261"/>
                    <a:pt x="24303" y="34257"/>
                    <a:pt x="27006" y="34266"/>
                  </a:cubicBezTo>
                  <a:lnTo>
                    <a:pt x="49743" y="34266"/>
                  </a:lnTo>
                  <a:cubicBezTo>
                    <a:pt x="52447" y="34257"/>
                    <a:pt x="54732" y="32261"/>
                    <a:pt x="55105" y="29583"/>
                  </a:cubicBezTo>
                  <a:lnTo>
                    <a:pt x="57189" y="14995"/>
                  </a:lnTo>
                  <a:cubicBezTo>
                    <a:pt x="62759" y="20182"/>
                    <a:pt x="65987" y="27406"/>
                    <a:pt x="66134" y="35016"/>
                  </a:cubicBezTo>
                  <a:close/>
                </a:path>
              </a:pathLst>
            </a:custGeom>
            <a:solidFill>
              <a:srgbClr val="BD5C7A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 156">
              <a:extLst>
                <a:ext uri="{FF2B5EF4-FFF2-40B4-BE49-F238E27FC236}">
                  <a16:creationId xmlns:a16="http://schemas.microsoft.com/office/drawing/2014/main" id="{71731277-3B80-DB44-9631-CF49B5D778C6}"/>
                </a:ext>
              </a:extLst>
            </p:cNvPr>
            <p:cNvSpPr/>
            <p:nvPr/>
          </p:nvSpPr>
          <p:spPr>
            <a:xfrm>
              <a:off x="3926897" y="3036807"/>
              <a:ext cx="48704" cy="122862"/>
            </a:xfrm>
            <a:custGeom>
              <a:avLst/>
              <a:gdLst>
                <a:gd name="connsiteX0" fmla="*/ 37863 w 48704"/>
                <a:gd name="connsiteY0" fmla="*/ 0 h 122862"/>
                <a:gd name="connsiteX1" fmla="*/ 37863 w 48704"/>
                <a:gd name="connsiteY1" fmla="*/ 98463 h 122862"/>
                <a:gd name="connsiteX2" fmla="*/ 24352 w 48704"/>
                <a:gd name="connsiteY2" fmla="*/ 111974 h 122862"/>
                <a:gd name="connsiteX3" fmla="*/ 10841 w 48704"/>
                <a:gd name="connsiteY3" fmla="*/ 98463 h 122862"/>
                <a:gd name="connsiteX4" fmla="*/ 10841 w 48704"/>
                <a:gd name="connsiteY4" fmla="*/ 304 h 122862"/>
                <a:gd name="connsiteX5" fmla="*/ 0 w 48704"/>
                <a:gd name="connsiteY5" fmla="*/ 304 h 122862"/>
                <a:gd name="connsiteX6" fmla="*/ 0 w 48704"/>
                <a:gd name="connsiteY6" fmla="*/ 98510 h 122862"/>
                <a:gd name="connsiteX7" fmla="*/ 24352 w 48704"/>
                <a:gd name="connsiteY7" fmla="*/ 122862 h 122862"/>
                <a:gd name="connsiteX8" fmla="*/ 48705 w 48704"/>
                <a:gd name="connsiteY8" fmla="*/ 98510 h 122862"/>
                <a:gd name="connsiteX9" fmla="*/ 48705 w 48704"/>
                <a:gd name="connsiteY9" fmla="*/ 0 h 12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704" h="122862">
                  <a:moveTo>
                    <a:pt x="37863" y="0"/>
                  </a:moveTo>
                  <a:lnTo>
                    <a:pt x="37863" y="98463"/>
                  </a:lnTo>
                  <a:cubicBezTo>
                    <a:pt x="37863" y="105925"/>
                    <a:pt x="31814" y="111974"/>
                    <a:pt x="24352" y="111974"/>
                  </a:cubicBezTo>
                  <a:cubicBezTo>
                    <a:pt x="16891" y="111974"/>
                    <a:pt x="10841" y="105925"/>
                    <a:pt x="10841" y="98463"/>
                  </a:cubicBezTo>
                  <a:lnTo>
                    <a:pt x="10841" y="304"/>
                  </a:lnTo>
                  <a:lnTo>
                    <a:pt x="0" y="304"/>
                  </a:lnTo>
                  <a:lnTo>
                    <a:pt x="0" y="98510"/>
                  </a:lnTo>
                  <a:cubicBezTo>
                    <a:pt x="0" y="111960"/>
                    <a:pt x="10903" y="122862"/>
                    <a:pt x="24352" y="122862"/>
                  </a:cubicBezTo>
                  <a:cubicBezTo>
                    <a:pt x="37802" y="122862"/>
                    <a:pt x="48705" y="111960"/>
                    <a:pt x="48705" y="98510"/>
                  </a:cubicBezTo>
                  <a:lnTo>
                    <a:pt x="48705" y="0"/>
                  </a:lnTo>
                  <a:close/>
                </a:path>
              </a:pathLst>
            </a:custGeom>
            <a:solidFill>
              <a:srgbClr val="BD5C7A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 157">
              <a:extLst>
                <a:ext uri="{FF2B5EF4-FFF2-40B4-BE49-F238E27FC236}">
                  <a16:creationId xmlns:a16="http://schemas.microsoft.com/office/drawing/2014/main" id="{9B1C5423-FA14-F249-96CE-5EE5543983CB}"/>
                </a:ext>
              </a:extLst>
            </p:cNvPr>
            <p:cNvSpPr/>
            <p:nvPr/>
          </p:nvSpPr>
          <p:spPr>
            <a:xfrm>
              <a:off x="3943169" y="3126606"/>
              <a:ext cx="15687" cy="15782"/>
            </a:xfrm>
            <a:custGeom>
              <a:avLst/>
              <a:gdLst>
                <a:gd name="connsiteX0" fmla="*/ 7799 w 15687"/>
                <a:gd name="connsiteY0" fmla="*/ 1 h 15782"/>
                <a:gd name="connsiteX1" fmla="*/ 2 w 15687"/>
                <a:gd name="connsiteY1" fmla="*/ 7704 h 15782"/>
                <a:gd name="connsiteX2" fmla="*/ 2 w 15687"/>
                <a:gd name="connsiteY2" fmla="*/ 7798 h 15782"/>
                <a:gd name="connsiteX3" fmla="*/ 2343 w 15687"/>
                <a:gd name="connsiteY3" fmla="*/ 13441 h 15782"/>
                <a:gd name="connsiteX4" fmla="*/ 7986 w 15687"/>
                <a:gd name="connsiteY4" fmla="*/ 15783 h 15782"/>
                <a:gd name="connsiteX5" fmla="*/ 13606 w 15687"/>
                <a:gd name="connsiteY5" fmla="*/ 13441 h 15782"/>
                <a:gd name="connsiteX6" fmla="*/ 15643 w 15687"/>
                <a:gd name="connsiteY6" fmla="*/ 7798 h 15782"/>
                <a:gd name="connsiteX7" fmla="*/ 7940 w 15687"/>
                <a:gd name="connsiteY7" fmla="*/ 0 h 15782"/>
                <a:gd name="connsiteX8" fmla="*/ 7799 w 15687"/>
                <a:gd name="connsiteY8" fmla="*/ 1 h 15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87" h="15782">
                  <a:moveTo>
                    <a:pt x="7799" y="1"/>
                  </a:moveTo>
                  <a:cubicBezTo>
                    <a:pt x="3519" y="-25"/>
                    <a:pt x="28" y="3424"/>
                    <a:pt x="2" y="7704"/>
                  </a:cubicBezTo>
                  <a:cubicBezTo>
                    <a:pt x="2" y="7735"/>
                    <a:pt x="2" y="7767"/>
                    <a:pt x="2" y="7798"/>
                  </a:cubicBezTo>
                  <a:cubicBezTo>
                    <a:pt x="-43" y="9924"/>
                    <a:pt x="806" y="11971"/>
                    <a:pt x="2343" y="13441"/>
                  </a:cubicBezTo>
                  <a:cubicBezTo>
                    <a:pt x="3841" y="14937"/>
                    <a:pt x="5870" y="15779"/>
                    <a:pt x="7986" y="15783"/>
                  </a:cubicBezTo>
                  <a:cubicBezTo>
                    <a:pt x="10100" y="15796"/>
                    <a:pt x="12128" y="14951"/>
                    <a:pt x="13606" y="13441"/>
                  </a:cubicBezTo>
                  <a:cubicBezTo>
                    <a:pt x="15131" y="11982"/>
                    <a:pt x="15885" y="9894"/>
                    <a:pt x="15643" y="7798"/>
                  </a:cubicBezTo>
                  <a:cubicBezTo>
                    <a:pt x="15670" y="3518"/>
                    <a:pt x="12221" y="26"/>
                    <a:pt x="7940" y="0"/>
                  </a:cubicBezTo>
                  <a:cubicBezTo>
                    <a:pt x="7893" y="0"/>
                    <a:pt x="7846" y="0"/>
                    <a:pt x="7799" y="1"/>
                  </a:cubicBezTo>
                  <a:close/>
                </a:path>
              </a:pathLst>
            </a:custGeom>
            <a:solidFill>
              <a:srgbClr val="BD5C7A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9" name="Graphic 194">
            <a:extLst>
              <a:ext uri="{FF2B5EF4-FFF2-40B4-BE49-F238E27FC236}">
                <a16:creationId xmlns:a16="http://schemas.microsoft.com/office/drawing/2014/main" id="{31440A8B-FB7C-E648-823F-EC4110EF3C69}"/>
              </a:ext>
            </a:extLst>
          </p:cNvPr>
          <p:cNvGrpSpPr/>
          <p:nvPr userDrawn="1"/>
        </p:nvGrpSpPr>
        <p:grpSpPr>
          <a:xfrm>
            <a:off x="4625139" y="2782963"/>
            <a:ext cx="396139" cy="396139"/>
            <a:chOff x="4625139" y="2782963"/>
            <a:chExt cx="396139" cy="396139"/>
          </a:xfrm>
        </p:grpSpPr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3245ED35-9FB4-9946-A733-93E092E12BCF}"/>
                </a:ext>
              </a:extLst>
            </p:cNvPr>
            <p:cNvSpPr/>
            <p:nvPr/>
          </p:nvSpPr>
          <p:spPr>
            <a:xfrm>
              <a:off x="4657993" y="2843253"/>
              <a:ext cx="332954" cy="332951"/>
            </a:xfrm>
            <a:custGeom>
              <a:avLst/>
              <a:gdLst>
                <a:gd name="connsiteX0" fmla="*/ 330652 w 332954"/>
                <a:gd name="connsiteY0" fmla="*/ 123171 h 332951"/>
                <a:gd name="connsiteX1" fmla="*/ 299555 w 332954"/>
                <a:gd name="connsiteY1" fmla="*/ 99601 h 332951"/>
                <a:gd name="connsiteX2" fmla="*/ 299555 w 332954"/>
                <a:gd name="connsiteY2" fmla="*/ 38744 h 332951"/>
                <a:gd name="connsiteX3" fmla="*/ 294009 w 332954"/>
                <a:gd name="connsiteY3" fmla="*/ 33198 h 332951"/>
                <a:gd name="connsiteX4" fmla="*/ 212256 w 332954"/>
                <a:gd name="connsiteY4" fmla="*/ 33198 h 332951"/>
                <a:gd name="connsiteX5" fmla="*/ 169770 w 332954"/>
                <a:gd name="connsiteY5" fmla="*/ 1111 h 332951"/>
                <a:gd name="connsiteX6" fmla="*/ 163061 w 332954"/>
                <a:gd name="connsiteY6" fmla="*/ 1111 h 332951"/>
                <a:gd name="connsiteX7" fmla="*/ 120649 w 332954"/>
                <a:gd name="connsiteY7" fmla="*/ 33297 h 332951"/>
                <a:gd name="connsiteX8" fmla="*/ 38945 w 332954"/>
                <a:gd name="connsiteY8" fmla="*/ 33297 h 332951"/>
                <a:gd name="connsiteX9" fmla="*/ 33276 w 332954"/>
                <a:gd name="connsiteY9" fmla="*/ 38744 h 332951"/>
                <a:gd name="connsiteX10" fmla="*/ 33276 w 332954"/>
                <a:gd name="connsiteY10" fmla="*/ 99576 h 332951"/>
                <a:gd name="connsiteX11" fmla="*/ 2228 w 332954"/>
                <a:gd name="connsiteY11" fmla="*/ 123171 h 332951"/>
                <a:gd name="connsiteX12" fmla="*/ 0 w 332954"/>
                <a:gd name="connsiteY12" fmla="*/ 127603 h 332951"/>
                <a:gd name="connsiteX13" fmla="*/ 0 w 332954"/>
                <a:gd name="connsiteY13" fmla="*/ 327431 h 332951"/>
                <a:gd name="connsiteX14" fmla="*/ 5521 w 332954"/>
                <a:gd name="connsiteY14" fmla="*/ 332952 h 332951"/>
                <a:gd name="connsiteX15" fmla="*/ 5546 w 332954"/>
                <a:gd name="connsiteY15" fmla="*/ 332952 h 332951"/>
                <a:gd name="connsiteX16" fmla="*/ 327409 w 332954"/>
                <a:gd name="connsiteY16" fmla="*/ 332952 h 332951"/>
                <a:gd name="connsiteX17" fmla="*/ 332955 w 332954"/>
                <a:gd name="connsiteY17" fmla="*/ 327455 h 332951"/>
                <a:gd name="connsiteX18" fmla="*/ 332955 w 332954"/>
                <a:gd name="connsiteY18" fmla="*/ 327455 h 332951"/>
                <a:gd name="connsiteX19" fmla="*/ 332955 w 332954"/>
                <a:gd name="connsiteY19" fmla="*/ 327455 h 332951"/>
                <a:gd name="connsiteX20" fmla="*/ 332955 w 332954"/>
                <a:gd name="connsiteY20" fmla="*/ 127603 h 332951"/>
                <a:gd name="connsiteX21" fmla="*/ 330652 w 332954"/>
                <a:gd name="connsiteY21" fmla="*/ 123171 h 332951"/>
                <a:gd name="connsiteX22" fmla="*/ 11092 w 332954"/>
                <a:gd name="connsiteY22" fmla="*/ 138695 h 332951"/>
                <a:gd name="connsiteX23" fmla="*/ 128077 w 332954"/>
                <a:gd name="connsiteY23" fmla="*/ 227381 h 332951"/>
                <a:gd name="connsiteX24" fmla="*/ 11092 w 332954"/>
                <a:gd name="connsiteY24" fmla="*/ 316165 h 332951"/>
                <a:gd name="connsiteX25" fmla="*/ 166453 w 332954"/>
                <a:gd name="connsiteY25" fmla="*/ 212055 h 332951"/>
                <a:gd name="connsiteX26" fmla="*/ 310845 w 332954"/>
                <a:gd name="connsiteY26" fmla="*/ 321761 h 332951"/>
                <a:gd name="connsiteX27" fmla="*/ 22035 w 332954"/>
                <a:gd name="connsiteY27" fmla="*/ 321761 h 332951"/>
                <a:gd name="connsiteX28" fmla="*/ 204878 w 332954"/>
                <a:gd name="connsiteY28" fmla="*/ 227282 h 332951"/>
                <a:gd name="connsiteX29" fmla="*/ 321789 w 332954"/>
                <a:gd name="connsiteY29" fmla="*/ 138596 h 332951"/>
                <a:gd name="connsiteX30" fmla="*/ 321789 w 332954"/>
                <a:gd name="connsiteY30" fmla="*/ 316042 h 332951"/>
                <a:gd name="connsiteX31" fmla="*/ 318149 w 332954"/>
                <a:gd name="connsiteY31" fmla="*/ 127380 h 332951"/>
                <a:gd name="connsiteX32" fmla="*/ 299605 w 332954"/>
                <a:gd name="connsiteY32" fmla="*/ 141443 h 332951"/>
                <a:gd name="connsiteX33" fmla="*/ 299605 w 332954"/>
                <a:gd name="connsiteY33" fmla="*/ 113540 h 332951"/>
                <a:gd name="connsiteX34" fmla="*/ 166453 w 332954"/>
                <a:gd name="connsiteY34" fmla="*/ 12500 h 332951"/>
                <a:gd name="connsiteX35" fmla="*/ 193836 w 332954"/>
                <a:gd name="connsiteY35" fmla="*/ 33322 h 332951"/>
                <a:gd name="connsiteX36" fmla="*/ 139070 w 332954"/>
                <a:gd name="connsiteY36" fmla="*/ 33322 h 332951"/>
                <a:gd name="connsiteX37" fmla="*/ 288513 w 332954"/>
                <a:gd name="connsiteY37" fmla="*/ 44389 h 332951"/>
                <a:gd name="connsiteX38" fmla="*/ 288513 w 332954"/>
                <a:gd name="connsiteY38" fmla="*/ 150158 h 332951"/>
                <a:gd name="connsiteX39" fmla="*/ 195668 w 332954"/>
                <a:gd name="connsiteY39" fmla="*/ 220498 h 332951"/>
                <a:gd name="connsiteX40" fmla="*/ 169770 w 332954"/>
                <a:gd name="connsiteY40" fmla="*/ 200839 h 332951"/>
                <a:gd name="connsiteX41" fmla="*/ 163061 w 332954"/>
                <a:gd name="connsiteY41" fmla="*/ 200839 h 332951"/>
                <a:gd name="connsiteX42" fmla="*/ 137213 w 332954"/>
                <a:gd name="connsiteY42" fmla="*/ 220473 h 332951"/>
                <a:gd name="connsiteX43" fmla="*/ 44368 w 332954"/>
                <a:gd name="connsiteY43" fmla="*/ 150158 h 332951"/>
                <a:gd name="connsiteX44" fmla="*/ 44368 w 332954"/>
                <a:gd name="connsiteY44" fmla="*/ 44389 h 332951"/>
                <a:gd name="connsiteX45" fmla="*/ 33276 w 332954"/>
                <a:gd name="connsiteY45" fmla="*/ 141666 h 332951"/>
                <a:gd name="connsiteX46" fmla="*/ 14731 w 332954"/>
                <a:gd name="connsiteY46" fmla="*/ 127603 h 332951"/>
                <a:gd name="connsiteX47" fmla="*/ 33276 w 332954"/>
                <a:gd name="connsiteY47" fmla="*/ 113540 h 332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32954" h="332951">
                  <a:moveTo>
                    <a:pt x="330652" y="123171"/>
                  </a:moveTo>
                  <a:lnTo>
                    <a:pt x="299555" y="99601"/>
                  </a:lnTo>
                  <a:lnTo>
                    <a:pt x="299555" y="38744"/>
                  </a:lnTo>
                  <a:cubicBezTo>
                    <a:pt x="299555" y="35681"/>
                    <a:pt x="297072" y="33198"/>
                    <a:pt x="294009" y="33198"/>
                  </a:cubicBezTo>
                  <a:lnTo>
                    <a:pt x="212256" y="33198"/>
                  </a:lnTo>
                  <a:lnTo>
                    <a:pt x="169770" y="1111"/>
                  </a:lnTo>
                  <a:cubicBezTo>
                    <a:pt x="167779" y="-370"/>
                    <a:pt x="165052" y="-370"/>
                    <a:pt x="163061" y="1111"/>
                  </a:cubicBezTo>
                  <a:lnTo>
                    <a:pt x="120649" y="33297"/>
                  </a:lnTo>
                  <a:lnTo>
                    <a:pt x="38945" y="33297"/>
                  </a:lnTo>
                  <a:cubicBezTo>
                    <a:pt x="35878" y="33242"/>
                    <a:pt x="33343" y="35677"/>
                    <a:pt x="33276" y="38744"/>
                  </a:cubicBezTo>
                  <a:lnTo>
                    <a:pt x="33276" y="99576"/>
                  </a:lnTo>
                  <a:lnTo>
                    <a:pt x="2228" y="123171"/>
                  </a:lnTo>
                  <a:cubicBezTo>
                    <a:pt x="832" y="124218"/>
                    <a:pt x="8" y="125859"/>
                    <a:pt x="0" y="127603"/>
                  </a:cubicBezTo>
                  <a:lnTo>
                    <a:pt x="0" y="327431"/>
                  </a:lnTo>
                  <a:cubicBezTo>
                    <a:pt x="0" y="330480"/>
                    <a:pt x="2472" y="332952"/>
                    <a:pt x="5521" y="332952"/>
                  </a:cubicBezTo>
                  <a:cubicBezTo>
                    <a:pt x="5529" y="332952"/>
                    <a:pt x="5538" y="332952"/>
                    <a:pt x="5546" y="332952"/>
                  </a:cubicBezTo>
                  <a:lnTo>
                    <a:pt x="327409" y="332952"/>
                  </a:lnTo>
                  <a:cubicBezTo>
                    <a:pt x="330458" y="332966"/>
                    <a:pt x="332941" y="330505"/>
                    <a:pt x="332955" y="327455"/>
                  </a:cubicBezTo>
                  <a:cubicBezTo>
                    <a:pt x="332955" y="327455"/>
                    <a:pt x="332955" y="327455"/>
                    <a:pt x="332955" y="327455"/>
                  </a:cubicBezTo>
                  <a:lnTo>
                    <a:pt x="332955" y="327455"/>
                  </a:lnTo>
                  <a:lnTo>
                    <a:pt x="332955" y="127603"/>
                  </a:lnTo>
                  <a:cubicBezTo>
                    <a:pt x="332938" y="125843"/>
                    <a:pt x="332082" y="124197"/>
                    <a:pt x="330652" y="123171"/>
                  </a:cubicBezTo>
                  <a:close/>
                  <a:moveTo>
                    <a:pt x="11092" y="138695"/>
                  </a:moveTo>
                  <a:lnTo>
                    <a:pt x="128077" y="227381"/>
                  </a:lnTo>
                  <a:lnTo>
                    <a:pt x="11092" y="316165"/>
                  </a:lnTo>
                  <a:close/>
                  <a:moveTo>
                    <a:pt x="166453" y="212055"/>
                  </a:moveTo>
                  <a:lnTo>
                    <a:pt x="310845" y="321761"/>
                  </a:lnTo>
                  <a:lnTo>
                    <a:pt x="22035" y="321761"/>
                  </a:lnTo>
                  <a:close/>
                  <a:moveTo>
                    <a:pt x="204878" y="227282"/>
                  </a:moveTo>
                  <a:lnTo>
                    <a:pt x="321789" y="138596"/>
                  </a:lnTo>
                  <a:lnTo>
                    <a:pt x="321789" y="316042"/>
                  </a:lnTo>
                  <a:close/>
                  <a:moveTo>
                    <a:pt x="318149" y="127380"/>
                  </a:moveTo>
                  <a:lnTo>
                    <a:pt x="299605" y="141443"/>
                  </a:lnTo>
                  <a:lnTo>
                    <a:pt x="299605" y="113540"/>
                  </a:lnTo>
                  <a:close/>
                  <a:moveTo>
                    <a:pt x="166453" y="12500"/>
                  </a:moveTo>
                  <a:lnTo>
                    <a:pt x="193836" y="33322"/>
                  </a:lnTo>
                  <a:lnTo>
                    <a:pt x="139070" y="33322"/>
                  </a:lnTo>
                  <a:close/>
                  <a:moveTo>
                    <a:pt x="288513" y="44389"/>
                  </a:moveTo>
                  <a:lnTo>
                    <a:pt x="288513" y="150158"/>
                  </a:lnTo>
                  <a:lnTo>
                    <a:pt x="195668" y="220498"/>
                  </a:lnTo>
                  <a:lnTo>
                    <a:pt x="169770" y="200839"/>
                  </a:lnTo>
                  <a:cubicBezTo>
                    <a:pt x="167787" y="199333"/>
                    <a:pt x="165044" y="199333"/>
                    <a:pt x="163061" y="200839"/>
                  </a:cubicBezTo>
                  <a:lnTo>
                    <a:pt x="137213" y="220473"/>
                  </a:lnTo>
                  <a:lnTo>
                    <a:pt x="44368" y="150158"/>
                  </a:lnTo>
                  <a:lnTo>
                    <a:pt x="44368" y="44389"/>
                  </a:lnTo>
                  <a:close/>
                  <a:moveTo>
                    <a:pt x="33276" y="141666"/>
                  </a:moveTo>
                  <a:lnTo>
                    <a:pt x="14731" y="127603"/>
                  </a:lnTo>
                  <a:lnTo>
                    <a:pt x="33276" y="113540"/>
                  </a:lnTo>
                  <a:close/>
                </a:path>
              </a:pathLst>
            </a:custGeom>
            <a:solidFill>
              <a:srgbClr val="1F6898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 160">
              <a:extLst>
                <a:ext uri="{FF2B5EF4-FFF2-40B4-BE49-F238E27FC236}">
                  <a16:creationId xmlns:a16="http://schemas.microsoft.com/office/drawing/2014/main" id="{9E098B14-56DB-C94F-92FE-B15B9F3F5AB9}"/>
                </a:ext>
              </a:extLst>
            </p:cNvPr>
            <p:cNvSpPr/>
            <p:nvPr/>
          </p:nvSpPr>
          <p:spPr>
            <a:xfrm>
              <a:off x="4769556" y="2906756"/>
              <a:ext cx="96781" cy="55211"/>
            </a:xfrm>
            <a:custGeom>
              <a:avLst/>
              <a:gdLst>
                <a:gd name="connsiteX0" fmla="*/ 6908 w 96781"/>
                <a:gd name="connsiteY0" fmla="*/ 55212 h 55211"/>
                <a:gd name="connsiteX1" fmla="*/ 89849 w 96781"/>
                <a:gd name="connsiteY1" fmla="*/ 55212 h 55211"/>
                <a:gd name="connsiteX2" fmla="*/ 96782 w 96781"/>
                <a:gd name="connsiteY2" fmla="*/ 48329 h 55211"/>
                <a:gd name="connsiteX3" fmla="*/ 96782 w 96781"/>
                <a:gd name="connsiteY3" fmla="*/ 48304 h 55211"/>
                <a:gd name="connsiteX4" fmla="*/ 96782 w 96781"/>
                <a:gd name="connsiteY4" fmla="*/ 6833 h 55211"/>
                <a:gd name="connsiteX5" fmla="*/ 89849 w 96781"/>
                <a:gd name="connsiteY5" fmla="*/ 0 h 55211"/>
                <a:gd name="connsiteX6" fmla="*/ 6908 w 96781"/>
                <a:gd name="connsiteY6" fmla="*/ 0 h 55211"/>
                <a:gd name="connsiteX7" fmla="*/ 0 w 96781"/>
                <a:gd name="connsiteY7" fmla="*/ 6858 h 55211"/>
                <a:gd name="connsiteX8" fmla="*/ 0 w 96781"/>
                <a:gd name="connsiteY8" fmla="*/ 6908 h 55211"/>
                <a:gd name="connsiteX9" fmla="*/ 0 w 96781"/>
                <a:gd name="connsiteY9" fmla="*/ 48304 h 55211"/>
                <a:gd name="connsiteX10" fmla="*/ 6908 w 96781"/>
                <a:gd name="connsiteY10" fmla="*/ 55212 h 55211"/>
                <a:gd name="connsiteX11" fmla="*/ 13815 w 96781"/>
                <a:gd name="connsiteY11" fmla="*/ 13741 h 55211"/>
                <a:gd name="connsiteX12" fmla="*/ 82942 w 96781"/>
                <a:gd name="connsiteY12" fmla="*/ 13741 h 55211"/>
                <a:gd name="connsiteX13" fmla="*/ 82942 w 96781"/>
                <a:gd name="connsiteY13" fmla="*/ 41397 h 55211"/>
                <a:gd name="connsiteX14" fmla="*/ 13815 w 96781"/>
                <a:gd name="connsiteY14" fmla="*/ 41397 h 55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781" h="55211">
                  <a:moveTo>
                    <a:pt x="6908" y="55212"/>
                  </a:moveTo>
                  <a:lnTo>
                    <a:pt x="89849" y="55212"/>
                  </a:lnTo>
                  <a:cubicBezTo>
                    <a:pt x="93664" y="55226"/>
                    <a:pt x="96768" y="52144"/>
                    <a:pt x="96782" y="48329"/>
                  </a:cubicBezTo>
                  <a:cubicBezTo>
                    <a:pt x="96782" y="48321"/>
                    <a:pt x="96782" y="48313"/>
                    <a:pt x="96782" y="48304"/>
                  </a:cubicBezTo>
                  <a:lnTo>
                    <a:pt x="96782" y="6833"/>
                  </a:lnTo>
                  <a:cubicBezTo>
                    <a:pt x="96741" y="3038"/>
                    <a:pt x="93645" y="-14"/>
                    <a:pt x="89849" y="0"/>
                  </a:cubicBezTo>
                  <a:lnTo>
                    <a:pt x="6908" y="0"/>
                  </a:lnTo>
                  <a:cubicBezTo>
                    <a:pt x="3106" y="-14"/>
                    <a:pt x="14" y="3057"/>
                    <a:pt x="0" y="6858"/>
                  </a:cubicBezTo>
                  <a:cubicBezTo>
                    <a:pt x="0" y="6875"/>
                    <a:pt x="0" y="6891"/>
                    <a:pt x="0" y="6908"/>
                  </a:cubicBezTo>
                  <a:lnTo>
                    <a:pt x="0" y="48304"/>
                  </a:lnTo>
                  <a:cubicBezTo>
                    <a:pt x="0" y="52119"/>
                    <a:pt x="3093" y="55212"/>
                    <a:pt x="6908" y="55212"/>
                  </a:cubicBezTo>
                  <a:close/>
                  <a:moveTo>
                    <a:pt x="13815" y="13741"/>
                  </a:moveTo>
                  <a:lnTo>
                    <a:pt x="82942" y="13741"/>
                  </a:lnTo>
                  <a:lnTo>
                    <a:pt x="82942" y="41397"/>
                  </a:lnTo>
                  <a:lnTo>
                    <a:pt x="13815" y="41397"/>
                  </a:ln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 161">
              <a:extLst>
                <a:ext uri="{FF2B5EF4-FFF2-40B4-BE49-F238E27FC236}">
                  <a16:creationId xmlns:a16="http://schemas.microsoft.com/office/drawing/2014/main" id="{DF4A8C25-989A-DE44-BF17-ACC1C3A2F17F}"/>
                </a:ext>
              </a:extLst>
            </p:cNvPr>
            <p:cNvSpPr/>
            <p:nvPr/>
          </p:nvSpPr>
          <p:spPr>
            <a:xfrm>
              <a:off x="4769556" y="2975783"/>
              <a:ext cx="110597" cy="13815"/>
            </a:xfrm>
            <a:custGeom>
              <a:avLst/>
              <a:gdLst>
                <a:gd name="connsiteX0" fmla="*/ 0 w 110597"/>
                <a:gd name="connsiteY0" fmla="*/ 0 h 13815"/>
                <a:gd name="connsiteX1" fmla="*/ 110597 w 110597"/>
                <a:gd name="connsiteY1" fmla="*/ 0 h 13815"/>
                <a:gd name="connsiteX2" fmla="*/ 110597 w 110597"/>
                <a:gd name="connsiteY2" fmla="*/ 13815 h 13815"/>
                <a:gd name="connsiteX3" fmla="*/ 0 w 110597"/>
                <a:gd name="connsiteY3" fmla="*/ 13815 h 1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97" h="13815">
                  <a:moveTo>
                    <a:pt x="0" y="0"/>
                  </a:moveTo>
                  <a:lnTo>
                    <a:pt x="110597" y="0"/>
                  </a:lnTo>
                  <a:lnTo>
                    <a:pt x="110597" y="13815"/>
                  </a:lnTo>
                  <a:lnTo>
                    <a:pt x="0" y="13815"/>
                  </a:ln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 162">
              <a:extLst>
                <a:ext uri="{FF2B5EF4-FFF2-40B4-BE49-F238E27FC236}">
                  <a16:creationId xmlns:a16="http://schemas.microsoft.com/office/drawing/2014/main" id="{A78F973D-4A82-FC4E-ADB8-7EB7127657E8}"/>
                </a:ext>
              </a:extLst>
            </p:cNvPr>
            <p:cNvSpPr/>
            <p:nvPr/>
          </p:nvSpPr>
          <p:spPr>
            <a:xfrm>
              <a:off x="4769556" y="3003439"/>
              <a:ext cx="110597" cy="13815"/>
            </a:xfrm>
            <a:custGeom>
              <a:avLst/>
              <a:gdLst>
                <a:gd name="connsiteX0" fmla="*/ 0 w 110597"/>
                <a:gd name="connsiteY0" fmla="*/ 0 h 13815"/>
                <a:gd name="connsiteX1" fmla="*/ 110597 w 110597"/>
                <a:gd name="connsiteY1" fmla="*/ 0 h 13815"/>
                <a:gd name="connsiteX2" fmla="*/ 110597 w 110597"/>
                <a:gd name="connsiteY2" fmla="*/ 13815 h 13815"/>
                <a:gd name="connsiteX3" fmla="*/ 0 w 110597"/>
                <a:gd name="connsiteY3" fmla="*/ 13815 h 1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97" h="13815">
                  <a:moveTo>
                    <a:pt x="0" y="0"/>
                  </a:moveTo>
                  <a:lnTo>
                    <a:pt x="110597" y="0"/>
                  </a:lnTo>
                  <a:lnTo>
                    <a:pt x="110597" y="13815"/>
                  </a:lnTo>
                  <a:lnTo>
                    <a:pt x="0" y="13815"/>
                  </a:ln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8C5C729D-16D4-ED48-B134-E5BAB3F3CA91}"/>
                </a:ext>
              </a:extLst>
            </p:cNvPr>
            <p:cNvSpPr/>
            <p:nvPr/>
          </p:nvSpPr>
          <p:spPr>
            <a:xfrm>
              <a:off x="4990962" y="2847593"/>
              <a:ext cx="38339" cy="38341"/>
            </a:xfrm>
            <a:custGeom>
              <a:avLst/>
              <a:gdLst>
                <a:gd name="connsiteX0" fmla="*/ 6844 w 38339"/>
                <a:gd name="connsiteY0" fmla="*/ 38341 h 38341"/>
                <a:gd name="connsiteX1" fmla="*/ 11796 w 38339"/>
                <a:gd name="connsiteY1" fmla="*/ 36311 h 38341"/>
                <a:gd name="connsiteX2" fmla="*/ 36233 w 38339"/>
                <a:gd name="connsiteY2" fmla="*/ 11874 h 38341"/>
                <a:gd name="connsiteX3" fmla="*/ 36398 w 38339"/>
                <a:gd name="connsiteY3" fmla="*/ 2107 h 38341"/>
                <a:gd name="connsiteX4" fmla="*/ 26631 w 38339"/>
                <a:gd name="connsiteY4" fmla="*/ 1941 h 38341"/>
                <a:gd name="connsiteX5" fmla="*/ 26453 w 38339"/>
                <a:gd name="connsiteY5" fmla="*/ 2119 h 38341"/>
                <a:gd name="connsiteX6" fmla="*/ 2016 w 38339"/>
                <a:gd name="connsiteY6" fmla="*/ 26556 h 38341"/>
                <a:gd name="connsiteX7" fmla="*/ 2030 w 38339"/>
                <a:gd name="connsiteY7" fmla="*/ 36325 h 38341"/>
                <a:gd name="connsiteX8" fmla="*/ 6968 w 38339"/>
                <a:gd name="connsiteY8" fmla="*/ 38341 h 38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339" h="38341">
                  <a:moveTo>
                    <a:pt x="6844" y="38341"/>
                  </a:moveTo>
                  <a:cubicBezTo>
                    <a:pt x="8701" y="38360"/>
                    <a:pt x="10487" y="37628"/>
                    <a:pt x="11796" y="36311"/>
                  </a:cubicBezTo>
                  <a:lnTo>
                    <a:pt x="36233" y="11874"/>
                  </a:lnTo>
                  <a:cubicBezTo>
                    <a:pt x="38976" y="9223"/>
                    <a:pt x="39050" y="4849"/>
                    <a:pt x="36398" y="2107"/>
                  </a:cubicBezTo>
                  <a:cubicBezTo>
                    <a:pt x="33747" y="-636"/>
                    <a:pt x="29374" y="-710"/>
                    <a:pt x="26631" y="1941"/>
                  </a:cubicBezTo>
                  <a:cubicBezTo>
                    <a:pt x="26571" y="1999"/>
                    <a:pt x="26511" y="2059"/>
                    <a:pt x="26453" y="2119"/>
                  </a:cubicBezTo>
                  <a:lnTo>
                    <a:pt x="2016" y="26556"/>
                  </a:lnTo>
                  <a:cubicBezTo>
                    <a:pt x="-677" y="29257"/>
                    <a:pt x="-671" y="33631"/>
                    <a:pt x="2030" y="36325"/>
                  </a:cubicBezTo>
                  <a:cubicBezTo>
                    <a:pt x="3340" y="37631"/>
                    <a:pt x="5119" y="38357"/>
                    <a:pt x="6968" y="38341"/>
                  </a:cubicBez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 164">
              <a:extLst>
                <a:ext uri="{FF2B5EF4-FFF2-40B4-BE49-F238E27FC236}">
                  <a16:creationId xmlns:a16="http://schemas.microsoft.com/office/drawing/2014/main" id="{7F173F1C-62FF-A344-8D8A-E346FC153D1D}"/>
                </a:ext>
              </a:extLst>
            </p:cNvPr>
            <p:cNvSpPr/>
            <p:nvPr/>
          </p:nvSpPr>
          <p:spPr>
            <a:xfrm>
              <a:off x="4627204" y="2847519"/>
              <a:ext cx="38252" cy="38153"/>
            </a:xfrm>
            <a:custGeom>
              <a:avLst/>
              <a:gdLst>
                <a:gd name="connsiteX0" fmla="*/ 26729 w 38252"/>
                <a:gd name="connsiteY0" fmla="*/ 36384 h 38153"/>
                <a:gd name="connsiteX1" fmla="*/ 36483 w 38252"/>
                <a:gd name="connsiteY1" fmla="*/ 35862 h 38153"/>
                <a:gd name="connsiteX2" fmla="*/ 36483 w 38252"/>
                <a:gd name="connsiteY2" fmla="*/ 26630 h 38153"/>
                <a:gd name="connsiteX3" fmla="*/ 12047 w 38252"/>
                <a:gd name="connsiteY3" fmla="*/ 2292 h 38153"/>
                <a:gd name="connsiteX4" fmla="*/ 2292 w 38252"/>
                <a:gd name="connsiteY4" fmla="*/ 1769 h 38153"/>
                <a:gd name="connsiteX5" fmla="*/ 1769 w 38252"/>
                <a:gd name="connsiteY5" fmla="*/ 11524 h 38153"/>
                <a:gd name="connsiteX6" fmla="*/ 2292 w 38252"/>
                <a:gd name="connsiteY6" fmla="*/ 12047 h 38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252" h="38153">
                  <a:moveTo>
                    <a:pt x="26729" y="36384"/>
                  </a:moveTo>
                  <a:cubicBezTo>
                    <a:pt x="29567" y="38934"/>
                    <a:pt x="33934" y="38700"/>
                    <a:pt x="36483" y="35862"/>
                  </a:cubicBezTo>
                  <a:cubicBezTo>
                    <a:pt x="38842" y="33236"/>
                    <a:pt x="38842" y="29255"/>
                    <a:pt x="36483" y="26630"/>
                  </a:cubicBezTo>
                  <a:lnTo>
                    <a:pt x="12047" y="2292"/>
                  </a:lnTo>
                  <a:cubicBezTo>
                    <a:pt x="9497" y="-546"/>
                    <a:pt x="5130" y="-781"/>
                    <a:pt x="2292" y="1769"/>
                  </a:cubicBezTo>
                  <a:cubicBezTo>
                    <a:pt x="-546" y="4318"/>
                    <a:pt x="-781" y="8686"/>
                    <a:pt x="1769" y="11524"/>
                  </a:cubicBezTo>
                  <a:cubicBezTo>
                    <a:pt x="1934" y="11707"/>
                    <a:pt x="2108" y="11882"/>
                    <a:pt x="2292" y="12047"/>
                  </a:cubicBez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 165">
              <a:extLst>
                <a:ext uri="{FF2B5EF4-FFF2-40B4-BE49-F238E27FC236}">
                  <a16:creationId xmlns:a16="http://schemas.microsoft.com/office/drawing/2014/main" id="{AAA2FB82-4C95-8F4B-8291-91550DBC827F}"/>
                </a:ext>
              </a:extLst>
            </p:cNvPr>
            <p:cNvSpPr/>
            <p:nvPr/>
          </p:nvSpPr>
          <p:spPr>
            <a:xfrm>
              <a:off x="4935514" y="2802889"/>
              <a:ext cx="27634" cy="48481"/>
            </a:xfrm>
            <a:custGeom>
              <a:avLst/>
              <a:gdLst>
                <a:gd name="connsiteX0" fmla="*/ 4431 w 27634"/>
                <a:gd name="connsiteY0" fmla="*/ 47987 h 48481"/>
                <a:gd name="connsiteX1" fmla="*/ 6907 w 27634"/>
                <a:gd name="connsiteY1" fmla="*/ 48482 h 48481"/>
                <a:gd name="connsiteX2" fmla="*/ 13319 w 27634"/>
                <a:gd name="connsiteY2" fmla="*/ 44149 h 48481"/>
                <a:gd name="connsiteX3" fmla="*/ 27135 w 27634"/>
                <a:gd name="connsiteY3" fmla="*/ 9487 h 48481"/>
                <a:gd name="connsiteX4" fmla="*/ 23297 w 27634"/>
                <a:gd name="connsiteY4" fmla="*/ 499 h 48481"/>
                <a:gd name="connsiteX5" fmla="*/ 14310 w 27634"/>
                <a:gd name="connsiteY5" fmla="*/ 4337 h 48481"/>
                <a:gd name="connsiteX6" fmla="*/ 494 w 27634"/>
                <a:gd name="connsiteY6" fmla="*/ 38999 h 48481"/>
                <a:gd name="connsiteX7" fmla="*/ 4328 w 27634"/>
                <a:gd name="connsiteY7" fmla="*/ 47946 h 48481"/>
                <a:gd name="connsiteX8" fmla="*/ 4431 w 27634"/>
                <a:gd name="connsiteY8" fmla="*/ 47987 h 48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34" h="48481">
                  <a:moveTo>
                    <a:pt x="4431" y="47987"/>
                  </a:moveTo>
                  <a:cubicBezTo>
                    <a:pt x="5217" y="48307"/>
                    <a:pt x="6058" y="48475"/>
                    <a:pt x="6907" y="48482"/>
                  </a:cubicBezTo>
                  <a:cubicBezTo>
                    <a:pt x="9729" y="48483"/>
                    <a:pt x="12267" y="46768"/>
                    <a:pt x="13319" y="44149"/>
                  </a:cubicBezTo>
                  <a:lnTo>
                    <a:pt x="27135" y="9487"/>
                  </a:lnTo>
                  <a:cubicBezTo>
                    <a:pt x="28557" y="5945"/>
                    <a:pt x="26839" y="1922"/>
                    <a:pt x="23297" y="499"/>
                  </a:cubicBezTo>
                  <a:cubicBezTo>
                    <a:pt x="19756" y="-923"/>
                    <a:pt x="15732" y="796"/>
                    <a:pt x="14310" y="4337"/>
                  </a:cubicBezTo>
                  <a:lnTo>
                    <a:pt x="494" y="38999"/>
                  </a:lnTo>
                  <a:cubicBezTo>
                    <a:pt x="-918" y="42529"/>
                    <a:pt x="799" y="46534"/>
                    <a:pt x="4328" y="47946"/>
                  </a:cubicBezTo>
                  <a:cubicBezTo>
                    <a:pt x="4362" y="47960"/>
                    <a:pt x="4397" y="47974"/>
                    <a:pt x="4431" y="47987"/>
                  </a:cubicBez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 166">
              <a:extLst>
                <a:ext uri="{FF2B5EF4-FFF2-40B4-BE49-F238E27FC236}">
                  <a16:creationId xmlns:a16="http://schemas.microsoft.com/office/drawing/2014/main" id="{D0CE939A-5EA5-4743-83F1-61B02796068C}"/>
                </a:ext>
              </a:extLst>
            </p:cNvPr>
            <p:cNvSpPr/>
            <p:nvPr/>
          </p:nvSpPr>
          <p:spPr>
            <a:xfrm>
              <a:off x="4700216" y="2802844"/>
              <a:ext cx="27648" cy="48526"/>
            </a:xfrm>
            <a:custGeom>
              <a:avLst/>
              <a:gdLst>
                <a:gd name="connsiteX0" fmla="*/ 14376 w 27648"/>
                <a:gd name="connsiteY0" fmla="*/ 44194 h 48526"/>
                <a:gd name="connsiteX1" fmla="*/ 20813 w 27648"/>
                <a:gd name="connsiteY1" fmla="*/ 48527 h 48526"/>
                <a:gd name="connsiteX2" fmla="*/ 23289 w 27648"/>
                <a:gd name="connsiteY2" fmla="*/ 48032 h 48526"/>
                <a:gd name="connsiteX3" fmla="*/ 27158 w 27648"/>
                <a:gd name="connsiteY3" fmla="*/ 39062 h 48526"/>
                <a:gd name="connsiteX4" fmla="*/ 27151 w 27648"/>
                <a:gd name="connsiteY4" fmla="*/ 39044 h 48526"/>
                <a:gd name="connsiteX5" fmla="*/ 13386 w 27648"/>
                <a:gd name="connsiteY5" fmla="*/ 4506 h 48526"/>
                <a:gd name="connsiteX6" fmla="*/ 4506 w 27648"/>
                <a:gd name="connsiteY6" fmla="*/ 434 h 48526"/>
                <a:gd name="connsiteX7" fmla="*/ 434 w 27648"/>
                <a:gd name="connsiteY7" fmla="*/ 9313 h 48526"/>
                <a:gd name="connsiteX8" fmla="*/ 561 w 27648"/>
                <a:gd name="connsiteY8" fmla="*/ 9631 h 48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48" h="48526">
                  <a:moveTo>
                    <a:pt x="14376" y="44194"/>
                  </a:moveTo>
                  <a:cubicBezTo>
                    <a:pt x="15437" y="46816"/>
                    <a:pt x="17984" y="48531"/>
                    <a:pt x="20813" y="48527"/>
                  </a:cubicBezTo>
                  <a:cubicBezTo>
                    <a:pt x="21662" y="48521"/>
                    <a:pt x="22503" y="48353"/>
                    <a:pt x="23289" y="48032"/>
                  </a:cubicBezTo>
                  <a:cubicBezTo>
                    <a:pt x="26834" y="46623"/>
                    <a:pt x="28567" y="42607"/>
                    <a:pt x="27158" y="39062"/>
                  </a:cubicBezTo>
                  <a:cubicBezTo>
                    <a:pt x="27156" y="39056"/>
                    <a:pt x="27154" y="39050"/>
                    <a:pt x="27151" y="39044"/>
                  </a:cubicBezTo>
                  <a:lnTo>
                    <a:pt x="13386" y="4506"/>
                  </a:lnTo>
                  <a:cubicBezTo>
                    <a:pt x="12058" y="929"/>
                    <a:pt x="8082" y="-894"/>
                    <a:pt x="4506" y="434"/>
                  </a:cubicBezTo>
                  <a:cubicBezTo>
                    <a:pt x="929" y="1761"/>
                    <a:pt x="-894" y="5737"/>
                    <a:pt x="434" y="9313"/>
                  </a:cubicBezTo>
                  <a:cubicBezTo>
                    <a:pt x="473" y="9420"/>
                    <a:pt x="516" y="9526"/>
                    <a:pt x="561" y="9631"/>
                  </a:cubicBez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8" name="Graphic 205">
            <a:extLst>
              <a:ext uri="{FF2B5EF4-FFF2-40B4-BE49-F238E27FC236}">
                <a16:creationId xmlns:a16="http://schemas.microsoft.com/office/drawing/2014/main" id="{EA58310C-C319-C24E-92D6-0CA3251F2BE2}"/>
              </a:ext>
            </a:extLst>
          </p:cNvPr>
          <p:cNvGrpSpPr/>
          <p:nvPr userDrawn="1"/>
        </p:nvGrpSpPr>
        <p:grpSpPr>
          <a:xfrm>
            <a:off x="5527675" y="2836228"/>
            <a:ext cx="441325" cy="353060"/>
            <a:chOff x="5527675" y="2836228"/>
            <a:chExt cx="441325" cy="353060"/>
          </a:xfrm>
        </p:grpSpPr>
        <p:sp>
          <p:nvSpPr>
            <p:cNvPr id="169" name="Freeform 168">
              <a:extLst>
                <a:ext uri="{FF2B5EF4-FFF2-40B4-BE49-F238E27FC236}">
                  <a16:creationId xmlns:a16="http://schemas.microsoft.com/office/drawing/2014/main" id="{97D97303-C93A-B04B-8984-76A6EB4B60DC}"/>
                </a:ext>
              </a:extLst>
            </p:cNvPr>
            <p:cNvSpPr/>
            <p:nvPr/>
          </p:nvSpPr>
          <p:spPr>
            <a:xfrm>
              <a:off x="5672135" y="3055789"/>
              <a:ext cx="44468" cy="10965"/>
            </a:xfrm>
            <a:custGeom>
              <a:avLst/>
              <a:gdLst>
                <a:gd name="connsiteX0" fmla="*/ 38921 w 44468"/>
                <a:gd name="connsiteY0" fmla="*/ 10966 h 10965"/>
                <a:gd name="connsiteX1" fmla="*/ 5548 w 44468"/>
                <a:gd name="connsiteY1" fmla="*/ 10966 h 10965"/>
                <a:gd name="connsiteX2" fmla="*/ 0 w 44468"/>
                <a:gd name="connsiteY2" fmla="*/ 5483 h 10965"/>
                <a:gd name="connsiteX3" fmla="*/ 5548 w 44468"/>
                <a:gd name="connsiteY3" fmla="*/ 0 h 10965"/>
                <a:gd name="connsiteX4" fmla="*/ 38921 w 44468"/>
                <a:gd name="connsiteY4" fmla="*/ 0 h 10965"/>
                <a:gd name="connsiteX5" fmla="*/ 44469 w 44468"/>
                <a:gd name="connsiteY5" fmla="*/ 5483 h 10965"/>
                <a:gd name="connsiteX6" fmla="*/ 38921 w 44468"/>
                <a:gd name="connsiteY6" fmla="*/ 10966 h 1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68" h="10965">
                  <a:moveTo>
                    <a:pt x="38921" y="10966"/>
                  </a:moveTo>
                  <a:lnTo>
                    <a:pt x="5548" y="10966"/>
                  </a:lnTo>
                  <a:cubicBezTo>
                    <a:pt x="2484" y="10966"/>
                    <a:pt x="0" y="8511"/>
                    <a:pt x="0" y="5483"/>
                  </a:cubicBezTo>
                  <a:cubicBezTo>
                    <a:pt x="0" y="2455"/>
                    <a:pt x="2484" y="0"/>
                    <a:pt x="5548" y="0"/>
                  </a:cubicBezTo>
                  <a:lnTo>
                    <a:pt x="38921" y="0"/>
                  </a:lnTo>
                  <a:cubicBezTo>
                    <a:pt x="41985" y="0"/>
                    <a:pt x="44469" y="2455"/>
                    <a:pt x="44469" y="5483"/>
                  </a:cubicBezTo>
                  <a:cubicBezTo>
                    <a:pt x="44469" y="8511"/>
                    <a:pt x="41985" y="10966"/>
                    <a:pt x="38921" y="10966"/>
                  </a:cubicBezTo>
                  <a:close/>
                </a:path>
              </a:pathLst>
            </a:custGeom>
            <a:solidFill>
              <a:srgbClr val="1F6896"/>
            </a:solidFill>
            <a:ln w="208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 169">
              <a:extLst>
                <a:ext uri="{FF2B5EF4-FFF2-40B4-BE49-F238E27FC236}">
                  <a16:creationId xmlns:a16="http://schemas.microsoft.com/office/drawing/2014/main" id="{11D787B7-6364-7343-8D39-88C48DF47962}"/>
                </a:ext>
              </a:extLst>
            </p:cNvPr>
            <p:cNvSpPr/>
            <p:nvPr/>
          </p:nvSpPr>
          <p:spPr>
            <a:xfrm>
              <a:off x="5602595" y="2906594"/>
              <a:ext cx="165318" cy="90203"/>
            </a:xfrm>
            <a:custGeom>
              <a:avLst/>
              <a:gdLst>
                <a:gd name="connsiteX0" fmla="*/ 143809 w 165318"/>
                <a:gd name="connsiteY0" fmla="*/ 391 h 90203"/>
                <a:gd name="connsiteX1" fmla="*/ 122983 w 165318"/>
                <a:gd name="connsiteY1" fmla="*/ 20993 h 90203"/>
                <a:gd name="connsiteX2" fmla="*/ 125084 w 165318"/>
                <a:gd name="connsiteY2" fmla="*/ 29758 h 90203"/>
                <a:gd name="connsiteX3" fmla="*/ 104069 w 165318"/>
                <a:gd name="connsiteY3" fmla="*/ 50526 h 90203"/>
                <a:gd name="connsiteX4" fmla="*/ 95179 w 165318"/>
                <a:gd name="connsiteY4" fmla="*/ 48449 h 90203"/>
                <a:gd name="connsiteX5" fmla="*/ 86290 w 165318"/>
                <a:gd name="connsiteY5" fmla="*/ 50526 h 90203"/>
                <a:gd name="connsiteX6" fmla="*/ 65274 w 165318"/>
                <a:gd name="connsiteY6" fmla="*/ 29758 h 90203"/>
                <a:gd name="connsiteX7" fmla="*/ 67376 w 165318"/>
                <a:gd name="connsiteY7" fmla="*/ 20973 h 90203"/>
                <a:gd name="connsiteX8" fmla="*/ 46907 w 165318"/>
                <a:gd name="connsiteY8" fmla="*/ 3 h 90203"/>
                <a:gd name="connsiteX9" fmla="*/ 25688 w 165318"/>
                <a:gd name="connsiteY9" fmla="*/ 20232 h 90203"/>
                <a:gd name="connsiteX10" fmla="*/ 27846 w 165318"/>
                <a:gd name="connsiteY10" fmla="*/ 29737 h 90203"/>
                <a:gd name="connsiteX11" fmla="*/ 0 w 165318"/>
                <a:gd name="connsiteY11" fmla="*/ 57317 h 90203"/>
                <a:gd name="connsiteX12" fmla="*/ 9814 w 165318"/>
                <a:gd name="connsiteY12" fmla="*/ 67016 h 90203"/>
                <a:gd name="connsiteX13" fmla="*/ 37723 w 165318"/>
                <a:gd name="connsiteY13" fmla="*/ 39456 h 90203"/>
                <a:gd name="connsiteX14" fmla="*/ 55418 w 165318"/>
                <a:gd name="connsiteY14" fmla="*/ 39456 h 90203"/>
                <a:gd name="connsiteX15" fmla="*/ 76433 w 165318"/>
                <a:gd name="connsiteY15" fmla="*/ 60225 h 90203"/>
                <a:gd name="connsiteX16" fmla="*/ 74332 w 165318"/>
                <a:gd name="connsiteY16" fmla="*/ 68947 h 90203"/>
                <a:gd name="connsiteX17" fmla="*/ 94507 w 165318"/>
                <a:gd name="connsiteY17" fmla="*/ 90193 h 90203"/>
                <a:gd name="connsiteX18" fmla="*/ 116005 w 165318"/>
                <a:gd name="connsiteY18" fmla="*/ 70256 h 90203"/>
                <a:gd name="connsiteX19" fmla="*/ 116005 w 165318"/>
                <a:gd name="connsiteY19" fmla="*/ 68947 h 90203"/>
                <a:gd name="connsiteX20" fmla="*/ 113904 w 165318"/>
                <a:gd name="connsiteY20" fmla="*/ 60204 h 90203"/>
                <a:gd name="connsiteX21" fmla="*/ 134919 w 165318"/>
                <a:gd name="connsiteY21" fmla="*/ 39436 h 90203"/>
                <a:gd name="connsiteX22" fmla="*/ 143767 w 165318"/>
                <a:gd name="connsiteY22" fmla="*/ 41512 h 90203"/>
                <a:gd name="connsiteX23" fmla="*/ 165308 w 165318"/>
                <a:gd name="connsiteY23" fmla="*/ 21533 h 90203"/>
                <a:gd name="connsiteX24" fmla="*/ 145091 w 165318"/>
                <a:gd name="connsiteY24" fmla="*/ 246 h 90203"/>
                <a:gd name="connsiteX25" fmla="*/ 143767 w 165318"/>
                <a:gd name="connsiteY25" fmla="*/ 246 h 90203"/>
                <a:gd name="connsiteX26" fmla="*/ 39635 w 165318"/>
                <a:gd name="connsiteY26" fmla="*/ 21014 h 90203"/>
                <a:gd name="connsiteX27" fmla="*/ 46570 w 165318"/>
                <a:gd name="connsiteY27" fmla="*/ 14119 h 90203"/>
                <a:gd name="connsiteX28" fmla="*/ 53547 w 165318"/>
                <a:gd name="connsiteY28" fmla="*/ 20973 h 90203"/>
                <a:gd name="connsiteX29" fmla="*/ 46612 w 165318"/>
                <a:gd name="connsiteY29" fmla="*/ 27868 h 90203"/>
                <a:gd name="connsiteX30" fmla="*/ 46612 w 165318"/>
                <a:gd name="connsiteY30" fmla="*/ 27868 h 90203"/>
                <a:gd name="connsiteX31" fmla="*/ 39635 w 165318"/>
                <a:gd name="connsiteY31" fmla="*/ 21014 h 90203"/>
                <a:gd name="connsiteX32" fmla="*/ 95305 w 165318"/>
                <a:gd name="connsiteY32" fmla="*/ 75905 h 90203"/>
                <a:gd name="connsiteX33" fmla="*/ 88349 w 165318"/>
                <a:gd name="connsiteY33" fmla="*/ 69030 h 90203"/>
                <a:gd name="connsiteX34" fmla="*/ 95305 w 165318"/>
                <a:gd name="connsiteY34" fmla="*/ 62156 h 90203"/>
                <a:gd name="connsiteX35" fmla="*/ 102261 w 165318"/>
                <a:gd name="connsiteY35" fmla="*/ 69030 h 90203"/>
                <a:gd name="connsiteX36" fmla="*/ 95305 w 165318"/>
                <a:gd name="connsiteY36" fmla="*/ 75905 h 90203"/>
                <a:gd name="connsiteX37" fmla="*/ 143914 w 165318"/>
                <a:gd name="connsiteY37" fmla="*/ 27847 h 90203"/>
                <a:gd name="connsiteX38" fmla="*/ 136958 w 165318"/>
                <a:gd name="connsiteY38" fmla="*/ 20973 h 90203"/>
                <a:gd name="connsiteX39" fmla="*/ 143914 w 165318"/>
                <a:gd name="connsiteY39" fmla="*/ 14098 h 90203"/>
                <a:gd name="connsiteX40" fmla="*/ 150870 w 165318"/>
                <a:gd name="connsiteY40" fmla="*/ 20973 h 90203"/>
                <a:gd name="connsiteX41" fmla="*/ 150870 w 165318"/>
                <a:gd name="connsiteY41" fmla="*/ 20973 h 90203"/>
                <a:gd name="connsiteX42" fmla="*/ 143935 w 165318"/>
                <a:gd name="connsiteY42" fmla="*/ 27826 h 90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65318" h="90203">
                  <a:moveTo>
                    <a:pt x="143809" y="391"/>
                  </a:moveTo>
                  <a:cubicBezTo>
                    <a:pt x="132308" y="414"/>
                    <a:pt x="122994" y="9628"/>
                    <a:pt x="122983" y="20993"/>
                  </a:cubicBezTo>
                  <a:cubicBezTo>
                    <a:pt x="123002" y="24034"/>
                    <a:pt x="123720" y="27031"/>
                    <a:pt x="125084" y="29758"/>
                  </a:cubicBezTo>
                  <a:lnTo>
                    <a:pt x="104069" y="50526"/>
                  </a:lnTo>
                  <a:cubicBezTo>
                    <a:pt x="101295" y="49198"/>
                    <a:pt x="98261" y="48489"/>
                    <a:pt x="95179" y="48449"/>
                  </a:cubicBezTo>
                  <a:cubicBezTo>
                    <a:pt x="92095" y="48468"/>
                    <a:pt x="89056" y="49178"/>
                    <a:pt x="86290" y="50526"/>
                  </a:cubicBezTo>
                  <a:lnTo>
                    <a:pt x="65274" y="29758"/>
                  </a:lnTo>
                  <a:cubicBezTo>
                    <a:pt x="66638" y="27024"/>
                    <a:pt x="67357" y="24020"/>
                    <a:pt x="67376" y="20973"/>
                  </a:cubicBezTo>
                  <a:cubicBezTo>
                    <a:pt x="67583" y="9596"/>
                    <a:pt x="58418" y="208"/>
                    <a:pt x="46907" y="3"/>
                  </a:cubicBezTo>
                  <a:cubicBezTo>
                    <a:pt x="35395" y="-201"/>
                    <a:pt x="25895" y="8855"/>
                    <a:pt x="25688" y="20232"/>
                  </a:cubicBezTo>
                  <a:cubicBezTo>
                    <a:pt x="25628" y="23525"/>
                    <a:pt x="26368" y="26784"/>
                    <a:pt x="27846" y="29737"/>
                  </a:cubicBezTo>
                  <a:lnTo>
                    <a:pt x="0" y="57317"/>
                  </a:lnTo>
                  <a:lnTo>
                    <a:pt x="9814" y="67016"/>
                  </a:lnTo>
                  <a:lnTo>
                    <a:pt x="37723" y="39456"/>
                  </a:lnTo>
                  <a:cubicBezTo>
                    <a:pt x="43280" y="42260"/>
                    <a:pt x="49861" y="42260"/>
                    <a:pt x="55418" y="39456"/>
                  </a:cubicBezTo>
                  <a:lnTo>
                    <a:pt x="76433" y="60225"/>
                  </a:lnTo>
                  <a:cubicBezTo>
                    <a:pt x="75080" y="62940"/>
                    <a:pt x="74362" y="65921"/>
                    <a:pt x="74332" y="68947"/>
                  </a:cubicBezTo>
                  <a:cubicBezTo>
                    <a:pt x="73966" y="80320"/>
                    <a:pt x="82999" y="89832"/>
                    <a:pt x="94507" y="90193"/>
                  </a:cubicBezTo>
                  <a:cubicBezTo>
                    <a:pt x="106014" y="90554"/>
                    <a:pt x="115640" y="81628"/>
                    <a:pt x="116005" y="70256"/>
                  </a:cubicBezTo>
                  <a:cubicBezTo>
                    <a:pt x="116005" y="69813"/>
                    <a:pt x="116005" y="69376"/>
                    <a:pt x="116005" y="68947"/>
                  </a:cubicBezTo>
                  <a:cubicBezTo>
                    <a:pt x="115966" y="65915"/>
                    <a:pt x="115248" y="62930"/>
                    <a:pt x="113904" y="60204"/>
                  </a:cubicBezTo>
                  <a:lnTo>
                    <a:pt x="134919" y="39436"/>
                  </a:lnTo>
                  <a:cubicBezTo>
                    <a:pt x="137674" y="40773"/>
                    <a:pt x="140698" y="41483"/>
                    <a:pt x="143767" y="41512"/>
                  </a:cubicBezTo>
                  <a:cubicBezTo>
                    <a:pt x="155298" y="41874"/>
                    <a:pt x="164942" y="32929"/>
                    <a:pt x="165308" y="21533"/>
                  </a:cubicBezTo>
                  <a:cubicBezTo>
                    <a:pt x="165673" y="10138"/>
                    <a:pt x="156622" y="607"/>
                    <a:pt x="145091" y="246"/>
                  </a:cubicBezTo>
                  <a:lnTo>
                    <a:pt x="143767" y="246"/>
                  </a:lnTo>
                  <a:close/>
                  <a:moveTo>
                    <a:pt x="39635" y="21014"/>
                  </a:moveTo>
                  <a:cubicBezTo>
                    <a:pt x="39624" y="17218"/>
                    <a:pt x="42729" y="14131"/>
                    <a:pt x="46570" y="14119"/>
                  </a:cubicBezTo>
                  <a:cubicBezTo>
                    <a:pt x="50412" y="14108"/>
                    <a:pt x="53536" y="17176"/>
                    <a:pt x="53547" y="20973"/>
                  </a:cubicBezTo>
                  <a:cubicBezTo>
                    <a:pt x="53559" y="24769"/>
                    <a:pt x="50454" y="27856"/>
                    <a:pt x="46612" y="27868"/>
                  </a:cubicBezTo>
                  <a:lnTo>
                    <a:pt x="46612" y="27868"/>
                  </a:lnTo>
                  <a:cubicBezTo>
                    <a:pt x="42775" y="27868"/>
                    <a:pt x="39658" y="24806"/>
                    <a:pt x="39635" y="21014"/>
                  </a:cubicBezTo>
                  <a:close/>
                  <a:moveTo>
                    <a:pt x="95305" y="75905"/>
                  </a:moveTo>
                  <a:cubicBezTo>
                    <a:pt x="91463" y="75905"/>
                    <a:pt x="88349" y="72827"/>
                    <a:pt x="88349" y="69030"/>
                  </a:cubicBezTo>
                  <a:cubicBezTo>
                    <a:pt x="88349" y="65234"/>
                    <a:pt x="91463" y="62156"/>
                    <a:pt x="95305" y="62156"/>
                  </a:cubicBezTo>
                  <a:cubicBezTo>
                    <a:pt x="99147" y="62156"/>
                    <a:pt x="102261" y="65234"/>
                    <a:pt x="102261" y="69030"/>
                  </a:cubicBezTo>
                  <a:cubicBezTo>
                    <a:pt x="102261" y="72827"/>
                    <a:pt x="99147" y="75905"/>
                    <a:pt x="95305" y="75905"/>
                  </a:cubicBezTo>
                  <a:close/>
                  <a:moveTo>
                    <a:pt x="143914" y="27847"/>
                  </a:moveTo>
                  <a:cubicBezTo>
                    <a:pt x="140072" y="27847"/>
                    <a:pt x="136958" y="24769"/>
                    <a:pt x="136958" y="20973"/>
                  </a:cubicBezTo>
                  <a:cubicBezTo>
                    <a:pt x="136958" y="17176"/>
                    <a:pt x="140072" y="14098"/>
                    <a:pt x="143914" y="14098"/>
                  </a:cubicBezTo>
                  <a:cubicBezTo>
                    <a:pt x="147756" y="14098"/>
                    <a:pt x="150870" y="17176"/>
                    <a:pt x="150870" y="20973"/>
                  </a:cubicBezTo>
                  <a:lnTo>
                    <a:pt x="150870" y="20973"/>
                  </a:lnTo>
                  <a:cubicBezTo>
                    <a:pt x="150870" y="24758"/>
                    <a:pt x="147765" y="27826"/>
                    <a:pt x="143935" y="27826"/>
                  </a:cubicBezTo>
                  <a:close/>
                </a:path>
              </a:pathLst>
            </a:custGeom>
            <a:solidFill>
              <a:srgbClr val="BD5C7A"/>
            </a:solidFill>
            <a:ln w="208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 170">
              <a:extLst>
                <a:ext uri="{FF2B5EF4-FFF2-40B4-BE49-F238E27FC236}">
                  <a16:creationId xmlns:a16="http://schemas.microsoft.com/office/drawing/2014/main" id="{BDDE4223-EFCA-954B-9E57-8F3531345C63}"/>
                </a:ext>
              </a:extLst>
            </p:cNvPr>
            <p:cNvSpPr/>
            <p:nvPr/>
          </p:nvSpPr>
          <p:spPr>
            <a:xfrm>
              <a:off x="5527674" y="2836227"/>
              <a:ext cx="333368" cy="318410"/>
            </a:xfrm>
            <a:custGeom>
              <a:avLst/>
              <a:gdLst>
                <a:gd name="connsiteX0" fmla="*/ 238904 w 333368"/>
                <a:gd name="connsiteY0" fmla="*/ 285522 h 318410"/>
                <a:gd name="connsiteX1" fmla="*/ 227808 w 333368"/>
                <a:gd name="connsiteY1" fmla="*/ 285522 h 318410"/>
                <a:gd name="connsiteX2" fmla="*/ 200172 w 333368"/>
                <a:gd name="connsiteY2" fmla="*/ 252583 h 318410"/>
                <a:gd name="connsiteX3" fmla="*/ 224025 w 333368"/>
                <a:gd name="connsiteY3" fmla="*/ 252583 h 318410"/>
                <a:gd name="connsiteX4" fmla="*/ 219402 w 333368"/>
                <a:gd name="connsiteY4" fmla="*/ 241597 h 318410"/>
                <a:gd name="connsiteX5" fmla="*/ 22234 w 333368"/>
                <a:gd name="connsiteY5" fmla="*/ 241597 h 318410"/>
                <a:gd name="connsiteX6" fmla="*/ 11117 w 333368"/>
                <a:gd name="connsiteY6" fmla="*/ 230611 h 318410"/>
                <a:gd name="connsiteX7" fmla="*/ 11117 w 333368"/>
                <a:gd name="connsiteY7" fmla="*/ 230527 h 318410"/>
                <a:gd name="connsiteX8" fmla="*/ 11117 w 333368"/>
                <a:gd name="connsiteY8" fmla="*/ 230527 h 318410"/>
                <a:gd name="connsiteX9" fmla="*/ 11117 w 333368"/>
                <a:gd name="connsiteY9" fmla="*/ 208658 h 318410"/>
                <a:gd name="connsiteX10" fmla="*/ 214757 w 333368"/>
                <a:gd name="connsiteY10" fmla="*/ 208658 h 318410"/>
                <a:gd name="connsiteX11" fmla="*/ 215976 w 333368"/>
                <a:gd name="connsiteY11" fmla="*/ 197672 h 318410"/>
                <a:gd name="connsiteX12" fmla="*/ 33331 w 333368"/>
                <a:gd name="connsiteY12" fmla="*/ 197672 h 318410"/>
                <a:gd name="connsiteX13" fmla="*/ 33331 w 333368"/>
                <a:gd name="connsiteY13" fmla="*/ 32980 h 318410"/>
                <a:gd name="connsiteX14" fmla="*/ 300038 w 333368"/>
                <a:gd name="connsiteY14" fmla="*/ 32980 h 318410"/>
                <a:gd name="connsiteX15" fmla="*/ 300038 w 333368"/>
                <a:gd name="connsiteY15" fmla="*/ 123675 h 318410"/>
                <a:gd name="connsiteX16" fmla="*/ 305166 w 333368"/>
                <a:gd name="connsiteY16" fmla="*/ 123529 h 318410"/>
                <a:gd name="connsiteX17" fmla="*/ 311155 w 333368"/>
                <a:gd name="connsiteY17" fmla="*/ 123737 h 318410"/>
                <a:gd name="connsiteX18" fmla="*/ 311155 w 333368"/>
                <a:gd name="connsiteY18" fmla="*/ 27456 h 318410"/>
                <a:gd name="connsiteX19" fmla="*/ 305586 w 333368"/>
                <a:gd name="connsiteY19" fmla="*/ 21973 h 318410"/>
                <a:gd name="connsiteX20" fmla="*/ 27867 w 333368"/>
                <a:gd name="connsiteY20" fmla="*/ 21973 h 318410"/>
                <a:gd name="connsiteX21" fmla="*/ 22297 w 333368"/>
                <a:gd name="connsiteY21" fmla="*/ 27456 h 318410"/>
                <a:gd name="connsiteX22" fmla="*/ 22297 w 333368"/>
                <a:gd name="connsiteY22" fmla="*/ 197755 h 318410"/>
                <a:gd name="connsiteX23" fmla="*/ 11054 w 333368"/>
                <a:gd name="connsiteY23" fmla="*/ 197755 h 318410"/>
                <a:gd name="connsiteX24" fmla="*/ 11054 w 333368"/>
                <a:gd name="connsiteY24" fmla="*/ 21973 h 318410"/>
                <a:gd name="connsiteX25" fmla="*/ 22171 w 333368"/>
                <a:gd name="connsiteY25" fmla="*/ 10986 h 318410"/>
                <a:gd name="connsiteX26" fmla="*/ 311134 w 333368"/>
                <a:gd name="connsiteY26" fmla="*/ 10986 h 318410"/>
                <a:gd name="connsiteX27" fmla="*/ 322251 w 333368"/>
                <a:gd name="connsiteY27" fmla="*/ 21973 h 318410"/>
                <a:gd name="connsiteX28" fmla="*/ 322251 w 333368"/>
                <a:gd name="connsiteY28" fmla="*/ 125087 h 318410"/>
                <a:gd name="connsiteX29" fmla="*/ 333369 w 333368"/>
                <a:gd name="connsiteY29" fmla="*/ 127932 h 318410"/>
                <a:gd name="connsiteX30" fmla="*/ 333369 w 333368"/>
                <a:gd name="connsiteY30" fmla="*/ 22014 h 318410"/>
                <a:gd name="connsiteX31" fmla="*/ 311134 w 333368"/>
                <a:gd name="connsiteY31" fmla="*/ 0 h 318410"/>
                <a:gd name="connsiteX32" fmla="*/ 22234 w 333368"/>
                <a:gd name="connsiteY32" fmla="*/ 0 h 318410"/>
                <a:gd name="connsiteX33" fmla="*/ 0 w 333368"/>
                <a:gd name="connsiteY33" fmla="*/ 21973 h 318410"/>
                <a:gd name="connsiteX34" fmla="*/ 0 w 333368"/>
                <a:gd name="connsiteY34" fmla="*/ 230527 h 318410"/>
                <a:gd name="connsiteX35" fmla="*/ 22234 w 333368"/>
                <a:gd name="connsiteY35" fmla="*/ 252500 h 318410"/>
                <a:gd name="connsiteX36" fmla="*/ 133175 w 333368"/>
                <a:gd name="connsiteY36" fmla="*/ 252500 h 318410"/>
                <a:gd name="connsiteX37" fmla="*/ 105561 w 333368"/>
                <a:gd name="connsiteY37" fmla="*/ 285439 h 318410"/>
                <a:gd name="connsiteX38" fmla="*/ 94444 w 333368"/>
                <a:gd name="connsiteY38" fmla="*/ 285439 h 318410"/>
                <a:gd name="connsiteX39" fmla="*/ 78360 w 333368"/>
                <a:gd name="connsiteY39" fmla="*/ 302503 h 318410"/>
                <a:gd name="connsiteX40" fmla="*/ 94444 w 333368"/>
                <a:gd name="connsiteY40" fmla="*/ 318398 h 318410"/>
                <a:gd name="connsiteX41" fmla="*/ 238904 w 333368"/>
                <a:gd name="connsiteY41" fmla="*/ 318398 h 318410"/>
                <a:gd name="connsiteX42" fmla="*/ 256231 w 333368"/>
                <a:gd name="connsiteY42" fmla="*/ 302567 h 318410"/>
                <a:gd name="connsiteX43" fmla="*/ 240212 w 333368"/>
                <a:gd name="connsiteY43" fmla="*/ 285443 h 318410"/>
                <a:gd name="connsiteX44" fmla="*/ 240081 w 333368"/>
                <a:gd name="connsiteY44" fmla="*/ 285439 h 318410"/>
                <a:gd name="connsiteX45" fmla="*/ 144334 w 333368"/>
                <a:gd name="connsiteY45" fmla="*/ 252583 h 318410"/>
                <a:gd name="connsiteX46" fmla="*/ 189139 w 333368"/>
                <a:gd name="connsiteY46" fmla="*/ 252583 h 318410"/>
                <a:gd name="connsiteX47" fmla="*/ 200824 w 333368"/>
                <a:gd name="connsiteY47" fmla="*/ 285522 h 318410"/>
                <a:gd name="connsiteX48" fmla="*/ 132629 w 333368"/>
                <a:gd name="connsiteY48" fmla="*/ 285522 h 318410"/>
                <a:gd name="connsiteX49" fmla="*/ 144313 w 333368"/>
                <a:gd name="connsiteY49" fmla="*/ 252583 h 318410"/>
                <a:gd name="connsiteX50" fmla="*/ 238904 w 333368"/>
                <a:gd name="connsiteY50" fmla="*/ 307495 h 318410"/>
                <a:gd name="connsiteX51" fmla="*/ 94444 w 333368"/>
                <a:gd name="connsiteY51" fmla="*/ 307495 h 318410"/>
                <a:gd name="connsiteX52" fmla="*/ 89227 w 333368"/>
                <a:gd name="connsiteY52" fmla="*/ 301663 h 318410"/>
                <a:gd name="connsiteX53" fmla="*/ 94444 w 333368"/>
                <a:gd name="connsiteY53" fmla="*/ 296508 h 318410"/>
                <a:gd name="connsiteX54" fmla="*/ 238904 w 333368"/>
                <a:gd name="connsiteY54" fmla="*/ 296508 h 318410"/>
                <a:gd name="connsiteX55" fmla="*/ 244809 w 333368"/>
                <a:gd name="connsiteY55" fmla="*/ 301659 h 318410"/>
                <a:gd name="connsiteX56" fmla="*/ 239597 w 333368"/>
                <a:gd name="connsiteY56" fmla="*/ 307495 h 318410"/>
                <a:gd name="connsiteX57" fmla="*/ 238904 w 333368"/>
                <a:gd name="connsiteY57" fmla="*/ 307495 h 31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33368" h="318410">
                  <a:moveTo>
                    <a:pt x="238904" y="285522"/>
                  </a:moveTo>
                  <a:lnTo>
                    <a:pt x="227808" y="285522"/>
                  </a:lnTo>
                  <a:cubicBezTo>
                    <a:pt x="210743" y="285522"/>
                    <a:pt x="201475" y="274452"/>
                    <a:pt x="200172" y="252583"/>
                  </a:cubicBezTo>
                  <a:lnTo>
                    <a:pt x="224025" y="252583"/>
                  </a:lnTo>
                  <a:cubicBezTo>
                    <a:pt x="222233" y="249029"/>
                    <a:pt x="220689" y="245358"/>
                    <a:pt x="219402" y="241597"/>
                  </a:cubicBezTo>
                  <a:lnTo>
                    <a:pt x="22234" y="241597"/>
                  </a:lnTo>
                  <a:cubicBezTo>
                    <a:pt x="16095" y="241597"/>
                    <a:pt x="11117" y="236678"/>
                    <a:pt x="11117" y="230611"/>
                  </a:cubicBezTo>
                  <a:cubicBezTo>
                    <a:pt x="11117" y="230583"/>
                    <a:pt x="11117" y="230555"/>
                    <a:pt x="11117" y="230527"/>
                  </a:cubicBezTo>
                  <a:lnTo>
                    <a:pt x="11117" y="230527"/>
                  </a:lnTo>
                  <a:lnTo>
                    <a:pt x="11117" y="208658"/>
                  </a:lnTo>
                  <a:lnTo>
                    <a:pt x="214757" y="208658"/>
                  </a:lnTo>
                  <a:cubicBezTo>
                    <a:pt x="214943" y="204976"/>
                    <a:pt x="215350" y="201307"/>
                    <a:pt x="215976" y="197672"/>
                  </a:cubicBezTo>
                  <a:lnTo>
                    <a:pt x="33331" y="197672"/>
                  </a:lnTo>
                  <a:lnTo>
                    <a:pt x="33331" y="32980"/>
                  </a:lnTo>
                  <a:lnTo>
                    <a:pt x="300038" y="32980"/>
                  </a:lnTo>
                  <a:lnTo>
                    <a:pt x="300038" y="123675"/>
                  </a:lnTo>
                  <a:cubicBezTo>
                    <a:pt x="301740" y="123675"/>
                    <a:pt x="303442" y="123529"/>
                    <a:pt x="305166" y="123529"/>
                  </a:cubicBezTo>
                  <a:cubicBezTo>
                    <a:pt x="307164" y="123500"/>
                    <a:pt x="309163" y="123569"/>
                    <a:pt x="311155" y="123737"/>
                  </a:cubicBezTo>
                  <a:lnTo>
                    <a:pt x="311155" y="27456"/>
                  </a:lnTo>
                  <a:cubicBezTo>
                    <a:pt x="311144" y="24424"/>
                    <a:pt x="308654" y="21973"/>
                    <a:pt x="305586" y="21973"/>
                  </a:cubicBezTo>
                  <a:lnTo>
                    <a:pt x="27867" y="21973"/>
                  </a:lnTo>
                  <a:cubicBezTo>
                    <a:pt x="24799" y="21973"/>
                    <a:pt x="22309" y="24424"/>
                    <a:pt x="22297" y="27456"/>
                  </a:cubicBezTo>
                  <a:lnTo>
                    <a:pt x="22297" y="197755"/>
                  </a:lnTo>
                  <a:lnTo>
                    <a:pt x="11054" y="197755"/>
                  </a:lnTo>
                  <a:lnTo>
                    <a:pt x="11054" y="21973"/>
                  </a:lnTo>
                  <a:cubicBezTo>
                    <a:pt x="11054" y="15905"/>
                    <a:pt x="16031" y="10986"/>
                    <a:pt x="22171" y="10986"/>
                  </a:cubicBezTo>
                  <a:lnTo>
                    <a:pt x="311134" y="10986"/>
                  </a:lnTo>
                  <a:cubicBezTo>
                    <a:pt x="317274" y="10986"/>
                    <a:pt x="322251" y="15905"/>
                    <a:pt x="322251" y="21973"/>
                  </a:cubicBezTo>
                  <a:lnTo>
                    <a:pt x="322251" y="125087"/>
                  </a:lnTo>
                  <a:cubicBezTo>
                    <a:pt x="326016" y="125796"/>
                    <a:pt x="329729" y="126746"/>
                    <a:pt x="333369" y="127932"/>
                  </a:cubicBezTo>
                  <a:lnTo>
                    <a:pt x="333369" y="22014"/>
                  </a:lnTo>
                  <a:cubicBezTo>
                    <a:pt x="333369" y="9872"/>
                    <a:pt x="323421" y="23"/>
                    <a:pt x="311134" y="0"/>
                  </a:cubicBezTo>
                  <a:lnTo>
                    <a:pt x="22234" y="0"/>
                  </a:lnTo>
                  <a:cubicBezTo>
                    <a:pt x="9964" y="23"/>
                    <a:pt x="23" y="9847"/>
                    <a:pt x="0" y="21973"/>
                  </a:cubicBezTo>
                  <a:lnTo>
                    <a:pt x="0" y="230527"/>
                  </a:lnTo>
                  <a:cubicBezTo>
                    <a:pt x="23" y="242653"/>
                    <a:pt x="9964" y="252477"/>
                    <a:pt x="22234" y="252500"/>
                  </a:cubicBezTo>
                  <a:lnTo>
                    <a:pt x="133175" y="252500"/>
                  </a:lnTo>
                  <a:cubicBezTo>
                    <a:pt x="131893" y="274369"/>
                    <a:pt x="122667" y="285439"/>
                    <a:pt x="105561" y="285439"/>
                  </a:cubicBezTo>
                  <a:lnTo>
                    <a:pt x="94444" y="285439"/>
                  </a:lnTo>
                  <a:cubicBezTo>
                    <a:pt x="85234" y="285762"/>
                    <a:pt x="78033" y="293402"/>
                    <a:pt x="78360" y="302503"/>
                  </a:cubicBezTo>
                  <a:cubicBezTo>
                    <a:pt x="78671" y="311151"/>
                    <a:pt x="85693" y="318091"/>
                    <a:pt x="94444" y="318398"/>
                  </a:cubicBezTo>
                  <a:lnTo>
                    <a:pt x="238904" y="318398"/>
                  </a:lnTo>
                  <a:cubicBezTo>
                    <a:pt x="248112" y="318755"/>
                    <a:pt x="255870" y="311667"/>
                    <a:pt x="256231" y="302567"/>
                  </a:cubicBezTo>
                  <a:cubicBezTo>
                    <a:pt x="256593" y="293467"/>
                    <a:pt x="249420" y="285800"/>
                    <a:pt x="240212" y="285443"/>
                  </a:cubicBezTo>
                  <a:cubicBezTo>
                    <a:pt x="240168" y="285442"/>
                    <a:pt x="240125" y="285440"/>
                    <a:pt x="240081" y="285439"/>
                  </a:cubicBezTo>
                  <a:close/>
                  <a:moveTo>
                    <a:pt x="144334" y="252583"/>
                  </a:moveTo>
                  <a:lnTo>
                    <a:pt x="189139" y="252583"/>
                  </a:lnTo>
                  <a:cubicBezTo>
                    <a:pt x="189116" y="264559"/>
                    <a:pt x="193239" y="276182"/>
                    <a:pt x="200824" y="285522"/>
                  </a:cubicBezTo>
                  <a:lnTo>
                    <a:pt x="132629" y="285522"/>
                  </a:lnTo>
                  <a:cubicBezTo>
                    <a:pt x="140196" y="276172"/>
                    <a:pt x="144317" y="264556"/>
                    <a:pt x="144313" y="252583"/>
                  </a:cubicBezTo>
                  <a:close/>
                  <a:moveTo>
                    <a:pt x="238904" y="307495"/>
                  </a:moveTo>
                  <a:lnTo>
                    <a:pt x="94444" y="307495"/>
                  </a:lnTo>
                  <a:cubicBezTo>
                    <a:pt x="91374" y="307308"/>
                    <a:pt x="89038" y="304697"/>
                    <a:pt x="89227" y="301663"/>
                  </a:cubicBezTo>
                  <a:cubicBezTo>
                    <a:pt x="89400" y="298890"/>
                    <a:pt x="91637" y="296679"/>
                    <a:pt x="94444" y="296508"/>
                  </a:cubicBezTo>
                  <a:lnTo>
                    <a:pt x="238904" y="296508"/>
                  </a:lnTo>
                  <a:cubicBezTo>
                    <a:pt x="241974" y="296319"/>
                    <a:pt x="244618" y="298625"/>
                    <a:pt x="244809" y="301659"/>
                  </a:cubicBezTo>
                  <a:cubicBezTo>
                    <a:pt x="245001" y="304692"/>
                    <a:pt x="242667" y="307305"/>
                    <a:pt x="239597" y="307495"/>
                  </a:cubicBezTo>
                  <a:cubicBezTo>
                    <a:pt x="239367" y="307515"/>
                    <a:pt x="239135" y="307515"/>
                    <a:pt x="238904" y="307495"/>
                  </a:cubicBezTo>
                  <a:close/>
                </a:path>
              </a:pathLst>
            </a:custGeom>
            <a:solidFill>
              <a:srgbClr val="1F6896"/>
            </a:solidFill>
            <a:ln w="208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 171">
              <a:extLst>
                <a:ext uri="{FF2B5EF4-FFF2-40B4-BE49-F238E27FC236}">
                  <a16:creationId xmlns:a16="http://schemas.microsoft.com/office/drawing/2014/main" id="{537FA501-A135-F347-81E4-2922BE3DABCA}"/>
                </a:ext>
              </a:extLst>
            </p:cNvPr>
            <p:cNvSpPr/>
            <p:nvPr/>
          </p:nvSpPr>
          <p:spPr>
            <a:xfrm>
              <a:off x="5756718" y="2974458"/>
              <a:ext cx="208713" cy="206522"/>
            </a:xfrm>
            <a:custGeom>
              <a:avLst/>
              <a:gdLst>
                <a:gd name="connsiteX0" fmla="*/ 206692 w 208713"/>
                <a:gd name="connsiteY0" fmla="*/ 175515 h 206522"/>
                <a:gd name="connsiteX1" fmla="*/ 163105 w 208713"/>
                <a:gd name="connsiteY1" fmla="*/ 132442 h 206522"/>
                <a:gd name="connsiteX2" fmla="*/ 153270 w 208713"/>
                <a:gd name="connsiteY2" fmla="*/ 132442 h 206522"/>
                <a:gd name="connsiteX3" fmla="*/ 148500 w 208713"/>
                <a:gd name="connsiteY3" fmla="*/ 137156 h 206522"/>
                <a:gd name="connsiteX4" fmla="*/ 133789 w 208713"/>
                <a:gd name="connsiteY4" fmla="*/ 122618 h 206522"/>
                <a:gd name="connsiteX5" fmla="*/ 124078 w 208713"/>
                <a:gd name="connsiteY5" fmla="*/ 17320 h 206522"/>
                <a:gd name="connsiteX6" fmla="*/ 17526 w 208713"/>
                <a:gd name="connsiteY6" fmla="*/ 26917 h 206522"/>
                <a:gd name="connsiteX7" fmla="*/ 27237 w 208713"/>
                <a:gd name="connsiteY7" fmla="*/ 132215 h 206522"/>
                <a:gd name="connsiteX8" fmla="*/ 123954 w 208713"/>
                <a:gd name="connsiteY8" fmla="*/ 132317 h 206522"/>
                <a:gd name="connsiteX9" fmla="*/ 138664 w 208713"/>
                <a:gd name="connsiteY9" fmla="*/ 146855 h 206522"/>
                <a:gd name="connsiteX10" fmla="*/ 133873 w 208713"/>
                <a:gd name="connsiteY10" fmla="*/ 151590 h 206522"/>
                <a:gd name="connsiteX11" fmla="*/ 133866 w 208713"/>
                <a:gd name="connsiteY11" fmla="*/ 161282 h 206522"/>
                <a:gd name="connsiteX12" fmla="*/ 133873 w 208713"/>
                <a:gd name="connsiteY12" fmla="*/ 161289 h 206522"/>
                <a:gd name="connsiteX13" fmla="*/ 133873 w 208713"/>
                <a:gd name="connsiteY13" fmla="*/ 161289 h 206522"/>
                <a:gd name="connsiteX14" fmla="*/ 177480 w 208713"/>
                <a:gd name="connsiteY14" fmla="*/ 204445 h 206522"/>
                <a:gd name="connsiteX15" fmla="*/ 182377 w 208713"/>
                <a:gd name="connsiteY15" fmla="*/ 206522 h 206522"/>
                <a:gd name="connsiteX16" fmla="*/ 187294 w 208713"/>
                <a:gd name="connsiteY16" fmla="*/ 204445 h 206522"/>
                <a:gd name="connsiteX17" fmla="*/ 206671 w 208713"/>
                <a:gd name="connsiteY17" fmla="*/ 185297 h 206522"/>
                <a:gd name="connsiteX18" fmla="*/ 206707 w 208713"/>
                <a:gd name="connsiteY18" fmla="*/ 175634 h 206522"/>
                <a:gd name="connsiteX19" fmla="*/ 206671 w 208713"/>
                <a:gd name="connsiteY19" fmla="*/ 175598 h 206522"/>
                <a:gd name="connsiteX20" fmla="*/ 75786 w 208713"/>
                <a:gd name="connsiteY20" fmla="*/ 135910 h 206522"/>
                <a:gd name="connsiteX21" fmla="*/ 14232 w 208713"/>
                <a:gd name="connsiteY21" fmla="*/ 75038 h 206522"/>
                <a:gd name="connsiteX22" fmla="*/ 75828 w 208713"/>
                <a:gd name="connsiteY22" fmla="*/ 14208 h 206522"/>
                <a:gd name="connsiteX23" fmla="*/ 137383 w 208713"/>
                <a:gd name="connsiteY23" fmla="*/ 75080 h 206522"/>
                <a:gd name="connsiteX24" fmla="*/ 137383 w 208713"/>
                <a:gd name="connsiteY24" fmla="*/ 75080 h 206522"/>
                <a:gd name="connsiteX25" fmla="*/ 75786 w 208713"/>
                <a:gd name="connsiteY25" fmla="*/ 135910 h 206522"/>
                <a:gd name="connsiteX26" fmla="*/ 182398 w 208713"/>
                <a:gd name="connsiteY26" fmla="*/ 189907 h 206522"/>
                <a:gd name="connsiteX27" fmla="*/ 148626 w 208713"/>
                <a:gd name="connsiteY27" fmla="*/ 156429 h 206522"/>
                <a:gd name="connsiteX28" fmla="*/ 158188 w 208713"/>
                <a:gd name="connsiteY28" fmla="*/ 147000 h 206522"/>
                <a:gd name="connsiteX29" fmla="*/ 191960 w 208713"/>
                <a:gd name="connsiteY29" fmla="*/ 180375 h 206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08713" h="206522">
                  <a:moveTo>
                    <a:pt x="206692" y="175515"/>
                  </a:moveTo>
                  <a:lnTo>
                    <a:pt x="163105" y="132442"/>
                  </a:lnTo>
                  <a:cubicBezTo>
                    <a:pt x="160389" y="129759"/>
                    <a:pt x="155987" y="129759"/>
                    <a:pt x="153270" y="132442"/>
                  </a:cubicBezTo>
                  <a:lnTo>
                    <a:pt x="148500" y="137156"/>
                  </a:lnTo>
                  <a:lnTo>
                    <a:pt x="133789" y="122618"/>
                  </a:lnTo>
                  <a:cubicBezTo>
                    <a:pt x="160531" y="90891"/>
                    <a:pt x="156183" y="43747"/>
                    <a:pt x="124078" y="17320"/>
                  </a:cubicBezTo>
                  <a:cubicBezTo>
                    <a:pt x="91973" y="-9107"/>
                    <a:pt x="44268" y="-4811"/>
                    <a:pt x="17526" y="26917"/>
                  </a:cubicBezTo>
                  <a:cubicBezTo>
                    <a:pt x="-9216" y="58644"/>
                    <a:pt x="-4868" y="105788"/>
                    <a:pt x="27237" y="132215"/>
                  </a:cubicBezTo>
                  <a:cubicBezTo>
                    <a:pt x="55242" y="155267"/>
                    <a:pt x="95899" y="155310"/>
                    <a:pt x="123954" y="132317"/>
                  </a:cubicBezTo>
                  <a:lnTo>
                    <a:pt x="138664" y="146855"/>
                  </a:lnTo>
                  <a:lnTo>
                    <a:pt x="133873" y="151590"/>
                  </a:lnTo>
                  <a:cubicBezTo>
                    <a:pt x="131163" y="154265"/>
                    <a:pt x="131160" y="158604"/>
                    <a:pt x="133866" y="161282"/>
                  </a:cubicBezTo>
                  <a:cubicBezTo>
                    <a:pt x="133869" y="161285"/>
                    <a:pt x="133871" y="161287"/>
                    <a:pt x="133873" y="161289"/>
                  </a:cubicBezTo>
                  <a:lnTo>
                    <a:pt x="133873" y="161289"/>
                  </a:lnTo>
                  <a:lnTo>
                    <a:pt x="177480" y="204445"/>
                  </a:lnTo>
                  <a:cubicBezTo>
                    <a:pt x="178767" y="205754"/>
                    <a:pt x="180530" y="206502"/>
                    <a:pt x="182377" y="206522"/>
                  </a:cubicBezTo>
                  <a:cubicBezTo>
                    <a:pt x="184229" y="206498"/>
                    <a:pt x="185997" y="205752"/>
                    <a:pt x="187294" y="204445"/>
                  </a:cubicBezTo>
                  <a:lnTo>
                    <a:pt x="206671" y="185297"/>
                  </a:lnTo>
                  <a:cubicBezTo>
                    <a:pt x="209381" y="182638"/>
                    <a:pt x="209397" y="178312"/>
                    <a:pt x="206707" y="175634"/>
                  </a:cubicBezTo>
                  <a:cubicBezTo>
                    <a:pt x="206695" y="175622"/>
                    <a:pt x="206683" y="175610"/>
                    <a:pt x="206671" y="175598"/>
                  </a:cubicBezTo>
                  <a:close/>
                  <a:moveTo>
                    <a:pt x="75786" y="135910"/>
                  </a:moveTo>
                  <a:cubicBezTo>
                    <a:pt x="41779" y="135899"/>
                    <a:pt x="14220" y="108645"/>
                    <a:pt x="14232" y="75038"/>
                  </a:cubicBezTo>
                  <a:cubicBezTo>
                    <a:pt x="14243" y="41431"/>
                    <a:pt x="41821" y="14197"/>
                    <a:pt x="75828" y="14208"/>
                  </a:cubicBezTo>
                  <a:cubicBezTo>
                    <a:pt x="109835" y="14220"/>
                    <a:pt x="137394" y="41473"/>
                    <a:pt x="137383" y="75080"/>
                  </a:cubicBezTo>
                  <a:lnTo>
                    <a:pt x="137383" y="75080"/>
                  </a:lnTo>
                  <a:cubicBezTo>
                    <a:pt x="137371" y="108687"/>
                    <a:pt x="109793" y="135921"/>
                    <a:pt x="75786" y="135910"/>
                  </a:cubicBezTo>
                  <a:close/>
                  <a:moveTo>
                    <a:pt x="182398" y="189907"/>
                  </a:moveTo>
                  <a:lnTo>
                    <a:pt x="148626" y="156429"/>
                  </a:lnTo>
                  <a:lnTo>
                    <a:pt x="158188" y="147000"/>
                  </a:lnTo>
                  <a:lnTo>
                    <a:pt x="191960" y="180375"/>
                  </a:lnTo>
                  <a:close/>
                </a:path>
              </a:pathLst>
            </a:custGeom>
            <a:solidFill>
              <a:srgbClr val="1F6896"/>
            </a:solidFill>
            <a:ln w="208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 172">
              <a:extLst>
                <a:ext uri="{FF2B5EF4-FFF2-40B4-BE49-F238E27FC236}">
                  <a16:creationId xmlns:a16="http://schemas.microsoft.com/office/drawing/2014/main" id="{32D5A846-6FB2-0D41-BBD0-383768CB1F1C}"/>
                </a:ext>
              </a:extLst>
            </p:cNvPr>
            <p:cNvSpPr/>
            <p:nvPr/>
          </p:nvSpPr>
          <p:spPr>
            <a:xfrm>
              <a:off x="5833492" y="3002373"/>
              <a:ext cx="48524" cy="48078"/>
            </a:xfrm>
            <a:custGeom>
              <a:avLst/>
              <a:gdLst>
                <a:gd name="connsiteX0" fmla="*/ 0 w 48524"/>
                <a:gd name="connsiteY0" fmla="*/ 0 h 48078"/>
                <a:gd name="connsiteX1" fmla="*/ 0 w 48524"/>
                <a:gd name="connsiteY1" fmla="*/ 13728 h 48078"/>
                <a:gd name="connsiteX2" fmla="*/ 34634 w 48524"/>
                <a:gd name="connsiteY2" fmla="*/ 48078 h 48078"/>
                <a:gd name="connsiteX3" fmla="*/ 48525 w 48524"/>
                <a:gd name="connsiteY3" fmla="*/ 48078 h 48078"/>
                <a:gd name="connsiteX4" fmla="*/ 0 w 48524"/>
                <a:gd name="connsiteY4" fmla="*/ 0 h 48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24" h="48078">
                  <a:moveTo>
                    <a:pt x="0" y="0"/>
                  </a:moveTo>
                  <a:lnTo>
                    <a:pt x="0" y="13728"/>
                  </a:lnTo>
                  <a:cubicBezTo>
                    <a:pt x="19143" y="13808"/>
                    <a:pt x="34622" y="29160"/>
                    <a:pt x="34634" y="48078"/>
                  </a:cubicBezTo>
                  <a:lnTo>
                    <a:pt x="48525" y="48078"/>
                  </a:lnTo>
                  <a:cubicBezTo>
                    <a:pt x="48513" y="21579"/>
                    <a:pt x="26815" y="80"/>
                    <a:pt x="0" y="0"/>
                  </a:cubicBezTo>
                  <a:close/>
                </a:path>
              </a:pathLst>
            </a:custGeom>
            <a:solidFill>
              <a:srgbClr val="1F6896"/>
            </a:solidFill>
            <a:ln w="208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4" name="Graphic 213">
            <a:extLst>
              <a:ext uri="{FF2B5EF4-FFF2-40B4-BE49-F238E27FC236}">
                <a16:creationId xmlns:a16="http://schemas.microsoft.com/office/drawing/2014/main" id="{70EDC905-29EA-E142-94EA-5B9950E6D37D}"/>
              </a:ext>
            </a:extLst>
          </p:cNvPr>
          <p:cNvGrpSpPr/>
          <p:nvPr userDrawn="1"/>
        </p:nvGrpSpPr>
        <p:grpSpPr>
          <a:xfrm>
            <a:off x="6373813" y="2801938"/>
            <a:ext cx="361950" cy="361950"/>
            <a:chOff x="6373813" y="2801938"/>
            <a:chExt cx="361950" cy="361950"/>
          </a:xfrm>
        </p:grpSpPr>
        <p:sp>
          <p:nvSpPr>
            <p:cNvPr id="175" name="Freeform 174">
              <a:extLst>
                <a:ext uri="{FF2B5EF4-FFF2-40B4-BE49-F238E27FC236}">
                  <a16:creationId xmlns:a16="http://schemas.microsoft.com/office/drawing/2014/main" id="{F465DA9F-8329-AE45-BE95-F35F46E56BA0}"/>
                </a:ext>
              </a:extLst>
            </p:cNvPr>
            <p:cNvSpPr/>
            <p:nvPr/>
          </p:nvSpPr>
          <p:spPr>
            <a:xfrm>
              <a:off x="6538500" y="3095615"/>
              <a:ext cx="45741" cy="45741"/>
            </a:xfrm>
            <a:custGeom>
              <a:avLst/>
              <a:gdLst>
                <a:gd name="connsiteX0" fmla="*/ 45741 w 45741"/>
                <a:gd name="connsiteY0" fmla="*/ 22871 h 45741"/>
                <a:gd name="connsiteX1" fmla="*/ 22871 w 45741"/>
                <a:gd name="connsiteY1" fmla="*/ 45741 h 45741"/>
                <a:gd name="connsiteX2" fmla="*/ 0 w 45741"/>
                <a:gd name="connsiteY2" fmla="*/ 22871 h 45741"/>
                <a:gd name="connsiteX3" fmla="*/ 22871 w 45741"/>
                <a:gd name="connsiteY3" fmla="*/ 0 h 45741"/>
                <a:gd name="connsiteX4" fmla="*/ 45741 w 45741"/>
                <a:gd name="connsiteY4" fmla="*/ 22871 h 4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41" h="45741">
                  <a:moveTo>
                    <a:pt x="45741" y="22871"/>
                  </a:moveTo>
                  <a:cubicBezTo>
                    <a:pt x="45741" y="35502"/>
                    <a:pt x="35502" y="45741"/>
                    <a:pt x="22871" y="45741"/>
                  </a:cubicBezTo>
                  <a:cubicBezTo>
                    <a:pt x="10240" y="45741"/>
                    <a:pt x="0" y="35502"/>
                    <a:pt x="0" y="22871"/>
                  </a:cubicBezTo>
                  <a:cubicBezTo>
                    <a:pt x="0" y="10240"/>
                    <a:pt x="10240" y="0"/>
                    <a:pt x="22871" y="0"/>
                  </a:cubicBezTo>
                  <a:cubicBezTo>
                    <a:pt x="35502" y="0"/>
                    <a:pt x="45741" y="10240"/>
                    <a:pt x="45741" y="22871"/>
                  </a:cubicBezTo>
                  <a:close/>
                </a:path>
              </a:pathLst>
            </a:custGeom>
            <a:solidFill>
              <a:srgbClr val="BD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 175">
              <a:extLst>
                <a:ext uri="{FF2B5EF4-FFF2-40B4-BE49-F238E27FC236}">
                  <a16:creationId xmlns:a16="http://schemas.microsoft.com/office/drawing/2014/main" id="{8BBC2808-64A1-FA43-97AA-A31587E64338}"/>
                </a:ext>
              </a:extLst>
            </p:cNvPr>
            <p:cNvSpPr/>
            <p:nvPr/>
          </p:nvSpPr>
          <p:spPr>
            <a:xfrm>
              <a:off x="6384788" y="2849690"/>
              <a:ext cx="354719" cy="99189"/>
            </a:xfrm>
            <a:custGeom>
              <a:avLst/>
              <a:gdLst>
                <a:gd name="connsiteX0" fmla="*/ 350975 w 354719"/>
                <a:gd name="connsiteY0" fmla="*/ 75763 h 99189"/>
                <a:gd name="connsiteX1" fmla="*/ 16252 w 354719"/>
                <a:gd name="connsiteY1" fmla="*/ 63218 h 99189"/>
                <a:gd name="connsiteX2" fmla="*/ 3707 w 354719"/>
                <a:gd name="connsiteY2" fmla="*/ 75763 h 99189"/>
                <a:gd name="connsiteX3" fmla="*/ 4442 w 354719"/>
                <a:gd name="connsiteY3" fmla="*/ 95388 h 99189"/>
                <a:gd name="connsiteX4" fmla="*/ 24066 w 354719"/>
                <a:gd name="connsiteY4" fmla="*/ 94653 h 99189"/>
                <a:gd name="connsiteX5" fmla="*/ 319667 w 354719"/>
                <a:gd name="connsiteY5" fmla="*/ 83809 h 99189"/>
                <a:gd name="connsiteX6" fmla="*/ 330615 w 354719"/>
                <a:gd name="connsiteY6" fmla="*/ 94766 h 99189"/>
                <a:gd name="connsiteX7" fmla="*/ 350296 w 354719"/>
                <a:gd name="connsiteY7" fmla="*/ 95444 h 99189"/>
                <a:gd name="connsiteX8" fmla="*/ 350975 w 354719"/>
                <a:gd name="connsiteY8" fmla="*/ 75763 h 99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719" h="99189">
                  <a:moveTo>
                    <a:pt x="350975" y="75763"/>
                  </a:moveTo>
                  <a:cubicBezTo>
                    <a:pt x="262008" y="-20132"/>
                    <a:pt x="112148" y="-25749"/>
                    <a:pt x="16252" y="63218"/>
                  </a:cubicBezTo>
                  <a:cubicBezTo>
                    <a:pt x="11915" y="67242"/>
                    <a:pt x="7730" y="71426"/>
                    <a:pt x="3707" y="75763"/>
                  </a:cubicBezTo>
                  <a:cubicBezTo>
                    <a:pt x="-1510" y="81386"/>
                    <a:pt x="-1180" y="90172"/>
                    <a:pt x="4442" y="95388"/>
                  </a:cubicBezTo>
                  <a:cubicBezTo>
                    <a:pt x="10064" y="100604"/>
                    <a:pt x="18850" y="100275"/>
                    <a:pt x="24066" y="94653"/>
                  </a:cubicBezTo>
                  <a:cubicBezTo>
                    <a:pt x="102700" y="10030"/>
                    <a:pt x="235045" y="5176"/>
                    <a:pt x="319667" y="83809"/>
                  </a:cubicBezTo>
                  <a:cubicBezTo>
                    <a:pt x="323450" y="87325"/>
                    <a:pt x="327102" y="90980"/>
                    <a:pt x="330615" y="94766"/>
                  </a:cubicBezTo>
                  <a:cubicBezTo>
                    <a:pt x="335863" y="100388"/>
                    <a:pt x="344674" y="100692"/>
                    <a:pt x="350296" y="95444"/>
                  </a:cubicBezTo>
                  <a:cubicBezTo>
                    <a:pt x="355918" y="90197"/>
                    <a:pt x="356222" y="81386"/>
                    <a:pt x="350975" y="75763"/>
                  </a:cubicBez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 176">
              <a:extLst>
                <a:ext uri="{FF2B5EF4-FFF2-40B4-BE49-F238E27FC236}">
                  <a16:creationId xmlns:a16="http://schemas.microsoft.com/office/drawing/2014/main" id="{54B85BD6-6A96-3547-B3E6-73B9B4511224}"/>
                </a:ext>
              </a:extLst>
            </p:cNvPr>
            <p:cNvSpPr/>
            <p:nvPr/>
          </p:nvSpPr>
          <p:spPr>
            <a:xfrm>
              <a:off x="6435392" y="2930068"/>
              <a:ext cx="253153" cy="76209"/>
            </a:xfrm>
            <a:custGeom>
              <a:avLst/>
              <a:gdLst>
                <a:gd name="connsiteX0" fmla="*/ 249426 w 253153"/>
                <a:gd name="connsiteY0" fmla="*/ 52596 h 76209"/>
                <a:gd name="connsiteX1" fmla="*/ 126657 w 253153"/>
                <a:gd name="connsiteY1" fmla="*/ 0 h 76209"/>
                <a:gd name="connsiteX2" fmla="*/ 4023 w 253153"/>
                <a:gd name="connsiteY2" fmla="*/ 52596 h 76209"/>
                <a:gd name="connsiteX3" fmla="*/ 4091 w 253153"/>
                <a:gd name="connsiteY3" fmla="*/ 72186 h 76209"/>
                <a:gd name="connsiteX4" fmla="*/ 23682 w 253153"/>
                <a:gd name="connsiteY4" fmla="*/ 72119 h 76209"/>
                <a:gd name="connsiteX5" fmla="*/ 126657 w 253153"/>
                <a:gd name="connsiteY5" fmla="*/ 27712 h 76209"/>
                <a:gd name="connsiteX6" fmla="*/ 229745 w 253153"/>
                <a:gd name="connsiteY6" fmla="*/ 72119 h 76209"/>
                <a:gd name="connsiteX7" fmla="*/ 249349 w 253153"/>
                <a:gd name="connsiteY7" fmla="*/ 71598 h 76209"/>
                <a:gd name="connsiteX8" fmla="*/ 249426 w 253153"/>
                <a:gd name="connsiteY8" fmla="*/ 52596 h 7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153" h="76209">
                  <a:moveTo>
                    <a:pt x="249426" y="52596"/>
                  </a:moveTo>
                  <a:cubicBezTo>
                    <a:pt x="217219" y="19300"/>
                    <a:pt x="172980" y="347"/>
                    <a:pt x="126657" y="0"/>
                  </a:cubicBezTo>
                  <a:cubicBezTo>
                    <a:pt x="80380" y="378"/>
                    <a:pt x="36195" y="19329"/>
                    <a:pt x="4023" y="52596"/>
                  </a:cubicBezTo>
                  <a:cubicBezTo>
                    <a:pt x="-1368" y="58024"/>
                    <a:pt x="-1337" y="66795"/>
                    <a:pt x="4091" y="72186"/>
                  </a:cubicBezTo>
                  <a:cubicBezTo>
                    <a:pt x="9520" y="77577"/>
                    <a:pt x="18291" y="77547"/>
                    <a:pt x="23682" y="72119"/>
                  </a:cubicBezTo>
                  <a:cubicBezTo>
                    <a:pt x="50667" y="44112"/>
                    <a:pt x="87767" y="28113"/>
                    <a:pt x="126657" y="27712"/>
                  </a:cubicBezTo>
                  <a:cubicBezTo>
                    <a:pt x="165587" y="28077"/>
                    <a:pt x="202735" y="44080"/>
                    <a:pt x="229745" y="72119"/>
                  </a:cubicBezTo>
                  <a:cubicBezTo>
                    <a:pt x="235302" y="77388"/>
                    <a:pt x="244079" y="77155"/>
                    <a:pt x="249349" y="71598"/>
                  </a:cubicBezTo>
                  <a:cubicBezTo>
                    <a:pt x="254392" y="66279"/>
                    <a:pt x="254426" y="57955"/>
                    <a:pt x="249426" y="52596"/>
                  </a:cubicBez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 177">
              <a:extLst>
                <a:ext uri="{FF2B5EF4-FFF2-40B4-BE49-F238E27FC236}">
                  <a16:creationId xmlns:a16="http://schemas.microsoft.com/office/drawing/2014/main" id="{82D66CB2-700C-D749-933B-43FBFC3E30EF}"/>
                </a:ext>
              </a:extLst>
            </p:cNvPr>
            <p:cNvSpPr/>
            <p:nvPr/>
          </p:nvSpPr>
          <p:spPr>
            <a:xfrm>
              <a:off x="6489379" y="3011099"/>
              <a:ext cx="144399" cy="52962"/>
            </a:xfrm>
            <a:custGeom>
              <a:avLst/>
              <a:gdLst>
                <a:gd name="connsiteX0" fmla="*/ 140060 w 144399"/>
                <a:gd name="connsiteY0" fmla="*/ 28956 h 52962"/>
                <a:gd name="connsiteX1" fmla="*/ 72624 w 144399"/>
                <a:gd name="connsiteY1" fmla="*/ 0 h 52962"/>
                <a:gd name="connsiteX2" fmla="*/ 71539 w 144399"/>
                <a:gd name="connsiteY2" fmla="*/ 0 h 52962"/>
                <a:gd name="connsiteX3" fmla="*/ 4103 w 144399"/>
                <a:gd name="connsiteY3" fmla="*/ 28956 h 52962"/>
                <a:gd name="connsiteX4" fmla="*/ 4012 w 144399"/>
                <a:gd name="connsiteY4" fmla="*/ 48547 h 52962"/>
                <a:gd name="connsiteX5" fmla="*/ 23603 w 144399"/>
                <a:gd name="connsiteY5" fmla="*/ 48637 h 52962"/>
                <a:gd name="connsiteX6" fmla="*/ 71539 w 144399"/>
                <a:gd name="connsiteY6" fmla="*/ 27712 h 52962"/>
                <a:gd name="connsiteX7" fmla="*/ 72557 w 144399"/>
                <a:gd name="connsiteY7" fmla="*/ 27712 h 52962"/>
                <a:gd name="connsiteX8" fmla="*/ 120470 w 144399"/>
                <a:gd name="connsiteY8" fmla="*/ 48637 h 52962"/>
                <a:gd name="connsiteX9" fmla="*/ 140074 w 144399"/>
                <a:gd name="connsiteY9" fmla="*/ 49158 h 52962"/>
                <a:gd name="connsiteX10" fmla="*/ 140595 w 144399"/>
                <a:gd name="connsiteY10" fmla="*/ 29554 h 52962"/>
                <a:gd name="connsiteX11" fmla="*/ 139992 w 144399"/>
                <a:gd name="connsiteY11" fmla="*/ 28956 h 52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4399" h="52962">
                  <a:moveTo>
                    <a:pt x="140060" y="28956"/>
                  </a:moveTo>
                  <a:cubicBezTo>
                    <a:pt x="122067" y="11101"/>
                    <a:pt x="97962" y="751"/>
                    <a:pt x="72624" y="0"/>
                  </a:cubicBezTo>
                  <a:lnTo>
                    <a:pt x="71539" y="0"/>
                  </a:lnTo>
                  <a:cubicBezTo>
                    <a:pt x="46200" y="746"/>
                    <a:pt x="22093" y="11098"/>
                    <a:pt x="4103" y="28956"/>
                  </a:cubicBezTo>
                  <a:cubicBezTo>
                    <a:pt x="-1332" y="34341"/>
                    <a:pt x="-1373" y="43112"/>
                    <a:pt x="4012" y="48547"/>
                  </a:cubicBezTo>
                  <a:cubicBezTo>
                    <a:pt x="9397" y="53981"/>
                    <a:pt x="18168" y="54022"/>
                    <a:pt x="23603" y="48637"/>
                  </a:cubicBezTo>
                  <a:cubicBezTo>
                    <a:pt x="36415" y="35931"/>
                    <a:pt x="53510" y="28469"/>
                    <a:pt x="71539" y="27712"/>
                  </a:cubicBezTo>
                  <a:lnTo>
                    <a:pt x="72557" y="27712"/>
                  </a:lnTo>
                  <a:cubicBezTo>
                    <a:pt x="90577" y="28474"/>
                    <a:pt x="107663" y="35937"/>
                    <a:pt x="120470" y="48637"/>
                  </a:cubicBezTo>
                  <a:cubicBezTo>
                    <a:pt x="125739" y="54194"/>
                    <a:pt x="134517" y="54428"/>
                    <a:pt x="140074" y="49158"/>
                  </a:cubicBezTo>
                  <a:cubicBezTo>
                    <a:pt x="145631" y="43888"/>
                    <a:pt x="145865" y="35111"/>
                    <a:pt x="140595" y="29554"/>
                  </a:cubicBezTo>
                  <a:cubicBezTo>
                    <a:pt x="140400" y="29348"/>
                    <a:pt x="140199" y="29149"/>
                    <a:pt x="139992" y="28956"/>
                  </a:cubicBez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9" name="Graphic 220">
            <a:extLst>
              <a:ext uri="{FF2B5EF4-FFF2-40B4-BE49-F238E27FC236}">
                <a16:creationId xmlns:a16="http://schemas.microsoft.com/office/drawing/2014/main" id="{1DAC7F6B-9E44-534E-9026-E52C28840E22}"/>
              </a:ext>
            </a:extLst>
          </p:cNvPr>
          <p:cNvGrpSpPr/>
          <p:nvPr userDrawn="1"/>
        </p:nvGrpSpPr>
        <p:grpSpPr>
          <a:xfrm>
            <a:off x="7291389" y="2805112"/>
            <a:ext cx="361949" cy="361949"/>
            <a:chOff x="7291389" y="2805112"/>
            <a:chExt cx="361949" cy="361949"/>
          </a:xfrm>
        </p:grpSpPr>
        <p:sp>
          <p:nvSpPr>
            <p:cNvPr id="180" name="Freeform 179">
              <a:extLst>
                <a:ext uri="{FF2B5EF4-FFF2-40B4-BE49-F238E27FC236}">
                  <a16:creationId xmlns:a16="http://schemas.microsoft.com/office/drawing/2014/main" id="{BA66AEDB-B1BE-BC40-963B-E88344C15A67}"/>
                </a:ext>
              </a:extLst>
            </p:cNvPr>
            <p:cNvSpPr/>
            <p:nvPr/>
          </p:nvSpPr>
          <p:spPr>
            <a:xfrm>
              <a:off x="7327944" y="2888061"/>
              <a:ext cx="86846" cy="83207"/>
            </a:xfrm>
            <a:custGeom>
              <a:avLst/>
              <a:gdLst>
                <a:gd name="connsiteX0" fmla="*/ 20202 w 86846"/>
                <a:gd name="connsiteY0" fmla="*/ 83208 h 83207"/>
                <a:gd name="connsiteX1" fmla="*/ 16809 w 86846"/>
                <a:gd name="connsiteY1" fmla="*/ 82099 h 83207"/>
                <a:gd name="connsiteX2" fmla="*/ 14705 w 86846"/>
                <a:gd name="connsiteY2" fmla="*/ 75652 h 83207"/>
                <a:gd name="connsiteX3" fmla="*/ 22261 w 86846"/>
                <a:gd name="connsiteY3" fmla="*/ 52261 h 83207"/>
                <a:gd name="connsiteX4" fmla="*/ 2354 w 86846"/>
                <a:gd name="connsiteY4" fmla="*/ 37806 h 83207"/>
                <a:gd name="connsiteX5" fmla="*/ 1131 w 86846"/>
                <a:gd name="connsiteY5" fmla="*/ 29708 h 83207"/>
                <a:gd name="connsiteX6" fmla="*/ 5747 w 86846"/>
                <a:gd name="connsiteY6" fmla="*/ 27355 h 83207"/>
                <a:gd name="connsiteX7" fmla="*/ 30382 w 86846"/>
                <a:gd name="connsiteY7" fmla="*/ 27355 h 83207"/>
                <a:gd name="connsiteX8" fmla="*/ 38096 w 86846"/>
                <a:gd name="connsiteY8" fmla="*/ 3986 h 83207"/>
                <a:gd name="connsiteX9" fmla="*/ 45366 w 86846"/>
                <a:gd name="connsiteY9" fmla="*/ 284 h 83207"/>
                <a:gd name="connsiteX10" fmla="*/ 49068 w 86846"/>
                <a:gd name="connsiteY10" fmla="*/ 3986 h 83207"/>
                <a:gd name="connsiteX11" fmla="*/ 56691 w 86846"/>
                <a:gd name="connsiteY11" fmla="*/ 27355 h 83207"/>
                <a:gd name="connsiteX12" fmla="*/ 81077 w 86846"/>
                <a:gd name="connsiteY12" fmla="*/ 27355 h 83207"/>
                <a:gd name="connsiteX13" fmla="*/ 86846 w 86846"/>
                <a:gd name="connsiteY13" fmla="*/ 33168 h 83207"/>
                <a:gd name="connsiteX14" fmla="*/ 84493 w 86846"/>
                <a:gd name="connsiteY14" fmla="*/ 37806 h 83207"/>
                <a:gd name="connsiteX15" fmla="*/ 64586 w 86846"/>
                <a:gd name="connsiteY15" fmla="*/ 52261 h 83207"/>
                <a:gd name="connsiteX16" fmla="*/ 72255 w 86846"/>
                <a:gd name="connsiteY16" fmla="*/ 75652 h 83207"/>
                <a:gd name="connsiteX17" fmla="*/ 70151 w 86846"/>
                <a:gd name="connsiteY17" fmla="*/ 82099 h 83207"/>
                <a:gd name="connsiteX18" fmla="*/ 63365 w 86846"/>
                <a:gd name="connsiteY18" fmla="*/ 82099 h 83207"/>
                <a:gd name="connsiteX19" fmla="*/ 43480 w 86846"/>
                <a:gd name="connsiteY19" fmla="*/ 67644 h 83207"/>
                <a:gd name="connsiteX20" fmla="*/ 23573 w 86846"/>
                <a:gd name="connsiteY20" fmla="*/ 82099 h 83207"/>
                <a:gd name="connsiteX21" fmla="*/ 20202 w 86846"/>
                <a:gd name="connsiteY21" fmla="*/ 83208 h 83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846" h="83207">
                  <a:moveTo>
                    <a:pt x="20202" y="83208"/>
                  </a:moveTo>
                  <a:cubicBezTo>
                    <a:pt x="18982" y="83211"/>
                    <a:pt x="17792" y="82823"/>
                    <a:pt x="16809" y="82099"/>
                  </a:cubicBezTo>
                  <a:cubicBezTo>
                    <a:pt x="14779" y="80637"/>
                    <a:pt x="13928" y="78030"/>
                    <a:pt x="14705" y="75652"/>
                  </a:cubicBezTo>
                  <a:lnTo>
                    <a:pt x="22261" y="52261"/>
                  </a:lnTo>
                  <a:lnTo>
                    <a:pt x="2354" y="37806"/>
                  </a:lnTo>
                  <a:cubicBezTo>
                    <a:pt x="-220" y="35907"/>
                    <a:pt x="-767" y="32281"/>
                    <a:pt x="1131" y="29708"/>
                  </a:cubicBezTo>
                  <a:cubicBezTo>
                    <a:pt x="2214" y="28240"/>
                    <a:pt x="3924" y="27369"/>
                    <a:pt x="5747" y="27355"/>
                  </a:cubicBezTo>
                  <a:lnTo>
                    <a:pt x="30382" y="27355"/>
                  </a:lnTo>
                  <a:lnTo>
                    <a:pt x="38096" y="3986"/>
                  </a:lnTo>
                  <a:cubicBezTo>
                    <a:pt x="39081" y="956"/>
                    <a:pt x="42336" y="-701"/>
                    <a:pt x="45366" y="284"/>
                  </a:cubicBezTo>
                  <a:cubicBezTo>
                    <a:pt x="47121" y="855"/>
                    <a:pt x="48497" y="2231"/>
                    <a:pt x="49068" y="3986"/>
                  </a:cubicBezTo>
                  <a:lnTo>
                    <a:pt x="56691" y="27355"/>
                  </a:lnTo>
                  <a:lnTo>
                    <a:pt x="81077" y="27355"/>
                  </a:lnTo>
                  <a:cubicBezTo>
                    <a:pt x="84276" y="27367"/>
                    <a:pt x="86859" y="29970"/>
                    <a:pt x="86846" y="33168"/>
                  </a:cubicBezTo>
                  <a:cubicBezTo>
                    <a:pt x="86839" y="34999"/>
                    <a:pt x="85967" y="36719"/>
                    <a:pt x="84493" y="37806"/>
                  </a:cubicBezTo>
                  <a:lnTo>
                    <a:pt x="64586" y="52261"/>
                  </a:lnTo>
                  <a:lnTo>
                    <a:pt x="72255" y="75652"/>
                  </a:lnTo>
                  <a:cubicBezTo>
                    <a:pt x="73032" y="78030"/>
                    <a:pt x="72181" y="80637"/>
                    <a:pt x="70151" y="82099"/>
                  </a:cubicBezTo>
                  <a:cubicBezTo>
                    <a:pt x="68121" y="83550"/>
                    <a:pt x="65394" y="83550"/>
                    <a:pt x="63365" y="82099"/>
                  </a:cubicBezTo>
                  <a:lnTo>
                    <a:pt x="43480" y="67644"/>
                  </a:lnTo>
                  <a:lnTo>
                    <a:pt x="23573" y="82099"/>
                  </a:lnTo>
                  <a:cubicBezTo>
                    <a:pt x="22598" y="82822"/>
                    <a:pt x="21416" y="83211"/>
                    <a:pt x="20202" y="83208"/>
                  </a:cubicBezTo>
                  <a:close/>
                </a:path>
              </a:pathLst>
            </a:custGeom>
            <a:noFill/>
            <a:ln w="11013" cap="rnd">
              <a:solidFill>
                <a:srgbClr val="BD5C7A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 180">
              <a:extLst>
                <a:ext uri="{FF2B5EF4-FFF2-40B4-BE49-F238E27FC236}">
                  <a16:creationId xmlns:a16="http://schemas.microsoft.com/office/drawing/2014/main" id="{C9E10292-5DA3-6D45-BD09-73A89150628F}"/>
                </a:ext>
              </a:extLst>
            </p:cNvPr>
            <p:cNvSpPr/>
            <p:nvPr/>
          </p:nvSpPr>
          <p:spPr>
            <a:xfrm>
              <a:off x="7429772" y="2888106"/>
              <a:ext cx="86809" cy="83208"/>
            </a:xfrm>
            <a:custGeom>
              <a:avLst/>
              <a:gdLst>
                <a:gd name="connsiteX0" fmla="*/ 20150 w 86809"/>
                <a:gd name="connsiteY0" fmla="*/ 83208 h 83208"/>
                <a:gd name="connsiteX1" fmla="*/ 14377 w 86809"/>
                <a:gd name="connsiteY1" fmla="*/ 77398 h 83208"/>
                <a:gd name="connsiteX2" fmla="*/ 14653 w 86809"/>
                <a:gd name="connsiteY2" fmla="*/ 75652 h 83208"/>
                <a:gd name="connsiteX3" fmla="*/ 22231 w 86809"/>
                <a:gd name="connsiteY3" fmla="*/ 52261 h 83208"/>
                <a:gd name="connsiteX4" fmla="*/ 2369 w 86809"/>
                <a:gd name="connsiteY4" fmla="*/ 37806 h 83208"/>
                <a:gd name="connsiteX5" fmla="*/ 1109 w 86809"/>
                <a:gd name="connsiteY5" fmla="*/ 29746 h 83208"/>
                <a:gd name="connsiteX6" fmla="*/ 5762 w 86809"/>
                <a:gd name="connsiteY6" fmla="*/ 27377 h 83208"/>
                <a:gd name="connsiteX7" fmla="*/ 30352 w 86809"/>
                <a:gd name="connsiteY7" fmla="*/ 27377 h 83208"/>
                <a:gd name="connsiteX8" fmla="*/ 38066 w 86809"/>
                <a:gd name="connsiteY8" fmla="*/ 3986 h 83208"/>
                <a:gd name="connsiteX9" fmla="*/ 45336 w 86809"/>
                <a:gd name="connsiteY9" fmla="*/ 284 h 83208"/>
                <a:gd name="connsiteX10" fmla="*/ 49038 w 86809"/>
                <a:gd name="connsiteY10" fmla="*/ 3986 h 83208"/>
                <a:gd name="connsiteX11" fmla="*/ 56639 w 86809"/>
                <a:gd name="connsiteY11" fmla="*/ 27377 h 83208"/>
                <a:gd name="connsiteX12" fmla="*/ 81048 w 86809"/>
                <a:gd name="connsiteY12" fmla="*/ 27377 h 83208"/>
                <a:gd name="connsiteX13" fmla="*/ 86810 w 86809"/>
                <a:gd name="connsiteY13" fmla="*/ 33152 h 83208"/>
                <a:gd name="connsiteX14" fmla="*/ 84441 w 86809"/>
                <a:gd name="connsiteY14" fmla="*/ 37806 h 83208"/>
                <a:gd name="connsiteX15" fmla="*/ 64556 w 86809"/>
                <a:gd name="connsiteY15" fmla="*/ 52261 h 83208"/>
                <a:gd name="connsiteX16" fmla="*/ 72135 w 86809"/>
                <a:gd name="connsiteY16" fmla="*/ 75652 h 83208"/>
                <a:gd name="connsiteX17" fmla="*/ 70053 w 86809"/>
                <a:gd name="connsiteY17" fmla="*/ 82099 h 83208"/>
                <a:gd name="connsiteX18" fmla="*/ 63267 w 86809"/>
                <a:gd name="connsiteY18" fmla="*/ 82099 h 83208"/>
                <a:gd name="connsiteX19" fmla="*/ 43360 w 86809"/>
                <a:gd name="connsiteY19" fmla="*/ 67644 h 83208"/>
                <a:gd name="connsiteX20" fmla="*/ 23543 w 86809"/>
                <a:gd name="connsiteY20" fmla="*/ 82145 h 83208"/>
                <a:gd name="connsiteX21" fmla="*/ 20150 w 86809"/>
                <a:gd name="connsiteY21" fmla="*/ 83208 h 83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809" h="83208">
                  <a:moveTo>
                    <a:pt x="20150" y="83208"/>
                  </a:moveTo>
                  <a:cubicBezTo>
                    <a:pt x="16951" y="83197"/>
                    <a:pt x="14367" y="80596"/>
                    <a:pt x="14377" y="77398"/>
                  </a:cubicBezTo>
                  <a:cubicBezTo>
                    <a:pt x="14379" y="76805"/>
                    <a:pt x="14472" y="76217"/>
                    <a:pt x="14653" y="75652"/>
                  </a:cubicBezTo>
                  <a:lnTo>
                    <a:pt x="22231" y="52261"/>
                  </a:lnTo>
                  <a:lnTo>
                    <a:pt x="2369" y="37806"/>
                  </a:lnTo>
                  <a:cubicBezTo>
                    <a:pt x="-205" y="35928"/>
                    <a:pt x="-769" y="32319"/>
                    <a:pt x="1109" y="29746"/>
                  </a:cubicBezTo>
                  <a:cubicBezTo>
                    <a:pt x="2193" y="28259"/>
                    <a:pt x="3922" y="27379"/>
                    <a:pt x="5762" y="27377"/>
                  </a:cubicBezTo>
                  <a:lnTo>
                    <a:pt x="30352" y="27377"/>
                  </a:lnTo>
                  <a:lnTo>
                    <a:pt x="38066" y="3986"/>
                  </a:lnTo>
                  <a:cubicBezTo>
                    <a:pt x="39051" y="956"/>
                    <a:pt x="42306" y="-701"/>
                    <a:pt x="45336" y="284"/>
                  </a:cubicBezTo>
                  <a:cubicBezTo>
                    <a:pt x="47091" y="855"/>
                    <a:pt x="48467" y="2231"/>
                    <a:pt x="49038" y="3986"/>
                  </a:cubicBezTo>
                  <a:lnTo>
                    <a:pt x="56639" y="27377"/>
                  </a:lnTo>
                  <a:lnTo>
                    <a:pt x="81048" y="27377"/>
                  </a:lnTo>
                  <a:cubicBezTo>
                    <a:pt x="84234" y="27381"/>
                    <a:pt x="86813" y="29967"/>
                    <a:pt x="86810" y="33152"/>
                  </a:cubicBezTo>
                  <a:cubicBezTo>
                    <a:pt x="86807" y="34993"/>
                    <a:pt x="85927" y="36721"/>
                    <a:pt x="84441" y="37806"/>
                  </a:cubicBezTo>
                  <a:lnTo>
                    <a:pt x="64556" y="52261"/>
                  </a:lnTo>
                  <a:lnTo>
                    <a:pt x="72135" y="75652"/>
                  </a:lnTo>
                  <a:cubicBezTo>
                    <a:pt x="72916" y="78025"/>
                    <a:pt x="72075" y="80631"/>
                    <a:pt x="70053" y="82099"/>
                  </a:cubicBezTo>
                  <a:cubicBezTo>
                    <a:pt x="68024" y="83550"/>
                    <a:pt x="65297" y="83550"/>
                    <a:pt x="63267" y="82099"/>
                  </a:cubicBezTo>
                  <a:lnTo>
                    <a:pt x="43360" y="67644"/>
                  </a:lnTo>
                  <a:lnTo>
                    <a:pt x="23543" y="82145"/>
                  </a:lnTo>
                  <a:cubicBezTo>
                    <a:pt x="22554" y="82852"/>
                    <a:pt x="21365" y="83224"/>
                    <a:pt x="20150" y="83208"/>
                  </a:cubicBezTo>
                  <a:close/>
                </a:path>
              </a:pathLst>
            </a:custGeom>
            <a:noFill/>
            <a:ln w="11013" cap="rnd">
              <a:solidFill>
                <a:srgbClr val="BD5C7A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eform 181">
              <a:extLst>
                <a:ext uri="{FF2B5EF4-FFF2-40B4-BE49-F238E27FC236}">
                  <a16:creationId xmlns:a16="http://schemas.microsoft.com/office/drawing/2014/main" id="{2BC55879-ABE3-294A-912E-754282348A38}"/>
                </a:ext>
              </a:extLst>
            </p:cNvPr>
            <p:cNvSpPr/>
            <p:nvPr/>
          </p:nvSpPr>
          <p:spPr>
            <a:xfrm>
              <a:off x="7535710" y="2888151"/>
              <a:ext cx="86900" cy="83213"/>
            </a:xfrm>
            <a:custGeom>
              <a:avLst/>
              <a:gdLst>
                <a:gd name="connsiteX0" fmla="*/ 20150 w 86900"/>
                <a:gd name="connsiteY0" fmla="*/ 83208 h 83213"/>
                <a:gd name="connsiteX1" fmla="*/ 14377 w 86900"/>
                <a:gd name="connsiteY1" fmla="*/ 77398 h 83213"/>
                <a:gd name="connsiteX2" fmla="*/ 14653 w 86900"/>
                <a:gd name="connsiteY2" fmla="*/ 75652 h 83213"/>
                <a:gd name="connsiteX3" fmla="*/ 22254 w 86900"/>
                <a:gd name="connsiteY3" fmla="*/ 52261 h 83213"/>
                <a:gd name="connsiteX4" fmla="*/ 2369 w 86900"/>
                <a:gd name="connsiteY4" fmla="*/ 37806 h 83213"/>
                <a:gd name="connsiteX5" fmla="*/ 1109 w 86900"/>
                <a:gd name="connsiteY5" fmla="*/ 29746 h 83213"/>
                <a:gd name="connsiteX6" fmla="*/ 5762 w 86900"/>
                <a:gd name="connsiteY6" fmla="*/ 27377 h 83213"/>
                <a:gd name="connsiteX7" fmla="*/ 30352 w 86900"/>
                <a:gd name="connsiteY7" fmla="*/ 27377 h 83213"/>
                <a:gd name="connsiteX8" fmla="*/ 37953 w 86900"/>
                <a:gd name="connsiteY8" fmla="*/ 3986 h 83213"/>
                <a:gd name="connsiteX9" fmla="*/ 45223 w 86900"/>
                <a:gd name="connsiteY9" fmla="*/ 284 h 83213"/>
                <a:gd name="connsiteX10" fmla="*/ 48925 w 86900"/>
                <a:gd name="connsiteY10" fmla="*/ 3986 h 83213"/>
                <a:gd name="connsiteX11" fmla="*/ 56548 w 86900"/>
                <a:gd name="connsiteY11" fmla="*/ 27377 h 83213"/>
                <a:gd name="connsiteX12" fmla="*/ 81138 w 86900"/>
                <a:gd name="connsiteY12" fmla="*/ 27377 h 83213"/>
                <a:gd name="connsiteX13" fmla="*/ 86900 w 86900"/>
                <a:gd name="connsiteY13" fmla="*/ 33152 h 83213"/>
                <a:gd name="connsiteX14" fmla="*/ 84531 w 86900"/>
                <a:gd name="connsiteY14" fmla="*/ 37806 h 83213"/>
                <a:gd name="connsiteX15" fmla="*/ 64624 w 86900"/>
                <a:gd name="connsiteY15" fmla="*/ 52261 h 83213"/>
                <a:gd name="connsiteX16" fmla="*/ 72225 w 86900"/>
                <a:gd name="connsiteY16" fmla="*/ 75652 h 83213"/>
                <a:gd name="connsiteX17" fmla="*/ 68535 w 86900"/>
                <a:gd name="connsiteY17" fmla="*/ 82928 h 83213"/>
                <a:gd name="connsiteX18" fmla="*/ 63335 w 86900"/>
                <a:gd name="connsiteY18" fmla="*/ 82099 h 83213"/>
                <a:gd name="connsiteX19" fmla="*/ 43428 w 86900"/>
                <a:gd name="connsiteY19" fmla="*/ 67644 h 83213"/>
                <a:gd name="connsiteX20" fmla="*/ 23543 w 86900"/>
                <a:gd name="connsiteY20" fmla="*/ 82099 h 83213"/>
                <a:gd name="connsiteX21" fmla="*/ 20150 w 86900"/>
                <a:gd name="connsiteY21" fmla="*/ 83208 h 83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900" h="83213">
                  <a:moveTo>
                    <a:pt x="20150" y="83208"/>
                  </a:moveTo>
                  <a:cubicBezTo>
                    <a:pt x="16951" y="83197"/>
                    <a:pt x="14367" y="80596"/>
                    <a:pt x="14377" y="77398"/>
                  </a:cubicBezTo>
                  <a:cubicBezTo>
                    <a:pt x="14379" y="76805"/>
                    <a:pt x="14472" y="76217"/>
                    <a:pt x="14653" y="75652"/>
                  </a:cubicBezTo>
                  <a:lnTo>
                    <a:pt x="22254" y="52261"/>
                  </a:lnTo>
                  <a:lnTo>
                    <a:pt x="2369" y="37806"/>
                  </a:lnTo>
                  <a:cubicBezTo>
                    <a:pt x="-205" y="35928"/>
                    <a:pt x="-769" y="32319"/>
                    <a:pt x="1109" y="29746"/>
                  </a:cubicBezTo>
                  <a:cubicBezTo>
                    <a:pt x="2193" y="28259"/>
                    <a:pt x="3922" y="27379"/>
                    <a:pt x="5762" y="27377"/>
                  </a:cubicBezTo>
                  <a:lnTo>
                    <a:pt x="30352" y="27377"/>
                  </a:lnTo>
                  <a:lnTo>
                    <a:pt x="37953" y="3986"/>
                  </a:lnTo>
                  <a:cubicBezTo>
                    <a:pt x="38938" y="956"/>
                    <a:pt x="42193" y="-701"/>
                    <a:pt x="45223" y="284"/>
                  </a:cubicBezTo>
                  <a:cubicBezTo>
                    <a:pt x="46978" y="855"/>
                    <a:pt x="48354" y="2231"/>
                    <a:pt x="48925" y="3986"/>
                  </a:cubicBezTo>
                  <a:lnTo>
                    <a:pt x="56548" y="27377"/>
                  </a:lnTo>
                  <a:lnTo>
                    <a:pt x="81138" y="27377"/>
                  </a:lnTo>
                  <a:cubicBezTo>
                    <a:pt x="84324" y="27381"/>
                    <a:pt x="86904" y="29967"/>
                    <a:pt x="86900" y="33152"/>
                  </a:cubicBezTo>
                  <a:cubicBezTo>
                    <a:pt x="86898" y="34993"/>
                    <a:pt x="86018" y="36721"/>
                    <a:pt x="84531" y="37806"/>
                  </a:cubicBezTo>
                  <a:lnTo>
                    <a:pt x="64624" y="52261"/>
                  </a:lnTo>
                  <a:lnTo>
                    <a:pt x="72225" y="75652"/>
                  </a:lnTo>
                  <a:cubicBezTo>
                    <a:pt x="73215" y="78680"/>
                    <a:pt x="71563" y="81938"/>
                    <a:pt x="68535" y="82928"/>
                  </a:cubicBezTo>
                  <a:cubicBezTo>
                    <a:pt x="66769" y="83505"/>
                    <a:pt x="64834" y="83197"/>
                    <a:pt x="63335" y="82099"/>
                  </a:cubicBezTo>
                  <a:lnTo>
                    <a:pt x="43428" y="67644"/>
                  </a:lnTo>
                  <a:lnTo>
                    <a:pt x="23543" y="82099"/>
                  </a:lnTo>
                  <a:cubicBezTo>
                    <a:pt x="22558" y="82820"/>
                    <a:pt x="21370" y="83208"/>
                    <a:pt x="20150" y="83208"/>
                  </a:cubicBezTo>
                  <a:close/>
                </a:path>
              </a:pathLst>
            </a:custGeom>
            <a:noFill/>
            <a:ln w="11013" cap="rnd">
              <a:solidFill>
                <a:srgbClr val="BD5C7A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 182">
              <a:extLst>
                <a:ext uri="{FF2B5EF4-FFF2-40B4-BE49-F238E27FC236}">
                  <a16:creationId xmlns:a16="http://schemas.microsoft.com/office/drawing/2014/main" id="{B25FBE16-1B41-EE44-BA43-9008CA202334}"/>
                </a:ext>
              </a:extLst>
            </p:cNvPr>
            <p:cNvSpPr/>
            <p:nvPr/>
          </p:nvSpPr>
          <p:spPr>
            <a:xfrm>
              <a:off x="7379665" y="2979853"/>
              <a:ext cx="86877" cy="83219"/>
            </a:xfrm>
            <a:custGeom>
              <a:avLst/>
              <a:gdLst>
                <a:gd name="connsiteX0" fmla="*/ 20150 w 86877"/>
                <a:gd name="connsiteY0" fmla="*/ 83147 h 83219"/>
                <a:gd name="connsiteX1" fmla="*/ 16756 w 86877"/>
                <a:gd name="connsiteY1" fmla="*/ 82061 h 83219"/>
                <a:gd name="connsiteX2" fmla="*/ 14653 w 86877"/>
                <a:gd name="connsiteY2" fmla="*/ 75591 h 83219"/>
                <a:gd name="connsiteX3" fmla="*/ 22254 w 86877"/>
                <a:gd name="connsiteY3" fmla="*/ 52200 h 83219"/>
                <a:gd name="connsiteX4" fmla="*/ 2369 w 86877"/>
                <a:gd name="connsiteY4" fmla="*/ 37903 h 83219"/>
                <a:gd name="connsiteX5" fmla="*/ 1109 w 86877"/>
                <a:gd name="connsiteY5" fmla="*/ 29843 h 83219"/>
                <a:gd name="connsiteX6" fmla="*/ 5762 w 86877"/>
                <a:gd name="connsiteY6" fmla="*/ 27475 h 83219"/>
                <a:gd name="connsiteX7" fmla="*/ 30352 w 86877"/>
                <a:gd name="connsiteY7" fmla="*/ 27475 h 83219"/>
                <a:gd name="connsiteX8" fmla="*/ 37930 w 86877"/>
                <a:gd name="connsiteY8" fmla="*/ 3971 h 83219"/>
                <a:gd name="connsiteX9" fmla="*/ 45250 w 86877"/>
                <a:gd name="connsiteY9" fmla="*/ 296 h 83219"/>
                <a:gd name="connsiteX10" fmla="*/ 48925 w 86877"/>
                <a:gd name="connsiteY10" fmla="*/ 3971 h 83219"/>
                <a:gd name="connsiteX11" fmla="*/ 56503 w 86877"/>
                <a:gd name="connsiteY11" fmla="*/ 27407 h 83219"/>
                <a:gd name="connsiteX12" fmla="*/ 81116 w 86877"/>
                <a:gd name="connsiteY12" fmla="*/ 27407 h 83219"/>
                <a:gd name="connsiteX13" fmla="*/ 86877 w 86877"/>
                <a:gd name="connsiteY13" fmla="*/ 33182 h 83219"/>
                <a:gd name="connsiteX14" fmla="*/ 84509 w 86877"/>
                <a:gd name="connsiteY14" fmla="*/ 37836 h 83219"/>
                <a:gd name="connsiteX15" fmla="*/ 64602 w 86877"/>
                <a:gd name="connsiteY15" fmla="*/ 52291 h 83219"/>
                <a:gd name="connsiteX16" fmla="*/ 72203 w 86877"/>
                <a:gd name="connsiteY16" fmla="*/ 75682 h 83219"/>
                <a:gd name="connsiteX17" fmla="*/ 70076 w 86877"/>
                <a:gd name="connsiteY17" fmla="*/ 82152 h 83219"/>
                <a:gd name="connsiteX18" fmla="*/ 63290 w 86877"/>
                <a:gd name="connsiteY18" fmla="*/ 82152 h 83219"/>
                <a:gd name="connsiteX19" fmla="*/ 43382 w 86877"/>
                <a:gd name="connsiteY19" fmla="*/ 67696 h 83219"/>
                <a:gd name="connsiteX20" fmla="*/ 23498 w 86877"/>
                <a:gd name="connsiteY20" fmla="*/ 82152 h 83219"/>
                <a:gd name="connsiteX21" fmla="*/ 20150 w 86877"/>
                <a:gd name="connsiteY21" fmla="*/ 83147 h 83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877" h="83219">
                  <a:moveTo>
                    <a:pt x="20150" y="83147"/>
                  </a:moveTo>
                  <a:cubicBezTo>
                    <a:pt x="18932" y="83155"/>
                    <a:pt x="17743" y="82775"/>
                    <a:pt x="16756" y="82061"/>
                  </a:cubicBezTo>
                  <a:cubicBezTo>
                    <a:pt x="14729" y="80587"/>
                    <a:pt x="13880" y="77976"/>
                    <a:pt x="14653" y="75591"/>
                  </a:cubicBezTo>
                  <a:lnTo>
                    <a:pt x="22254" y="52200"/>
                  </a:lnTo>
                  <a:lnTo>
                    <a:pt x="2369" y="37903"/>
                  </a:lnTo>
                  <a:cubicBezTo>
                    <a:pt x="-205" y="36026"/>
                    <a:pt x="-769" y="32417"/>
                    <a:pt x="1109" y="29843"/>
                  </a:cubicBezTo>
                  <a:cubicBezTo>
                    <a:pt x="2193" y="28357"/>
                    <a:pt x="3922" y="27477"/>
                    <a:pt x="5762" y="27475"/>
                  </a:cubicBezTo>
                  <a:lnTo>
                    <a:pt x="30352" y="27475"/>
                  </a:lnTo>
                  <a:lnTo>
                    <a:pt x="37930" y="3971"/>
                  </a:lnTo>
                  <a:cubicBezTo>
                    <a:pt x="38937" y="935"/>
                    <a:pt x="42214" y="-711"/>
                    <a:pt x="45250" y="296"/>
                  </a:cubicBezTo>
                  <a:cubicBezTo>
                    <a:pt x="46986" y="871"/>
                    <a:pt x="48349" y="2234"/>
                    <a:pt x="48925" y="3971"/>
                  </a:cubicBezTo>
                  <a:lnTo>
                    <a:pt x="56503" y="27407"/>
                  </a:lnTo>
                  <a:lnTo>
                    <a:pt x="81116" y="27407"/>
                  </a:lnTo>
                  <a:cubicBezTo>
                    <a:pt x="84301" y="27411"/>
                    <a:pt x="86881" y="29996"/>
                    <a:pt x="86877" y="33182"/>
                  </a:cubicBezTo>
                  <a:cubicBezTo>
                    <a:pt x="86875" y="35022"/>
                    <a:pt x="85995" y="36751"/>
                    <a:pt x="84509" y="37836"/>
                  </a:cubicBezTo>
                  <a:lnTo>
                    <a:pt x="64602" y="52291"/>
                  </a:lnTo>
                  <a:lnTo>
                    <a:pt x="72203" y="75682"/>
                  </a:lnTo>
                  <a:cubicBezTo>
                    <a:pt x="72971" y="78071"/>
                    <a:pt x="72112" y="80684"/>
                    <a:pt x="70076" y="82152"/>
                  </a:cubicBezTo>
                  <a:cubicBezTo>
                    <a:pt x="68038" y="83575"/>
                    <a:pt x="65328" y="83575"/>
                    <a:pt x="63290" y="82152"/>
                  </a:cubicBezTo>
                  <a:lnTo>
                    <a:pt x="43382" y="67696"/>
                  </a:lnTo>
                  <a:lnTo>
                    <a:pt x="23498" y="82152"/>
                  </a:lnTo>
                  <a:cubicBezTo>
                    <a:pt x="22513" y="82826"/>
                    <a:pt x="21342" y="83174"/>
                    <a:pt x="20150" y="83147"/>
                  </a:cubicBezTo>
                  <a:close/>
                </a:path>
              </a:pathLst>
            </a:custGeom>
            <a:noFill/>
            <a:ln w="11013" cap="rnd">
              <a:solidFill>
                <a:srgbClr val="BD5C7A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 183">
              <a:extLst>
                <a:ext uri="{FF2B5EF4-FFF2-40B4-BE49-F238E27FC236}">
                  <a16:creationId xmlns:a16="http://schemas.microsoft.com/office/drawing/2014/main" id="{7FA18CED-9A15-2545-9F2D-B66B59760F45}"/>
                </a:ext>
              </a:extLst>
            </p:cNvPr>
            <p:cNvSpPr/>
            <p:nvPr/>
          </p:nvSpPr>
          <p:spPr>
            <a:xfrm>
              <a:off x="7485558" y="2974974"/>
              <a:ext cx="86877" cy="83207"/>
            </a:xfrm>
            <a:custGeom>
              <a:avLst/>
              <a:gdLst>
                <a:gd name="connsiteX0" fmla="*/ 20150 w 86877"/>
                <a:gd name="connsiteY0" fmla="*/ 83208 h 83207"/>
                <a:gd name="connsiteX1" fmla="*/ 16756 w 86877"/>
                <a:gd name="connsiteY1" fmla="*/ 82122 h 83207"/>
                <a:gd name="connsiteX2" fmla="*/ 14675 w 86877"/>
                <a:gd name="connsiteY2" fmla="*/ 75652 h 83207"/>
                <a:gd name="connsiteX3" fmla="*/ 22276 w 86877"/>
                <a:gd name="connsiteY3" fmla="*/ 52261 h 83207"/>
                <a:gd name="connsiteX4" fmla="*/ 2369 w 86877"/>
                <a:gd name="connsiteY4" fmla="*/ 37806 h 83207"/>
                <a:gd name="connsiteX5" fmla="*/ 1109 w 86877"/>
                <a:gd name="connsiteY5" fmla="*/ 29746 h 83207"/>
                <a:gd name="connsiteX6" fmla="*/ 5762 w 86877"/>
                <a:gd name="connsiteY6" fmla="*/ 27377 h 83207"/>
                <a:gd name="connsiteX7" fmla="*/ 30352 w 86877"/>
                <a:gd name="connsiteY7" fmla="*/ 27377 h 83207"/>
                <a:gd name="connsiteX8" fmla="*/ 37953 w 86877"/>
                <a:gd name="connsiteY8" fmla="*/ 3986 h 83207"/>
                <a:gd name="connsiteX9" fmla="*/ 45223 w 86877"/>
                <a:gd name="connsiteY9" fmla="*/ 284 h 83207"/>
                <a:gd name="connsiteX10" fmla="*/ 48925 w 86877"/>
                <a:gd name="connsiteY10" fmla="*/ 3986 h 83207"/>
                <a:gd name="connsiteX11" fmla="*/ 56526 w 86877"/>
                <a:gd name="connsiteY11" fmla="*/ 27377 h 83207"/>
                <a:gd name="connsiteX12" fmla="*/ 81116 w 86877"/>
                <a:gd name="connsiteY12" fmla="*/ 27377 h 83207"/>
                <a:gd name="connsiteX13" fmla="*/ 86877 w 86877"/>
                <a:gd name="connsiteY13" fmla="*/ 33152 h 83207"/>
                <a:gd name="connsiteX14" fmla="*/ 84509 w 86877"/>
                <a:gd name="connsiteY14" fmla="*/ 37806 h 83207"/>
                <a:gd name="connsiteX15" fmla="*/ 64624 w 86877"/>
                <a:gd name="connsiteY15" fmla="*/ 52261 h 83207"/>
                <a:gd name="connsiteX16" fmla="*/ 72225 w 86877"/>
                <a:gd name="connsiteY16" fmla="*/ 75652 h 83207"/>
                <a:gd name="connsiteX17" fmla="*/ 70121 w 86877"/>
                <a:gd name="connsiteY17" fmla="*/ 82122 h 83207"/>
                <a:gd name="connsiteX18" fmla="*/ 63335 w 86877"/>
                <a:gd name="connsiteY18" fmla="*/ 82122 h 83207"/>
                <a:gd name="connsiteX19" fmla="*/ 43360 w 86877"/>
                <a:gd name="connsiteY19" fmla="*/ 67667 h 83207"/>
                <a:gd name="connsiteX20" fmla="*/ 23453 w 86877"/>
                <a:gd name="connsiteY20" fmla="*/ 82122 h 83207"/>
                <a:gd name="connsiteX21" fmla="*/ 20150 w 86877"/>
                <a:gd name="connsiteY21" fmla="*/ 83208 h 83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877" h="83207">
                  <a:moveTo>
                    <a:pt x="20150" y="83208"/>
                  </a:moveTo>
                  <a:cubicBezTo>
                    <a:pt x="18932" y="83216"/>
                    <a:pt x="17743" y="82836"/>
                    <a:pt x="16756" y="82122"/>
                  </a:cubicBezTo>
                  <a:cubicBezTo>
                    <a:pt x="14743" y="80638"/>
                    <a:pt x="13905" y="78032"/>
                    <a:pt x="14675" y="75652"/>
                  </a:cubicBezTo>
                  <a:lnTo>
                    <a:pt x="22276" y="52261"/>
                  </a:lnTo>
                  <a:lnTo>
                    <a:pt x="2369" y="37806"/>
                  </a:lnTo>
                  <a:cubicBezTo>
                    <a:pt x="-205" y="35928"/>
                    <a:pt x="-769" y="32319"/>
                    <a:pt x="1109" y="29746"/>
                  </a:cubicBezTo>
                  <a:cubicBezTo>
                    <a:pt x="2193" y="28259"/>
                    <a:pt x="3922" y="27379"/>
                    <a:pt x="5762" y="27377"/>
                  </a:cubicBezTo>
                  <a:lnTo>
                    <a:pt x="30352" y="27377"/>
                  </a:lnTo>
                  <a:lnTo>
                    <a:pt x="37953" y="3986"/>
                  </a:lnTo>
                  <a:cubicBezTo>
                    <a:pt x="38938" y="956"/>
                    <a:pt x="42193" y="-701"/>
                    <a:pt x="45223" y="284"/>
                  </a:cubicBezTo>
                  <a:cubicBezTo>
                    <a:pt x="46978" y="855"/>
                    <a:pt x="48354" y="2231"/>
                    <a:pt x="48925" y="3986"/>
                  </a:cubicBezTo>
                  <a:lnTo>
                    <a:pt x="56526" y="27377"/>
                  </a:lnTo>
                  <a:lnTo>
                    <a:pt x="81116" y="27377"/>
                  </a:lnTo>
                  <a:cubicBezTo>
                    <a:pt x="84301" y="27381"/>
                    <a:pt x="86881" y="29967"/>
                    <a:pt x="86877" y="33152"/>
                  </a:cubicBezTo>
                  <a:cubicBezTo>
                    <a:pt x="86875" y="34993"/>
                    <a:pt x="85995" y="36721"/>
                    <a:pt x="84509" y="37806"/>
                  </a:cubicBezTo>
                  <a:lnTo>
                    <a:pt x="64624" y="52261"/>
                  </a:lnTo>
                  <a:lnTo>
                    <a:pt x="72225" y="75652"/>
                  </a:lnTo>
                  <a:cubicBezTo>
                    <a:pt x="72998" y="78037"/>
                    <a:pt x="72149" y="80648"/>
                    <a:pt x="70121" y="82122"/>
                  </a:cubicBezTo>
                  <a:cubicBezTo>
                    <a:pt x="68083" y="83545"/>
                    <a:pt x="65373" y="83545"/>
                    <a:pt x="63335" y="82122"/>
                  </a:cubicBezTo>
                  <a:lnTo>
                    <a:pt x="43360" y="67667"/>
                  </a:lnTo>
                  <a:lnTo>
                    <a:pt x="23453" y="82122"/>
                  </a:lnTo>
                  <a:cubicBezTo>
                    <a:pt x="22494" y="82824"/>
                    <a:pt x="21338" y="83205"/>
                    <a:pt x="20150" y="83208"/>
                  </a:cubicBezTo>
                  <a:close/>
                </a:path>
              </a:pathLst>
            </a:custGeom>
            <a:noFill/>
            <a:ln w="11013" cap="rnd">
              <a:solidFill>
                <a:srgbClr val="BD5C7A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 184">
              <a:extLst>
                <a:ext uri="{FF2B5EF4-FFF2-40B4-BE49-F238E27FC236}">
                  <a16:creationId xmlns:a16="http://schemas.microsoft.com/office/drawing/2014/main" id="{F8B9E843-C1B6-354B-B792-53362B0DE5DF}"/>
                </a:ext>
              </a:extLst>
            </p:cNvPr>
            <p:cNvSpPr/>
            <p:nvPr/>
          </p:nvSpPr>
          <p:spPr>
            <a:xfrm>
              <a:off x="7296886" y="2844881"/>
              <a:ext cx="354189" cy="318735"/>
            </a:xfrm>
            <a:custGeom>
              <a:avLst/>
              <a:gdLst>
                <a:gd name="connsiteX0" fmla="*/ 300938 w 354189"/>
                <a:gd name="connsiteY0" fmla="*/ 0 h 318735"/>
                <a:gd name="connsiteX1" fmla="*/ 53116 w 354189"/>
                <a:gd name="connsiteY1" fmla="*/ 0 h 318735"/>
                <a:gd name="connsiteX2" fmla="*/ 0 w 354189"/>
                <a:gd name="connsiteY2" fmla="*/ 53116 h 318735"/>
                <a:gd name="connsiteX3" fmla="*/ 0 w 354189"/>
                <a:gd name="connsiteY3" fmla="*/ 206537 h 318735"/>
                <a:gd name="connsiteX4" fmla="*/ 53116 w 354189"/>
                <a:gd name="connsiteY4" fmla="*/ 259653 h 318735"/>
                <a:gd name="connsiteX5" fmla="*/ 69517 w 354189"/>
                <a:gd name="connsiteY5" fmla="*/ 259653 h 318735"/>
                <a:gd name="connsiteX6" fmla="*/ 59133 w 354189"/>
                <a:gd name="connsiteY6" fmla="*/ 311683 h 318735"/>
                <a:gd name="connsiteX7" fmla="*/ 63777 w 354189"/>
                <a:gd name="connsiteY7" fmla="*/ 318623 h 318735"/>
                <a:gd name="connsiteX8" fmla="*/ 67662 w 354189"/>
                <a:gd name="connsiteY8" fmla="*/ 318063 h 318735"/>
                <a:gd name="connsiteX9" fmla="*/ 178509 w 354189"/>
                <a:gd name="connsiteY9" fmla="*/ 259766 h 318735"/>
                <a:gd name="connsiteX10" fmla="*/ 300961 w 354189"/>
                <a:gd name="connsiteY10" fmla="*/ 259766 h 318735"/>
                <a:gd name="connsiteX11" fmla="*/ 354190 w 354189"/>
                <a:gd name="connsiteY11" fmla="*/ 206650 h 318735"/>
                <a:gd name="connsiteX12" fmla="*/ 354190 w 354189"/>
                <a:gd name="connsiteY12" fmla="*/ 53116 h 318735"/>
                <a:gd name="connsiteX13" fmla="*/ 300938 w 354189"/>
                <a:gd name="connsiteY13" fmla="*/ 0 h 318735"/>
                <a:gd name="connsiteX14" fmla="*/ 342245 w 354189"/>
                <a:gd name="connsiteY14" fmla="*/ 206537 h 318735"/>
                <a:gd name="connsiteX15" fmla="*/ 300938 w 354189"/>
                <a:gd name="connsiteY15" fmla="*/ 247845 h 318735"/>
                <a:gd name="connsiteX16" fmla="*/ 177016 w 354189"/>
                <a:gd name="connsiteY16" fmla="*/ 247845 h 318735"/>
                <a:gd name="connsiteX17" fmla="*/ 174278 w 354189"/>
                <a:gd name="connsiteY17" fmla="*/ 248523 h 318735"/>
                <a:gd name="connsiteX18" fmla="*/ 73136 w 354189"/>
                <a:gd name="connsiteY18" fmla="*/ 301820 h 318735"/>
                <a:gd name="connsiteX19" fmla="*/ 82502 w 354189"/>
                <a:gd name="connsiteY19" fmla="*/ 254970 h 318735"/>
                <a:gd name="connsiteX20" fmla="*/ 77842 w 354189"/>
                <a:gd name="connsiteY20" fmla="*/ 248003 h 318735"/>
                <a:gd name="connsiteX21" fmla="*/ 77842 w 354189"/>
                <a:gd name="connsiteY21" fmla="*/ 248003 h 318735"/>
                <a:gd name="connsiteX22" fmla="*/ 76711 w 354189"/>
                <a:gd name="connsiteY22" fmla="*/ 247890 h 318735"/>
                <a:gd name="connsiteX23" fmla="*/ 53116 w 354189"/>
                <a:gd name="connsiteY23" fmla="*/ 247890 h 318735"/>
                <a:gd name="connsiteX24" fmla="*/ 11809 w 354189"/>
                <a:gd name="connsiteY24" fmla="*/ 206537 h 318735"/>
                <a:gd name="connsiteX25" fmla="*/ 11809 w 354189"/>
                <a:gd name="connsiteY25" fmla="*/ 53116 h 318735"/>
                <a:gd name="connsiteX26" fmla="*/ 53116 w 354189"/>
                <a:gd name="connsiteY26" fmla="*/ 11809 h 318735"/>
                <a:gd name="connsiteX27" fmla="*/ 300938 w 354189"/>
                <a:gd name="connsiteY27" fmla="*/ 11809 h 318735"/>
                <a:gd name="connsiteX28" fmla="*/ 342245 w 354189"/>
                <a:gd name="connsiteY28" fmla="*/ 53116 h 31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54189" h="318735">
                  <a:moveTo>
                    <a:pt x="300938" y="0"/>
                  </a:moveTo>
                  <a:lnTo>
                    <a:pt x="53116" y="0"/>
                  </a:lnTo>
                  <a:cubicBezTo>
                    <a:pt x="23802" y="50"/>
                    <a:pt x="50" y="23802"/>
                    <a:pt x="0" y="53116"/>
                  </a:cubicBezTo>
                  <a:lnTo>
                    <a:pt x="0" y="206537"/>
                  </a:lnTo>
                  <a:cubicBezTo>
                    <a:pt x="50" y="235852"/>
                    <a:pt x="23802" y="259603"/>
                    <a:pt x="53116" y="259653"/>
                  </a:cubicBezTo>
                  <a:lnTo>
                    <a:pt x="69517" y="259653"/>
                  </a:lnTo>
                  <a:lnTo>
                    <a:pt x="59133" y="311683"/>
                  </a:lnTo>
                  <a:cubicBezTo>
                    <a:pt x="58500" y="314882"/>
                    <a:pt x="60579" y="317989"/>
                    <a:pt x="63777" y="318623"/>
                  </a:cubicBezTo>
                  <a:cubicBezTo>
                    <a:pt x="65098" y="318884"/>
                    <a:pt x="66469" y="318687"/>
                    <a:pt x="67662" y="318063"/>
                  </a:cubicBezTo>
                  <a:lnTo>
                    <a:pt x="178509" y="259766"/>
                  </a:lnTo>
                  <a:lnTo>
                    <a:pt x="300961" y="259766"/>
                  </a:lnTo>
                  <a:cubicBezTo>
                    <a:pt x="330319" y="259779"/>
                    <a:pt x="354140" y="236009"/>
                    <a:pt x="354190" y="206650"/>
                  </a:cubicBezTo>
                  <a:lnTo>
                    <a:pt x="354190" y="53116"/>
                  </a:lnTo>
                  <a:cubicBezTo>
                    <a:pt x="354140" y="23749"/>
                    <a:pt x="330305" y="-25"/>
                    <a:pt x="300938" y="0"/>
                  </a:cubicBezTo>
                  <a:close/>
                  <a:moveTo>
                    <a:pt x="342245" y="206537"/>
                  </a:moveTo>
                  <a:cubicBezTo>
                    <a:pt x="342220" y="229340"/>
                    <a:pt x="323741" y="247820"/>
                    <a:pt x="300938" y="247845"/>
                  </a:cubicBezTo>
                  <a:lnTo>
                    <a:pt x="177016" y="247845"/>
                  </a:lnTo>
                  <a:cubicBezTo>
                    <a:pt x="176061" y="247841"/>
                    <a:pt x="175121" y="248074"/>
                    <a:pt x="174278" y="248523"/>
                  </a:cubicBezTo>
                  <a:lnTo>
                    <a:pt x="73136" y="301820"/>
                  </a:lnTo>
                  <a:lnTo>
                    <a:pt x="82502" y="254970"/>
                  </a:lnTo>
                  <a:cubicBezTo>
                    <a:pt x="83139" y="251760"/>
                    <a:pt x="81053" y="248640"/>
                    <a:pt x="77842" y="248003"/>
                  </a:cubicBezTo>
                  <a:cubicBezTo>
                    <a:pt x="77842" y="248003"/>
                    <a:pt x="77842" y="248003"/>
                    <a:pt x="77842" y="248003"/>
                  </a:cubicBezTo>
                  <a:cubicBezTo>
                    <a:pt x="77469" y="247931"/>
                    <a:pt x="77090" y="247893"/>
                    <a:pt x="76711" y="247890"/>
                  </a:cubicBezTo>
                  <a:lnTo>
                    <a:pt x="53116" y="247890"/>
                  </a:lnTo>
                  <a:cubicBezTo>
                    <a:pt x="30295" y="247865"/>
                    <a:pt x="11809" y="229358"/>
                    <a:pt x="11809" y="206537"/>
                  </a:cubicBezTo>
                  <a:lnTo>
                    <a:pt x="11809" y="53116"/>
                  </a:lnTo>
                  <a:cubicBezTo>
                    <a:pt x="11834" y="30313"/>
                    <a:pt x="30313" y="11834"/>
                    <a:pt x="53116" y="11809"/>
                  </a:cubicBezTo>
                  <a:lnTo>
                    <a:pt x="300938" y="11809"/>
                  </a:lnTo>
                  <a:cubicBezTo>
                    <a:pt x="323741" y="11834"/>
                    <a:pt x="342220" y="30313"/>
                    <a:pt x="342245" y="53116"/>
                  </a:cubicBezTo>
                  <a:close/>
                </a:path>
              </a:pathLst>
            </a:custGeom>
            <a:solidFill>
              <a:srgbClr val="1F6898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6" name="Graphic 229">
            <a:extLst>
              <a:ext uri="{FF2B5EF4-FFF2-40B4-BE49-F238E27FC236}">
                <a16:creationId xmlns:a16="http://schemas.microsoft.com/office/drawing/2014/main" id="{EEF2D37A-E7C3-4C48-912F-723E82F66930}"/>
              </a:ext>
            </a:extLst>
          </p:cNvPr>
          <p:cNvGrpSpPr/>
          <p:nvPr userDrawn="1"/>
        </p:nvGrpSpPr>
        <p:grpSpPr>
          <a:xfrm>
            <a:off x="3906838" y="3454400"/>
            <a:ext cx="298449" cy="298449"/>
            <a:chOff x="3906838" y="3454400"/>
            <a:chExt cx="298449" cy="298449"/>
          </a:xfrm>
        </p:grpSpPr>
        <p:sp>
          <p:nvSpPr>
            <p:cNvPr id="187" name="Freeform 186">
              <a:extLst>
                <a:ext uri="{FF2B5EF4-FFF2-40B4-BE49-F238E27FC236}">
                  <a16:creationId xmlns:a16="http://schemas.microsoft.com/office/drawing/2014/main" id="{446CF581-FEB8-6D4A-B64F-2A8FFCC3D294}"/>
                </a:ext>
              </a:extLst>
            </p:cNvPr>
            <p:cNvSpPr/>
            <p:nvPr/>
          </p:nvSpPr>
          <p:spPr>
            <a:xfrm>
              <a:off x="4047426" y="3545800"/>
              <a:ext cx="24137" cy="24137"/>
            </a:xfrm>
            <a:custGeom>
              <a:avLst/>
              <a:gdLst>
                <a:gd name="connsiteX0" fmla="*/ 24137 w 24137"/>
                <a:gd name="connsiteY0" fmla="*/ 12069 h 24137"/>
                <a:gd name="connsiteX1" fmla="*/ 12069 w 24137"/>
                <a:gd name="connsiteY1" fmla="*/ 24137 h 24137"/>
                <a:gd name="connsiteX2" fmla="*/ 0 w 24137"/>
                <a:gd name="connsiteY2" fmla="*/ 12069 h 24137"/>
                <a:gd name="connsiteX3" fmla="*/ 12069 w 24137"/>
                <a:gd name="connsiteY3" fmla="*/ 0 h 24137"/>
                <a:gd name="connsiteX4" fmla="*/ 24137 w 24137"/>
                <a:gd name="connsiteY4" fmla="*/ 12069 h 24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37" h="24137">
                  <a:moveTo>
                    <a:pt x="24137" y="12069"/>
                  </a:moveTo>
                  <a:cubicBezTo>
                    <a:pt x="24137" y="18734"/>
                    <a:pt x="18734" y="24137"/>
                    <a:pt x="12069" y="24137"/>
                  </a:cubicBezTo>
                  <a:cubicBezTo>
                    <a:pt x="5403" y="24137"/>
                    <a:pt x="0" y="18734"/>
                    <a:pt x="0" y="12069"/>
                  </a:cubicBezTo>
                  <a:cubicBezTo>
                    <a:pt x="0" y="5403"/>
                    <a:pt x="5403" y="0"/>
                    <a:pt x="12069" y="0"/>
                  </a:cubicBezTo>
                  <a:cubicBezTo>
                    <a:pt x="18734" y="0"/>
                    <a:pt x="24137" y="5403"/>
                    <a:pt x="24137" y="12069"/>
                  </a:cubicBezTo>
                  <a:close/>
                </a:path>
              </a:pathLst>
            </a:custGeom>
            <a:solidFill>
              <a:srgbClr val="BD5C7A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 187">
              <a:extLst>
                <a:ext uri="{FF2B5EF4-FFF2-40B4-BE49-F238E27FC236}">
                  <a16:creationId xmlns:a16="http://schemas.microsoft.com/office/drawing/2014/main" id="{88937A5F-F24B-A44F-9B8E-5DBE6C9AAA4A}"/>
                </a:ext>
              </a:extLst>
            </p:cNvPr>
            <p:cNvSpPr/>
            <p:nvPr/>
          </p:nvSpPr>
          <p:spPr>
            <a:xfrm>
              <a:off x="3917715" y="3463950"/>
              <a:ext cx="52243" cy="187053"/>
            </a:xfrm>
            <a:custGeom>
              <a:avLst/>
              <a:gdLst>
                <a:gd name="connsiteX0" fmla="*/ 39952 w 52243"/>
                <a:gd name="connsiteY0" fmla="*/ 1958 h 187053"/>
                <a:gd name="connsiteX1" fmla="*/ 33380 w 52243"/>
                <a:gd name="connsiteY1" fmla="*/ 178578 h 187053"/>
                <a:gd name="connsiteX2" fmla="*/ 39952 w 52243"/>
                <a:gd name="connsiteY2" fmla="*/ 185150 h 187053"/>
                <a:gd name="connsiteX3" fmla="*/ 50281 w 52243"/>
                <a:gd name="connsiteY3" fmla="*/ 184663 h 187053"/>
                <a:gd name="connsiteX4" fmla="*/ 49931 w 52243"/>
                <a:gd name="connsiteY4" fmla="*/ 174462 h 187053"/>
                <a:gd name="connsiteX5" fmla="*/ 44012 w 52243"/>
                <a:gd name="connsiteY5" fmla="*/ 18566 h 187053"/>
                <a:gd name="connsiteX6" fmla="*/ 49931 w 52243"/>
                <a:gd name="connsiteY6" fmla="*/ 12647 h 187053"/>
                <a:gd name="connsiteX7" fmla="*/ 50286 w 52243"/>
                <a:gd name="connsiteY7" fmla="*/ 2331 h 187053"/>
                <a:gd name="connsiteX8" fmla="*/ 39952 w 52243"/>
                <a:gd name="connsiteY8" fmla="*/ 1958 h 18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243" h="187053">
                  <a:moveTo>
                    <a:pt x="39952" y="1958"/>
                  </a:moveTo>
                  <a:cubicBezTo>
                    <a:pt x="-10635" y="48916"/>
                    <a:pt x="-13577" y="127991"/>
                    <a:pt x="33380" y="178578"/>
                  </a:cubicBezTo>
                  <a:cubicBezTo>
                    <a:pt x="35489" y="180850"/>
                    <a:pt x="37681" y="183042"/>
                    <a:pt x="39952" y="185150"/>
                  </a:cubicBezTo>
                  <a:cubicBezTo>
                    <a:pt x="42939" y="187868"/>
                    <a:pt x="47564" y="187650"/>
                    <a:pt x="50281" y="184663"/>
                  </a:cubicBezTo>
                  <a:cubicBezTo>
                    <a:pt x="52950" y="181730"/>
                    <a:pt x="52794" y="177205"/>
                    <a:pt x="49931" y="174462"/>
                  </a:cubicBezTo>
                  <a:cubicBezTo>
                    <a:pt x="5247" y="133047"/>
                    <a:pt x="2597" y="63250"/>
                    <a:pt x="44012" y="18566"/>
                  </a:cubicBezTo>
                  <a:cubicBezTo>
                    <a:pt x="45909" y="16519"/>
                    <a:pt x="47884" y="14544"/>
                    <a:pt x="49931" y="12647"/>
                  </a:cubicBezTo>
                  <a:cubicBezTo>
                    <a:pt x="52870" y="9893"/>
                    <a:pt x="53029" y="5281"/>
                    <a:pt x="50286" y="2331"/>
                  </a:cubicBezTo>
                  <a:cubicBezTo>
                    <a:pt x="47535" y="-625"/>
                    <a:pt x="42909" y="-792"/>
                    <a:pt x="39952" y="1958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 188">
              <a:extLst>
                <a:ext uri="{FF2B5EF4-FFF2-40B4-BE49-F238E27FC236}">
                  <a16:creationId xmlns:a16="http://schemas.microsoft.com/office/drawing/2014/main" id="{E8F416D6-B882-BC45-8710-38781B19E3F9}"/>
                </a:ext>
              </a:extLst>
            </p:cNvPr>
            <p:cNvSpPr/>
            <p:nvPr/>
          </p:nvSpPr>
          <p:spPr>
            <a:xfrm>
              <a:off x="3960111" y="3490811"/>
              <a:ext cx="40281" cy="133610"/>
            </a:xfrm>
            <a:custGeom>
              <a:avLst/>
              <a:gdLst>
                <a:gd name="connsiteX0" fmla="*/ 27756 w 40281"/>
                <a:gd name="connsiteY0" fmla="*/ 1939 h 133610"/>
                <a:gd name="connsiteX1" fmla="*/ 0 w 40281"/>
                <a:gd name="connsiteY1" fmla="*/ 66702 h 133610"/>
                <a:gd name="connsiteX2" fmla="*/ 27756 w 40281"/>
                <a:gd name="connsiteY2" fmla="*/ 131466 h 133610"/>
                <a:gd name="connsiteX3" fmla="*/ 38136 w 40281"/>
                <a:gd name="connsiteY3" fmla="*/ 131456 h 133610"/>
                <a:gd name="connsiteX4" fmla="*/ 38127 w 40281"/>
                <a:gd name="connsiteY4" fmla="*/ 121076 h 133610"/>
                <a:gd name="connsiteX5" fmla="*/ 14624 w 40281"/>
                <a:gd name="connsiteY5" fmla="*/ 66702 h 133610"/>
                <a:gd name="connsiteX6" fmla="*/ 38127 w 40281"/>
                <a:gd name="connsiteY6" fmla="*/ 12310 h 133610"/>
                <a:gd name="connsiteX7" fmla="*/ 37787 w 40281"/>
                <a:gd name="connsiteY7" fmla="*/ 1975 h 133610"/>
                <a:gd name="connsiteX8" fmla="*/ 27830 w 40281"/>
                <a:gd name="connsiteY8" fmla="*/ 1939 h 13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281" h="133610">
                  <a:moveTo>
                    <a:pt x="27756" y="1939"/>
                  </a:moveTo>
                  <a:cubicBezTo>
                    <a:pt x="10182" y="18923"/>
                    <a:pt x="179" y="42263"/>
                    <a:pt x="0" y="66702"/>
                  </a:cubicBezTo>
                  <a:cubicBezTo>
                    <a:pt x="181" y="91141"/>
                    <a:pt x="10183" y="114480"/>
                    <a:pt x="27756" y="131466"/>
                  </a:cubicBezTo>
                  <a:cubicBezTo>
                    <a:pt x="30625" y="134330"/>
                    <a:pt x="35272" y="134325"/>
                    <a:pt x="38136" y="131456"/>
                  </a:cubicBezTo>
                  <a:cubicBezTo>
                    <a:pt x="41000" y="128587"/>
                    <a:pt x="40996" y="123940"/>
                    <a:pt x="38127" y="121076"/>
                  </a:cubicBezTo>
                  <a:cubicBezTo>
                    <a:pt x="23306" y="106844"/>
                    <a:pt x="14836" y="87248"/>
                    <a:pt x="14624" y="66702"/>
                  </a:cubicBezTo>
                  <a:cubicBezTo>
                    <a:pt x="14831" y="46150"/>
                    <a:pt x="23302" y="26546"/>
                    <a:pt x="38127" y="12310"/>
                  </a:cubicBezTo>
                  <a:cubicBezTo>
                    <a:pt x="40887" y="9362"/>
                    <a:pt x="40735" y="4735"/>
                    <a:pt x="37787" y="1975"/>
                  </a:cubicBezTo>
                  <a:cubicBezTo>
                    <a:pt x="34990" y="-644"/>
                    <a:pt x="30646" y="-660"/>
                    <a:pt x="27830" y="1939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eform 189">
              <a:extLst>
                <a:ext uri="{FF2B5EF4-FFF2-40B4-BE49-F238E27FC236}">
                  <a16:creationId xmlns:a16="http://schemas.microsoft.com/office/drawing/2014/main" id="{AB0B0902-A83A-4244-8944-50376E1A6808}"/>
                </a:ext>
              </a:extLst>
            </p:cNvPr>
            <p:cNvSpPr/>
            <p:nvPr/>
          </p:nvSpPr>
          <p:spPr>
            <a:xfrm>
              <a:off x="4002863" y="3519833"/>
              <a:ext cx="27774" cy="76024"/>
            </a:xfrm>
            <a:custGeom>
              <a:avLst/>
              <a:gdLst>
                <a:gd name="connsiteX0" fmla="*/ 15258 w 27774"/>
                <a:gd name="connsiteY0" fmla="*/ 2166 h 76024"/>
                <a:gd name="connsiteX1" fmla="*/ 0 w 27774"/>
                <a:gd name="connsiteY1" fmla="*/ 37737 h 76024"/>
                <a:gd name="connsiteX2" fmla="*/ 0 w 27774"/>
                <a:gd name="connsiteY2" fmla="*/ 37737 h 76024"/>
                <a:gd name="connsiteX3" fmla="*/ 0 w 27774"/>
                <a:gd name="connsiteY3" fmla="*/ 38278 h 76024"/>
                <a:gd name="connsiteX4" fmla="*/ 0 w 27774"/>
                <a:gd name="connsiteY4" fmla="*/ 38278 h 76024"/>
                <a:gd name="connsiteX5" fmla="*/ 15258 w 27774"/>
                <a:gd name="connsiteY5" fmla="*/ 73849 h 76024"/>
                <a:gd name="connsiteX6" fmla="*/ 25599 w 27774"/>
                <a:gd name="connsiteY6" fmla="*/ 73917 h 76024"/>
                <a:gd name="connsiteX7" fmla="*/ 27774 w 27774"/>
                <a:gd name="connsiteY7" fmla="*/ 68701 h 76024"/>
                <a:gd name="connsiteX8" fmla="*/ 25648 w 27774"/>
                <a:gd name="connsiteY8" fmla="*/ 63571 h 76024"/>
                <a:gd name="connsiteX9" fmla="*/ 14605 w 27774"/>
                <a:gd name="connsiteY9" fmla="*/ 38278 h 76024"/>
                <a:gd name="connsiteX10" fmla="*/ 14605 w 27774"/>
                <a:gd name="connsiteY10" fmla="*/ 38278 h 76024"/>
                <a:gd name="connsiteX11" fmla="*/ 14605 w 27774"/>
                <a:gd name="connsiteY11" fmla="*/ 37737 h 76024"/>
                <a:gd name="connsiteX12" fmla="*/ 14605 w 27774"/>
                <a:gd name="connsiteY12" fmla="*/ 37737 h 76024"/>
                <a:gd name="connsiteX13" fmla="*/ 25648 w 27774"/>
                <a:gd name="connsiteY13" fmla="*/ 12462 h 76024"/>
                <a:gd name="connsiteX14" fmla="*/ 25601 w 27774"/>
                <a:gd name="connsiteY14" fmla="*/ 2119 h 76024"/>
                <a:gd name="connsiteX15" fmla="*/ 15258 w 27774"/>
                <a:gd name="connsiteY15" fmla="*/ 2166 h 76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774" h="76024">
                  <a:moveTo>
                    <a:pt x="15258" y="2166"/>
                  </a:moveTo>
                  <a:cubicBezTo>
                    <a:pt x="5849" y="11661"/>
                    <a:pt x="395" y="24375"/>
                    <a:pt x="0" y="37737"/>
                  </a:cubicBezTo>
                  <a:lnTo>
                    <a:pt x="0" y="37737"/>
                  </a:lnTo>
                  <a:lnTo>
                    <a:pt x="0" y="38278"/>
                  </a:lnTo>
                  <a:lnTo>
                    <a:pt x="0" y="38278"/>
                  </a:lnTo>
                  <a:cubicBezTo>
                    <a:pt x="391" y="51641"/>
                    <a:pt x="5846" y="64356"/>
                    <a:pt x="15258" y="73849"/>
                  </a:cubicBezTo>
                  <a:cubicBezTo>
                    <a:pt x="18095" y="76723"/>
                    <a:pt x="22724" y="76754"/>
                    <a:pt x="25599" y="73917"/>
                  </a:cubicBezTo>
                  <a:cubicBezTo>
                    <a:pt x="26994" y="72540"/>
                    <a:pt x="27778" y="70661"/>
                    <a:pt x="27774" y="68701"/>
                  </a:cubicBezTo>
                  <a:cubicBezTo>
                    <a:pt x="27774" y="66777"/>
                    <a:pt x="27009" y="64932"/>
                    <a:pt x="25648" y="63571"/>
                  </a:cubicBezTo>
                  <a:cubicBezTo>
                    <a:pt x="18945" y="56810"/>
                    <a:pt x="15007" y="47790"/>
                    <a:pt x="14605" y="38278"/>
                  </a:cubicBezTo>
                  <a:lnTo>
                    <a:pt x="14605" y="38278"/>
                  </a:lnTo>
                  <a:lnTo>
                    <a:pt x="14605" y="37737"/>
                  </a:lnTo>
                  <a:lnTo>
                    <a:pt x="14605" y="37737"/>
                  </a:lnTo>
                  <a:cubicBezTo>
                    <a:pt x="15012" y="28231"/>
                    <a:pt x="18949" y="19219"/>
                    <a:pt x="25648" y="12462"/>
                  </a:cubicBezTo>
                  <a:cubicBezTo>
                    <a:pt x="28491" y="9593"/>
                    <a:pt x="28470" y="4962"/>
                    <a:pt x="25601" y="2119"/>
                  </a:cubicBezTo>
                  <a:cubicBezTo>
                    <a:pt x="22732" y="-724"/>
                    <a:pt x="18102" y="-704"/>
                    <a:pt x="15258" y="2166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eform 190">
              <a:extLst>
                <a:ext uri="{FF2B5EF4-FFF2-40B4-BE49-F238E27FC236}">
                  <a16:creationId xmlns:a16="http://schemas.microsoft.com/office/drawing/2014/main" id="{4FA62FF5-3E86-7049-8CBB-C5CCB3A5F368}"/>
                </a:ext>
              </a:extLst>
            </p:cNvPr>
            <p:cNvSpPr/>
            <p:nvPr/>
          </p:nvSpPr>
          <p:spPr>
            <a:xfrm>
              <a:off x="4149715" y="3463708"/>
              <a:ext cx="52312" cy="187237"/>
            </a:xfrm>
            <a:custGeom>
              <a:avLst/>
              <a:gdLst>
                <a:gd name="connsiteX0" fmla="*/ 12371 w 52312"/>
                <a:gd name="connsiteY0" fmla="*/ 185205 h 187237"/>
                <a:gd name="connsiteX1" fmla="*/ 18923 w 52312"/>
                <a:gd name="connsiteY1" fmla="*/ 8585 h 187237"/>
                <a:gd name="connsiteX2" fmla="*/ 12371 w 52312"/>
                <a:gd name="connsiteY2" fmla="*/ 2032 h 187237"/>
                <a:gd name="connsiteX3" fmla="*/ 2032 w 52312"/>
                <a:gd name="connsiteY3" fmla="*/ 2253 h 187237"/>
                <a:gd name="connsiteX4" fmla="*/ 2253 w 52312"/>
                <a:gd name="connsiteY4" fmla="*/ 12592 h 187237"/>
                <a:gd name="connsiteX5" fmla="*/ 2391 w 52312"/>
                <a:gd name="connsiteY5" fmla="*/ 12720 h 187237"/>
                <a:gd name="connsiteX6" fmla="*/ 8319 w 52312"/>
                <a:gd name="connsiteY6" fmla="*/ 168589 h 187237"/>
                <a:gd name="connsiteX7" fmla="*/ 2391 w 52312"/>
                <a:gd name="connsiteY7" fmla="*/ 174517 h 187237"/>
                <a:gd name="connsiteX8" fmla="*/ 1904 w 52312"/>
                <a:gd name="connsiteY8" fmla="*/ 184846 h 187237"/>
                <a:gd name="connsiteX9" fmla="*/ 12233 w 52312"/>
                <a:gd name="connsiteY9" fmla="*/ 185334 h 187237"/>
                <a:gd name="connsiteX10" fmla="*/ 12371 w 52312"/>
                <a:gd name="connsiteY10" fmla="*/ 185205 h 18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12" h="187237">
                  <a:moveTo>
                    <a:pt x="12371" y="185205"/>
                  </a:moveTo>
                  <a:cubicBezTo>
                    <a:pt x="62952" y="138242"/>
                    <a:pt x="65886" y="59167"/>
                    <a:pt x="18923" y="8585"/>
                  </a:cubicBezTo>
                  <a:cubicBezTo>
                    <a:pt x="16821" y="6320"/>
                    <a:pt x="14635" y="4135"/>
                    <a:pt x="12371" y="2032"/>
                  </a:cubicBezTo>
                  <a:cubicBezTo>
                    <a:pt x="9455" y="-762"/>
                    <a:pt x="4826" y="-662"/>
                    <a:pt x="2032" y="2253"/>
                  </a:cubicBezTo>
                  <a:cubicBezTo>
                    <a:pt x="-762" y="5169"/>
                    <a:pt x="-662" y="9798"/>
                    <a:pt x="2253" y="12592"/>
                  </a:cubicBezTo>
                  <a:cubicBezTo>
                    <a:pt x="2299" y="12635"/>
                    <a:pt x="2345" y="12678"/>
                    <a:pt x="2391" y="12720"/>
                  </a:cubicBezTo>
                  <a:cubicBezTo>
                    <a:pt x="47070" y="54125"/>
                    <a:pt x="49724" y="123910"/>
                    <a:pt x="8319" y="168589"/>
                  </a:cubicBezTo>
                  <a:cubicBezTo>
                    <a:pt x="6419" y="170640"/>
                    <a:pt x="4442" y="172617"/>
                    <a:pt x="2391" y="174517"/>
                  </a:cubicBezTo>
                  <a:cubicBezTo>
                    <a:pt x="-596" y="177235"/>
                    <a:pt x="-814" y="181859"/>
                    <a:pt x="1904" y="184846"/>
                  </a:cubicBezTo>
                  <a:cubicBezTo>
                    <a:pt x="4621" y="187833"/>
                    <a:pt x="9246" y="188052"/>
                    <a:pt x="12233" y="185334"/>
                  </a:cubicBezTo>
                  <a:cubicBezTo>
                    <a:pt x="12279" y="185292"/>
                    <a:pt x="12325" y="185249"/>
                    <a:pt x="12371" y="185205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 191">
              <a:extLst>
                <a:ext uri="{FF2B5EF4-FFF2-40B4-BE49-F238E27FC236}">
                  <a16:creationId xmlns:a16="http://schemas.microsoft.com/office/drawing/2014/main" id="{FA3860FD-693A-A345-B551-0FC75F2D4CD0}"/>
                </a:ext>
              </a:extLst>
            </p:cNvPr>
            <p:cNvSpPr/>
            <p:nvPr/>
          </p:nvSpPr>
          <p:spPr>
            <a:xfrm>
              <a:off x="4119425" y="3490445"/>
              <a:ext cx="40217" cy="133764"/>
            </a:xfrm>
            <a:custGeom>
              <a:avLst/>
              <a:gdLst>
                <a:gd name="connsiteX0" fmla="*/ 12462 w 40217"/>
                <a:gd name="connsiteY0" fmla="*/ 131646 h 133764"/>
                <a:gd name="connsiteX1" fmla="*/ 40218 w 40217"/>
                <a:gd name="connsiteY1" fmla="*/ 66882 h 133764"/>
                <a:gd name="connsiteX2" fmla="*/ 12462 w 40217"/>
                <a:gd name="connsiteY2" fmla="*/ 2119 h 133764"/>
                <a:gd name="connsiteX3" fmla="*/ 2119 w 40217"/>
                <a:gd name="connsiteY3" fmla="*/ 2166 h 133764"/>
                <a:gd name="connsiteX4" fmla="*/ 2166 w 40217"/>
                <a:gd name="connsiteY4" fmla="*/ 12509 h 133764"/>
                <a:gd name="connsiteX5" fmla="*/ 25594 w 40217"/>
                <a:gd name="connsiteY5" fmla="*/ 66882 h 133764"/>
                <a:gd name="connsiteX6" fmla="*/ 2166 w 40217"/>
                <a:gd name="connsiteY6" fmla="*/ 121256 h 133764"/>
                <a:gd name="connsiteX7" fmla="*/ 2119 w 40217"/>
                <a:gd name="connsiteY7" fmla="*/ 131599 h 133764"/>
                <a:gd name="connsiteX8" fmla="*/ 12462 w 40217"/>
                <a:gd name="connsiteY8" fmla="*/ 131646 h 13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217" h="133764">
                  <a:moveTo>
                    <a:pt x="12462" y="131646"/>
                  </a:moveTo>
                  <a:cubicBezTo>
                    <a:pt x="30036" y="114662"/>
                    <a:pt x="40039" y="91322"/>
                    <a:pt x="40218" y="66882"/>
                  </a:cubicBezTo>
                  <a:cubicBezTo>
                    <a:pt x="40031" y="42445"/>
                    <a:pt x="30029" y="19108"/>
                    <a:pt x="12462" y="2119"/>
                  </a:cubicBezTo>
                  <a:cubicBezTo>
                    <a:pt x="9593" y="-724"/>
                    <a:pt x="4962" y="-704"/>
                    <a:pt x="2119" y="2166"/>
                  </a:cubicBezTo>
                  <a:cubicBezTo>
                    <a:pt x="-724" y="5035"/>
                    <a:pt x="-704" y="9665"/>
                    <a:pt x="2166" y="12509"/>
                  </a:cubicBezTo>
                  <a:cubicBezTo>
                    <a:pt x="16958" y="26753"/>
                    <a:pt x="25401" y="46347"/>
                    <a:pt x="25594" y="66882"/>
                  </a:cubicBezTo>
                  <a:cubicBezTo>
                    <a:pt x="25401" y="87417"/>
                    <a:pt x="16958" y="107012"/>
                    <a:pt x="2166" y="121256"/>
                  </a:cubicBezTo>
                  <a:cubicBezTo>
                    <a:pt x="-704" y="124099"/>
                    <a:pt x="-724" y="128730"/>
                    <a:pt x="2119" y="131599"/>
                  </a:cubicBezTo>
                  <a:cubicBezTo>
                    <a:pt x="4962" y="134468"/>
                    <a:pt x="9593" y="134489"/>
                    <a:pt x="12462" y="131646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 192">
              <a:extLst>
                <a:ext uri="{FF2B5EF4-FFF2-40B4-BE49-F238E27FC236}">
                  <a16:creationId xmlns:a16="http://schemas.microsoft.com/office/drawing/2014/main" id="{E3252E5C-D2F7-884E-B1B0-5025FEFF3C2A}"/>
                </a:ext>
              </a:extLst>
            </p:cNvPr>
            <p:cNvSpPr/>
            <p:nvPr/>
          </p:nvSpPr>
          <p:spPr>
            <a:xfrm>
              <a:off x="4088938" y="3518991"/>
              <a:ext cx="27951" cy="76194"/>
            </a:xfrm>
            <a:custGeom>
              <a:avLst/>
              <a:gdLst>
                <a:gd name="connsiteX0" fmla="*/ 12693 w 27951"/>
                <a:gd name="connsiteY0" fmla="*/ 73833 h 76194"/>
                <a:gd name="connsiteX1" fmla="*/ 27951 w 27951"/>
                <a:gd name="connsiteY1" fmla="*/ 38261 h 76194"/>
                <a:gd name="connsiteX2" fmla="*/ 27951 w 27951"/>
                <a:gd name="connsiteY2" fmla="*/ 38261 h 76194"/>
                <a:gd name="connsiteX3" fmla="*/ 27951 w 27951"/>
                <a:gd name="connsiteY3" fmla="*/ 37739 h 76194"/>
                <a:gd name="connsiteX4" fmla="*/ 27951 w 27951"/>
                <a:gd name="connsiteY4" fmla="*/ 37739 h 76194"/>
                <a:gd name="connsiteX5" fmla="*/ 12693 w 27951"/>
                <a:gd name="connsiteY5" fmla="*/ 2149 h 76194"/>
                <a:gd name="connsiteX6" fmla="*/ 2326 w 27951"/>
                <a:gd name="connsiteY6" fmla="*/ 2145 h 76194"/>
                <a:gd name="connsiteX7" fmla="*/ 177 w 27951"/>
                <a:gd name="connsiteY7" fmla="*/ 7297 h 76194"/>
                <a:gd name="connsiteX8" fmla="*/ 2303 w 27951"/>
                <a:gd name="connsiteY8" fmla="*/ 12446 h 76194"/>
                <a:gd name="connsiteX9" fmla="*/ 13346 w 27951"/>
                <a:gd name="connsiteY9" fmla="*/ 37739 h 76194"/>
                <a:gd name="connsiteX10" fmla="*/ 13346 w 27951"/>
                <a:gd name="connsiteY10" fmla="*/ 37739 h 76194"/>
                <a:gd name="connsiteX11" fmla="*/ 13346 w 27951"/>
                <a:gd name="connsiteY11" fmla="*/ 38261 h 76194"/>
                <a:gd name="connsiteX12" fmla="*/ 13346 w 27951"/>
                <a:gd name="connsiteY12" fmla="*/ 38261 h 76194"/>
                <a:gd name="connsiteX13" fmla="*/ 2303 w 27951"/>
                <a:gd name="connsiteY13" fmla="*/ 63555 h 76194"/>
                <a:gd name="connsiteX14" fmla="*/ 1985 w 27951"/>
                <a:gd name="connsiteY14" fmla="*/ 73891 h 76194"/>
                <a:gd name="connsiteX15" fmla="*/ 12321 w 27951"/>
                <a:gd name="connsiteY15" fmla="*/ 74209 h 76194"/>
                <a:gd name="connsiteX16" fmla="*/ 12693 w 27951"/>
                <a:gd name="connsiteY16" fmla="*/ 73833 h 7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51" h="76194">
                  <a:moveTo>
                    <a:pt x="12693" y="73833"/>
                  </a:moveTo>
                  <a:cubicBezTo>
                    <a:pt x="22109" y="64342"/>
                    <a:pt x="27564" y="51625"/>
                    <a:pt x="27951" y="38261"/>
                  </a:cubicBezTo>
                  <a:lnTo>
                    <a:pt x="27951" y="38261"/>
                  </a:lnTo>
                  <a:lnTo>
                    <a:pt x="27951" y="37739"/>
                  </a:lnTo>
                  <a:lnTo>
                    <a:pt x="27951" y="37739"/>
                  </a:lnTo>
                  <a:cubicBezTo>
                    <a:pt x="27559" y="24371"/>
                    <a:pt x="22105" y="11650"/>
                    <a:pt x="12693" y="2149"/>
                  </a:cubicBezTo>
                  <a:cubicBezTo>
                    <a:pt x="9831" y="-715"/>
                    <a:pt x="5190" y="-717"/>
                    <a:pt x="2326" y="2145"/>
                  </a:cubicBezTo>
                  <a:cubicBezTo>
                    <a:pt x="958" y="3512"/>
                    <a:pt x="186" y="5364"/>
                    <a:pt x="177" y="7297"/>
                  </a:cubicBezTo>
                  <a:cubicBezTo>
                    <a:pt x="173" y="9228"/>
                    <a:pt x="938" y="11081"/>
                    <a:pt x="2303" y="12446"/>
                  </a:cubicBezTo>
                  <a:cubicBezTo>
                    <a:pt x="9006" y="19207"/>
                    <a:pt x="12944" y="28227"/>
                    <a:pt x="13346" y="37739"/>
                  </a:cubicBezTo>
                  <a:lnTo>
                    <a:pt x="13346" y="37739"/>
                  </a:lnTo>
                  <a:lnTo>
                    <a:pt x="13346" y="38261"/>
                  </a:lnTo>
                  <a:lnTo>
                    <a:pt x="13346" y="38261"/>
                  </a:lnTo>
                  <a:cubicBezTo>
                    <a:pt x="12944" y="47774"/>
                    <a:pt x="9006" y="56794"/>
                    <a:pt x="2303" y="63555"/>
                  </a:cubicBezTo>
                  <a:cubicBezTo>
                    <a:pt x="-639" y="66321"/>
                    <a:pt x="-781" y="70949"/>
                    <a:pt x="1985" y="73891"/>
                  </a:cubicBezTo>
                  <a:cubicBezTo>
                    <a:pt x="4751" y="76833"/>
                    <a:pt x="9379" y="76976"/>
                    <a:pt x="12321" y="74209"/>
                  </a:cubicBezTo>
                  <a:cubicBezTo>
                    <a:pt x="12449" y="74088"/>
                    <a:pt x="12574" y="73963"/>
                    <a:pt x="12693" y="73833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 193">
              <a:extLst>
                <a:ext uri="{FF2B5EF4-FFF2-40B4-BE49-F238E27FC236}">
                  <a16:creationId xmlns:a16="http://schemas.microsoft.com/office/drawing/2014/main" id="{68490FA5-774E-B847-8A25-9A791EB2ACCA}"/>
                </a:ext>
              </a:extLst>
            </p:cNvPr>
            <p:cNvSpPr/>
            <p:nvPr/>
          </p:nvSpPr>
          <p:spPr>
            <a:xfrm>
              <a:off x="3949907" y="3670103"/>
              <a:ext cx="59186" cy="78305"/>
            </a:xfrm>
            <a:custGeom>
              <a:avLst/>
              <a:gdLst>
                <a:gd name="connsiteX0" fmla="*/ 0 w 59186"/>
                <a:gd name="connsiteY0" fmla="*/ 0 h 78305"/>
                <a:gd name="connsiteX1" fmla="*/ 27215 w 59186"/>
                <a:gd name="connsiteY1" fmla="*/ 0 h 78305"/>
                <a:gd name="connsiteX2" fmla="*/ 37940 w 59186"/>
                <a:gd name="connsiteY2" fmla="*/ 1157 h 78305"/>
                <a:gd name="connsiteX3" fmla="*/ 47267 w 59186"/>
                <a:gd name="connsiteY3" fmla="*/ 4980 h 78305"/>
                <a:gd name="connsiteX4" fmla="*/ 53739 w 59186"/>
                <a:gd name="connsiteY4" fmla="*/ 11938 h 78305"/>
                <a:gd name="connsiteX5" fmla="*/ 56164 w 59186"/>
                <a:gd name="connsiteY5" fmla="*/ 22458 h 78305"/>
                <a:gd name="connsiteX6" fmla="*/ 51352 w 59186"/>
                <a:gd name="connsiteY6" fmla="*/ 36336 h 78305"/>
                <a:gd name="connsiteX7" fmla="*/ 38295 w 59186"/>
                <a:gd name="connsiteY7" fmla="*/ 43574 h 78305"/>
                <a:gd name="connsiteX8" fmla="*/ 59186 w 59186"/>
                <a:gd name="connsiteY8" fmla="*/ 78306 h 78305"/>
                <a:gd name="connsiteX9" fmla="*/ 42398 w 59186"/>
                <a:gd name="connsiteY9" fmla="*/ 78306 h 78305"/>
                <a:gd name="connsiteX10" fmla="*/ 24081 w 59186"/>
                <a:gd name="connsiteY10" fmla="*/ 45122 h 78305"/>
                <a:gd name="connsiteX11" fmla="*/ 13934 w 59186"/>
                <a:gd name="connsiteY11" fmla="*/ 45122 h 78305"/>
                <a:gd name="connsiteX12" fmla="*/ 13934 w 59186"/>
                <a:gd name="connsiteY12" fmla="*/ 78306 h 78305"/>
                <a:gd name="connsiteX13" fmla="*/ 0 w 59186"/>
                <a:gd name="connsiteY13" fmla="*/ 78306 h 78305"/>
                <a:gd name="connsiteX14" fmla="*/ 25331 w 59186"/>
                <a:gd name="connsiteY14" fmla="*/ 33743 h 78305"/>
                <a:gd name="connsiteX15" fmla="*/ 31300 w 59186"/>
                <a:gd name="connsiteY15" fmla="*/ 33296 h 78305"/>
                <a:gd name="connsiteX16" fmla="*/ 36672 w 59186"/>
                <a:gd name="connsiteY16" fmla="*/ 31636 h 78305"/>
                <a:gd name="connsiteX17" fmla="*/ 40589 w 59186"/>
                <a:gd name="connsiteY17" fmla="*/ 28148 h 78305"/>
                <a:gd name="connsiteX18" fmla="*/ 42137 w 59186"/>
                <a:gd name="connsiteY18" fmla="*/ 22346 h 78305"/>
                <a:gd name="connsiteX19" fmla="*/ 40701 w 59186"/>
                <a:gd name="connsiteY19" fmla="*/ 17086 h 78305"/>
                <a:gd name="connsiteX20" fmla="*/ 36970 w 59186"/>
                <a:gd name="connsiteY20" fmla="*/ 13822 h 78305"/>
                <a:gd name="connsiteX21" fmla="*/ 31953 w 59186"/>
                <a:gd name="connsiteY21" fmla="*/ 12162 h 78305"/>
                <a:gd name="connsiteX22" fmla="*/ 26469 w 59186"/>
                <a:gd name="connsiteY22" fmla="*/ 11733 h 78305"/>
                <a:gd name="connsiteX23" fmla="*/ 13934 w 59186"/>
                <a:gd name="connsiteY23" fmla="*/ 11733 h 78305"/>
                <a:gd name="connsiteX24" fmla="*/ 13934 w 59186"/>
                <a:gd name="connsiteY24" fmla="*/ 33743 h 7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9186" h="78305">
                  <a:moveTo>
                    <a:pt x="0" y="0"/>
                  </a:moveTo>
                  <a:lnTo>
                    <a:pt x="27215" y="0"/>
                  </a:lnTo>
                  <a:cubicBezTo>
                    <a:pt x="30821" y="-5"/>
                    <a:pt x="34418" y="383"/>
                    <a:pt x="37940" y="1157"/>
                  </a:cubicBezTo>
                  <a:cubicBezTo>
                    <a:pt x="41257" y="1849"/>
                    <a:pt x="44419" y="3145"/>
                    <a:pt x="47267" y="4980"/>
                  </a:cubicBezTo>
                  <a:cubicBezTo>
                    <a:pt x="49953" y="6745"/>
                    <a:pt x="52173" y="9132"/>
                    <a:pt x="53739" y="11938"/>
                  </a:cubicBezTo>
                  <a:cubicBezTo>
                    <a:pt x="55444" y="15176"/>
                    <a:pt x="56280" y="18801"/>
                    <a:pt x="56164" y="22458"/>
                  </a:cubicBezTo>
                  <a:cubicBezTo>
                    <a:pt x="56377" y="27527"/>
                    <a:pt x="54657" y="32487"/>
                    <a:pt x="51352" y="36336"/>
                  </a:cubicBezTo>
                  <a:cubicBezTo>
                    <a:pt x="47869" y="40062"/>
                    <a:pt x="43300" y="42594"/>
                    <a:pt x="38295" y="43574"/>
                  </a:cubicBezTo>
                  <a:lnTo>
                    <a:pt x="59186" y="78306"/>
                  </a:lnTo>
                  <a:lnTo>
                    <a:pt x="42398" y="78306"/>
                  </a:lnTo>
                  <a:lnTo>
                    <a:pt x="24081" y="45122"/>
                  </a:lnTo>
                  <a:lnTo>
                    <a:pt x="13934" y="45122"/>
                  </a:lnTo>
                  <a:lnTo>
                    <a:pt x="13934" y="78306"/>
                  </a:lnTo>
                  <a:lnTo>
                    <a:pt x="0" y="78306"/>
                  </a:lnTo>
                  <a:close/>
                  <a:moveTo>
                    <a:pt x="25331" y="33743"/>
                  </a:moveTo>
                  <a:cubicBezTo>
                    <a:pt x="27329" y="33742"/>
                    <a:pt x="29324" y="33593"/>
                    <a:pt x="31300" y="33296"/>
                  </a:cubicBezTo>
                  <a:cubicBezTo>
                    <a:pt x="33170" y="33043"/>
                    <a:pt x="34985" y="32482"/>
                    <a:pt x="36672" y="31636"/>
                  </a:cubicBezTo>
                  <a:cubicBezTo>
                    <a:pt x="38256" y="30829"/>
                    <a:pt x="39605" y="29628"/>
                    <a:pt x="40589" y="28148"/>
                  </a:cubicBezTo>
                  <a:cubicBezTo>
                    <a:pt x="41680" y="26415"/>
                    <a:pt x="42219" y="24392"/>
                    <a:pt x="42137" y="22346"/>
                  </a:cubicBezTo>
                  <a:cubicBezTo>
                    <a:pt x="42215" y="20487"/>
                    <a:pt x="41713" y="18649"/>
                    <a:pt x="40701" y="17086"/>
                  </a:cubicBezTo>
                  <a:cubicBezTo>
                    <a:pt x="39727" y="15724"/>
                    <a:pt x="38450" y="14606"/>
                    <a:pt x="36970" y="13822"/>
                  </a:cubicBezTo>
                  <a:cubicBezTo>
                    <a:pt x="35404" y="12987"/>
                    <a:pt x="33708" y="12426"/>
                    <a:pt x="31953" y="12162"/>
                  </a:cubicBezTo>
                  <a:cubicBezTo>
                    <a:pt x="30138" y="11884"/>
                    <a:pt x="28305" y="11741"/>
                    <a:pt x="26469" y="11733"/>
                  </a:cubicBezTo>
                  <a:lnTo>
                    <a:pt x="13934" y="11733"/>
                  </a:lnTo>
                  <a:lnTo>
                    <a:pt x="13934" y="33743"/>
                  </a:ln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 194">
              <a:extLst>
                <a:ext uri="{FF2B5EF4-FFF2-40B4-BE49-F238E27FC236}">
                  <a16:creationId xmlns:a16="http://schemas.microsoft.com/office/drawing/2014/main" id="{EC855B8F-9744-9449-83F3-87DD7CB3337A}"/>
                </a:ext>
              </a:extLst>
            </p:cNvPr>
            <p:cNvSpPr/>
            <p:nvPr/>
          </p:nvSpPr>
          <p:spPr>
            <a:xfrm>
              <a:off x="4019483" y="3670104"/>
              <a:ext cx="50549" cy="78398"/>
            </a:xfrm>
            <a:custGeom>
              <a:avLst/>
              <a:gdLst>
                <a:gd name="connsiteX0" fmla="*/ 0 w 50549"/>
                <a:gd name="connsiteY0" fmla="*/ 0 h 78398"/>
                <a:gd name="connsiteX1" fmla="*/ 50550 w 50549"/>
                <a:gd name="connsiteY1" fmla="*/ 0 h 78398"/>
                <a:gd name="connsiteX2" fmla="*/ 50550 w 50549"/>
                <a:gd name="connsiteY2" fmla="*/ 12162 h 78398"/>
                <a:gd name="connsiteX3" fmla="*/ 13934 w 50549"/>
                <a:gd name="connsiteY3" fmla="*/ 12162 h 78398"/>
                <a:gd name="connsiteX4" fmla="*/ 13934 w 50549"/>
                <a:gd name="connsiteY4" fmla="*/ 33631 h 78398"/>
                <a:gd name="connsiteX5" fmla="*/ 48442 w 50549"/>
                <a:gd name="connsiteY5" fmla="*/ 33631 h 78398"/>
                <a:gd name="connsiteX6" fmla="*/ 48442 w 50549"/>
                <a:gd name="connsiteY6" fmla="*/ 45439 h 78398"/>
                <a:gd name="connsiteX7" fmla="*/ 13934 w 50549"/>
                <a:gd name="connsiteY7" fmla="*/ 45439 h 78398"/>
                <a:gd name="connsiteX8" fmla="*/ 13934 w 50549"/>
                <a:gd name="connsiteY8" fmla="*/ 78399 h 78398"/>
                <a:gd name="connsiteX9" fmla="*/ 0 w 50549"/>
                <a:gd name="connsiteY9" fmla="*/ 78399 h 78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549" h="78398">
                  <a:moveTo>
                    <a:pt x="0" y="0"/>
                  </a:moveTo>
                  <a:lnTo>
                    <a:pt x="50550" y="0"/>
                  </a:lnTo>
                  <a:lnTo>
                    <a:pt x="50550" y="12162"/>
                  </a:lnTo>
                  <a:lnTo>
                    <a:pt x="13934" y="12162"/>
                  </a:lnTo>
                  <a:lnTo>
                    <a:pt x="13934" y="33631"/>
                  </a:lnTo>
                  <a:lnTo>
                    <a:pt x="48442" y="33631"/>
                  </a:lnTo>
                  <a:lnTo>
                    <a:pt x="48442" y="45439"/>
                  </a:lnTo>
                  <a:lnTo>
                    <a:pt x="13934" y="45439"/>
                  </a:lnTo>
                  <a:lnTo>
                    <a:pt x="13934" y="78399"/>
                  </a:lnTo>
                  <a:lnTo>
                    <a:pt x="0" y="78399"/>
                  </a:ln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 195">
              <a:extLst>
                <a:ext uri="{FF2B5EF4-FFF2-40B4-BE49-F238E27FC236}">
                  <a16:creationId xmlns:a16="http://schemas.microsoft.com/office/drawing/2014/main" id="{4084A915-0E12-0744-8571-34560EDC0C24}"/>
                </a:ext>
              </a:extLst>
            </p:cNvPr>
            <p:cNvSpPr/>
            <p:nvPr/>
          </p:nvSpPr>
          <p:spPr>
            <a:xfrm>
              <a:off x="4082866" y="3670104"/>
              <a:ext cx="13933" cy="78342"/>
            </a:xfrm>
            <a:custGeom>
              <a:avLst/>
              <a:gdLst>
                <a:gd name="connsiteX0" fmla="*/ 0 w 13933"/>
                <a:gd name="connsiteY0" fmla="*/ 0 h 78342"/>
                <a:gd name="connsiteX1" fmla="*/ 13934 w 13933"/>
                <a:gd name="connsiteY1" fmla="*/ 0 h 78342"/>
                <a:gd name="connsiteX2" fmla="*/ 13934 w 13933"/>
                <a:gd name="connsiteY2" fmla="*/ 78343 h 78342"/>
                <a:gd name="connsiteX3" fmla="*/ 0 w 13933"/>
                <a:gd name="connsiteY3" fmla="*/ 78343 h 7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33" h="78342">
                  <a:moveTo>
                    <a:pt x="0" y="0"/>
                  </a:moveTo>
                  <a:lnTo>
                    <a:pt x="13934" y="0"/>
                  </a:lnTo>
                  <a:lnTo>
                    <a:pt x="13934" y="78343"/>
                  </a:lnTo>
                  <a:lnTo>
                    <a:pt x="0" y="78343"/>
                  </a:ln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 196">
              <a:extLst>
                <a:ext uri="{FF2B5EF4-FFF2-40B4-BE49-F238E27FC236}">
                  <a16:creationId xmlns:a16="http://schemas.microsoft.com/office/drawing/2014/main" id="{A7BE3FDA-BB8D-364B-B040-A4481DEC06D1}"/>
                </a:ext>
              </a:extLst>
            </p:cNvPr>
            <p:cNvSpPr/>
            <p:nvPr/>
          </p:nvSpPr>
          <p:spPr>
            <a:xfrm>
              <a:off x="4114054" y="3670104"/>
              <a:ext cx="71089" cy="78305"/>
            </a:xfrm>
            <a:custGeom>
              <a:avLst/>
              <a:gdLst>
                <a:gd name="connsiteX0" fmla="*/ 0 w 71089"/>
                <a:gd name="connsiteY0" fmla="*/ 0 h 78305"/>
                <a:gd name="connsiteX1" fmla="*/ 27812 w 71089"/>
                <a:gd name="connsiteY1" fmla="*/ 0 h 78305"/>
                <a:gd name="connsiteX2" fmla="*/ 43200 w 71089"/>
                <a:gd name="connsiteY2" fmla="*/ 1996 h 78305"/>
                <a:gd name="connsiteX3" fmla="*/ 57134 w 71089"/>
                <a:gd name="connsiteY3" fmla="*/ 8580 h 78305"/>
                <a:gd name="connsiteX4" fmla="*/ 67207 w 71089"/>
                <a:gd name="connsiteY4" fmla="*/ 20630 h 78305"/>
                <a:gd name="connsiteX5" fmla="*/ 71068 w 71089"/>
                <a:gd name="connsiteY5" fmla="*/ 39153 h 78305"/>
                <a:gd name="connsiteX6" fmla="*/ 67207 w 71089"/>
                <a:gd name="connsiteY6" fmla="*/ 56855 h 78305"/>
                <a:gd name="connsiteX7" fmla="*/ 57134 w 71089"/>
                <a:gd name="connsiteY7" fmla="*/ 69016 h 78305"/>
                <a:gd name="connsiteX8" fmla="*/ 43200 w 71089"/>
                <a:gd name="connsiteY8" fmla="*/ 76049 h 78305"/>
                <a:gd name="connsiteX9" fmla="*/ 27812 w 71089"/>
                <a:gd name="connsiteY9" fmla="*/ 78306 h 78305"/>
                <a:gd name="connsiteX10" fmla="*/ 0 w 71089"/>
                <a:gd name="connsiteY10" fmla="*/ 78306 h 78305"/>
                <a:gd name="connsiteX11" fmla="*/ 25555 w 71089"/>
                <a:gd name="connsiteY11" fmla="*/ 66144 h 78305"/>
                <a:gd name="connsiteX12" fmla="*/ 36392 w 71089"/>
                <a:gd name="connsiteY12" fmla="*/ 64875 h 78305"/>
                <a:gd name="connsiteX13" fmla="*/ 46185 w 71089"/>
                <a:gd name="connsiteY13" fmla="*/ 60566 h 78305"/>
                <a:gd name="connsiteX14" fmla="*/ 53310 w 71089"/>
                <a:gd name="connsiteY14" fmla="*/ 52322 h 78305"/>
                <a:gd name="connsiteX15" fmla="*/ 56090 w 71089"/>
                <a:gd name="connsiteY15" fmla="*/ 39153 h 78305"/>
                <a:gd name="connsiteX16" fmla="*/ 53310 w 71089"/>
                <a:gd name="connsiteY16" fmla="*/ 25443 h 78305"/>
                <a:gd name="connsiteX17" fmla="*/ 46185 w 71089"/>
                <a:gd name="connsiteY17" fmla="*/ 17142 h 78305"/>
                <a:gd name="connsiteX18" fmla="*/ 36392 w 71089"/>
                <a:gd name="connsiteY18" fmla="*/ 13057 h 78305"/>
                <a:gd name="connsiteX19" fmla="*/ 25555 w 71089"/>
                <a:gd name="connsiteY19" fmla="*/ 11938 h 78305"/>
                <a:gd name="connsiteX20" fmla="*/ 13934 w 71089"/>
                <a:gd name="connsiteY20" fmla="*/ 11938 h 78305"/>
                <a:gd name="connsiteX21" fmla="*/ 13934 w 71089"/>
                <a:gd name="connsiteY21" fmla="*/ 66144 h 7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1089" h="78305">
                  <a:moveTo>
                    <a:pt x="0" y="0"/>
                  </a:moveTo>
                  <a:lnTo>
                    <a:pt x="27812" y="0"/>
                  </a:lnTo>
                  <a:cubicBezTo>
                    <a:pt x="33005" y="16"/>
                    <a:pt x="38175" y="687"/>
                    <a:pt x="43200" y="1996"/>
                  </a:cubicBezTo>
                  <a:cubicBezTo>
                    <a:pt x="48228" y="3266"/>
                    <a:pt x="52961" y="5503"/>
                    <a:pt x="57134" y="8580"/>
                  </a:cubicBezTo>
                  <a:cubicBezTo>
                    <a:pt x="61371" y="11772"/>
                    <a:pt x="64817" y="15895"/>
                    <a:pt x="67207" y="20630"/>
                  </a:cubicBezTo>
                  <a:cubicBezTo>
                    <a:pt x="69955" y="26407"/>
                    <a:pt x="71279" y="32759"/>
                    <a:pt x="71068" y="39153"/>
                  </a:cubicBezTo>
                  <a:cubicBezTo>
                    <a:pt x="71233" y="45279"/>
                    <a:pt x="69908" y="51354"/>
                    <a:pt x="67207" y="56855"/>
                  </a:cubicBezTo>
                  <a:cubicBezTo>
                    <a:pt x="64779" y="61596"/>
                    <a:pt x="61341" y="65748"/>
                    <a:pt x="57134" y="69016"/>
                  </a:cubicBezTo>
                  <a:cubicBezTo>
                    <a:pt x="52966" y="72204"/>
                    <a:pt x="48241" y="74589"/>
                    <a:pt x="43200" y="76049"/>
                  </a:cubicBezTo>
                  <a:cubicBezTo>
                    <a:pt x="38205" y="77531"/>
                    <a:pt x="33023" y="78291"/>
                    <a:pt x="27812" y="78306"/>
                  </a:cubicBezTo>
                  <a:lnTo>
                    <a:pt x="0" y="78306"/>
                  </a:lnTo>
                  <a:close/>
                  <a:moveTo>
                    <a:pt x="25555" y="66144"/>
                  </a:moveTo>
                  <a:cubicBezTo>
                    <a:pt x="29204" y="66135"/>
                    <a:pt x="32840" y="65710"/>
                    <a:pt x="36392" y="64875"/>
                  </a:cubicBezTo>
                  <a:cubicBezTo>
                    <a:pt x="39901" y="64075"/>
                    <a:pt x="43225" y="62613"/>
                    <a:pt x="46185" y="60566"/>
                  </a:cubicBezTo>
                  <a:cubicBezTo>
                    <a:pt x="49186" y="58428"/>
                    <a:pt x="51629" y="55601"/>
                    <a:pt x="53310" y="52322"/>
                  </a:cubicBezTo>
                  <a:cubicBezTo>
                    <a:pt x="55300" y="48226"/>
                    <a:pt x="56255" y="43704"/>
                    <a:pt x="56090" y="39153"/>
                  </a:cubicBezTo>
                  <a:cubicBezTo>
                    <a:pt x="56272" y="34426"/>
                    <a:pt x="55319" y="29725"/>
                    <a:pt x="53310" y="25443"/>
                  </a:cubicBezTo>
                  <a:cubicBezTo>
                    <a:pt x="51658" y="22129"/>
                    <a:pt x="49210" y="19277"/>
                    <a:pt x="46185" y="17142"/>
                  </a:cubicBezTo>
                  <a:cubicBezTo>
                    <a:pt x="43233" y="15128"/>
                    <a:pt x="39900" y="13738"/>
                    <a:pt x="36392" y="13057"/>
                  </a:cubicBezTo>
                  <a:cubicBezTo>
                    <a:pt x="32827" y="12317"/>
                    <a:pt x="29196" y="11942"/>
                    <a:pt x="25555" y="11938"/>
                  </a:cubicBezTo>
                  <a:lnTo>
                    <a:pt x="13934" y="11938"/>
                  </a:lnTo>
                  <a:lnTo>
                    <a:pt x="13934" y="66144"/>
                  </a:ln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98" name="Graphic 243">
            <a:extLst>
              <a:ext uri="{FF2B5EF4-FFF2-40B4-BE49-F238E27FC236}">
                <a16:creationId xmlns:a16="http://schemas.microsoft.com/office/drawing/2014/main" id="{10F7BF76-2800-D145-B95A-A8172DF21BEF}"/>
              </a:ext>
            </a:extLst>
          </p:cNvPr>
          <p:cNvGrpSpPr/>
          <p:nvPr userDrawn="1"/>
        </p:nvGrpSpPr>
        <p:grpSpPr>
          <a:xfrm>
            <a:off x="4652963" y="3449638"/>
            <a:ext cx="303212" cy="303212"/>
            <a:chOff x="4656138" y="3472656"/>
            <a:chExt cx="303212" cy="303212"/>
          </a:xfrm>
        </p:grpSpPr>
        <p:sp>
          <p:nvSpPr>
            <p:cNvPr id="199" name="Freeform 198">
              <a:extLst>
                <a:ext uri="{FF2B5EF4-FFF2-40B4-BE49-F238E27FC236}">
                  <a16:creationId xmlns:a16="http://schemas.microsoft.com/office/drawing/2014/main" id="{5F5D5330-454F-2F4B-AEE9-B5BFB08B8AEB}"/>
                </a:ext>
              </a:extLst>
            </p:cNvPr>
            <p:cNvSpPr/>
            <p:nvPr/>
          </p:nvSpPr>
          <p:spPr>
            <a:xfrm>
              <a:off x="4771529" y="3545140"/>
              <a:ext cx="122703" cy="163605"/>
            </a:xfrm>
            <a:custGeom>
              <a:avLst/>
              <a:gdLst>
                <a:gd name="connsiteX0" fmla="*/ 120470 w 122703"/>
                <a:gd name="connsiteY0" fmla="*/ 77586 h 163605"/>
                <a:gd name="connsiteX1" fmla="*/ 7978 w 122703"/>
                <a:gd name="connsiteY1" fmla="*/ 892 h 163605"/>
                <a:gd name="connsiteX2" fmla="*/ 892 w 122703"/>
                <a:gd name="connsiteY2" fmla="*/ 2218 h 163605"/>
                <a:gd name="connsiteX3" fmla="*/ 0 w 122703"/>
                <a:gd name="connsiteY3" fmla="*/ 5118 h 163605"/>
                <a:gd name="connsiteX4" fmla="*/ 0 w 122703"/>
                <a:gd name="connsiteY4" fmla="*/ 158487 h 163605"/>
                <a:gd name="connsiteX5" fmla="*/ 2729 w 122703"/>
                <a:gd name="connsiteY5" fmla="*/ 163016 h 163605"/>
                <a:gd name="connsiteX6" fmla="*/ 7978 w 122703"/>
                <a:gd name="connsiteY6" fmla="*/ 162713 h 163605"/>
                <a:gd name="connsiteX7" fmla="*/ 120470 w 122703"/>
                <a:gd name="connsiteY7" fmla="*/ 86019 h 163605"/>
                <a:gd name="connsiteX8" fmla="*/ 121822 w 122703"/>
                <a:gd name="connsiteY8" fmla="*/ 78938 h 163605"/>
                <a:gd name="connsiteX9" fmla="*/ 120470 w 122703"/>
                <a:gd name="connsiteY9" fmla="*/ 77586 h 163605"/>
                <a:gd name="connsiteX10" fmla="*/ 10214 w 122703"/>
                <a:gd name="connsiteY10" fmla="*/ 148822 h 163605"/>
                <a:gd name="connsiteX11" fmla="*/ 10214 w 122703"/>
                <a:gd name="connsiteY11" fmla="*/ 14783 h 163605"/>
                <a:gd name="connsiteX12" fmla="*/ 108512 w 122703"/>
                <a:gd name="connsiteY12" fmla="*/ 81812 h 16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2703" h="163605">
                  <a:moveTo>
                    <a:pt x="120470" y="77586"/>
                  </a:moveTo>
                  <a:lnTo>
                    <a:pt x="7978" y="892"/>
                  </a:lnTo>
                  <a:cubicBezTo>
                    <a:pt x="5655" y="-699"/>
                    <a:pt x="2483" y="-105"/>
                    <a:pt x="892" y="2218"/>
                  </a:cubicBezTo>
                  <a:cubicBezTo>
                    <a:pt x="307" y="3072"/>
                    <a:pt x="-4" y="4083"/>
                    <a:pt x="0" y="5118"/>
                  </a:cubicBezTo>
                  <a:lnTo>
                    <a:pt x="0" y="158487"/>
                  </a:lnTo>
                  <a:cubicBezTo>
                    <a:pt x="-1" y="160386"/>
                    <a:pt x="1049" y="162130"/>
                    <a:pt x="2729" y="163016"/>
                  </a:cubicBezTo>
                  <a:cubicBezTo>
                    <a:pt x="4399" y="163899"/>
                    <a:pt x="6421" y="163782"/>
                    <a:pt x="7978" y="162713"/>
                  </a:cubicBezTo>
                  <a:lnTo>
                    <a:pt x="120470" y="86019"/>
                  </a:lnTo>
                  <a:cubicBezTo>
                    <a:pt x="122799" y="84437"/>
                    <a:pt x="123404" y="81266"/>
                    <a:pt x="121822" y="78938"/>
                  </a:cubicBezTo>
                  <a:cubicBezTo>
                    <a:pt x="121460" y="78406"/>
                    <a:pt x="121002" y="77947"/>
                    <a:pt x="120470" y="77586"/>
                  </a:cubicBezTo>
                  <a:close/>
                  <a:moveTo>
                    <a:pt x="10214" y="148822"/>
                  </a:moveTo>
                  <a:lnTo>
                    <a:pt x="10214" y="14783"/>
                  </a:lnTo>
                  <a:lnTo>
                    <a:pt x="108512" y="81812"/>
                  </a:lnTo>
                  <a:close/>
                </a:path>
              </a:pathLst>
            </a:custGeom>
            <a:solidFill>
              <a:srgbClr val="BF5C7A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eform 199">
              <a:extLst>
                <a:ext uri="{FF2B5EF4-FFF2-40B4-BE49-F238E27FC236}">
                  <a16:creationId xmlns:a16="http://schemas.microsoft.com/office/drawing/2014/main" id="{38936B43-25BD-4A44-BE11-9972DB10ADC1}"/>
                </a:ext>
              </a:extLst>
            </p:cNvPr>
            <p:cNvSpPr/>
            <p:nvPr/>
          </p:nvSpPr>
          <p:spPr>
            <a:xfrm>
              <a:off x="4659037" y="3473565"/>
              <a:ext cx="306774" cy="306774"/>
            </a:xfrm>
            <a:custGeom>
              <a:avLst/>
              <a:gdLst>
                <a:gd name="connsiteX0" fmla="*/ 153387 w 306774"/>
                <a:gd name="connsiteY0" fmla="*/ 0 h 306774"/>
                <a:gd name="connsiteX1" fmla="*/ 0 w 306774"/>
                <a:gd name="connsiteY1" fmla="*/ 153387 h 306774"/>
                <a:gd name="connsiteX2" fmla="*/ 153387 w 306774"/>
                <a:gd name="connsiteY2" fmla="*/ 306775 h 306774"/>
                <a:gd name="connsiteX3" fmla="*/ 306775 w 306774"/>
                <a:gd name="connsiteY3" fmla="*/ 153387 h 306774"/>
                <a:gd name="connsiteX4" fmla="*/ 153387 w 306774"/>
                <a:gd name="connsiteY4" fmla="*/ 0 h 306774"/>
                <a:gd name="connsiteX5" fmla="*/ 153387 w 306774"/>
                <a:gd name="connsiteY5" fmla="*/ 296541 h 306774"/>
                <a:gd name="connsiteX6" fmla="*/ 10214 w 306774"/>
                <a:gd name="connsiteY6" fmla="*/ 153406 h 306774"/>
                <a:gd name="connsiteX7" fmla="*/ 153349 w 306774"/>
                <a:gd name="connsiteY7" fmla="*/ 10233 h 306774"/>
                <a:gd name="connsiteX8" fmla="*/ 296522 w 306774"/>
                <a:gd name="connsiteY8" fmla="*/ 153368 h 306774"/>
                <a:gd name="connsiteX9" fmla="*/ 296522 w 306774"/>
                <a:gd name="connsiteY9" fmla="*/ 153387 h 306774"/>
                <a:gd name="connsiteX10" fmla="*/ 153387 w 306774"/>
                <a:gd name="connsiteY10" fmla="*/ 296617 h 30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6774" h="306774">
                  <a:moveTo>
                    <a:pt x="153387" y="0"/>
                  </a:moveTo>
                  <a:cubicBezTo>
                    <a:pt x="68674" y="0"/>
                    <a:pt x="0" y="68674"/>
                    <a:pt x="0" y="153387"/>
                  </a:cubicBezTo>
                  <a:cubicBezTo>
                    <a:pt x="0" y="238101"/>
                    <a:pt x="68674" y="306775"/>
                    <a:pt x="153387" y="306775"/>
                  </a:cubicBezTo>
                  <a:cubicBezTo>
                    <a:pt x="238101" y="306775"/>
                    <a:pt x="306775" y="238101"/>
                    <a:pt x="306775" y="153387"/>
                  </a:cubicBezTo>
                  <a:cubicBezTo>
                    <a:pt x="306712" y="68700"/>
                    <a:pt x="238075" y="63"/>
                    <a:pt x="153387" y="0"/>
                  </a:cubicBezTo>
                  <a:close/>
                  <a:moveTo>
                    <a:pt x="153387" y="296541"/>
                  </a:moveTo>
                  <a:cubicBezTo>
                    <a:pt x="74326" y="296552"/>
                    <a:pt x="10225" y="232468"/>
                    <a:pt x="10214" y="153406"/>
                  </a:cubicBezTo>
                  <a:cubicBezTo>
                    <a:pt x="10204" y="74345"/>
                    <a:pt x="74288" y="10244"/>
                    <a:pt x="153349" y="10233"/>
                  </a:cubicBezTo>
                  <a:cubicBezTo>
                    <a:pt x="232411" y="10223"/>
                    <a:pt x="296512" y="74307"/>
                    <a:pt x="296522" y="153368"/>
                  </a:cubicBezTo>
                  <a:cubicBezTo>
                    <a:pt x="296522" y="153375"/>
                    <a:pt x="296522" y="153381"/>
                    <a:pt x="296522" y="153387"/>
                  </a:cubicBezTo>
                  <a:cubicBezTo>
                    <a:pt x="296470" y="232432"/>
                    <a:pt x="232432" y="296513"/>
                    <a:pt x="153387" y="296617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1" name="Graphic 248">
            <a:extLst>
              <a:ext uri="{FF2B5EF4-FFF2-40B4-BE49-F238E27FC236}">
                <a16:creationId xmlns:a16="http://schemas.microsoft.com/office/drawing/2014/main" id="{DA563188-8F68-9E43-804C-58BB3750AB7D}"/>
              </a:ext>
            </a:extLst>
          </p:cNvPr>
          <p:cNvGrpSpPr/>
          <p:nvPr userDrawn="1"/>
        </p:nvGrpSpPr>
        <p:grpSpPr>
          <a:xfrm>
            <a:off x="5500688" y="3425826"/>
            <a:ext cx="334962" cy="334962"/>
            <a:chOff x="5500688" y="3425826"/>
            <a:chExt cx="334962" cy="334962"/>
          </a:xfrm>
        </p:grpSpPr>
        <p:sp>
          <p:nvSpPr>
            <p:cNvPr id="202" name="Freeform 201">
              <a:extLst>
                <a:ext uri="{FF2B5EF4-FFF2-40B4-BE49-F238E27FC236}">
                  <a16:creationId xmlns:a16="http://schemas.microsoft.com/office/drawing/2014/main" id="{F3D73711-6EE7-1A4F-95D9-0B66A8E762CE}"/>
                </a:ext>
              </a:extLst>
            </p:cNvPr>
            <p:cNvSpPr/>
            <p:nvPr/>
          </p:nvSpPr>
          <p:spPr>
            <a:xfrm>
              <a:off x="5503080" y="3429859"/>
              <a:ext cx="327353" cy="327339"/>
            </a:xfrm>
            <a:custGeom>
              <a:avLst/>
              <a:gdLst>
                <a:gd name="connsiteX0" fmla="*/ 321707 w 327353"/>
                <a:gd name="connsiteY0" fmla="*/ 299418 h 327339"/>
                <a:gd name="connsiteX1" fmla="*/ 277971 w 327353"/>
                <a:gd name="connsiteY1" fmla="*/ 299418 h 327339"/>
                <a:gd name="connsiteX2" fmla="*/ 277971 w 327353"/>
                <a:gd name="connsiteY2" fmla="*/ 22285 h 327339"/>
                <a:gd name="connsiteX3" fmla="*/ 272970 w 327353"/>
                <a:gd name="connsiteY3" fmla="*/ 16686 h 327339"/>
                <a:gd name="connsiteX4" fmla="*/ 125228 w 327353"/>
                <a:gd name="connsiteY4" fmla="*/ 34 h 327339"/>
                <a:gd name="connsiteX5" fmla="*/ 119007 w 327353"/>
                <a:gd name="connsiteY5" fmla="*/ 4986 h 327339"/>
                <a:gd name="connsiteX6" fmla="*/ 119007 w 327353"/>
                <a:gd name="connsiteY6" fmla="*/ 5632 h 327339"/>
                <a:gd name="connsiteX7" fmla="*/ 119007 w 327353"/>
                <a:gd name="connsiteY7" fmla="*/ 16686 h 327339"/>
                <a:gd name="connsiteX8" fmla="*/ 55029 w 327353"/>
                <a:gd name="connsiteY8" fmla="*/ 16686 h 327339"/>
                <a:gd name="connsiteX9" fmla="*/ 49407 w 327353"/>
                <a:gd name="connsiteY9" fmla="*/ 22309 h 327339"/>
                <a:gd name="connsiteX10" fmla="*/ 49407 w 327353"/>
                <a:gd name="connsiteY10" fmla="*/ 299418 h 327339"/>
                <a:gd name="connsiteX11" fmla="*/ 5623 w 327353"/>
                <a:gd name="connsiteY11" fmla="*/ 299418 h 327339"/>
                <a:gd name="connsiteX12" fmla="*/ 0 w 327353"/>
                <a:gd name="connsiteY12" fmla="*/ 305041 h 327339"/>
                <a:gd name="connsiteX13" fmla="*/ 5623 w 327353"/>
                <a:gd name="connsiteY13" fmla="*/ 310663 h 327339"/>
                <a:gd name="connsiteX14" fmla="*/ 118959 w 327353"/>
                <a:gd name="connsiteY14" fmla="*/ 310663 h 327339"/>
                <a:gd name="connsiteX15" fmla="*/ 118959 w 327353"/>
                <a:gd name="connsiteY15" fmla="*/ 321717 h 327339"/>
                <a:gd name="connsiteX16" fmla="*/ 124582 w 327353"/>
                <a:gd name="connsiteY16" fmla="*/ 327340 h 327339"/>
                <a:gd name="connsiteX17" fmla="*/ 125228 w 327353"/>
                <a:gd name="connsiteY17" fmla="*/ 327340 h 327339"/>
                <a:gd name="connsiteX18" fmla="*/ 272659 w 327353"/>
                <a:gd name="connsiteY18" fmla="*/ 310591 h 327339"/>
                <a:gd name="connsiteX19" fmla="*/ 321731 w 327353"/>
                <a:gd name="connsiteY19" fmla="*/ 310591 h 327339"/>
                <a:gd name="connsiteX20" fmla="*/ 327354 w 327353"/>
                <a:gd name="connsiteY20" fmla="*/ 304969 h 327339"/>
                <a:gd name="connsiteX21" fmla="*/ 321731 w 327353"/>
                <a:gd name="connsiteY21" fmla="*/ 299346 h 327339"/>
                <a:gd name="connsiteX22" fmla="*/ 60628 w 327353"/>
                <a:gd name="connsiteY22" fmla="*/ 27931 h 327339"/>
                <a:gd name="connsiteX23" fmla="*/ 118959 w 327353"/>
                <a:gd name="connsiteY23" fmla="*/ 27931 h 327339"/>
                <a:gd name="connsiteX24" fmla="*/ 118959 w 327353"/>
                <a:gd name="connsiteY24" fmla="*/ 42287 h 327339"/>
                <a:gd name="connsiteX25" fmla="*/ 80678 w 327353"/>
                <a:gd name="connsiteY25" fmla="*/ 42287 h 327339"/>
                <a:gd name="connsiteX26" fmla="*/ 75055 w 327353"/>
                <a:gd name="connsiteY26" fmla="*/ 47909 h 327339"/>
                <a:gd name="connsiteX27" fmla="*/ 75055 w 327353"/>
                <a:gd name="connsiteY27" fmla="*/ 299418 h 327339"/>
                <a:gd name="connsiteX28" fmla="*/ 60700 w 327353"/>
                <a:gd name="connsiteY28" fmla="*/ 299418 h 327339"/>
                <a:gd name="connsiteX29" fmla="*/ 86324 w 327353"/>
                <a:gd name="connsiteY29" fmla="*/ 299418 h 327339"/>
                <a:gd name="connsiteX30" fmla="*/ 86324 w 327353"/>
                <a:gd name="connsiteY30" fmla="*/ 53628 h 327339"/>
                <a:gd name="connsiteX31" fmla="*/ 118959 w 327353"/>
                <a:gd name="connsiteY31" fmla="*/ 53628 h 327339"/>
                <a:gd name="connsiteX32" fmla="*/ 118959 w 327353"/>
                <a:gd name="connsiteY32" fmla="*/ 299418 h 327339"/>
                <a:gd name="connsiteX33" fmla="*/ 130205 w 327353"/>
                <a:gd name="connsiteY33" fmla="*/ 11925 h 327339"/>
                <a:gd name="connsiteX34" fmla="*/ 266725 w 327353"/>
                <a:gd name="connsiteY34" fmla="*/ 27333 h 327339"/>
                <a:gd name="connsiteX35" fmla="*/ 266725 w 327353"/>
                <a:gd name="connsiteY35" fmla="*/ 300088 h 327339"/>
                <a:gd name="connsiteX36" fmla="*/ 130205 w 327353"/>
                <a:gd name="connsiteY36" fmla="*/ 315520 h 3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27353" h="327339">
                  <a:moveTo>
                    <a:pt x="321707" y="299418"/>
                  </a:moveTo>
                  <a:lnTo>
                    <a:pt x="277971" y="299418"/>
                  </a:lnTo>
                  <a:lnTo>
                    <a:pt x="277971" y="22285"/>
                  </a:lnTo>
                  <a:cubicBezTo>
                    <a:pt x="277965" y="19420"/>
                    <a:pt x="275816" y="17014"/>
                    <a:pt x="272970" y="16686"/>
                  </a:cubicBezTo>
                  <a:lnTo>
                    <a:pt x="125228" y="34"/>
                  </a:lnTo>
                  <a:cubicBezTo>
                    <a:pt x="122146" y="-303"/>
                    <a:pt x="119370" y="1908"/>
                    <a:pt x="119007" y="4986"/>
                  </a:cubicBezTo>
                  <a:lnTo>
                    <a:pt x="119007" y="5632"/>
                  </a:lnTo>
                  <a:lnTo>
                    <a:pt x="119007" y="16686"/>
                  </a:lnTo>
                  <a:lnTo>
                    <a:pt x="55029" y="16686"/>
                  </a:lnTo>
                  <a:cubicBezTo>
                    <a:pt x="51924" y="16686"/>
                    <a:pt x="49407" y="19204"/>
                    <a:pt x="49407" y="22309"/>
                  </a:cubicBezTo>
                  <a:lnTo>
                    <a:pt x="49407" y="299418"/>
                  </a:lnTo>
                  <a:lnTo>
                    <a:pt x="5623" y="299418"/>
                  </a:lnTo>
                  <a:cubicBezTo>
                    <a:pt x="2517" y="299418"/>
                    <a:pt x="0" y="301935"/>
                    <a:pt x="0" y="305041"/>
                  </a:cubicBezTo>
                  <a:cubicBezTo>
                    <a:pt x="0" y="308146"/>
                    <a:pt x="2517" y="310663"/>
                    <a:pt x="5623" y="310663"/>
                  </a:cubicBezTo>
                  <a:lnTo>
                    <a:pt x="118959" y="310663"/>
                  </a:lnTo>
                  <a:lnTo>
                    <a:pt x="118959" y="321717"/>
                  </a:lnTo>
                  <a:cubicBezTo>
                    <a:pt x="118959" y="324822"/>
                    <a:pt x="121477" y="327340"/>
                    <a:pt x="124582" y="327340"/>
                  </a:cubicBezTo>
                  <a:lnTo>
                    <a:pt x="125228" y="327340"/>
                  </a:lnTo>
                  <a:lnTo>
                    <a:pt x="272659" y="310591"/>
                  </a:lnTo>
                  <a:lnTo>
                    <a:pt x="321731" y="310591"/>
                  </a:lnTo>
                  <a:cubicBezTo>
                    <a:pt x="324836" y="310591"/>
                    <a:pt x="327354" y="308074"/>
                    <a:pt x="327354" y="304969"/>
                  </a:cubicBezTo>
                  <a:cubicBezTo>
                    <a:pt x="327354" y="301864"/>
                    <a:pt x="324836" y="299346"/>
                    <a:pt x="321731" y="299346"/>
                  </a:cubicBezTo>
                  <a:close/>
                  <a:moveTo>
                    <a:pt x="60628" y="27931"/>
                  </a:moveTo>
                  <a:lnTo>
                    <a:pt x="118959" y="27931"/>
                  </a:lnTo>
                  <a:lnTo>
                    <a:pt x="118959" y="42287"/>
                  </a:lnTo>
                  <a:lnTo>
                    <a:pt x="80678" y="42287"/>
                  </a:lnTo>
                  <a:cubicBezTo>
                    <a:pt x="77573" y="42287"/>
                    <a:pt x="75055" y="44804"/>
                    <a:pt x="75055" y="47909"/>
                  </a:cubicBezTo>
                  <a:lnTo>
                    <a:pt x="75055" y="299418"/>
                  </a:lnTo>
                  <a:lnTo>
                    <a:pt x="60700" y="299418"/>
                  </a:lnTo>
                  <a:close/>
                  <a:moveTo>
                    <a:pt x="86324" y="299418"/>
                  </a:moveTo>
                  <a:lnTo>
                    <a:pt x="86324" y="53628"/>
                  </a:lnTo>
                  <a:lnTo>
                    <a:pt x="118959" y="53628"/>
                  </a:lnTo>
                  <a:lnTo>
                    <a:pt x="118959" y="299418"/>
                  </a:lnTo>
                  <a:close/>
                  <a:moveTo>
                    <a:pt x="130205" y="11925"/>
                  </a:moveTo>
                  <a:lnTo>
                    <a:pt x="266725" y="27333"/>
                  </a:lnTo>
                  <a:lnTo>
                    <a:pt x="266725" y="300088"/>
                  </a:lnTo>
                  <a:lnTo>
                    <a:pt x="130205" y="315520"/>
                  </a:lnTo>
                  <a:close/>
                </a:path>
              </a:pathLst>
            </a:custGeom>
            <a:solidFill>
              <a:srgbClr val="1F6898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eform 202">
              <a:extLst>
                <a:ext uri="{FF2B5EF4-FFF2-40B4-BE49-F238E27FC236}">
                  <a16:creationId xmlns:a16="http://schemas.microsoft.com/office/drawing/2014/main" id="{166F7744-D179-FD4E-A582-90E6AF034309}"/>
                </a:ext>
              </a:extLst>
            </p:cNvPr>
            <p:cNvSpPr/>
            <p:nvPr/>
          </p:nvSpPr>
          <p:spPr>
            <a:xfrm>
              <a:off x="5640773" y="3576798"/>
              <a:ext cx="33496" cy="33496"/>
            </a:xfrm>
            <a:custGeom>
              <a:avLst/>
              <a:gdLst>
                <a:gd name="connsiteX0" fmla="*/ 16748 w 33496"/>
                <a:gd name="connsiteY0" fmla="*/ 0 h 33496"/>
                <a:gd name="connsiteX1" fmla="*/ 0 w 33496"/>
                <a:gd name="connsiteY1" fmla="*/ 16748 h 33496"/>
                <a:gd name="connsiteX2" fmla="*/ 16748 w 33496"/>
                <a:gd name="connsiteY2" fmla="*/ 33496 h 33496"/>
                <a:gd name="connsiteX3" fmla="*/ 33496 w 33496"/>
                <a:gd name="connsiteY3" fmla="*/ 16748 h 33496"/>
                <a:gd name="connsiteX4" fmla="*/ 33496 w 33496"/>
                <a:gd name="connsiteY4" fmla="*/ 16748 h 33496"/>
                <a:gd name="connsiteX5" fmla="*/ 16748 w 33496"/>
                <a:gd name="connsiteY5" fmla="*/ 0 h 33496"/>
                <a:gd name="connsiteX6" fmla="*/ 16748 w 33496"/>
                <a:gd name="connsiteY6" fmla="*/ 22227 h 33496"/>
                <a:gd name="connsiteX7" fmla="*/ 11221 w 33496"/>
                <a:gd name="connsiteY7" fmla="*/ 16748 h 33496"/>
                <a:gd name="connsiteX8" fmla="*/ 16700 w 33496"/>
                <a:gd name="connsiteY8" fmla="*/ 11221 h 33496"/>
                <a:gd name="connsiteX9" fmla="*/ 22227 w 33496"/>
                <a:gd name="connsiteY9" fmla="*/ 16700 h 33496"/>
                <a:gd name="connsiteX10" fmla="*/ 22227 w 33496"/>
                <a:gd name="connsiteY10" fmla="*/ 16724 h 33496"/>
                <a:gd name="connsiteX11" fmla="*/ 16772 w 33496"/>
                <a:gd name="connsiteY11" fmla="*/ 22227 h 33496"/>
                <a:gd name="connsiteX12" fmla="*/ 16748 w 33496"/>
                <a:gd name="connsiteY12" fmla="*/ 22227 h 3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496" h="33496">
                  <a:moveTo>
                    <a:pt x="16748" y="0"/>
                  </a:moveTo>
                  <a:cubicBezTo>
                    <a:pt x="7498" y="0"/>
                    <a:pt x="0" y="7498"/>
                    <a:pt x="0" y="16748"/>
                  </a:cubicBezTo>
                  <a:cubicBezTo>
                    <a:pt x="0" y="25998"/>
                    <a:pt x="7498" y="33496"/>
                    <a:pt x="16748" y="33496"/>
                  </a:cubicBezTo>
                  <a:cubicBezTo>
                    <a:pt x="25998" y="33496"/>
                    <a:pt x="33496" y="25998"/>
                    <a:pt x="33496" y="16748"/>
                  </a:cubicBezTo>
                  <a:lnTo>
                    <a:pt x="33496" y="16748"/>
                  </a:lnTo>
                  <a:cubicBezTo>
                    <a:pt x="33496" y="7498"/>
                    <a:pt x="25998" y="0"/>
                    <a:pt x="16748" y="0"/>
                  </a:cubicBezTo>
                  <a:close/>
                  <a:moveTo>
                    <a:pt x="16748" y="22227"/>
                  </a:moveTo>
                  <a:cubicBezTo>
                    <a:pt x="13709" y="22240"/>
                    <a:pt x="11234" y="19787"/>
                    <a:pt x="11221" y="16748"/>
                  </a:cubicBezTo>
                  <a:cubicBezTo>
                    <a:pt x="11208" y="13709"/>
                    <a:pt x="13661" y="11235"/>
                    <a:pt x="16700" y="11221"/>
                  </a:cubicBezTo>
                  <a:cubicBezTo>
                    <a:pt x="19739" y="11208"/>
                    <a:pt x="22214" y="13661"/>
                    <a:pt x="22227" y="16700"/>
                  </a:cubicBezTo>
                  <a:cubicBezTo>
                    <a:pt x="22227" y="16708"/>
                    <a:pt x="22227" y="16716"/>
                    <a:pt x="22227" y="16724"/>
                  </a:cubicBezTo>
                  <a:cubicBezTo>
                    <a:pt x="22240" y="19750"/>
                    <a:pt x="19798" y="22214"/>
                    <a:pt x="16772" y="22227"/>
                  </a:cubicBezTo>
                  <a:cubicBezTo>
                    <a:pt x="16764" y="22227"/>
                    <a:pt x="16756" y="22227"/>
                    <a:pt x="16748" y="22227"/>
                  </a:cubicBezTo>
                  <a:close/>
                </a:path>
              </a:pathLst>
            </a:custGeom>
            <a:solidFill>
              <a:srgbClr val="BD5C7A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4" name="Graphic 253">
            <a:extLst>
              <a:ext uri="{FF2B5EF4-FFF2-40B4-BE49-F238E27FC236}">
                <a16:creationId xmlns:a16="http://schemas.microsoft.com/office/drawing/2014/main" id="{C6555940-3A4C-B748-A0E8-F1F3DEE72869}"/>
              </a:ext>
            </a:extLst>
          </p:cNvPr>
          <p:cNvGrpSpPr/>
          <p:nvPr userDrawn="1"/>
        </p:nvGrpSpPr>
        <p:grpSpPr>
          <a:xfrm>
            <a:off x="6410325" y="3435350"/>
            <a:ext cx="317500" cy="317500"/>
            <a:chOff x="6705600" y="3383756"/>
            <a:chExt cx="419100" cy="419100"/>
          </a:xfrm>
        </p:grpSpPr>
        <p:sp>
          <p:nvSpPr>
            <p:cNvPr id="205" name="Freeform 204">
              <a:extLst>
                <a:ext uri="{FF2B5EF4-FFF2-40B4-BE49-F238E27FC236}">
                  <a16:creationId xmlns:a16="http://schemas.microsoft.com/office/drawing/2014/main" id="{42A08D08-793E-DB4E-9996-A95BEA788F56}"/>
                </a:ext>
              </a:extLst>
            </p:cNvPr>
            <p:cNvSpPr/>
            <p:nvPr/>
          </p:nvSpPr>
          <p:spPr>
            <a:xfrm>
              <a:off x="6707878" y="3426478"/>
              <a:ext cx="424260" cy="366920"/>
            </a:xfrm>
            <a:custGeom>
              <a:avLst/>
              <a:gdLst>
                <a:gd name="connsiteX0" fmla="*/ 350001 w 424260"/>
                <a:gd name="connsiteY0" fmla="*/ 0 h 366920"/>
                <a:gd name="connsiteX1" fmla="*/ 74233 w 424260"/>
                <a:gd name="connsiteY1" fmla="*/ 0 h 366920"/>
                <a:gd name="connsiteX2" fmla="*/ 0 w 424260"/>
                <a:gd name="connsiteY2" fmla="*/ 74233 h 366920"/>
                <a:gd name="connsiteX3" fmla="*/ 0 w 424260"/>
                <a:gd name="connsiteY3" fmla="*/ 233334 h 366920"/>
                <a:gd name="connsiteX4" fmla="*/ 63651 w 424260"/>
                <a:gd name="connsiteY4" fmla="*/ 306807 h 366920"/>
                <a:gd name="connsiteX5" fmla="*/ 63651 w 424260"/>
                <a:gd name="connsiteY5" fmla="*/ 345600 h 366920"/>
                <a:gd name="connsiteX6" fmla="*/ 84712 w 424260"/>
                <a:gd name="connsiteY6" fmla="*/ 366920 h 366920"/>
                <a:gd name="connsiteX7" fmla="*/ 99877 w 424260"/>
                <a:gd name="connsiteY7" fmla="*/ 360662 h 366920"/>
                <a:gd name="connsiteX8" fmla="*/ 152893 w 424260"/>
                <a:gd name="connsiteY8" fmla="*/ 307646 h 366920"/>
                <a:gd name="connsiteX9" fmla="*/ 350027 w 424260"/>
                <a:gd name="connsiteY9" fmla="*/ 307646 h 366920"/>
                <a:gd name="connsiteX10" fmla="*/ 424260 w 424260"/>
                <a:gd name="connsiteY10" fmla="*/ 233413 h 366920"/>
                <a:gd name="connsiteX11" fmla="*/ 424260 w 424260"/>
                <a:gd name="connsiteY11" fmla="*/ 74233 h 366920"/>
                <a:gd name="connsiteX12" fmla="*/ 350001 w 424260"/>
                <a:gd name="connsiteY12" fmla="*/ 0 h 366920"/>
                <a:gd name="connsiteX13" fmla="*/ 403017 w 424260"/>
                <a:gd name="connsiteY13" fmla="*/ 233334 h 366920"/>
                <a:gd name="connsiteX14" fmla="*/ 350001 w 424260"/>
                <a:gd name="connsiteY14" fmla="*/ 286350 h 366920"/>
                <a:gd name="connsiteX15" fmla="*/ 148492 w 424260"/>
                <a:gd name="connsiteY15" fmla="*/ 286350 h 366920"/>
                <a:gd name="connsiteX16" fmla="*/ 140975 w 424260"/>
                <a:gd name="connsiteY16" fmla="*/ 289467 h 366920"/>
                <a:gd name="connsiteX17" fmla="*/ 84842 w 424260"/>
                <a:gd name="connsiteY17" fmla="*/ 345574 h 366920"/>
                <a:gd name="connsiteX18" fmla="*/ 84842 w 424260"/>
                <a:gd name="connsiteY18" fmla="*/ 296959 h 366920"/>
                <a:gd name="connsiteX19" fmla="*/ 74365 w 424260"/>
                <a:gd name="connsiteY19" fmla="*/ 286480 h 366920"/>
                <a:gd name="connsiteX20" fmla="*/ 74233 w 424260"/>
                <a:gd name="connsiteY20" fmla="*/ 286481 h 366920"/>
                <a:gd name="connsiteX21" fmla="*/ 21296 w 424260"/>
                <a:gd name="connsiteY21" fmla="*/ 233334 h 366920"/>
                <a:gd name="connsiteX22" fmla="*/ 21296 w 424260"/>
                <a:gd name="connsiteY22" fmla="*/ 74233 h 366920"/>
                <a:gd name="connsiteX23" fmla="*/ 74233 w 424260"/>
                <a:gd name="connsiteY23" fmla="*/ 21217 h 366920"/>
                <a:gd name="connsiteX24" fmla="*/ 350001 w 424260"/>
                <a:gd name="connsiteY24" fmla="*/ 21217 h 366920"/>
                <a:gd name="connsiteX25" fmla="*/ 403017 w 424260"/>
                <a:gd name="connsiteY25" fmla="*/ 74233 h 36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24260" h="366920">
                  <a:moveTo>
                    <a:pt x="350001" y="0"/>
                  </a:moveTo>
                  <a:lnTo>
                    <a:pt x="74233" y="0"/>
                  </a:lnTo>
                  <a:cubicBezTo>
                    <a:pt x="33253" y="43"/>
                    <a:pt x="43" y="33253"/>
                    <a:pt x="0" y="74233"/>
                  </a:cubicBezTo>
                  <a:lnTo>
                    <a:pt x="0" y="233334"/>
                  </a:lnTo>
                  <a:cubicBezTo>
                    <a:pt x="57" y="270222"/>
                    <a:pt x="27147" y="301493"/>
                    <a:pt x="63651" y="306807"/>
                  </a:cubicBezTo>
                  <a:lnTo>
                    <a:pt x="63651" y="345600"/>
                  </a:lnTo>
                  <a:cubicBezTo>
                    <a:pt x="63580" y="357303"/>
                    <a:pt x="73009" y="366848"/>
                    <a:pt x="84712" y="366920"/>
                  </a:cubicBezTo>
                  <a:cubicBezTo>
                    <a:pt x="90402" y="366954"/>
                    <a:pt x="95867" y="364699"/>
                    <a:pt x="99877" y="360662"/>
                  </a:cubicBezTo>
                  <a:lnTo>
                    <a:pt x="152893" y="307646"/>
                  </a:lnTo>
                  <a:lnTo>
                    <a:pt x="350027" y="307646"/>
                  </a:lnTo>
                  <a:cubicBezTo>
                    <a:pt x="391007" y="307602"/>
                    <a:pt x="424217" y="274392"/>
                    <a:pt x="424260" y="233413"/>
                  </a:cubicBezTo>
                  <a:lnTo>
                    <a:pt x="424260" y="74233"/>
                  </a:lnTo>
                  <a:cubicBezTo>
                    <a:pt x="424217" y="33243"/>
                    <a:pt x="390991" y="29"/>
                    <a:pt x="350001" y="0"/>
                  </a:cubicBezTo>
                  <a:close/>
                  <a:moveTo>
                    <a:pt x="403017" y="233334"/>
                  </a:moveTo>
                  <a:cubicBezTo>
                    <a:pt x="402988" y="262602"/>
                    <a:pt x="379269" y="286321"/>
                    <a:pt x="350001" y="286350"/>
                  </a:cubicBezTo>
                  <a:lnTo>
                    <a:pt x="148492" y="286350"/>
                  </a:lnTo>
                  <a:cubicBezTo>
                    <a:pt x="145672" y="286351"/>
                    <a:pt x="142968" y="287472"/>
                    <a:pt x="140975" y="289467"/>
                  </a:cubicBezTo>
                  <a:lnTo>
                    <a:pt x="84842" y="345574"/>
                  </a:lnTo>
                  <a:lnTo>
                    <a:pt x="84842" y="296959"/>
                  </a:lnTo>
                  <a:cubicBezTo>
                    <a:pt x="84842" y="291172"/>
                    <a:pt x="80151" y="286481"/>
                    <a:pt x="74365" y="286480"/>
                  </a:cubicBezTo>
                  <a:cubicBezTo>
                    <a:pt x="74321" y="286480"/>
                    <a:pt x="74277" y="286481"/>
                    <a:pt x="74233" y="286481"/>
                  </a:cubicBezTo>
                  <a:cubicBezTo>
                    <a:pt x="44945" y="286409"/>
                    <a:pt x="21252" y="262623"/>
                    <a:pt x="21296" y="233334"/>
                  </a:cubicBezTo>
                  <a:lnTo>
                    <a:pt x="21296" y="74233"/>
                  </a:lnTo>
                  <a:cubicBezTo>
                    <a:pt x="21324" y="44996"/>
                    <a:pt x="44996" y="21289"/>
                    <a:pt x="74233" y="21217"/>
                  </a:cubicBezTo>
                  <a:lnTo>
                    <a:pt x="350001" y="21217"/>
                  </a:lnTo>
                  <a:cubicBezTo>
                    <a:pt x="379269" y="21246"/>
                    <a:pt x="402988" y="44965"/>
                    <a:pt x="403017" y="74233"/>
                  </a:cubicBezTo>
                  <a:close/>
                </a:path>
              </a:pathLst>
            </a:custGeom>
            <a:solidFill>
              <a:srgbClr val="1F6896"/>
            </a:solidFill>
            <a:ln w="261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eform 205">
              <a:extLst>
                <a:ext uri="{FF2B5EF4-FFF2-40B4-BE49-F238E27FC236}">
                  <a16:creationId xmlns:a16="http://schemas.microsoft.com/office/drawing/2014/main" id="{6C2D82D8-3164-2E49-B104-950EF3C94177}"/>
                </a:ext>
              </a:extLst>
            </p:cNvPr>
            <p:cNvSpPr/>
            <p:nvPr/>
          </p:nvSpPr>
          <p:spPr>
            <a:xfrm>
              <a:off x="6740935" y="3512105"/>
              <a:ext cx="87532" cy="130105"/>
            </a:xfrm>
            <a:custGeom>
              <a:avLst/>
              <a:gdLst>
                <a:gd name="connsiteX0" fmla="*/ 72400 w 87532"/>
                <a:gd name="connsiteY0" fmla="*/ 29023 h 130105"/>
                <a:gd name="connsiteX1" fmla="*/ 62524 w 87532"/>
                <a:gd name="connsiteY1" fmla="*/ 21426 h 130105"/>
                <a:gd name="connsiteX2" fmla="*/ 49663 w 87532"/>
                <a:gd name="connsiteY2" fmla="*/ 18336 h 130105"/>
                <a:gd name="connsiteX3" fmla="*/ 41989 w 87532"/>
                <a:gd name="connsiteY3" fmla="*/ 19305 h 130105"/>
                <a:gd name="connsiteX4" fmla="*/ 34995 w 87532"/>
                <a:gd name="connsiteY4" fmla="*/ 22291 h 130105"/>
                <a:gd name="connsiteX5" fmla="*/ 29756 w 87532"/>
                <a:gd name="connsiteY5" fmla="*/ 27530 h 130105"/>
                <a:gd name="connsiteX6" fmla="*/ 27765 w 87532"/>
                <a:gd name="connsiteY6" fmla="*/ 35388 h 130105"/>
                <a:gd name="connsiteX7" fmla="*/ 29494 w 87532"/>
                <a:gd name="connsiteY7" fmla="*/ 42565 h 130105"/>
                <a:gd name="connsiteX8" fmla="*/ 34314 w 87532"/>
                <a:gd name="connsiteY8" fmla="*/ 47620 h 130105"/>
                <a:gd name="connsiteX9" fmla="*/ 41753 w 87532"/>
                <a:gd name="connsiteY9" fmla="*/ 51287 h 130105"/>
                <a:gd name="connsiteX10" fmla="*/ 51340 w 87532"/>
                <a:gd name="connsiteY10" fmla="*/ 54431 h 130105"/>
                <a:gd name="connsiteX11" fmla="*/ 63677 w 87532"/>
                <a:gd name="connsiteY11" fmla="*/ 58805 h 130105"/>
                <a:gd name="connsiteX12" fmla="*/ 75386 w 87532"/>
                <a:gd name="connsiteY12" fmla="*/ 65275 h 130105"/>
                <a:gd name="connsiteX13" fmla="*/ 84108 w 87532"/>
                <a:gd name="connsiteY13" fmla="*/ 75412 h 130105"/>
                <a:gd name="connsiteX14" fmla="*/ 87513 w 87532"/>
                <a:gd name="connsiteY14" fmla="*/ 90604 h 130105"/>
                <a:gd name="connsiteX15" fmla="*/ 83846 w 87532"/>
                <a:gd name="connsiteY15" fmla="*/ 107997 h 130105"/>
                <a:gd name="connsiteX16" fmla="*/ 74050 w 87532"/>
                <a:gd name="connsiteY16" fmla="*/ 120308 h 130105"/>
                <a:gd name="connsiteX17" fmla="*/ 59748 w 87532"/>
                <a:gd name="connsiteY17" fmla="*/ 127668 h 130105"/>
                <a:gd name="connsiteX18" fmla="*/ 42434 w 87532"/>
                <a:gd name="connsiteY18" fmla="*/ 130104 h 130105"/>
                <a:gd name="connsiteX19" fmla="*/ 18860 w 87532"/>
                <a:gd name="connsiteY19" fmla="*/ 125651 h 130105"/>
                <a:gd name="connsiteX20" fmla="*/ 0 w 87532"/>
                <a:gd name="connsiteY20" fmla="*/ 112555 h 130105"/>
                <a:gd name="connsiteX21" fmla="*/ 15716 w 87532"/>
                <a:gd name="connsiteY21" fmla="*/ 97886 h 130105"/>
                <a:gd name="connsiteX22" fmla="*/ 27870 w 87532"/>
                <a:gd name="connsiteY22" fmla="*/ 107840 h 130105"/>
                <a:gd name="connsiteX23" fmla="*/ 50659 w 87532"/>
                <a:gd name="connsiteY23" fmla="*/ 110459 h 130105"/>
                <a:gd name="connsiteX24" fmla="*/ 57914 w 87532"/>
                <a:gd name="connsiteY24" fmla="*/ 107211 h 130105"/>
                <a:gd name="connsiteX25" fmla="*/ 63153 w 87532"/>
                <a:gd name="connsiteY25" fmla="*/ 101527 h 130105"/>
                <a:gd name="connsiteX26" fmla="*/ 65144 w 87532"/>
                <a:gd name="connsiteY26" fmla="*/ 93066 h 130105"/>
                <a:gd name="connsiteX27" fmla="*/ 62891 w 87532"/>
                <a:gd name="connsiteY27" fmla="*/ 84946 h 130105"/>
                <a:gd name="connsiteX28" fmla="*/ 56762 w 87532"/>
                <a:gd name="connsiteY28" fmla="*/ 79341 h 130105"/>
                <a:gd name="connsiteX29" fmla="*/ 47673 w 87532"/>
                <a:gd name="connsiteY29" fmla="*/ 75228 h 130105"/>
                <a:gd name="connsiteX30" fmla="*/ 36671 w 87532"/>
                <a:gd name="connsiteY30" fmla="*/ 71561 h 130105"/>
                <a:gd name="connsiteX31" fmla="*/ 25487 w 87532"/>
                <a:gd name="connsiteY31" fmla="*/ 67370 h 130105"/>
                <a:gd name="connsiteX32" fmla="*/ 15454 w 87532"/>
                <a:gd name="connsiteY32" fmla="*/ 60927 h 130105"/>
                <a:gd name="connsiteX33" fmla="*/ 8199 w 87532"/>
                <a:gd name="connsiteY33" fmla="*/ 51052 h 130105"/>
                <a:gd name="connsiteX34" fmla="*/ 5396 w 87532"/>
                <a:gd name="connsiteY34" fmla="*/ 36436 h 130105"/>
                <a:gd name="connsiteX35" fmla="*/ 9325 w 87532"/>
                <a:gd name="connsiteY35" fmla="*/ 20195 h 130105"/>
                <a:gd name="connsiteX36" fmla="*/ 19645 w 87532"/>
                <a:gd name="connsiteY36" fmla="*/ 8932 h 130105"/>
                <a:gd name="connsiteX37" fmla="*/ 34157 w 87532"/>
                <a:gd name="connsiteY37" fmla="*/ 2279 h 130105"/>
                <a:gd name="connsiteX38" fmla="*/ 50711 w 87532"/>
                <a:gd name="connsiteY38" fmla="*/ 0 h 130105"/>
                <a:gd name="connsiteX39" fmla="*/ 69859 w 87532"/>
                <a:gd name="connsiteY39" fmla="*/ 3327 h 130105"/>
                <a:gd name="connsiteX40" fmla="*/ 86728 w 87532"/>
                <a:gd name="connsiteY40" fmla="*/ 13280 h 130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87532" h="130105">
                  <a:moveTo>
                    <a:pt x="72400" y="29023"/>
                  </a:moveTo>
                  <a:cubicBezTo>
                    <a:pt x="69744" y="25756"/>
                    <a:pt x="66363" y="23155"/>
                    <a:pt x="62524" y="21426"/>
                  </a:cubicBezTo>
                  <a:cubicBezTo>
                    <a:pt x="58523" y="19445"/>
                    <a:pt x="54128" y="18389"/>
                    <a:pt x="49663" y="18336"/>
                  </a:cubicBezTo>
                  <a:cubicBezTo>
                    <a:pt x="47075" y="18348"/>
                    <a:pt x="44498" y="18673"/>
                    <a:pt x="41989" y="19305"/>
                  </a:cubicBezTo>
                  <a:cubicBezTo>
                    <a:pt x="39513" y="19920"/>
                    <a:pt x="37152" y="20928"/>
                    <a:pt x="34995" y="22291"/>
                  </a:cubicBezTo>
                  <a:cubicBezTo>
                    <a:pt x="32872" y="23615"/>
                    <a:pt x="31081" y="25407"/>
                    <a:pt x="29756" y="27530"/>
                  </a:cubicBezTo>
                  <a:cubicBezTo>
                    <a:pt x="28354" y="29904"/>
                    <a:pt x="27663" y="32632"/>
                    <a:pt x="27765" y="35388"/>
                  </a:cubicBezTo>
                  <a:cubicBezTo>
                    <a:pt x="27692" y="37891"/>
                    <a:pt x="28289" y="40369"/>
                    <a:pt x="29494" y="42565"/>
                  </a:cubicBezTo>
                  <a:cubicBezTo>
                    <a:pt x="30701" y="44590"/>
                    <a:pt x="32348" y="46318"/>
                    <a:pt x="34314" y="47620"/>
                  </a:cubicBezTo>
                  <a:cubicBezTo>
                    <a:pt x="36625" y="49157"/>
                    <a:pt x="39126" y="50390"/>
                    <a:pt x="41753" y="51287"/>
                  </a:cubicBezTo>
                  <a:cubicBezTo>
                    <a:pt x="44652" y="52335"/>
                    <a:pt x="47847" y="53383"/>
                    <a:pt x="51340" y="54431"/>
                  </a:cubicBezTo>
                  <a:cubicBezTo>
                    <a:pt x="55321" y="55714"/>
                    <a:pt x="59407" y="57181"/>
                    <a:pt x="63677" y="58805"/>
                  </a:cubicBezTo>
                  <a:cubicBezTo>
                    <a:pt x="67857" y="60416"/>
                    <a:pt x="71797" y="62593"/>
                    <a:pt x="75386" y="65275"/>
                  </a:cubicBezTo>
                  <a:cubicBezTo>
                    <a:pt x="78973" y="68004"/>
                    <a:pt x="81945" y="71458"/>
                    <a:pt x="84108" y="75412"/>
                  </a:cubicBezTo>
                  <a:cubicBezTo>
                    <a:pt x="86525" y="80101"/>
                    <a:pt x="87698" y="85332"/>
                    <a:pt x="87513" y="90604"/>
                  </a:cubicBezTo>
                  <a:cubicBezTo>
                    <a:pt x="87649" y="96607"/>
                    <a:pt x="86394" y="102560"/>
                    <a:pt x="83846" y="107997"/>
                  </a:cubicBezTo>
                  <a:cubicBezTo>
                    <a:pt x="81533" y="112776"/>
                    <a:pt x="78187" y="116981"/>
                    <a:pt x="74050" y="120308"/>
                  </a:cubicBezTo>
                  <a:cubicBezTo>
                    <a:pt x="69807" y="123669"/>
                    <a:pt x="64949" y="126169"/>
                    <a:pt x="59748" y="127668"/>
                  </a:cubicBezTo>
                  <a:cubicBezTo>
                    <a:pt x="54125" y="129312"/>
                    <a:pt x="48293" y="130133"/>
                    <a:pt x="42434" y="130104"/>
                  </a:cubicBezTo>
                  <a:cubicBezTo>
                    <a:pt x="34367" y="130103"/>
                    <a:pt x="26371" y="128592"/>
                    <a:pt x="18860" y="125651"/>
                  </a:cubicBezTo>
                  <a:cubicBezTo>
                    <a:pt x="11560" y="122964"/>
                    <a:pt x="5068" y="118455"/>
                    <a:pt x="0" y="112555"/>
                  </a:cubicBezTo>
                  <a:lnTo>
                    <a:pt x="15716" y="97886"/>
                  </a:lnTo>
                  <a:cubicBezTo>
                    <a:pt x="18868" y="102171"/>
                    <a:pt x="23048" y="105594"/>
                    <a:pt x="27870" y="107840"/>
                  </a:cubicBezTo>
                  <a:cubicBezTo>
                    <a:pt x="34897" y="111448"/>
                    <a:pt x="42996" y="112379"/>
                    <a:pt x="50659" y="110459"/>
                  </a:cubicBezTo>
                  <a:cubicBezTo>
                    <a:pt x="53262" y="109849"/>
                    <a:pt x="55725" y="108747"/>
                    <a:pt x="57914" y="107211"/>
                  </a:cubicBezTo>
                  <a:cubicBezTo>
                    <a:pt x="60045" y="105710"/>
                    <a:pt x="61831" y="103772"/>
                    <a:pt x="63153" y="101527"/>
                  </a:cubicBezTo>
                  <a:cubicBezTo>
                    <a:pt x="64563" y="98936"/>
                    <a:pt x="65251" y="96014"/>
                    <a:pt x="65144" y="93066"/>
                  </a:cubicBezTo>
                  <a:cubicBezTo>
                    <a:pt x="65265" y="90190"/>
                    <a:pt x="64477" y="87349"/>
                    <a:pt x="62891" y="84946"/>
                  </a:cubicBezTo>
                  <a:cubicBezTo>
                    <a:pt x="61259" y="82673"/>
                    <a:pt x="59172" y="80764"/>
                    <a:pt x="56762" y="79341"/>
                  </a:cubicBezTo>
                  <a:cubicBezTo>
                    <a:pt x="53896" y="77634"/>
                    <a:pt x="50847" y="76254"/>
                    <a:pt x="47673" y="75228"/>
                  </a:cubicBezTo>
                  <a:lnTo>
                    <a:pt x="36671" y="71561"/>
                  </a:lnTo>
                  <a:cubicBezTo>
                    <a:pt x="32866" y="70379"/>
                    <a:pt x="29132" y="68980"/>
                    <a:pt x="25487" y="67370"/>
                  </a:cubicBezTo>
                  <a:cubicBezTo>
                    <a:pt x="21815" y="65780"/>
                    <a:pt x="18427" y="63604"/>
                    <a:pt x="15454" y="60927"/>
                  </a:cubicBezTo>
                  <a:cubicBezTo>
                    <a:pt x="12406" y="58147"/>
                    <a:pt x="9940" y="54791"/>
                    <a:pt x="8199" y="51052"/>
                  </a:cubicBezTo>
                  <a:cubicBezTo>
                    <a:pt x="6198" y="46446"/>
                    <a:pt x="5241" y="41455"/>
                    <a:pt x="5396" y="36436"/>
                  </a:cubicBezTo>
                  <a:cubicBezTo>
                    <a:pt x="5245" y="30770"/>
                    <a:pt x="6601" y="25165"/>
                    <a:pt x="9325" y="20195"/>
                  </a:cubicBezTo>
                  <a:cubicBezTo>
                    <a:pt x="11882" y="15718"/>
                    <a:pt x="15408" y="11870"/>
                    <a:pt x="19645" y="8932"/>
                  </a:cubicBezTo>
                  <a:cubicBezTo>
                    <a:pt x="24049" y="5871"/>
                    <a:pt x="28963" y="3618"/>
                    <a:pt x="34157" y="2279"/>
                  </a:cubicBezTo>
                  <a:cubicBezTo>
                    <a:pt x="39551" y="795"/>
                    <a:pt x="45117" y="29"/>
                    <a:pt x="50711" y="0"/>
                  </a:cubicBezTo>
                  <a:cubicBezTo>
                    <a:pt x="57234" y="33"/>
                    <a:pt x="63706" y="1158"/>
                    <a:pt x="69859" y="3327"/>
                  </a:cubicBezTo>
                  <a:cubicBezTo>
                    <a:pt x="76122" y="5414"/>
                    <a:pt x="81872" y="8807"/>
                    <a:pt x="86728" y="13280"/>
                  </a:cubicBezTo>
                  <a:close/>
                </a:path>
              </a:pathLst>
            </a:custGeom>
            <a:solidFill>
              <a:srgbClr val="BA5D7A"/>
            </a:solidFill>
            <a:ln w="261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eform 206">
              <a:extLst>
                <a:ext uri="{FF2B5EF4-FFF2-40B4-BE49-F238E27FC236}">
                  <a16:creationId xmlns:a16="http://schemas.microsoft.com/office/drawing/2014/main" id="{2321B53E-12BD-8D4E-882A-C47CC365B0F1}"/>
                </a:ext>
              </a:extLst>
            </p:cNvPr>
            <p:cNvSpPr/>
            <p:nvPr/>
          </p:nvSpPr>
          <p:spPr>
            <a:xfrm>
              <a:off x="6850556" y="3515274"/>
              <a:ext cx="133509" cy="123713"/>
            </a:xfrm>
            <a:custGeom>
              <a:avLst/>
              <a:gdLst>
                <a:gd name="connsiteX0" fmla="*/ 0 w 133509"/>
                <a:gd name="connsiteY0" fmla="*/ 0 h 123713"/>
                <a:gd name="connsiteX1" fmla="*/ 34419 w 133509"/>
                <a:gd name="connsiteY1" fmla="*/ 0 h 123713"/>
                <a:gd name="connsiteX2" fmla="*/ 66558 w 133509"/>
                <a:gd name="connsiteY2" fmla="*/ 87880 h 123713"/>
                <a:gd name="connsiteX3" fmla="*/ 67213 w 133509"/>
                <a:gd name="connsiteY3" fmla="*/ 87880 h 123713"/>
                <a:gd name="connsiteX4" fmla="*/ 98908 w 133509"/>
                <a:gd name="connsiteY4" fmla="*/ 0 h 123713"/>
                <a:gd name="connsiteX5" fmla="*/ 133510 w 133509"/>
                <a:gd name="connsiteY5" fmla="*/ 0 h 123713"/>
                <a:gd name="connsiteX6" fmla="*/ 133510 w 133509"/>
                <a:gd name="connsiteY6" fmla="*/ 123713 h 123713"/>
                <a:gd name="connsiteX7" fmla="*/ 111743 w 133509"/>
                <a:gd name="connsiteY7" fmla="*/ 123713 h 123713"/>
                <a:gd name="connsiteX8" fmla="*/ 111743 w 133509"/>
                <a:gd name="connsiteY8" fmla="*/ 24177 h 123713"/>
                <a:gd name="connsiteX9" fmla="*/ 111297 w 133509"/>
                <a:gd name="connsiteY9" fmla="*/ 24177 h 123713"/>
                <a:gd name="connsiteX10" fmla="*/ 73735 w 133509"/>
                <a:gd name="connsiteY10" fmla="*/ 123713 h 123713"/>
                <a:gd name="connsiteX11" fmla="*/ 58333 w 133509"/>
                <a:gd name="connsiteY11" fmla="*/ 123713 h 123713"/>
                <a:gd name="connsiteX12" fmla="*/ 21296 w 133509"/>
                <a:gd name="connsiteY12" fmla="*/ 24177 h 123713"/>
                <a:gd name="connsiteX13" fmla="*/ 20955 w 133509"/>
                <a:gd name="connsiteY13" fmla="*/ 24177 h 123713"/>
                <a:gd name="connsiteX14" fmla="*/ 20955 w 133509"/>
                <a:gd name="connsiteY14" fmla="*/ 123713 h 123713"/>
                <a:gd name="connsiteX15" fmla="*/ 0 w 133509"/>
                <a:gd name="connsiteY15" fmla="*/ 123713 h 12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509" h="123713">
                  <a:moveTo>
                    <a:pt x="0" y="0"/>
                  </a:moveTo>
                  <a:lnTo>
                    <a:pt x="34419" y="0"/>
                  </a:lnTo>
                  <a:lnTo>
                    <a:pt x="66558" y="87880"/>
                  </a:lnTo>
                  <a:lnTo>
                    <a:pt x="67213" y="87880"/>
                  </a:lnTo>
                  <a:lnTo>
                    <a:pt x="98908" y="0"/>
                  </a:lnTo>
                  <a:lnTo>
                    <a:pt x="133510" y="0"/>
                  </a:lnTo>
                  <a:lnTo>
                    <a:pt x="133510" y="123713"/>
                  </a:lnTo>
                  <a:lnTo>
                    <a:pt x="111743" y="123713"/>
                  </a:lnTo>
                  <a:lnTo>
                    <a:pt x="111743" y="24177"/>
                  </a:lnTo>
                  <a:lnTo>
                    <a:pt x="111297" y="24177"/>
                  </a:lnTo>
                  <a:lnTo>
                    <a:pt x="73735" y="123713"/>
                  </a:lnTo>
                  <a:lnTo>
                    <a:pt x="58333" y="123713"/>
                  </a:lnTo>
                  <a:lnTo>
                    <a:pt x="21296" y="24177"/>
                  </a:lnTo>
                  <a:lnTo>
                    <a:pt x="20955" y="24177"/>
                  </a:lnTo>
                  <a:lnTo>
                    <a:pt x="20955" y="123713"/>
                  </a:lnTo>
                  <a:lnTo>
                    <a:pt x="0" y="123713"/>
                  </a:lnTo>
                  <a:close/>
                </a:path>
              </a:pathLst>
            </a:custGeom>
            <a:solidFill>
              <a:srgbClr val="BA5D7A"/>
            </a:solidFill>
            <a:ln w="261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eform 207">
              <a:extLst>
                <a:ext uri="{FF2B5EF4-FFF2-40B4-BE49-F238E27FC236}">
                  <a16:creationId xmlns:a16="http://schemas.microsoft.com/office/drawing/2014/main" id="{2B81CDC2-B8DA-4E4C-8724-8C066EE9F353}"/>
                </a:ext>
              </a:extLst>
            </p:cNvPr>
            <p:cNvSpPr/>
            <p:nvPr/>
          </p:nvSpPr>
          <p:spPr>
            <a:xfrm>
              <a:off x="7001982" y="3512341"/>
              <a:ext cx="87532" cy="129895"/>
            </a:xfrm>
            <a:custGeom>
              <a:avLst/>
              <a:gdLst>
                <a:gd name="connsiteX0" fmla="*/ 72400 w 87532"/>
                <a:gd name="connsiteY0" fmla="*/ 28787 h 129895"/>
                <a:gd name="connsiteX1" fmla="*/ 62498 w 87532"/>
                <a:gd name="connsiteY1" fmla="*/ 21191 h 129895"/>
                <a:gd name="connsiteX2" fmla="*/ 49663 w 87532"/>
                <a:gd name="connsiteY2" fmla="*/ 18126 h 129895"/>
                <a:gd name="connsiteX3" fmla="*/ 41989 w 87532"/>
                <a:gd name="connsiteY3" fmla="*/ 19095 h 129895"/>
                <a:gd name="connsiteX4" fmla="*/ 34995 w 87532"/>
                <a:gd name="connsiteY4" fmla="*/ 22081 h 129895"/>
                <a:gd name="connsiteX5" fmla="*/ 29756 w 87532"/>
                <a:gd name="connsiteY5" fmla="*/ 27320 h 129895"/>
                <a:gd name="connsiteX6" fmla="*/ 27765 w 87532"/>
                <a:gd name="connsiteY6" fmla="*/ 35178 h 129895"/>
                <a:gd name="connsiteX7" fmla="*/ 29494 w 87532"/>
                <a:gd name="connsiteY7" fmla="*/ 42355 h 129895"/>
                <a:gd name="connsiteX8" fmla="*/ 34314 w 87532"/>
                <a:gd name="connsiteY8" fmla="*/ 47411 h 129895"/>
                <a:gd name="connsiteX9" fmla="*/ 41727 w 87532"/>
                <a:gd name="connsiteY9" fmla="*/ 51078 h 129895"/>
                <a:gd name="connsiteX10" fmla="*/ 51340 w 87532"/>
                <a:gd name="connsiteY10" fmla="*/ 54221 h 129895"/>
                <a:gd name="connsiteX11" fmla="*/ 63677 w 87532"/>
                <a:gd name="connsiteY11" fmla="*/ 58595 h 129895"/>
                <a:gd name="connsiteX12" fmla="*/ 75386 w 87532"/>
                <a:gd name="connsiteY12" fmla="*/ 65065 h 129895"/>
                <a:gd name="connsiteX13" fmla="*/ 84108 w 87532"/>
                <a:gd name="connsiteY13" fmla="*/ 75202 h 129895"/>
                <a:gd name="connsiteX14" fmla="*/ 87513 w 87532"/>
                <a:gd name="connsiteY14" fmla="*/ 90395 h 129895"/>
                <a:gd name="connsiteX15" fmla="*/ 83846 w 87532"/>
                <a:gd name="connsiteY15" fmla="*/ 107787 h 129895"/>
                <a:gd name="connsiteX16" fmla="*/ 74050 w 87532"/>
                <a:gd name="connsiteY16" fmla="*/ 120098 h 129895"/>
                <a:gd name="connsiteX17" fmla="*/ 59722 w 87532"/>
                <a:gd name="connsiteY17" fmla="*/ 127459 h 129895"/>
                <a:gd name="connsiteX18" fmla="*/ 42434 w 87532"/>
                <a:gd name="connsiteY18" fmla="*/ 129895 h 129895"/>
                <a:gd name="connsiteX19" fmla="*/ 18860 w 87532"/>
                <a:gd name="connsiteY19" fmla="*/ 125442 h 129895"/>
                <a:gd name="connsiteX20" fmla="*/ 0 w 87532"/>
                <a:gd name="connsiteY20" fmla="*/ 112345 h 129895"/>
                <a:gd name="connsiteX21" fmla="*/ 15716 w 87532"/>
                <a:gd name="connsiteY21" fmla="*/ 97676 h 129895"/>
                <a:gd name="connsiteX22" fmla="*/ 27870 w 87532"/>
                <a:gd name="connsiteY22" fmla="*/ 107630 h 129895"/>
                <a:gd name="connsiteX23" fmla="*/ 42801 w 87532"/>
                <a:gd name="connsiteY23" fmla="*/ 111297 h 129895"/>
                <a:gd name="connsiteX24" fmla="*/ 50659 w 87532"/>
                <a:gd name="connsiteY24" fmla="*/ 110354 h 129895"/>
                <a:gd name="connsiteX25" fmla="*/ 57914 w 87532"/>
                <a:gd name="connsiteY25" fmla="*/ 107106 h 129895"/>
                <a:gd name="connsiteX26" fmla="*/ 63153 w 87532"/>
                <a:gd name="connsiteY26" fmla="*/ 101422 h 129895"/>
                <a:gd name="connsiteX27" fmla="*/ 65170 w 87532"/>
                <a:gd name="connsiteY27" fmla="*/ 92962 h 129895"/>
                <a:gd name="connsiteX28" fmla="*/ 62917 w 87532"/>
                <a:gd name="connsiteY28" fmla="*/ 84842 h 129895"/>
                <a:gd name="connsiteX29" fmla="*/ 56788 w 87532"/>
                <a:gd name="connsiteY29" fmla="*/ 79236 h 129895"/>
                <a:gd name="connsiteX30" fmla="*/ 47699 w 87532"/>
                <a:gd name="connsiteY30" fmla="*/ 75124 h 129895"/>
                <a:gd name="connsiteX31" fmla="*/ 36697 w 87532"/>
                <a:gd name="connsiteY31" fmla="*/ 71457 h 129895"/>
                <a:gd name="connsiteX32" fmla="*/ 25513 w 87532"/>
                <a:gd name="connsiteY32" fmla="*/ 67266 h 129895"/>
                <a:gd name="connsiteX33" fmla="*/ 15454 w 87532"/>
                <a:gd name="connsiteY33" fmla="*/ 60822 h 129895"/>
                <a:gd name="connsiteX34" fmla="*/ 8199 w 87532"/>
                <a:gd name="connsiteY34" fmla="*/ 50947 h 129895"/>
                <a:gd name="connsiteX35" fmla="*/ 5396 w 87532"/>
                <a:gd name="connsiteY35" fmla="*/ 36331 h 129895"/>
                <a:gd name="connsiteX36" fmla="*/ 9351 w 87532"/>
                <a:gd name="connsiteY36" fmla="*/ 20091 h 129895"/>
                <a:gd name="connsiteX37" fmla="*/ 19645 w 87532"/>
                <a:gd name="connsiteY37" fmla="*/ 8827 h 129895"/>
                <a:gd name="connsiteX38" fmla="*/ 34157 w 87532"/>
                <a:gd name="connsiteY38" fmla="*/ 2174 h 129895"/>
                <a:gd name="connsiteX39" fmla="*/ 50659 w 87532"/>
                <a:gd name="connsiteY39" fmla="*/ 0 h 129895"/>
                <a:gd name="connsiteX40" fmla="*/ 69806 w 87532"/>
                <a:gd name="connsiteY40" fmla="*/ 3327 h 129895"/>
                <a:gd name="connsiteX41" fmla="*/ 86649 w 87532"/>
                <a:gd name="connsiteY41" fmla="*/ 13280 h 129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87532" h="129895">
                  <a:moveTo>
                    <a:pt x="72400" y="28787"/>
                  </a:moveTo>
                  <a:cubicBezTo>
                    <a:pt x="69739" y="25514"/>
                    <a:pt x="66348" y="22913"/>
                    <a:pt x="62498" y="21191"/>
                  </a:cubicBezTo>
                  <a:cubicBezTo>
                    <a:pt x="58505" y="19216"/>
                    <a:pt x="54118" y="18168"/>
                    <a:pt x="49663" y="18126"/>
                  </a:cubicBezTo>
                  <a:cubicBezTo>
                    <a:pt x="47075" y="18138"/>
                    <a:pt x="44498" y="18464"/>
                    <a:pt x="41989" y="19095"/>
                  </a:cubicBezTo>
                  <a:cubicBezTo>
                    <a:pt x="39513" y="19711"/>
                    <a:pt x="37152" y="20719"/>
                    <a:pt x="34995" y="22081"/>
                  </a:cubicBezTo>
                  <a:cubicBezTo>
                    <a:pt x="32866" y="23398"/>
                    <a:pt x="31073" y="25192"/>
                    <a:pt x="29756" y="27320"/>
                  </a:cubicBezTo>
                  <a:cubicBezTo>
                    <a:pt x="28354" y="29695"/>
                    <a:pt x="27663" y="32422"/>
                    <a:pt x="27765" y="35178"/>
                  </a:cubicBezTo>
                  <a:cubicBezTo>
                    <a:pt x="27692" y="37682"/>
                    <a:pt x="28289" y="40160"/>
                    <a:pt x="29494" y="42355"/>
                  </a:cubicBezTo>
                  <a:cubicBezTo>
                    <a:pt x="30696" y="44384"/>
                    <a:pt x="32344" y="46113"/>
                    <a:pt x="34314" y="47411"/>
                  </a:cubicBezTo>
                  <a:cubicBezTo>
                    <a:pt x="36616" y="48948"/>
                    <a:pt x="39108" y="50181"/>
                    <a:pt x="41727" y="51078"/>
                  </a:cubicBezTo>
                  <a:cubicBezTo>
                    <a:pt x="44634" y="52126"/>
                    <a:pt x="47856" y="53173"/>
                    <a:pt x="51340" y="54221"/>
                  </a:cubicBezTo>
                  <a:cubicBezTo>
                    <a:pt x="55286" y="55513"/>
                    <a:pt x="59399" y="56971"/>
                    <a:pt x="63677" y="58595"/>
                  </a:cubicBezTo>
                  <a:cubicBezTo>
                    <a:pt x="67855" y="60212"/>
                    <a:pt x="71794" y="62389"/>
                    <a:pt x="75386" y="65065"/>
                  </a:cubicBezTo>
                  <a:cubicBezTo>
                    <a:pt x="78966" y="67802"/>
                    <a:pt x="81937" y="71254"/>
                    <a:pt x="84108" y="75202"/>
                  </a:cubicBezTo>
                  <a:cubicBezTo>
                    <a:pt x="86525" y="79891"/>
                    <a:pt x="87698" y="85122"/>
                    <a:pt x="87513" y="90395"/>
                  </a:cubicBezTo>
                  <a:cubicBezTo>
                    <a:pt x="87649" y="96397"/>
                    <a:pt x="86394" y="102350"/>
                    <a:pt x="83846" y="107787"/>
                  </a:cubicBezTo>
                  <a:cubicBezTo>
                    <a:pt x="81533" y="112566"/>
                    <a:pt x="78187" y="116771"/>
                    <a:pt x="74050" y="120098"/>
                  </a:cubicBezTo>
                  <a:cubicBezTo>
                    <a:pt x="69800" y="123464"/>
                    <a:pt x="64933" y="125965"/>
                    <a:pt x="59722" y="127459"/>
                  </a:cubicBezTo>
                  <a:cubicBezTo>
                    <a:pt x="54107" y="129103"/>
                    <a:pt x="48284" y="129923"/>
                    <a:pt x="42434" y="129895"/>
                  </a:cubicBezTo>
                  <a:cubicBezTo>
                    <a:pt x="34367" y="129893"/>
                    <a:pt x="26371" y="128383"/>
                    <a:pt x="18860" y="125442"/>
                  </a:cubicBezTo>
                  <a:cubicBezTo>
                    <a:pt x="11560" y="122754"/>
                    <a:pt x="5068" y="118246"/>
                    <a:pt x="0" y="112345"/>
                  </a:cubicBezTo>
                  <a:lnTo>
                    <a:pt x="15716" y="97676"/>
                  </a:lnTo>
                  <a:cubicBezTo>
                    <a:pt x="18868" y="101962"/>
                    <a:pt x="23048" y="105385"/>
                    <a:pt x="27870" y="107630"/>
                  </a:cubicBezTo>
                  <a:cubicBezTo>
                    <a:pt x="32500" y="109981"/>
                    <a:pt x="37608" y="111236"/>
                    <a:pt x="42801" y="111297"/>
                  </a:cubicBezTo>
                  <a:cubicBezTo>
                    <a:pt x="45448" y="111288"/>
                    <a:pt x="48085" y="110971"/>
                    <a:pt x="50659" y="110354"/>
                  </a:cubicBezTo>
                  <a:cubicBezTo>
                    <a:pt x="53260" y="109739"/>
                    <a:pt x="55722" y="108637"/>
                    <a:pt x="57914" y="107106"/>
                  </a:cubicBezTo>
                  <a:cubicBezTo>
                    <a:pt x="60056" y="105618"/>
                    <a:pt x="61844" y="103678"/>
                    <a:pt x="63153" y="101422"/>
                  </a:cubicBezTo>
                  <a:cubicBezTo>
                    <a:pt x="64585" y="98839"/>
                    <a:pt x="65282" y="95913"/>
                    <a:pt x="65170" y="92962"/>
                  </a:cubicBezTo>
                  <a:cubicBezTo>
                    <a:pt x="65291" y="90085"/>
                    <a:pt x="64503" y="87244"/>
                    <a:pt x="62917" y="84842"/>
                  </a:cubicBezTo>
                  <a:cubicBezTo>
                    <a:pt x="61285" y="82568"/>
                    <a:pt x="59198" y="80659"/>
                    <a:pt x="56788" y="79236"/>
                  </a:cubicBezTo>
                  <a:cubicBezTo>
                    <a:pt x="53922" y="77529"/>
                    <a:pt x="50873" y="76150"/>
                    <a:pt x="47699" y="75124"/>
                  </a:cubicBezTo>
                  <a:lnTo>
                    <a:pt x="36697" y="71457"/>
                  </a:lnTo>
                  <a:cubicBezTo>
                    <a:pt x="32891" y="70279"/>
                    <a:pt x="29156" y="68879"/>
                    <a:pt x="25513" y="67266"/>
                  </a:cubicBezTo>
                  <a:cubicBezTo>
                    <a:pt x="21834" y="65676"/>
                    <a:pt x="18437" y="63499"/>
                    <a:pt x="15454" y="60822"/>
                  </a:cubicBezTo>
                  <a:cubicBezTo>
                    <a:pt x="12422" y="58029"/>
                    <a:pt x="9958" y="54675"/>
                    <a:pt x="8199" y="50947"/>
                  </a:cubicBezTo>
                  <a:cubicBezTo>
                    <a:pt x="6198" y="46341"/>
                    <a:pt x="5241" y="41350"/>
                    <a:pt x="5396" y="36331"/>
                  </a:cubicBezTo>
                  <a:cubicBezTo>
                    <a:pt x="5253" y="30663"/>
                    <a:pt x="6618" y="25058"/>
                    <a:pt x="9351" y="20091"/>
                  </a:cubicBezTo>
                  <a:cubicBezTo>
                    <a:pt x="11899" y="15615"/>
                    <a:pt x="15416" y="11766"/>
                    <a:pt x="19645" y="8827"/>
                  </a:cubicBezTo>
                  <a:cubicBezTo>
                    <a:pt x="24055" y="5775"/>
                    <a:pt x="28967" y="3523"/>
                    <a:pt x="34157" y="2174"/>
                  </a:cubicBezTo>
                  <a:cubicBezTo>
                    <a:pt x="39539" y="734"/>
                    <a:pt x="45087" y="3"/>
                    <a:pt x="50659" y="0"/>
                  </a:cubicBezTo>
                  <a:cubicBezTo>
                    <a:pt x="57182" y="35"/>
                    <a:pt x="63653" y="1160"/>
                    <a:pt x="69806" y="3327"/>
                  </a:cubicBezTo>
                  <a:cubicBezTo>
                    <a:pt x="76065" y="5409"/>
                    <a:pt x="81807" y="8802"/>
                    <a:pt x="86649" y="13280"/>
                  </a:cubicBezTo>
                  <a:close/>
                </a:path>
              </a:pathLst>
            </a:custGeom>
            <a:solidFill>
              <a:srgbClr val="BA5D7A"/>
            </a:solidFill>
            <a:ln w="261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09" name="Graphic 208">
            <a:extLst>
              <a:ext uri="{FF2B5EF4-FFF2-40B4-BE49-F238E27FC236}">
                <a16:creationId xmlns:a16="http://schemas.microsoft.com/office/drawing/2014/main" id="{158B046F-EA3F-9D4C-B649-E4B3F50AF6F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73925" y="3368675"/>
            <a:ext cx="390525" cy="390525"/>
          </a:xfrm>
          <a:prstGeom prst="rect">
            <a:avLst/>
          </a:prstGeom>
        </p:spPr>
      </p:pic>
      <p:grpSp>
        <p:nvGrpSpPr>
          <p:cNvPr id="210" name="Graphic 262">
            <a:extLst>
              <a:ext uri="{FF2B5EF4-FFF2-40B4-BE49-F238E27FC236}">
                <a16:creationId xmlns:a16="http://schemas.microsoft.com/office/drawing/2014/main" id="{C321F60F-7689-AB41-A8D0-974A31BBC9B3}"/>
              </a:ext>
            </a:extLst>
          </p:cNvPr>
          <p:cNvGrpSpPr/>
          <p:nvPr userDrawn="1"/>
        </p:nvGrpSpPr>
        <p:grpSpPr>
          <a:xfrm>
            <a:off x="3906838" y="4070350"/>
            <a:ext cx="361950" cy="361950"/>
            <a:chOff x="3906838" y="4070350"/>
            <a:chExt cx="361950" cy="361950"/>
          </a:xfrm>
        </p:grpSpPr>
        <p:sp>
          <p:nvSpPr>
            <p:cNvPr id="211" name="Freeform 210">
              <a:extLst>
                <a:ext uri="{FF2B5EF4-FFF2-40B4-BE49-F238E27FC236}">
                  <a16:creationId xmlns:a16="http://schemas.microsoft.com/office/drawing/2014/main" id="{464D6502-E5EE-D341-A6A0-EB3B275B1637}"/>
                </a:ext>
              </a:extLst>
            </p:cNvPr>
            <p:cNvSpPr/>
            <p:nvPr/>
          </p:nvSpPr>
          <p:spPr>
            <a:xfrm>
              <a:off x="4162306" y="4123782"/>
              <a:ext cx="10179" cy="10179"/>
            </a:xfrm>
            <a:custGeom>
              <a:avLst/>
              <a:gdLst>
                <a:gd name="connsiteX0" fmla="*/ 10180 w 10179"/>
                <a:gd name="connsiteY0" fmla="*/ 5067 h 10179"/>
                <a:gd name="connsiteX1" fmla="*/ 5113 w 10179"/>
                <a:gd name="connsiteY1" fmla="*/ 10180 h 10179"/>
                <a:gd name="connsiteX2" fmla="*/ 0 w 10179"/>
                <a:gd name="connsiteY2" fmla="*/ 5113 h 10179"/>
                <a:gd name="connsiteX3" fmla="*/ 5067 w 10179"/>
                <a:gd name="connsiteY3" fmla="*/ 0 h 10179"/>
                <a:gd name="connsiteX4" fmla="*/ 5090 w 10179"/>
                <a:gd name="connsiteY4" fmla="*/ 0 h 10179"/>
                <a:gd name="connsiteX5" fmla="*/ 10180 w 10179"/>
                <a:gd name="connsiteY5" fmla="*/ 5045 h 10179"/>
                <a:gd name="connsiteX6" fmla="*/ 10180 w 10179"/>
                <a:gd name="connsiteY6" fmla="*/ 5067 h 10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79" h="10179">
                  <a:moveTo>
                    <a:pt x="10180" y="5067"/>
                  </a:moveTo>
                  <a:cubicBezTo>
                    <a:pt x="10192" y="7878"/>
                    <a:pt x="7924" y="10167"/>
                    <a:pt x="5113" y="10180"/>
                  </a:cubicBezTo>
                  <a:cubicBezTo>
                    <a:pt x="2301" y="10192"/>
                    <a:pt x="13" y="7924"/>
                    <a:pt x="0" y="5113"/>
                  </a:cubicBezTo>
                  <a:cubicBezTo>
                    <a:pt x="-12" y="2302"/>
                    <a:pt x="2256" y="13"/>
                    <a:pt x="5067" y="0"/>
                  </a:cubicBezTo>
                  <a:cubicBezTo>
                    <a:pt x="5075" y="0"/>
                    <a:pt x="5082" y="0"/>
                    <a:pt x="5090" y="0"/>
                  </a:cubicBezTo>
                  <a:cubicBezTo>
                    <a:pt x="7888" y="-12"/>
                    <a:pt x="10167" y="2246"/>
                    <a:pt x="10180" y="5045"/>
                  </a:cubicBezTo>
                  <a:cubicBezTo>
                    <a:pt x="10180" y="5052"/>
                    <a:pt x="10180" y="5060"/>
                    <a:pt x="10180" y="5067"/>
                  </a:cubicBezTo>
                  <a:close/>
                </a:path>
              </a:pathLst>
            </a:custGeom>
            <a:solidFill>
              <a:srgbClr val="BF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eform 211">
              <a:extLst>
                <a:ext uri="{FF2B5EF4-FFF2-40B4-BE49-F238E27FC236}">
                  <a16:creationId xmlns:a16="http://schemas.microsoft.com/office/drawing/2014/main" id="{094AE4A8-FA51-1C49-B8A7-05E80244C1F9}"/>
                </a:ext>
              </a:extLst>
            </p:cNvPr>
            <p:cNvSpPr/>
            <p:nvPr/>
          </p:nvSpPr>
          <p:spPr>
            <a:xfrm>
              <a:off x="4134572" y="4123782"/>
              <a:ext cx="10179" cy="10179"/>
            </a:xfrm>
            <a:custGeom>
              <a:avLst/>
              <a:gdLst>
                <a:gd name="connsiteX0" fmla="*/ 10180 w 10179"/>
                <a:gd name="connsiteY0" fmla="*/ 5067 h 10179"/>
                <a:gd name="connsiteX1" fmla="*/ 5113 w 10179"/>
                <a:gd name="connsiteY1" fmla="*/ 10180 h 10179"/>
                <a:gd name="connsiteX2" fmla="*/ 0 w 10179"/>
                <a:gd name="connsiteY2" fmla="*/ 5113 h 10179"/>
                <a:gd name="connsiteX3" fmla="*/ 5067 w 10179"/>
                <a:gd name="connsiteY3" fmla="*/ 0 h 10179"/>
                <a:gd name="connsiteX4" fmla="*/ 5090 w 10179"/>
                <a:gd name="connsiteY4" fmla="*/ 0 h 10179"/>
                <a:gd name="connsiteX5" fmla="*/ 10180 w 10179"/>
                <a:gd name="connsiteY5" fmla="*/ 5045 h 10179"/>
                <a:gd name="connsiteX6" fmla="*/ 10180 w 10179"/>
                <a:gd name="connsiteY6" fmla="*/ 5067 h 10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79" h="10179">
                  <a:moveTo>
                    <a:pt x="10180" y="5067"/>
                  </a:moveTo>
                  <a:cubicBezTo>
                    <a:pt x="10192" y="7878"/>
                    <a:pt x="7924" y="10167"/>
                    <a:pt x="5113" y="10180"/>
                  </a:cubicBezTo>
                  <a:cubicBezTo>
                    <a:pt x="2301" y="10192"/>
                    <a:pt x="13" y="7924"/>
                    <a:pt x="0" y="5113"/>
                  </a:cubicBezTo>
                  <a:cubicBezTo>
                    <a:pt x="-12" y="2302"/>
                    <a:pt x="2256" y="13"/>
                    <a:pt x="5067" y="0"/>
                  </a:cubicBezTo>
                  <a:cubicBezTo>
                    <a:pt x="5075" y="0"/>
                    <a:pt x="5082" y="0"/>
                    <a:pt x="5090" y="0"/>
                  </a:cubicBezTo>
                  <a:cubicBezTo>
                    <a:pt x="7888" y="-12"/>
                    <a:pt x="10167" y="2246"/>
                    <a:pt x="10180" y="5045"/>
                  </a:cubicBezTo>
                  <a:cubicBezTo>
                    <a:pt x="10180" y="5052"/>
                    <a:pt x="10180" y="5060"/>
                    <a:pt x="10180" y="5067"/>
                  </a:cubicBezTo>
                  <a:close/>
                </a:path>
              </a:pathLst>
            </a:custGeom>
            <a:solidFill>
              <a:srgbClr val="BF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eform 212">
              <a:extLst>
                <a:ext uri="{FF2B5EF4-FFF2-40B4-BE49-F238E27FC236}">
                  <a16:creationId xmlns:a16="http://schemas.microsoft.com/office/drawing/2014/main" id="{C7A3A71E-6658-B14D-ACE9-7B299B4A385D}"/>
                </a:ext>
              </a:extLst>
            </p:cNvPr>
            <p:cNvSpPr/>
            <p:nvPr/>
          </p:nvSpPr>
          <p:spPr>
            <a:xfrm>
              <a:off x="4190063" y="4123782"/>
              <a:ext cx="10134" cy="10134"/>
            </a:xfrm>
            <a:custGeom>
              <a:avLst/>
              <a:gdLst>
                <a:gd name="connsiteX0" fmla="*/ 10135 w 10134"/>
                <a:gd name="connsiteY0" fmla="*/ 5067 h 10134"/>
                <a:gd name="connsiteX1" fmla="*/ 5067 w 10134"/>
                <a:gd name="connsiteY1" fmla="*/ 10135 h 10134"/>
                <a:gd name="connsiteX2" fmla="*/ 0 w 10134"/>
                <a:gd name="connsiteY2" fmla="*/ 5067 h 10134"/>
                <a:gd name="connsiteX3" fmla="*/ 5067 w 10134"/>
                <a:gd name="connsiteY3" fmla="*/ 0 h 10134"/>
                <a:gd name="connsiteX4" fmla="*/ 10135 w 10134"/>
                <a:gd name="connsiteY4" fmla="*/ 5067 h 10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34" h="10134">
                  <a:moveTo>
                    <a:pt x="10135" y="5067"/>
                  </a:moveTo>
                  <a:cubicBezTo>
                    <a:pt x="10135" y="7866"/>
                    <a:pt x="7866" y="10135"/>
                    <a:pt x="5067" y="10135"/>
                  </a:cubicBezTo>
                  <a:cubicBezTo>
                    <a:pt x="2269" y="10135"/>
                    <a:pt x="0" y="7866"/>
                    <a:pt x="0" y="5067"/>
                  </a:cubicBezTo>
                  <a:cubicBezTo>
                    <a:pt x="0" y="2269"/>
                    <a:pt x="2269" y="0"/>
                    <a:pt x="5067" y="0"/>
                  </a:cubicBezTo>
                  <a:cubicBezTo>
                    <a:pt x="7866" y="0"/>
                    <a:pt x="10135" y="2269"/>
                    <a:pt x="10135" y="5067"/>
                  </a:cubicBezTo>
                  <a:close/>
                </a:path>
              </a:pathLst>
            </a:custGeom>
            <a:solidFill>
              <a:srgbClr val="BF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eform 213">
              <a:extLst>
                <a:ext uri="{FF2B5EF4-FFF2-40B4-BE49-F238E27FC236}">
                  <a16:creationId xmlns:a16="http://schemas.microsoft.com/office/drawing/2014/main" id="{79AC885F-3B8A-FA4A-8B81-08123B6FCA79}"/>
                </a:ext>
              </a:extLst>
            </p:cNvPr>
            <p:cNvSpPr/>
            <p:nvPr/>
          </p:nvSpPr>
          <p:spPr>
            <a:xfrm>
              <a:off x="4030669" y="4228069"/>
              <a:ext cx="75287" cy="75195"/>
            </a:xfrm>
            <a:custGeom>
              <a:avLst/>
              <a:gdLst>
                <a:gd name="connsiteX0" fmla="*/ 37644 w 75287"/>
                <a:gd name="connsiteY0" fmla="*/ 0 h 75195"/>
                <a:gd name="connsiteX1" fmla="*/ 0 w 75287"/>
                <a:gd name="connsiteY1" fmla="*/ 37551 h 75195"/>
                <a:gd name="connsiteX2" fmla="*/ 37551 w 75287"/>
                <a:gd name="connsiteY2" fmla="*/ 75195 h 75195"/>
                <a:gd name="connsiteX3" fmla="*/ 54836 w 75287"/>
                <a:gd name="connsiteY3" fmla="*/ 71010 h 75195"/>
                <a:gd name="connsiteX4" fmla="*/ 57042 w 75287"/>
                <a:gd name="connsiteY4" fmla="*/ 64167 h 75195"/>
                <a:gd name="connsiteX5" fmla="*/ 50199 w 75287"/>
                <a:gd name="connsiteY5" fmla="*/ 61961 h 75195"/>
                <a:gd name="connsiteX6" fmla="*/ 13281 w 75287"/>
                <a:gd name="connsiteY6" fmla="*/ 50108 h 75195"/>
                <a:gd name="connsiteX7" fmla="*/ 25135 w 75287"/>
                <a:gd name="connsiteY7" fmla="*/ 13189 h 75195"/>
                <a:gd name="connsiteX8" fmla="*/ 62053 w 75287"/>
                <a:gd name="connsiteY8" fmla="*/ 25043 h 75195"/>
                <a:gd name="connsiteX9" fmla="*/ 62053 w 75287"/>
                <a:gd name="connsiteY9" fmla="*/ 50108 h 75195"/>
                <a:gd name="connsiteX10" fmla="*/ 64247 w 75287"/>
                <a:gd name="connsiteY10" fmla="*/ 56962 h 75195"/>
                <a:gd name="connsiteX11" fmla="*/ 71102 w 75287"/>
                <a:gd name="connsiteY11" fmla="*/ 54768 h 75195"/>
                <a:gd name="connsiteX12" fmla="*/ 54943 w 75287"/>
                <a:gd name="connsiteY12" fmla="*/ 4179 h 75195"/>
                <a:gd name="connsiteX13" fmla="*/ 37644 w 75287"/>
                <a:gd name="connsiteY13" fmla="*/ 0 h 7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5287" h="75195">
                  <a:moveTo>
                    <a:pt x="37644" y="0"/>
                  </a:moveTo>
                  <a:cubicBezTo>
                    <a:pt x="16879" y="-25"/>
                    <a:pt x="26" y="16787"/>
                    <a:pt x="0" y="37551"/>
                  </a:cubicBezTo>
                  <a:cubicBezTo>
                    <a:pt x="-26" y="58316"/>
                    <a:pt x="16787" y="75170"/>
                    <a:pt x="37551" y="75195"/>
                  </a:cubicBezTo>
                  <a:cubicBezTo>
                    <a:pt x="43565" y="75203"/>
                    <a:pt x="49492" y="73767"/>
                    <a:pt x="54836" y="71010"/>
                  </a:cubicBezTo>
                  <a:cubicBezTo>
                    <a:pt x="57335" y="69730"/>
                    <a:pt x="58323" y="66666"/>
                    <a:pt x="57042" y="64167"/>
                  </a:cubicBezTo>
                  <a:cubicBezTo>
                    <a:pt x="55761" y="61668"/>
                    <a:pt x="52698" y="60681"/>
                    <a:pt x="50199" y="61961"/>
                  </a:cubicBezTo>
                  <a:cubicBezTo>
                    <a:pt x="36731" y="68883"/>
                    <a:pt x="20202" y="63576"/>
                    <a:pt x="13281" y="50108"/>
                  </a:cubicBezTo>
                  <a:cubicBezTo>
                    <a:pt x="6360" y="36640"/>
                    <a:pt x="11667" y="20111"/>
                    <a:pt x="25135" y="13189"/>
                  </a:cubicBezTo>
                  <a:cubicBezTo>
                    <a:pt x="38603" y="6268"/>
                    <a:pt x="55131" y="11575"/>
                    <a:pt x="62053" y="25043"/>
                  </a:cubicBezTo>
                  <a:cubicBezTo>
                    <a:pt x="66095" y="32909"/>
                    <a:pt x="66095" y="42242"/>
                    <a:pt x="62053" y="50108"/>
                  </a:cubicBezTo>
                  <a:cubicBezTo>
                    <a:pt x="60766" y="52606"/>
                    <a:pt x="61748" y="55675"/>
                    <a:pt x="64247" y="56962"/>
                  </a:cubicBezTo>
                  <a:cubicBezTo>
                    <a:pt x="66746" y="58249"/>
                    <a:pt x="69815" y="57266"/>
                    <a:pt x="71102" y="54768"/>
                  </a:cubicBezTo>
                  <a:cubicBezTo>
                    <a:pt x="80609" y="36336"/>
                    <a:pt x="73375" y="13686"/>
                    <a:pt x="54943" y="4179"/>
                  </a:cubicBezTo>
                  <a:cubicBezTo>
                    <a:pt x="49595" y="1420"/>
                    <a:pt x="43662" y="-13"/>
                    <a:pt x="37644" y="0"/>
                  </a:cubicBezTo>
                  <a:close/>
                </a:path>
              </a:pathLst>
            </a:custGeom>
            <a:solidFill>
              <a:srgbClr val="BF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Freeform 214">
              <a:extLst>
                <a:ext uri="{FF2B5EF4-FFF2-40B4-BE49-F238E27FC236}">
                  <a16:creationId xmlns:a16="http://schemas.microsoft.com/office/drawing/2014/main" id="{2AF0B9DB-E4FE-194F-BEBD-BC69B2763B19}"/>
                </a:ext>
              </a:extLst>
            </p:cNvPr>
            <p:cNvSpPr/>
            <p:nvPr/>
          </p:nvSpPr>
          <p:spPr>
            <a:xfrm>
              <a:off x="3979974" y="4177328"/>
              <a:ext cx="176722" cy="176857"/>
            </a:xfrm>
            <a:custGeom>
              <a:avLst/>
              <a:gdLst>
                <a:gd name="connsiteX0" fmla="*/ 171587 w 176722"/>
                <a:gd name="connsiteY0" fmla="*/ 69721 h 176857"/>
                <a:gd name="connsiteX1" fmla="*/ 150255 w 176722"/>
                <a:gd name="connsiteY1" fmla="*/ 69721 h 176857"/>
                <a:gd name="connsiteX2" fmla="*/ 145255 w 176722"/>
                <a:gd name="connsiteY2" fmla="*/ 57708 h 176857"/>
                <a:gd name="connsiteX3" fmla="*/ 160366 w 176722"/>
                <a:gd name="connsiteY3" fmla="*/ 42620 h 176857"/>
                <a:gd name="connsiteX4" fmla="*/ 161837 w 176722"/>
                <a:gd name="connsiteY4" fmla="*/ 39023 h 176857"/>
                <a:gd name="connsiteX5" fmla="*/ 160366 w 176722"/>
                <a:gd name="connsiteY5" fmla="*/ 35426 h 176857"/>
                <a:gd name="connsiteX6" fmla="*/ 141228 w 176722"/>
                <a:gd name="connsiteY6" fmla="*/ 16310 h 176857"/>
                <a:gd name="connsiteX7" fmla="*/ 134094 w 176722"/>
                <a:gd name="connsiteY7" fmla="*/ 16273 h 176857"/>
                <a:gd name="connsiteX8" fmla="*/ 134057 w 176722"/>
                <a:gd name="connsiteY8" fmla="*/ 16310 h 176857"/>
                <a:gd name="connsiteX9" fmla="*/ 118946 w 176722"/>
                <a:gd name="connsiteY9" fmla="*/ 31399 h 176857"/>
                <a:gd name="connsiteX10" fmla="*/ 106934 w 176722"/>
                <a:gd name="connsiteY10" fmla="*/ 26490 h 176857"/>
                <a:gd name="connsiteX11" fmla="*/ 106934 w 176722"/>
                <a:gd name="connsiteY11" fmla="*/ 5067 h 176857"/>
                <a:gd name="connsiteX12" fmla="*/ 101866 w 176722"/>
                <a:gd name="connsiteY12" fmla="*/ 0 h 176857"/>
                <a:gd name="connsiteX13" fmla="*/ 74811 w 176722"/>
                <a:gd name="connsiteY13" fmla="*/ 0 h 176857"/>
                <a:gd name="connsiteX14" fmla="*/ 69743 w 176722"/>
                <a:gd name="connsiteY14" fmla="*/ 5067 h 176857"/>
                <a:gd name="connsiteX15" fmla="*/ 69743 w 176722"/>
                <a:gd name="connsiteY15" fmla="*/ 26490 h 176857"/>
                <a:gd name="connsiteX16" fmla="*/ 57708 w 176722"/>
                <a:gd name="connsiteY16" fmla="*/ 31490 h 176857"/>
                <a:gd name="connsiteX17" fmla="*/ 42620 w 176722"/>
                <a:gd name="connsiteY17" fmla="*/ 16310 h 176857"/>
                <a:gd name="connsiteX18" fmla="*/ 35485 w 176722"/>
                <a:gd name="connsiteY18" fmla="*/ 16273 h 176857"/>
                <a:gd name="connsiteX19" fmla="*/ 35448 w 176722"/>
                <a:gd name="connsiteY19" fmla="*/ 16310 h 176857"/>
                <a:gd name="connsiteX20" fmla="*/ 16310 w 176722"/>
                <a:gd name="connsiteY20" fmla="*/ 35539 h 176857"/>
                <a:gd name="connsiteX21" fmla="*/ 14840 w 176722"/>
                <a:gd name="connsiteY21" fmla="*/ 39136 h 176857"/>
                <a:gd name="connsiteX22" fmla="*/ 16310 w 176722"/>
                <a:gd name="connsiteY22" fmla="*/ 42733 h 176857"/>
                <a:gd name="connsiteX23" fmla="*/ 31422 w 176722"/>
                <a:gd name="connsiteY23" fmla="*/ 57822 h 176857"/>
                <a:gd name="connsiteX24" fmla="*/ 26422 w 176722"/>
                <a:gd name="connsiteY24" fmla="*/ 69834 h 176857"/>
                <a:gd name="connsiteX25" fmla="*/ 5090 w 176722"/>
                <a:gd name="connsiteY25" fmla="*/ 69834 h 176857"/>
                <a:gd name="connsiteX26" fmla="*/ 0 w 176722"/>
                <a:gd name="connsiteY26" fmla="*/ 74901 h 176857"/>
                <a:gd name="connsiteX27" fmla="*/ 0 w 176722"/>
                <a:gd name="connsiteY27" fmla="*/ 102047 h 176857"/>
                <a:gd name="connsiteX28" fmla="*/ 5090 w 176722"/>
                <a:gd name="connsiteY28" fmla="*/ 107137 h 176857"/>
                <a:gd name="connsiteX29" fmla="*/ 26400 w 176722"/>
                <a:gd name="connsiteY29" fmla="*/ 107137 h 176857"/>
                <a:gd name="connsiteX30" fmla="*/ 31399 w 176722"/>
                <a:gd name="connsiteY30" fmla="*/ 119149 h 176857"/>
                <a:gd name="connsiteX31" fmla="*/ 16288 w 176722"/>
                <a:gd name="connsiteY31" fmla="*/ 134238 h 176857"/>
                <a:gd name="connsiteX32" fmla="*/ 16288 w 176722"/>
                <a:gd name="connsiteY32" fmla="*/ 141409 h 176857"/>
                <a:gd name="connsiteX33" fmla="*/ 35426 w 176722"/>
                <a:gd name="connsiteY33" fmla="*/ 160547 h 176857"/>
                <a:gd name="connsiteX34" fmla="*/ 42560 w 176722"/>
                <a:gd name="connsiteY34" fmla="*/ 160584 h 176857"/>
                <a:gd name="connsiteX35" fmla="*/ 42597 w 176722"/>
                <a:gd name="connsiteY35" fmla="*/ 160547 h 176857"/>
                <a:gd name="connsiteX36" fmla="*/ 57686 w 176722"/>
                <a:gd name="connsiteY36" fmla="*/ 145459 h 176857"/>
                <a:gd name="connsiteX37" fmla="*/ 69721 w 176722"/>
                <a:gd name="connsiteY37" fmla="*/ 150458 h 176857"/>
                <a:gd name="connsiteX38" fmla="*/ 69721 w 176722"/>
                <a:gd name="connsiteY38" fmla="*/ 171791 h 176857"/>
                <a:gd name="connsiteX39" fmla="*/ 74788 w 176722"/>
                <a:gd name="connsiteY39" fmla="*/ 176858 h 176857"/>
                <a:gd name="connsiteX40" fmla="*/ 101934 w 176722"/>
                <a:gd name="connsiteY40" fmla="*/ 176858 h 176857"/>
                <a:gd name="connsiteX41" fmla="*/ 107001 w 176722"/>
                <a:gd name="connsiteY41" fmla="*/ 171791 h 176857"/>
                <a:gd name="connsiteX42" fmla="*/ 107001 w 176722"/>
                <a:gd name="connsiteY42" fmla="*/ 150458 h 176857"/>
                <a:gd name="connsiteX43" fmla="*/ 119014 w 176722"/>
                <a:gd name="connsiteY43" fmla="*/ 145459 h 176857"/>
                <a:gd name="connsiteX44" fmla="*/ 134125 w 176722"/>
                <a:gd name="connsiteY44" fmla="*/ 160547 h 176857"/>
                <a:gd name="connsiteX45" fmla="*/ 141259 w 176722"/>
                <a:gd name="connsiteY45" fmla="*/ 160584 h 176857"/>
                <a:gd name="connsiteX46" fmla="*/ 141296 w 176722"/>
                <a:gd name="connsiteY46" fmla="*/ 160547 h 176857"/>
                <a:gd name="connsiteX47" fmla="*/ 160434 w 176722"/>
                <a:gd name="connsiteY47" fmla="*/ 141409 h 176857"/>
                <a:gd name="connsiteX48" fmla="*/ 160434 w 176722"/>
                <a:gd name="connsiteY48" fmla="*/ 134238 h 176857"/>
                <a:gd name="connsiteX49" fmla="*/ 145323 w 176722"/>
                <a:gd name="connsiteY49" fmla="*/ 119149 h 176857"/>
                <a:gd name="connsiteX50" fmla="*/ 150322 w 176722"/>
                <a:gd name="connsiteY50" fmla="*/ 107137 h 176857"/>
                <a:gd name="connsiteX51" fmla="*/ 171655 w 176722"/>
                <a:gd name="connsiteY51" fmla="*/ 107137 h 176857"/>
                <a:gd name="connsiteX52" fmla="*/ 176722 w 176722"/>
                <a:gd name="connsiteY52" fmla="*/ 102070 h 176857"/>
                <a:gd name="connsiteX53" fmla="*/ 176722 w 176722"/>
                <a:gd name="connsiteY53" fmla="*/ 102047 h 176857"/>
                <a:gd name="connsiteX54" fmla="*/ 176722 w 176722"/>
                <a:gd name="connsiteY54" fmla="*/ 74901 h 176857"/>
                <a:gd name="connsiteX55" fmla="*/ 171655 w 176722"/>
                <a:gd name="connsiteY55" fmla="*/ 69834 h 176857"/>
                <a:gd name="connsiteX56" fmla="*/ 166520 w 176722"/>
                <a:gd name="connsiteY56" fmla="*/ 96867 h 176857"/>
                <a:gd name="connsiteX57" fmla="*/ 146296 w 176722"/>
                <a:gd name="connsiteY57" fmla="*/ 96867 h 176857"/>
                <a:gd name="connsiteX58" fmla="*/ 141364 w 176722"/>
                <a:gd name="connsiteY58" fmla="*/ 100803 h 176857"/>
                <a:gd name="connsiteX59" fmla="*/ 134578 w 176722"/>
                <a:gd name="connsiteY59" fmla="*/ 117181 h 176857"/>
                <a:gd name="connsiteX60" fmla="*/ 135301 w 176722"/>
                <a:gd name="connsiteY60" fmla="*/ 123448 h 176857"/>
                <a:gd name="connsiteX61" fmla="*/ 149576 w 176722"/>
                <a:gd name="connsiteY61" fmla="*/ 137722 h 176857"/>
                <a:gd name="connsiteX62" fmla="*/ 137632 w 176722"/>
                <a:gd name="connsiteY62" fmla="*/ 149666 h 176857"/>
                <a:gd name="connsiteX63" fmla="*/ 123357 w 176722"/>
                <a:gd name="connsiteY63" fmla="*/ 135415 h 176857"/>
                <a:gd name="connsiteX64" fmla="*/ 117068 w 176722"/>
                <a:gd name="connsiteY64" fmla="*/ 134691 h 176857"/>
                <a:gd name="connsiteX65" fmla="*/ 100690 w 176722"/>
                <a:gd name="connsiteY65" fmla="*/ 141477 h 176857"/>
                <a:gd name="connsiteX66" fmla="*/ 96776 w 176722"/>
                <a:gd name="connsiteY66" fmla="*/ 146409 h 176857"/>
                <a:gd name="connsiteX67" fmla="*/ 96776 w 176722"/>
                <a:gd name="connsiteY67" fmla="*/ 166565 h 176857"/>
                <a:gd name="connsiteX68" fmla="*/ 79878 w 176722"/>
                <a:gd name="connsiteY68" fmla="*/ 166565 h 176857"/>
                <a:gd name="connsiteX69" fmla="*/ 79878 w 176722"/>
                <a:gd name="connsiteY69" fmla="*/ 146386 h 176857"/>
                <a:gd name="connsiteX70" fmla="*/ 75964 w 176722"/>
                <a:gd name="connsiteY70" fmla="*/ 141455 h 176857"/>
                <a:gd name="connsiteX71" fmla="*/ 59586 w 176722"/>
                <a:gd name="connsiteY71" fmla="*/ 134668 h 176857"/>
                <a:gd name="connsiteX72" fmla="*/ 53297 w 176722"/>
                <a:gd name="connsiteY72" fmla="*/ 135392 h 176857"/>
                <a:gd name="connsiteX73" fmla="*/ 39023 w 176722"/>
                <a:gd name="connsiteY73" fmla="*/ 149644 h 176857"/>
                <a:gd name="connsiteX74" fmla="*/ 27078 w 176722"/>
                <a:gd name="connsiteY74" fmla="*/ 137699 h 176857"/>
                <a:gd name="connsiteX75" fmla="*/ 41353 w 176722"/>
                <a:gd name="connsiteY75" fmla="*/ 123425 h 176857"/>
                <a:gd name="connsiteX76" fmla="*/ 42054 w 176722"/>
                <a:gd name="connsiteY76" fmla="*/ 116978 h 176857"/>
                <a:gd name="connsiteX77" fmla="*/ 35268 w 176722"/>
                <a:gd name="connsiteY77" fmla="*/ 100599 h 176857"/>
                <a:gd name="connsiteX78" fmla="*/ 30336 w 176722"/>
                <a:gd name="connsiteY78" fmla="*/ 96663 h 176857"/>
                <a:gd name="connsiteX79" fmla="*/ 10157 w 176722"/>
                <a:gd name="connsiteY79" fmla="*/ 96663 h 176857"/>
                <a:gd name="connsiteX80" fmla="*/ 10157 w 176722"/>
                <a:gd name="connsiteY80" fmla="*/ 79878 h 176857"/>
                <a:gd name="connsiteX81" fmla="*/ 30313 w 176722"/>
                <a:gd name="connsiteY81" fmla="*/ 79878 h 176857"/>
                <a:gd name="connsiteX82" fmla="*/ 35245 w 176722"/>
                <a:gd name="connsiteY82" fmla="*/ 75942 h 176857"/>
                <a:gd name="connsiteX83" fmla="*/ 42031 w 176722"/>
                <a:gd name="connsiteY83" fmla="*/ 59563 h 176857"/>
                <a:gd name="connsiteX84" fmla="*/ 41330 w 176722"/>
                <a:gd name="connsiteY84" fmla="*/ 53297 h 176857"/>
                <a:gd name="connsiteX85" fmla="*/ 27078 w 176722"/>
                <a:gd name="connsiteY85" fmla="*/ 39023 h 176857"/>
                <a:gd name="connsiteX86" fmla="*/ 39023 w 176722"/>
                <a:gd name="connsiteY86" fmla="*/ 27056 h 176857"/>
                <a:gd name="connsiteX87" fmla="*/ 53297 w 176722"/>
                <a:gd name="connsiteY87" fmla="*/ 41330 h 176857"/>
                <a:gd name="connsiteX88" fmla="*/ 59586 w 176722"/>
                <a:gd name="connsiteY88" fmla="*/ 42054 h 176857"/>
                <a:gd name="connsiteX89" fmla="*/ 75964 w 176722"/>
                <a:gd name="connsiteY89" fmla="*/ 35268 h 176857"/>
                <a:gd name="connsiteX90" fmla="*/ 79878 w 176722"/>
                <a:gd name="connsiteY90" fmla="*/ 30336 h 176857"/>
                <a:gd name="connsiteX91" fmla="*/ 79878 w 176722"/>
                <a:gd name="connsiteY91" fmla="*/ 10135 h 176857"/>
                <a:gd name="connsiteX92" fmla="*/ 96799 w 176722"/>
                <a:gd name="connsiteY92" fmla="*/ 10135 h 176857"/>
                <a:gd name="connsiteX93" fmla="*/ 96799 w 176722"/>
                <a:gd name="connsiteY93" fmla="*/ 30313 h 176857"/>
                <a:gd name="connsiteX94" fmla="*/ 100713 w 176722"/>
                <a:gd name="connsiteY94" fmla="*/ 35245 h 176857"/>
                <a:gd name="connsiteX95" fmla="*/ 117091 w 176722"/>
                <a:gd name="connsiteY95" fmla="*/ 42031 h 176857"/>
                <a:gd name="connsiteX96" fmla="*/ 123380 w 176722"/>
                <a:gd name="connsiteY96" fmla="*/ 41308 h 176857"/>
                <a:gd name="connsiteX97" fmla="*/ 137654 w 176722"/>
                <a:gd name="connsiteY97" fmla="*/ 27033 h 176857"/>
                <a:gd name="connsiteX98" fmla="*/ 149598 w 176722"/>
                <a:gd name="connsiteY98" fmla="*/ 39000 h 176857"/>
                <a:gd name="connsiteX99" fmla="*/ 135324 w 176722"/>
                <a:gd name="connsiteY99" fmla="*/ 53275 h 176857"/>
                <a:gd name="connsiteX100" fmla="*/ 134600 w 176722"/>
                <a:gd name="connsiteY100" fmla="*/ 59541 h 176857"/>
                <a:gd name="connsiteX101" fmla="*/ 141387 w 176722"/>
                <a:gd name="connsiteY101" fmla="*/ 75919 h 176857"/>
                <a:gd name="connsiteX102" fmla="*/ 146296 w 176722"/>
                <a:gd name="connsiteY102" fmla="*/ 79878 h 176857"/>
                <a:gd name="connsiteX103" fmla="*/ 166452 w 176722"/>
                <a:gd name="connsiteY103" fmla="*/ 79878 h 176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76722" h="176857">
                  <a:moveTo>
                    <a:pt x="171587" y="69721"/>
                  </a:moveTo>
                  <a:lnTo>
                    <a:pt x="150255" y="69721"/>
                  </a:lnTo>
                  <a:cubicBezTo>
                    <a:pt x="149005" y="65556"/>
                    <a:pt x="147329" y="61530"/>
                    <a:pt x="145255" y="57708"/>
                  </a:cubicBezTo>
                  <a:lnTo>
                    <a:pt x="160366" y="42620"/>
                  </a:lnTo>
                  <a:cubicBezTo>
                    <a:pt x="161309" y="41660"/>
                    <a:pt x="161837" y="40368"/>
                    <a:pt x="161837" y="39023"/>
                  </a:cubicBezTo>
                  <a:cubicBezTo>
                    <a:pt x="161844" y="37676"/>
                    <a:pt x="161315" y="36382"/>
                    <a:pt x="160366" y="35426"/>
                  </a:cubicBezTo>
                  <a:lnTo>
                    <a:pt x="141228" y="16310"/>
                  </a:lnTo>
                  <a:cubicBezTo>
                    <a:pt x="139269" y="14330"/>
                    <a:pt x="136074" y="14314"/>
                    <a:pt x="134094" y="16273"/>
                  </a:cubicBezTo>
                  <a:cubicBezTo>
                    <a:pt x="134082" y="16286"/>
                    <a:pt x="134069" y="16298"/>
                    <a:pt x="134057" y="16310"/>
                  </a:cubicBezTo>
                  <a:lnTo>
                    <a:pt x="118946" y="31399"/>
                  </a:lnTo>
                  <a:cubicBezTo>
                    <a:pt x="115118" y="29361"/>
                    <a:pt x="111093" y="27716"/>
                    <a:pt x="106934" y="26490"/>
                  </a:cubicBezTo>
                  <a:lnTo>
                    <a:pt x="106934" y="5067"/>
                  </a:lnTo>
                  <a:cubicBezTo>
                    <a:pt x="106934" y="2269"/>
                    <a:pt x="104665" y="0"/>
                    <a:pt x="101866" y="0"/>
                  </a:cubicBezTo>
                  <a:lnTo>
                    <a:pt x="74811" y="0"/>
                  </a:lnTo>
                  <a:cubicBezTo>
                    <a:pt x="72012" y="0"/>
                    <a:pt x="69743" y="2269"/>
                    <a:pt x="69743" y="5067"/>
                  </a:cubicBezTo>
                  <a:lnTo>
                    <a:pt x="69743" y="26490"/>
                  </a:lnTo>
                  <a:cubicBezTo>
                    <a:pt x="65574" y="27749"/>
                    <a:pt x="61542" y="29424"/>
                    <a:pt x="57708" y="31490"/>
                  </a:cubicBezTo>
                  <a:lnTo>
                    <a:pt x="42620" y="16310"/>
                  </a:lnTo>
                  <a:cubicBezTo>
                    <a:pt x="40660" y="14330"/>
                    <a:pt x="37466" y="14314"/>
                    <a:pt x="35485" y="16273"/>
                  </a:cubicBezTo>
                  <a:cubicBezTo>
                    <a:pt x="35473" y="16286"/>
                    <a:pt x="35461" y="16298"/>
                    <a:pt x="35448" y="16310"/>
                  </a:cubicBezTo>
                  <a:lnTo>
                    <a:pt x="16310" y="35539"/>
                  </a:lnTo>
                  <a:cubicBezTo>
                    <a:pt x="15362" y="36495"/>
                    <a:pt x="14833" y="37789"/>
                    <a:pt x="14840" y="39136"/>
                  </a:cubicBezTo>
                  <a:cubicBezTo>
                    <a:pt x="14840" y="40481"/>
                    <a:pt x="15368" y="41773"/>
                    <a:pt x="16310" y="42733"/>
                  </a:cubicBezTo>
                  <a:lnTo>
                    <a:pt x="31422" y="57822"/>
                  </a:lnTo>
                  <a:cubicBezTo>
                    <a:pt x="29347" y="61643"/>
                    <a:pt x="27672" y="65669"/>
                    <a:pt x="26422" y="69834"/>
                  </a:cubicBezTo>
                  <a:lnTo>
                    <a:pt x="5090" y="69834"/>
                  </a:lnTo>
                  <a:cubicBezTo>
                    <a:pt x="2288" y="69834"/>
                    <a:pt x="12" y="72099"/>
                    <a:pt x="0" y="74901"/>
                  </a:cubicBezTo>
                  <a:lnTo>
                    <a:pt x="0" y="102047"/>
                  </a:lnTo>
                  <a:cubicBezTo>
                    <a:pt x="0" y="104858"/>
                    <a:pt x="2279" y="107137"/>
                    <a:pt x="5090" y="107137"/>
                  </a:cubicBezTo>
                  <a:lnTo>
                    <a:pt x="26400" y="107137"/>
                  </a:lnTo>
                  <a:cubicBezTo>
                    <a:pt x="27649" y="111302"/>
                    <a:pt x="29325" y="115328"/>
                    <a:pt x="31399" y="119149"/>
                  </a:cubicBezTo>
                  <a:lnTo>
                    <a:pt x="16288" y="134238"/>
                  </a:lnTo>
                  <a:cubicBezTo>
                    <a:pt x="14330" y="136228"/>
                    <a:pt x="14330" y="139420"/>
                    <a:pt x="16288" y="141409"/>
                  </a:cubicBezTo>
                  <a:lnTo>
                    <a:pt x="35426" y="160547"/>
                  </a:lnTo>
                  <a:cubicBezTo>
                    <a:pt x="37386" y="162528"/>
                    <a:pt x="40580" y="162544"/>
                    <a:pt x="42560" y="160584"/>
                  </a:cubicBezTo>
                  <a:cubicBezTo>
                    <a:pt x="42572" y="160572"/>
                    <a:pt x="42585" y="160560"/>
                    <a:pt x="42597" y="160547"/>
                  </a:cubicBezTo>
                  <a:lnTo>
                    <a:pt x="57686" y="145459"/>
                  </a:lnTo>
                  <a:cubicBezTo>
                    <a:pt x="61524" y="147515"/>
                    <a:pt x="65555" y="149189"/>
                    <a:pt x="69721" y="150458"/>
                  </a:cubicBezTo>
                  <a:lnTo>
                    <a:pt x="69721" y="171791"/>
                  </a:lnTo>
                  <a:cubicBezTo>
                    <a:pt x="69721" y="174589"/>
                    <a:pt x="71989" y="176858"/>
                    <a:pt x="74788" y="176858"/>
                  </a:cubicBezTo>
                  <a:lnTo>
                    <a:pt x="101934" y="176858"/>
                  </a:lnTo>
                  <a:cubicBezTo>
                    <a:pt x="104733" y="176858"/>
                    <a:pt x="107001" y="174589"/>
                    <a:pt x="107001" y="171791"/>
                  </a:cubicBezTo>
                  <a:lnTo>
                    <a:pt x="107001" y="150458"/>
                  </a:lnTo>
                  <a:cubicBezTo>
                    <a:pt x="111161" y="149194"/>
                    <a:pt x="115185" y="147519"/>
                    <a:pt x="119014" y="145459"/>
                  </a:cubicBezTo>
                  <a:lnTo>
                    <a:pt x="134125" y="160547"/>
                  </a:lnTo>
                  <a:cubicBezTo>
                    <a:pt x="136085" y="162528"/>
                    <a:pt x="139279" y="162544"/>
                    <a:pt x="141259" y="160584"/>
                  </a:cubicBezTo>
                  <a:cubicBezTo>
                    <a:pt x="141272" y="160572"/>
                    <a:pt x="141284" y="160560"/>
                    <a:pt x="141296" y="160547"/>
                  </a:cubicBezTo>
                  <a:lnTo>
                    <a:pt x="160434" y="141409"/>
                  </a:lnTo>
                  <a:cubicBezTo>
                    <a:pt x="162392" y="139420"/>
                    <a:pt x="162392" y="136228"/>
                    <a:pt x="160434" y="134238"/>
                  </a:cubicBezTo>
                  <a:lnTo>
                    <a:pt x="145323" y="119149"/>
                  </a:lnTo>
                  <a:cubicBezTo>
                    <a:pt x="147397" y="115328"/>
                    <a:pt x="149073" y="111302"/>
                    <a:pt x="150322" y="107137"/>
                  </a:cubicBezTo>
                  <a:lnTo>
                    <a:pt x="171655" y="107137"/>
                  </a:lnTo>
                  <a:cubicBezTo>
                    <a:pt x="174453" y="107137"/>
                    <a:pt x="176722" y="104869"/>
                    <a:pt x="176722" y="102070"/>
                  </a:cubicBezTo>
                  <a:cubicBezTo>
                    <a:pt x="176722" y="102062"/>
                    <a:pt x="176722" y="102055"/>
                    <a:pt x="176722" y="102047"/>
                  </a:cubicBezTo>
                  <a:lnTo>
                    <a:pt x="176722" y="74901"/>
                  </a:lnTo>
                  <a:cubicBezTo>
                    <a:pt x="176722" y="72102"/>
                    <a:pt x="174453" y="69834"/>
                    <a:pt x="171655" y="69834"/>
                  </a:cubicBezTo>
                  <a:close/>
                  <a:moveTo>
                    <a:pt x="166520" y="96867"/>
                  </a:moveTo>
                  <a:lnTo>
                    <a:pt x="146296" y="96867"/>
                  </a:lnTo>
                  <a:cubicBezTo>
                    <a:pt x="143936" y="96871"/>
                    <a:pt x="141891" y="98503"/>
                    <a:pt x="141364" y="100803"/>
                  </a:cubicBezTo>
                  <a:cubicBezTo>
                    <a:pt x="140022" y="106600"/>
                    <a:pt x="137728" y="112134"/>
                    <a:pt x="134578" y="117181"/>
                  </a:cubicBezTo>
                  <a:cubicBezTo>
                    <a:pt x="133331" y="119184"/>
                    <a:pt x="133631" y="121782"/>
                    <a:pt x="135301" y="123448"/>
                  </a:cubicBezTo>
                  <a:lnTo>
                    <a:pt x="149576" y="137722"/>
                  </a:lnTo>
                  <a:lnTo>
                    <a:pt x="137632" y="149666"/>
                  </a:lnTo>
                  <a:lnTo>
                    <a:pt x="123357" y="135415"/>
                  </a:lnTo>
                  <a:cubicBezTo>
                    <a:pt x="121684" y="133740"/>
                    <a:pt x="119078" y="133440"/>
                    <a:pt x="117068" y="134691"/>
                  </a:cubicBezTo>
                  <a:cubicBezTo>
                    <a:pt x="112018" y="137835"/>
                    <a:pt x="106484" y="140128"/>
                    <a:pt x="100690" y="141477"/>
                  </a:cubicBezTo>
                  <a:cubicBezTo>
                    <a:pt x="98403" y="142020"/>
                    <a:pt x="96786" y="144059"/>
                    <a:pt x="96776" y="146409"/>
                  </a:cubicBezTo>
                  <a:lnTo>
                    <a:pt x="96776" y="166565"/>
                  </a:lnTo>
                  <a:lnTo>
                    <a:pt x="79878" y="166565"/>
                  </a:lnTo>
                  <a:lnTo>
                    <a:pt x="79878" y="146386"/>
                  </a:lnTo>
                  <a:cubicBezTo>
                    <a:pt x="79868" y="144036"/>
                    <a:pt x="78251" y="141998"/>
                    <a:pt x="75964" y="141455"/>
                  </a:cubicBezTo>
                  <a:cubicBezTo>
                    <a:pt x="70170" y="140105"/>
                    <a:pt x="64637" y="137812"/>
                    <a:pt x="59586" y="134668"/>
                  </a:cubicBezTo>
                  <a:cubicBezTo>
                    <a:pt x="57576" y="133418"/>
                    <a:pt x="54970" y="133718"/>
                    <a:pt x="53297" y="135392"/>
                  </a:cubicBezTo>
                  <a:lnTo>
                    <a:pt x="39023" y="149644"/>
                  </a:lnTo>
                  <a:lnTo>
                    <a:pt x="27078" y="137699"/>
                  </a:lnTo>
                  <a:lnTo>
                    <a:pt x="41353" y="123425"/>
                  </a:lnTo>
                  <a:cubicBezTo>
                    <a:pt x="43120" y="121731"/>
                    <a:pt x="43416" y="119012"/>
                    <a:pt x="42054" y="116978"/>
                  </a:cubicBezTo>
                  <a:cubicBezTo>
                    <a:pt x="38910" y="111927"/>
                    <a:pt x="36617" y="106394"/>
                    <a:pt x="35268" y="100599"/>
                  </a:cubicBezTo>
                  <a:cubicBezTo>
                    <a:pt x="34741" y="98299"/>
                    <a:pt x="32696" y="96667"/>
                    <a:pt x="30336" y="96663"/>
                  </a:cubicBezTo>
                  <a:lnTo>
                    <a:pt x="10157" y="96663"/>
                  </a:lnTo>
                  <a:lnTo>
                    <a:pt x="10157" y="79878"/>
                  </a:lnTo>
                  <a:lnTo>
                    <a:pt x="30313" y="79878"/>
                  </a:lnTo>
                  <a:cubicBezTo>
                    <a:pt x="32673" y="79874"/>
                    <a:pt x="34718" y="78242"/>
                    <a:pt x="35245" y="75942"/>
                  </a:cubicBezTo>
                  <a:cubicBezTo>
                    <a:pt x="36594" y="70147"/>
                    <a:pt x="38887" y="64614"/>
                    <a:pt x="42031" y="59563"/>
                  </a:cubicBezTo>
                  <a:cubicBezTo>
                    <a:pt x="43293" y="57568"/>
                    <a:pt x="43001" y="54965"/>
                    <a:pt x="41330" y="53297"/>
                  </a:cubicBezTo>
                  <a:lnTo>
                    <a:pt x="27078" y="39023"/>
                  </a:lnTo>
                  <a:lnTo>
                    <a:pt x="39023" y="27056"/>
                  </a:lnTo>
                  <a:lnTo>
                    <a:pt x="53297" y="41330"/>
                  </a:lnTo>
                  <a:cubicBezTo>
                    <a:pt x="54970" y="43004"/>
                    <a:pt x="57576" y="43304"/>
                    <a:pt x="59586" y="42054"/>
                  </a:cubicBezTo>
                  <a:cubicBezTo>
                    <a:pt x="64637" y="38910"/>
                    <a:pt x="70170" y="36617"/>
                    <a:pt x="75964" y="35268"/>
                  </a:cubicBezTo>
                  <a:cubicBezTo>
                    <a:pt x="78251" y="34724"/>
                    <a:pt x="79868" y="32686"/>
                    <a:pt x="79878" y="30336"/>
                  </a:cubicBezTo>
                  <a:lnTo>
                    <a:pt x="79878" y="10135"/>
                  </a:lnTo>
                  <a:lnTo>
                    <a:pt x="96799" y="10135"/>
                  </a:lnTo>
                  <a:lnTo>
                    <a:pt x="96799" y="30313"/>
                  </a:lnTo>
                  <a:cubicBezTo>
                    <a:pt x="96809" y="32664"/>
                    <a:pt x="98426" y="34702"/>
                    <a:pt x="100713" y="35245"/>
                  </a:cubicBezTo>
                  <a:cubicBezTo>
                    <a:pt x="106507" y="36594"/>
                    <a:pt x="112040" y="38887"/>
                    <a:pt x="117091" y="42031"/>
                  </a:cubicBezTo>
                  <a:cubicBezTo>
                    <a:pt x="119100" y="43282"/>
                    <a:pt x="121707" y="42982"/>
                    <a:pt x="123380" y="41308"/>
                  </a:cubicBezTo>
                  <a:lnTo>
                    <a:pt x="137654" y="27033"/>
                  </a:lnTo>
                  <a:lnTo>
                    <a:pt x="149598" y="39000"/>
                  </a:lnTo>
                  <a:lnTo>
                    <a:pt x="135324" y="53275"/>
                  </a:lnTo>
                  <a:cubicBezTo>
                    <a:pt x="133654" y="54940"/>
                    <a:pt x="133354" y="57538"/>
                    <a:pt x="134600" y="59541"/>
                  </a:cubicBezTo>
                  <a:cubicBezTo>
                    <a:pt x="137751" y="64588"/>
                    <a:pt x="140044" y="70122"/>
                    <a:pt x="141387" y="75919"/>
                  </a:cubicBezTo>
                  <a:cubicBezTo>
                    <a:pt x="141903" y="78220"/>
                    <a:pt x="143938" y="79861"/>
                    <a:pt x="146296" y="79878"/>
                  </a:cubicBezTo>
                  <a:lnTo>
                    <a:pt x="166452" y="79878"/>
                  </a:lnTo>
                  <a:close/>
                </a:path>
              </a:pathLst>
            </a:custGeom>
            <a:solidFill>
              <a:srgbClr val="BF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eform 215">
              <a:extLst>
                <a:ext uri="{FF2B5EF4-FFF2-40B4-BE49-F238E27FC236}">
                  <a16:creationId xmlns:a16="http://schemas.microsoft.com/office/drawing/2014/main" id="{0C0A2521-DD28-974B-880D-F0D5D0A700DC}"/>
                </a:ext>
              </a:extLst>
            </p:cNvPr>
            <p:cNvSpPr/>
            <p:nvPr/>
          </p:nvSpPr>
          <p:spPr>
            <a:xfrm>
              <a:off x="4182066" y="4342689"/>
              <a:ext cx="93454" cy="93457"/>
            </a:xfrm>
            <a:custGeom>
              <a:avLst/>
              <a:gdLst>
                <a:gd name="connsiteX0" fmla="*/ 92196 w 93454"/>
                <a:gd name="connsiteY0" fmla="*/ 68052 h 93457"/>
                <a:gd name="connsiteX1" fmla="*/ 67606 w 93454"/>
                <a:gd name="connsiteY1" fmla="*/ 43462 h 93457"/>
                <a:gd name="connsiteX2" fmla="*/ 79663 w 93454"/>
                <a:gd name="connsiteY2" fmla="*/ 31404 h 93457"/>
                <a:gd name="connsiteX3" fmla="*/ 79693 w 93454"/>
                <a:gd name="connsiteY3" fmla="*/ 25390 h 93457"/>
                <a:gd name="connsiteX4" fmla="*/ 78012 w 93454"/>
                <a:gd name="connsiteY4" fmla="*/ 24346 h 93457"/>
                <a:gd name="connsiteX5" fmla="*/ 5622 w 93454"/>
                <a:gd name="connsiteY5" fmla="*/ 209 h 93457"/>
                <a:gd name="connsiteX6" fmla="*/ 1256 w 93454"/>
                <a:gd name="connsiteY6" fmla="*/ 1250 h 93457"/>
                <a:gd name="connsiteX7" fmla="*/ 215 w 93454"/>
                <a:gd name="connsiteY7" fmla="*/ 5616 h 93457"/>
                <a:gd name="connsiteX8" fmla="*/ 24353 w 93454"/>
                <a:gd name="connsiteY8" fmla="*/ 78006 h 93457"/>
                <a:gd name="connsiteX9" fmla="*/ 29730 w 93454"/>
                <a:gd name="connsiteY9" fmla="*/ 80701 h 93457"/>
                <a:gd name="connsiteX10" fmla="*/ 31411 w 93454"/>
                <a:gd name="connsiteY10" fmla="*/ 79657 h 93457"/>
                <a:gd name="connsiteX11" fmla="*/ 43468 w 93454"/>
                <a:gd name="connsiteY11" fmla="*/ 67599 h 93457"/>
                <a:gd name="connsiteX12" fmla="*/ 68058 w 93454"/>
                <a:gd name="connsiteY12" fmla="*/ 92189 h 93457"/>
                <a:gd name="connsiteX13" fmla="*/ 74041 w 93454"/>
                <a:gd name="connsiteY13" fmla="*/ 92247 h 93457"/>
                <a:gd name="connsiteX14" fmla="*/ 74098 w 93454"/>
                <a:gd name="connsiteY14" fmla="*/ 92189 h 93457"/>
                <a:gd name="connsiteX15" fmla="*/ 92196 w 93454"/>
                <a:gd name="connsiteY15" fmla="*/ 74092 h 93457"/>
                <a:gd name="connsiteX16" fmla="*/ 92221 w 93454"/>
                <a:gd name="connsiteY16" fmla="*/ 68077 h 93457"/>
                <a:gd name="connsiteX17" fmla="*/ 92196 w 93454"/>
                <a:gd name="connsiteY17" fmla="*/ 68052 h 93457"/>
                <a:gd name="connsiteX18" fmla="*/ 71090 w 93454"/>
                <a:gd name="connsiteY18" fmla="*/ 83141 h 93457"/>
                <a:gd name="connsiteX19" fmla="*/ 46500 w 93454"/>
                <a:gd name="connsiteY19" fmla="*/ 58528 h 93457"/>
                <a:gd name="connsiteX20" fmla="*/ 40482 w 93454"/>
                <a:gd name="connsiteY20" fmla="*/ 58528 h 93457"/>
                <a:gd name="connsiteX21" fmla="*/ 30280 w 93454"/>
                <a:gd name="connsiteY21" fmla="*/ 68731 h 93457"/>
                <a:gd name="connsiteX22" fmla="*/ 11029 w 93454"/>
                <a:gd name="connsiteY22" fmla="*/ 11000 h 93457"/>
                <a:gd name="connsiteX23" fmla="*/ 68760 w 93454"/>
                <a:gd name="connsiteY23" fmla="*/ 30251 h 93457"/>
                <a:gd name="connsiteX24" fmla="*/ 58557 w 93454"/>
                <a:gd name="connsiteY24" fmla="*/ 40453 h 93457"/>
                <a:gd name="connsiteX25" fmla="*/ 58557 w 93454"/>
                <a:gd name="connsiteY25" fmla="*/ 46471 h 93457"/>
                <a:gd name="connsiteX26" fmla="*/ 83147 w 93454"/>
                <a:gd name="connsiteY26" fmla="*/ 71061 h 93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3454" h="93457">
                  <a:moveTo>
                    <a:pt x="92196" y="68052"/>
                  </a:moveTo>
                  <a:lnTo>
                    <a:pt x="67606" y="43462"/>
                  </a:lnTo>
                  <a:lnTo>
                    <a:pt x="79663" y="31404"/>
                  </a:lnTo>
                  <a:cubicBezTo>
                    <a:pt x="81332" y="29752"/>
                    <a:pt x="81346" y="27059"/>
                    <a:pt x="79693" y="25390"/>
                  </a:cubicBezTo>
                  <a:cubicBezTo>
                    <a:pt x="79222" y="24915"/>
                    <a:pt x="78646" y="24557"/>
                    <a:pt x="78012" y="24346"/>
                  </a:cubicBezTo>
                  <a:lnTo>
                    <a:pt x="5622" y="209"/>
                  </a:lnTo>
                  <a:cubicBezTo>
                    <a:pt x="4086" y="-287"/>
                    <a:pt x="2403" y="115"/>
                    <a:pt x="1256" y="1250"/>
                  </a:cubicBezTo>
                  <a:cubicBezTo>
                    <a:pt x="112" y="2391"/>
                    <a:pt x="-291" y="4080"/>
                    <a:pt x="215" y="5616"/>
                  </a:cubicBezTo>
                  <a:lnTo>
                    <a:pt x="24353" y="78006"/>
                  </a:lnTo>
                  <a:cubicBezTo>
                    <a:pt x="25093" y="80235"/>
                    <a:pt x="27501" y="81441"/>
                    <a:pt x="29730" y="80701"/>
                  </a:cubicBezTo>
                  <a:cubicBezTo>
                    <a:pt x="30364" y="80490"/>
                    <a:pt x="30940" y="80132"/>
                    <a:pt x="31411" y="79657"/>
                  </a:cubicBezTo>
                  <a:lnTo>
                    <a:pt x="43468" y="67599"/>
                  </a:lnTo>
                  <a:lnTo>
                    <a:pt x="68058" y="92189"/>
                  </a:lnTo>
                  <a:cubicBezTo>
                    <a:pt x="69694" y="93857"/>
                    <a:pt x="72373" y="93883"/>
                    <a:pt x="74041" y="92247"/>
                  </a:cubicBezTo>
                  <a:cubicBezTo>
                    <a:pt x="74060" y="92228"/>
                    <a:pt x="74079" y="92209"/>
                    <a:pt x="74098" y="92189"/>
                  </a:cubicBezTo>
                  <a:lnTo>
                    <a:pt x="92196" y="74092"/>
                  </a:lnTo>
                  <a:cubicBezTo>
                    <a:pt x="93864" y="72438"/>
                    <a:pt x="93875" y="69745"/>
                    <a:pt x="92221" y="68077"/>
                  </a:cubicBezTo>
                  <a:cubicBezTo>
                    <a:pt x="92213" y="68069"/>
                    <a:pt x="92204" y="68060"/>
                    <a:pt x="92196" y="68052"/>
                  </a:cubicBezTo>
                  <a:close/>
                  <a:moveTo>
                    <a:pt x="71090" y="83141"/>
                  </a:moveTo>
                  <a:lnTo>
                    <a:pt x="46500" y="58528"/>
                  </a:lnTo>
                  <a:cubicBezTo>
                    <a:pt x="44833" y="56878"/>
                    <a:pt x="42149" y="56878"/>
                    <a:pt x="40482" y="58528"/>
                  </a:cubicBezTo>
                  <a:lnTo>
                    <a:pt x="30280" y="68731"/>
                  </a:lnTo>
                  <a:lnTo>
                    <a:pt x="11029" y="11000"/>
                  </a:lnTo>
                  <a:lnTo>
                    <a:pt x="68760" y="30251"/>
                  </a:lnTo>
                  <a:lnTo>
                    <a:pt x="58557" y="40453"/>
                  </a:lnTo>
                  <a:cubicBezTo>
                    <a:pt x="56907" y="42120"/>
                    <a:pt x="56907" y="44804"/>
                    <a:pt x="58557" y="46471"/>
                  </a:cubicBezTo>
                  <a:lnTo>
                    <a:pt x="83147" y="71061"/>
                  </a:ln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reeform 216">
              <a:extLst>
                <a:ext uri="{FF2B5EF4-FFF2-40B4-BE49-F238E27FC236}">
                  <a16:creationId xmlns:a16="http://schemas.microsoft.com/office/drawing/2014/main" id="{D4417092-A45C-AA4E-A0CD-D127067E87B2}"/>
                </a:ext>
              </a:extLst>
            </p:cNvPr>
            <p:cNvSpPr/>
            <p:nvPr/>
          </p:nvSpPr>
          <p:spPr>
            <a:xfrm>
              <a:off x="3909349" y="4103491"/>
              <a:ext cx="317769" cy="287456"/>
            </a:xfrm>
            <a:custGeom>
              <a:avLst/>
              <a:gdLst>
                <a:gd name="connsiteX0" fmla="*/ 263025 w 317769"/>
                <a:gd name="connsiteY0" fmla="*/ 277322 h 287456"/>
                <a:gd name="connsiteX1" fmla="*/ 10202 w 317769"/>
                <a:gd name="connsiteY1" fmla="*/ 277322 h 287456"/>
                <a:gd name="connsiteX2" fmla="*/ 10202 w 317769"/>
                <a:gd name="connsiteY2" fmla="*/ 277322 h 287456"/>
                <a:gd name="connsiteX3" fmla="*/ 10202 w 317769"/>
                <a:gd name="connsiteY3" fmla="*/ 10202 h 287456"/>
                <a:gd name="connsiteX4" fmla="*/ 10202 w 317769"/>
                <a:gd name="connsiteY4" fmla="*/ 10202 h 287456"/>
                <a:gd name="connsiteX5" fmla="*/ 197806 w 317769"/>
                <a:gd name="connsiteY5" fmla="*/ 10202 h 287456"/>
                <a:gd name="connsiteX6" fmla="*/ 197806 w 317769"/>
                <a:gd name="connsiteY6" fmla="*/ 10202 h 287456"/>
                <a:gd name="connsiteX7" fmla="*/ 197806 w 317769"/>
                <a:gd name="connsiteY7" fmla="*/ 40538 h 287456"/>
                <a:gd name="connsiteX8" fmla="*/ 197806 w 317769"/>
                <a:gd name="connsiteY8" fmla="*/ 40538 h 287456"/>
                <a:gd name="connsiteX9" fmla="*/ 25585 w 317769"/>
                <a:gd name="connsiteY9" fmla="*/ 40538 h 287456"/>
                <a:gd name="connsiteX10" fmla="*/ 20337 w 317769"/>
                <a:gd name="connsiteY10" fmla="*/ 45063 h 287456"/>
                <a:gd name="connsiteX11" fmla="*/ 24757 w 317769"/>
                <a:gd name="connsiteY11" fmla="*/ 50704 h 287456"/>
                <a:gd name="connsiteX12" fmla="*/ 25382 w 317769"/>
                <a:gd name="connsiteY12" fmla="*/ 50741 h 287456"/>
                <a:gd name="connsiteX13" fmla="*/ 292320 w 317769"/>
                <a:gd name="connsiteY13" fmla="*/ 50741 h 287456"/>
                <a:gd name="connsiteX14" fmla="*/ 297568 w 317769"/>
                <a:gd name="connsiteY14" fmla="*/ 46216 h 287456"/>
                <a:gd name="connsiteX15" fmla="*/ 293149 w 317769"/>
                <a:gd name="connsiteY15" fmla="*/ 40575 h 287456"/>
                <a:gd name="connsiteX16" fmla="*/ 292523 w 317769"/>
                <a:gd name="connsiteY16" fmla="*/ 40538 h 287456"/>
                <a:gd name="connsiteX17" fmla="*/ 208053 w 317769"/>
                <a:gd name="connsiteY17" fmla="*/ 40538 h 287456"/>
                <a:gd name="connsiteX18" fmla="*/ 208053 w 317769"/>
                <a:gd name="connsiteY18" fmla="*/ 40538 h 287456"/>
                <a:gd name="connsiteX19" fmla="*/ 208053 w 317769"/>
                <a:gd name="connsiteY19" fmla="*/ 10202 h 287456"/>
                <a:gd name="connsiteX20" fmla="*/ 208053 w 317769"/>
                <a:gd name="connsiteY20" fmla="*/ 10202 h 287456"/>
                <a:gd name="connsiteX21" fmla="*/ 307725 w 317769"/>
                <a:gd name="connsiteY21" fmla="*/ 10202 h 287456"/>
                <a:gd name="connsiteX22" fmla="*/ 307725 w 317769"/>
                <a:gd name="connsiteY22" fmla="*/ 10202 h 287456"/>
                <a:gd name="connsiteX23" fmla="*/ 307725 w 317769"/>
                <a:gd name="connsiteY23" fmla="*/ 228843 h 287456"/>
                <a:gd name="connsiteX24" fmla="*/ 307725 w 317769"/>
                <a:gd name="connsiteY24" fmla="*/ 228843 h 287456"/>
                <a:gd name="connsiteX25" fmla="*/ 317769 w 317769"/>
                <a:gd name="connsiteY25" fmla="*/ 228843 h 287456"/>
                <a:gd name="connsiteX26" fmla="*/ 317769 w 317769"/>
                <a:gd name="connsiteY26" fmla="*/ 228843 h 287456"/>
                <a:gd name="connsiteX27" fmla="*/ 317769 w 317769"/>
                <a:gd name="connsiteY27" fmla="*/ 5113 h 287456"/>
                <a:gd name="connsiteX28" fmla="*/ 312657 w 317769"/>
                <a:gd name="connsiteY28" fmla="*/ 0 h 287456"/>
                <a:gd name="connsiteX29" fmla="*/ 5135 w 317769"/>
                <a:gd name="connsiteY29" fmla="*/ 0 h 287456"/>
                <a:gd name="connsiteX30" fmla="*/ 0 w 317769"/>
                <a:gd name="connsiteY30" fmla="*/ 5113 h 287456"/>
                <a:gd name="connsiteX31" fmla="*/ 0 w 317769"/>
                <a:gd name="connsiteY31" fmla="*/ 282344 h 287456"/>
                <a:gd name="connsiteX32" fmla="*/ 5135 w 317769"/>
                <a:gd name="connsiteY32" fmla="*/ 287456 h 287456"/>
                <a:gd name="connsiteX33" fmla="*/ 263025 w 317769"/>
                <a:gd name="connsiteY33" fmla="*/ 287456 h 287456"/>
                <a:gd name="connsiteX34" fmla="*/ 263025 w 317769"/>
                <a:gd name="connsiteY34" fmla="*/ 277367 h 287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17769" h="287456">
                  <a:moveTo>
                    <a:pt x="263025" y="277322"/>
                  </a:moveTo>
                  <a:lnTo>
                    <a:pt x="10202" y="277322"/>
                  </a:lnTo>
                  <a:lnTo>
                    <a:pt x="10202" y="277322"/>
                  </a:lnTo>
                  <a:lnTo>
                    <a:pt x="10202" y="10202"/>
                  </a:lnTo>
                  <a:lnTo>
                    <a:pt x="10202" y="10202"/>
                  </a:lnTo>
                  <a:lnTo>
                    <a:pt x="197806" y="10202"/>
                  </a:lnTo>
                  <a:lnTo>
                    <a:pt x="197806" y="10202"/>
                  </a:lnTo>
                  <a:lnTo>
                    <a:pt x="197806" y="40538"/>
                  </a:lnTo>
                  <a:lnTo>
                    <a:pt x="197806" y="40538"/>
                  </a:lnTo>
                  <a:lnTo>
                    <a:pt x="25585" y="40538"/>
                  </a:lnTo>
                  <a:cubicBezTo>
                    <a:pt x="22940" y="40493"/>
                    <a:pt x="20682" y="42440"/>
                    <a:pt x="20337" y="45063"/>
                  </a:cubicBezTo>
                  <a:cubicBezTo>
                    <a:pt x="20000" y="47841"/>
                    <a:pt x="21978" y="50367"/>
                    <a:pt x="24757" y="50704"/>
                  </a:cubicBezTo>
                  <a:cubicBezTo>
                    <a:pt x="24964" y="50729"/>
                    <a:pt x="25173" y="50741"/>
                    <a:pt x="25382" y="50741"/>
                  </a:cubicBezTo>
                  <a:lnTo>
                    <a:pt x="292320" y="50741"/>
                  </a:lnTo>
                  <a:cubicBezTo>
                    <a:pt x="294965" y="50786"/>
                    <a:pt x="297223" y="48840"/>
                    <a:pt x="297568" y="46216"/>
                  </a:cubicBezTo>
                  <a:cubicBezTo>
                    <a:pt x="297906" y="43438"/>
                    <a:pt x="295927" y="40913"/>
                    <a:pt x="293149" y="40575"/>
                  </a:cubicBezTo>
                  <a:cubicBezTo>
                    <a:pt x="292941" y="40550"/>
                    <a:pt x="292732" y="40538"/>
                    <a:pt x="292523" y="40538"/>
                  </a:cubicBezTo>
                  <a:lnTo>
                    <a:pt x="208053" y="40538"/>
                  </a:lnTo>
                  <a:lnTo>
                    <a:pt x="208053" y="40538"/>
                  </a:lnTo>
                  <a:lnTo>
                    <a:pt x="208053" y="10202"/>
                  </a:lnTo>
                  <a:lnTo>
                    <a:pt x="208053" y="10202"/>
                  </a:lnTo>
                  <a:lnTo>
                    <a:pt x="307725" y="10202"/>
                  </a:lnTo>
                  <a:lnTo>
                    <a:pt x="307725" y="10202"/>
                  </a:lnTo>
                  <a:lnTo>
                    <a:pt x="307725" y="228843"/>
                  </a:lnTo>
                  <a:lnTo>
                    <a:pt x="307725" y="228843"/>
                  </a:lnTo>
                  <a:lnTo>
                    <a:pt x="317769" y="228843"/>
                  </a:lnTo>
                  <a:lnTo>
                    <a:pt x="317769" y="228843"/>
                  </a:lnTo>
                  <a:lnTo>
                    <a:pt x="317769" y="5113"/>
                  </a:lnTo>
                  <a:cubicBezTo>
                    <a:pt x="317769" y="2289"/>
                    <a:pt x="315481" y="0"/>
                    <a:pt x="312657" y="0"/>
                  </a:cubicBezTo>
                  <a:lnTo>
                    <a:pt x="5135" y="0"/>
                  </a:lnTo>
                  <a:cubicBezTo>
                    <a:pt x="2308" y="0"/>
                    <a:pt x="12" y="2285"/>
                    <a:pt x="0" y="5113"/>
                  </a:cubicBezTo>
                  <a:lnTo>
                    <a:pt x="0" y="282344"/>
                  </a:lnTo>
                  <a:cubicBezTo>
                    <a:pt x="12" y="285171"/>
                    <a:pt x="2308" y="287456"/>
                    <a:pt x="5135" y="287456"/>
                  </a:cubicBezTo>
                  <a:lnTo>
                    <a:pt x="263025" y="287456"/>
                  </a:lnTo>
                  <a:lnTo>
                    <a:pt x="263025" y="277367"/>
                  </a:ln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8" name="Graphic 272">
            <a:extLst>
              <a:ext uri="{FF2B5EF4-FFF2-40B4-BE49-F238E27FC236}">
                <a16:creationId xmlns:a16="http://schemas.microsoft.com/office/drawing/2014/main" id="{1B3DCEB9-82D7-5045-BD90-53A8439ED705}"/>
              </a:ext>
            </a:extLst>
          </p:cNvPr>
          <p:cNvGrpSpPr/>
          <p:nvPr userDrawn="1"/>
        </p:nvGrpSpPr>
        <p:grpSpPr>
          <a:xfrm>
            <a:off x="4672013" y="4062413"/>
            <a:ext cx="292100" cy="292100"/>
            <a:chOff x="4697413" y="4071938"/>
            <a:chExt cx="292100" cy="292100"/>
          </a:xfrm>
        </p:grpSpPr>
        <p:sp>
          <p:nvSpPr>
            <p:cNvPr id="219" name="Freeform 218">
              <a:extLst>
                <a:ext uri="{FF2B5EF4-FFF2-40B4-BE49-F238E27FC236}">
                  <a16:creationId xmlns:a16="http://schemas.microsoft.com/office/drawing/2014/main" id="{3CDA83D0-3832-8241-92E8-2383D30DEF38}"/>
                </a:ext>
              </a:extLst>
            </p:cNvPr>
            <p:cNvSpPr/>
            <p:nvPr/>
          </p:nvSpPr>
          <p:spPr>
            <a:xfrm>
              <a:off x="4699003" y="4074321"/>
              <a:ext cx="292470" cy="292474"/>
            </a:xfrm>
            <a:custGeom>
              <a:avLst/>
              <a:gdLst>
                <a:gd name="connsiteX0" fmla="*/ 284814 w 292470"/>
                <a:gd name="connsiteY0" fmla="*/ 225637 h 292474"/>
                <a:gd name="connsiteX1" fmla="*/ 225609 w 292470"/>
                <a:gd name="connsiteY1" fmla="*/ 186149 h 292474"/>
                <a:gd name="connsiteX2" fmla="*/ 202478 w 292470"/>
                <a:gd name="connsiteY2" fmla="*/ 189910 h 292474"/>
                <a:gd name="connsiteX3" fmla="*/ 185226 w 292470"/>
                <a:gd name="connsiteY3" fmla="*/ 212091 h 292474"/>
                <a:gd name="connsiteX4" fmla="*/ 175788 w 292470"/>
                <a:gd name="connsiteY4" fmla="*/ 214081 h 292474"/>
                <a:gd name="connsiteX5" fmla="*/ 172502 w 292470"/>
                <a:gd name="connsiteY5" fmla="*/ 212255 h 292474"/>
                <a:gd name="connsiteX6" fmla="*/ 120836 w 292470"/>
                <a:gd name="connsiteY6" fmla="*/ 171672 h 292474"/>
                <a:gd name="connsiteX7" fmla="*/ 80253 w 292470"/>
                <a:gd name="connsiteY7" fmla="*/ 120006 h 292474"/>
                <a:gd name="connsiteX8" fmla="*/ 78427 w 292470"/>
                <a:gd name="connsiteY8" fmla="*/ 116720 h 292474"/>
                <a:gd name="connsiteX9" fmla="*/ 80362 w 292470"/>
                <a:gd name="connsiteY9" fmla="*/ 107245 h 292474"/>
                <a:gd name="connsiteX10" fmla="*/ 102525 w 292470"/>
                <a:gd name="connsiteY10" fmla="*/ 89993 h 292474"/>
                <a:gd name="connsiteX11" fmla="*/ 106286 w 292470"/>
                <a:gd name="connsiteY11" fmla="*/ 66863 h 292474"/>
                <a:gd name="connsiteX12" fmla="*/ 66853 w 292470"/>
                <a:gd name="connsiteY12" fmla="*/ 7676 h 292474"/>
                <a:gd name="connsiteX13" fmla="*/ 43667 w 292470"/>
                <a:gd name="connsiteY13" fmla="*/ 2454 h 292474"/>
                <a:gd name="connsiteX14" fmla="*/ 18912 w 292470"/>
                <a:gd name="connsiteY14" fmla="*/ 17333 h 292474"/>
                <a:gd name="connsiteX15" fmla="*/ 2992 w 292470"/>
                <a:gd name="connsiteY15" fmla="*/ 37999 h 292474"/>
                <a:gd name="connsiteX16" fmla="*/ 83320 w 292470"/>
                <a:gd name="connsiteY16" fmla="*/ 209133 h 292474"/>
                <a:gd name="connsiteX17" fmla="*/ 231524 w 292470"/>
                <a:gd name="connsiteY17" fmla="*/ 292473 h 292474"/>
                <a:gd name="connsiteX18" fmla="*/ 254436 w 292470"/>
                <a:gd name="connsiteY18" fmla="*/ 289479 h 292474"/>
                <a:gd name="connsiteX19" fmla="*/ 275102 w 292470"/>
                <a:gd name="connsiteY19" fmla="*/ 273560 h 292474"/>
                <a:gd name="connsiteX20" fmla="*/ 289999 w 292470"/>
                <a:gd name="connsiteY20" fmla="*/ 248823 h 292474"/>
                <a:gd name="connsiteX21" fmla="*/ 284814 w 292470"/>
                <a:gd name="connsiteY21" fmla="*/ 225637 h 292474"/>
                <a:gd name="connsiteX22" fmla="*/ 281637 w 292470"/>
                <a:gd name="connsiteY22" fmla="*/ 243893 h 292474"/>
                <a:gd name="connsiteX23" fmla="*/ 266777 w 292470"/>
                <a:gd name="connsiteY23" fmla="*/ 268576 h 292474"/>
                <a:gd name="connsiteX24" fmla="*/ 251916 w 292470"/>
                <a:gd name="connsiteY24" fmla="*/ 280096 h 292474"/>
                <a:gd name="connsiteX25" fmla="*/ 90257 w 292470"/>
                <a:gd name="connsiteY25" fmla="*/ 202233 h 292474"/>
                <a:gd name="connsiteX26" fmla="*/ 12394 w 292470"/>
                <a:gd name="connsiteY26" fmla="*/ 40574 h 292474"/>
                <a:gd name="connsiteX27" fmla="*/ 23969 w 292470"/>
                <a:gd name="connsiteY27" fmla="*/ 25695 h 292474"/>
                <a:gd name="connsiteX28" fmla="*/ 48688 w 292470"/>
                <a:gd name="connsiteY28" fmla="*/ 10834 h 292474"/>
                <a:gd name="connsiteX29" fmla="*/ 58747 w 292470"/>
                <a:gd name="connsiteY29" fmla="*/ 13098 h 292474"/>
                <a:gd name="connsiteX30" fmla="*/ 80198 w 292470"/>
                <a:gd name="connsiteY30" fmla="*/ 45302 h 292474"/>
                <a:gd name="connsiteX31" fmla="*/ 98199 w 292470"/>
                <a:gd name="connsiteY31" fmla="*/ 72303 h 292474"/>
                <a:gd name="connsiteX32" fmla="*/ 96556 w 292470"/>
                <a:gd name="connsiteY32" fmla="*/ 82344 h 292474"/>
                <a:gd name="connsiteX33" fmla="*/ 74392 w 292470"/>
                <a:gd name="connsiteY33" fmla="*/ 99578 h 292474"/>
                <a:gd name="connsiteX34" fmla="*/ 69883 w 292470"/>
                <a:gd name="connsiteY34" fmla="*/ 121485 h 292474"/>
                <a:gd name="connsiteX35" fmla="*/ 71709 w 292470"/>
                <a:gd name="connsiteY35" fmla="*/ 124680 h 292474"/>
                <a:gd name="connsiteX36" fmla="*/ 113899 w 292470"/>
                <a:gd name="connsiteY36" fmla="*/ 178573 h 292474"/>
                <a:gd name="connsiteX37" fmla="*/ 167791 w 292470"/>
                <a:gd name="connsiteY37" fmla="*/ 220817 h 292474"/>
                <a:gd name="connsiteX38" fmla="*/ 171005 w 292470"/>
                <a:gd name="connsiteY38" fmla="*/ 222643 h 292474"/>
                <a:gd name="connsiteX39" fmla="*/ 192912 w 292470"/>
                <a:gd name="connsiteY39" fmla="*/ 218134 h 292474"/>
                <a:gd name="connsiteX40" fmla="*/ 210146 w 292470"/>
                <a:gd name="connsiteY40" fmla="*/ 195971 h 292474"/>
                <a:gd name="connsiteX41" fmla="*/ 220187 w 292470"/>
                <a:gd name="connsiteY41" fmla="*/ 194328 h 292474"/>
                <a:gd name="connsiteX42" fmla="*/ 279392 w 292470"/>
                <a:gd name="connsiteY42" fmla="*/ 233816 h 292474"/>
                <a:gd name="connsiteX43" fmla="*/ 281637 w 292470"/>
                <a:gd name="connsiteY43" fmla="*/ 243820 h 292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92470" h="292474">
                  <a:moveTo>
                    <a:pt x="284814" y="225637"/>
                  </a:moveTo>
                  <a:lnTo>
                    <a:pt x="225609" y="186149"/>
                  </a:lnTo>
                  <a:cubicBezTo>
                    <a:pt x="218096" y="181189"/>
                    <a:pt x="208033" y="182825"/>
                    <a:pt x="202478" y="189910"/>
                  </a:cubicBezTo>
                  <a:lnTo>
                    <a:pt x="185226" y="212091"/>
                  </a:lnTo>
                  <a:cubicBezTo>
                    <a:pt x="183028" y="215034"/>
                    <a:pt x="178987" y="215886"/>
                    <a:pt x="175788" y="214081"/>
                  </a:cubicBezTo>
                  <a:lnTo>
                    <a:pt x="172502" y="212255"/>
                  </a:lnTo>
                  <a:cubicBezTo>
                    <a:pt x="153142" y="201696"/>
                    <a:pt x="135680" y="187980"/>
                    <a:pt x="120836" y="171672"/>
                  </a:cubicBezTo>
                  <a:cubicBezTo>
                    <a:pt x="104547" y="156810"/>
                    <a:pt x="90833" y="139352"/>
                    <a:pt x="80253" y="120006"/>
                  </a:cubicBezTo>
                  <a:lnTo>
                    <a:pt x="78427" y="116720"/>
                  </a:lnTo>
                  <a:cubicBezTo>
                    <a:pt x="76589" y="113526"/>
                    <a:pt x="77419" y="109463"/>
                    <a:pt x="80362" y="107245"/>
                  </a:cubicBezTo>
                  <a:lnTo>
                    <a:pt x="102525" y="89993"/>
                  </a:lnTo>
                  <a:cubicBezTo>
                    <a:pt x="109610" y="84438"/>
                    <a:pt x="111246" y="74376"/>
                    <a:pt x="106286" y="66863"/>
                  </a:cubicBezTo>
                  <a:lnTo>
                    <a:pt x="66853" y="7676"/>
                  </a:lnTo>
                  <a:cubicBezTo>
                    <a:pt x="61758" y="24"/>
                    <a:pt x="51550" y="-2274"/>
                    <a:pt x="43667" y="2454"/>
                  </a:cubicBezTo>
                  <a:lnTo>
                    <a:pt x="18912" y="17333"/>
                  </a:lnTo>
                  <a:cubicBezTo>
                    <a:pt x="11134" y="21906"/>
                    <a:pt x="5429" y="29312"/>
                    <a:pt x="2992" y="37999"/>
                  </a:cubicBezTo>
                  <a:cubicBezTo>
                    <a:pt x="-5917" y="70477"/>
                    <a:pt x="783" y="126542"/>
                    <a:pt x="83320" y="209133"/>
                  </a:cubicBezTo>
                  <a:cubicBezTo>
                    <a:pt x="149042" y="274856"/>
                    <a:pt x="197914" y="292473"/>
                    <a:pt x="231524" y="292473"/>
                  </a:cubicBezTo>
                  <a:cubicBezTo>
                    <a:pt x="239261" y="292511"/>
                    <a:pt x="246968" y="291504"/>
                    <a:pt x="254436" y="289479"/>
                  </a:cubicBezTo>
                  <a:cubicBezTo>
                    <a:pt x="263125" y="287048"/>
                    <a:pt x="270534" y="281342"/>
                    <a:pt x="275102" y="273560"/>
                  </a:cubicBezTo>
                  <a:lnTo>
                    <a:pt x="289999" y="248823"/>
                  </a:lnTo>
                  <a:cubicBezTo>
                    <a:pt x="294745" y="240950"/>
                    <a:pt x="292461" y="230738"/>
                    <a:pt x="284814" y="225637"/>
                  </a:cubicBezTo>
                  <a:close/>
                  <a:moveTo>
                    <a:pt x="281637" y="243893"/>
                  </a:moveTo>
                  <a:lnTo>
                    <a:pt x="266777" y="268576"/>
                  </a:lnTo>
                  <a:cubicBezTo>
                    <a:pt x="263496" y="274190"/>
                    <a:pt x="258171" y="278317"/>
                    <a:pt x="251916" y="280096"/>
                  </a:cubicBezTo>
                  <a:cubicBezTo>
                    <a:pt x="221921" y="288329"/>
                    <a:pt x="169544" y="281501"/>
                    <a:pt x="90257" y="202233"/>
                  </a:cubicBezTo>
                  <a:cubicBezTo>
                    <a:pt x="10970" y="122964"/>
                    <a:pt x="4161" y="70642"/>
                    <a:pt x="12394" y="40574"/>
                  </a:cubicBezTo>
                  <a:cubicBezTo>
                    <a:pt x="14189" y="34306"/>
                    <a:pt x="18336" y="28975"/>
                    <a:pt x="23969" y="25695"/>
                  </a:cubicBezTo>
                  <a:lnTo>
                    <a:pt x="48688" y="10834"/>
                  </a:lnTo>
                  <a:cubicBezTo>
                    <a:pt x="52107" y="8781"/>
                    <a:pt x="56537" y="9778"/>
                    <a:pt x="58747" y="13098"/>
                  </a:cubicBezTo>
                  <a:lnTo>
                    <a:pt x="80198" y="45302"/>
                  </a:lnTo>
                  <a:lnTo>
                    <a:pt x="98199" y="72303"/>
                  </a:lnTo>
                  <a:cubicBezTo>
                    <a:pt x="100350" y="75567"/>
                    <a:pt x="99635" y="79936"/>
                    <a:pt x="96556" y="82344"/>
                  </a:cubicBezTo>
                  <a:lnTo>
                    <a:pt x="74392" y="99578"/>
                  </a:lnTo>
                  <a:cubicBezTo>
                    <a:pt x="67641" y="104737"/>
                    <a:pt x="65718" y="114079"/>
                    <a:pt x="69883" y="121485"/>
                  </a:cubicBezTo>
                  <a:lnTo>
                    <a:pt x="71709" y="124680"/>
                  </a:lnTo>
                  <a:cubicBezTo>
                    <a:pt x="82684" y="144861"/>
                    <a:pt x="96942" y="163074"/>
                    <a:pt x="113899" y="178573"/>
                  </a:cubicBezTo>
                  <a:cubicBezTo>
                    <a:pt x="129389" y="195553"/>
                    <a:pt x="147603" y="209831"/>
                    <a:pt x="167791" y="220817"/>
                  </a:cubicBezTo>
                  <a:lnTo>
                    <a:pt x="171005" y="222643"/>
                  </a:lnTo>
                  <a:cubicBezTo>
                    <a:pt x="178412" y="226800"/>
                    <a:pt x="187749" y="224878"/>
                    <a:pt x="192912" y="218134"/>
                  </a:cubicBezTo>
                  <a:lnTo>
                    <a:pt x="210146" y="195971"/>
                  </a:lnTo>
                  <a:cubicBezTo>
                    <a:pt x="212554" y="192891"/>
                    <a:pt x="216923" y="192176"/>
                    <a:pt x="220187" y="194328"/>
                  </a:cubicBezTo>
                  <a:lnTo>
                    <a:pt x="279392" y="233816"/>
                  </a:lnTo>
                  <a:cubicBezTo>
                    <a:pt x="282674" y="236029"/>
                    <a:pt x="283659" y="240417"/>
                    <a:pt x="281637" y="243820"/>
                  </a:cubicBezTo>
                  <a:close/>
                </a:path>
              </a:pathLst>
            </a:custGeom>
            <a:solidFill>
              <a:srgbClr val="1F6898"/>
            </a:solidFill>
            <a:ln w="1785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eform 219">
              <a:extLst>
                <a:ext uri="{FF2B5EF4-FFF2-40B4-BE49-F238E27FC236}">
                  <a16:creationId xmlns:a16="http://schemas.microsoft.com/office/drawing/2014/main" id="{7E1D7A7C-A1CA-994B-9822-489029642875}"/>
                </a:ext>
              </a:extLst>
            </p:cNvPr>
            <p:cNvSpPr/>
            <p:nvPr/>
          </p:nvSpPr>
          <p:spPr>
            <a:xfrm>
              <a:off x="4859857" y="4113343"/>
              <a:ext cx="97415" cy="97488"/>
            </a:xfrm>
            <a:custGeom>
              <a:avLst/>
              <a:gdLst>
                <a:gd name="connsiteX0" fmla="*/ 4874 w 97415"/>
                <a:gd name="connsiteY0" fmla="*/ 9712 h 97488"/>
                <a:gd name="connsiteX1" fmla="*/ 87667 w 97415"/>
                <a:gd name="connsiteY1" fmla="*/ 92614 h 97488"/>
                <a:gd name="connsiteX2" fmla="*/ 92541 w 97415"/>
                <a:gd name="connsiteY2" fmla="*/ 97488 h 97488"/>
                <a:gd name="connsiteX3" fmla="*/ 97415 w 97415"/>
                <a:gd name="connsiteY3" fmla="*/ 92614 h 97488"/>
                <a:gd name="connsiteX4" fmla="*/ 4874 w 97415"/>
                <a:gd name="connsiteY4" fmla="*/ 0 h 97488"/>
                <a:gd name="connsiteX5" fmla="*/ 0 w 97415"/>
                <a:gd name="connsiteY5" fmla="*/ 4874 h 97488"/>
                <a:gd name="connsiteX6" fmla="*/ 4874 w 97415"/>
                <a:gd name="connsiteY6" fmla="*/ 9749 h 97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415" h="97488">
                  <a:moveTo>
                    <a:pt x="4874" y="9712"/>
                  </a:moveTo>
                  <a:cubicBezTo>
                    <a:pt x="50609" y="9793"/>
                    <a:pt x="87646" y="46880"/>
                    <a:pt x="87667" y="92614"/>
                  </a:cubicBezTo>
                  <a:cubicBezTo>
                    <a:pt x="87667" y="95306"/>
                    <a:pt x="89849" y="97488"/>
                    <a:pt x="92541" y="97488"/>
                  </a:cubicBezTo>
                  <a:cubicBezTo>
                    <a:pt x="95233" y="97488"/>
                    <a:pt x="97415" y="95306"/>
                    <a:pt x="97415" y="92614"/>
                  </a:cubicBezTo>
                  <a:cubicBezTo>
                    <a:pt x="97365" y="41514"/>
                    <a:pt x="55974" y="91"/>
                    <a:pt x="4874" y="0"/>
                  </a:cubicBezTo>
                  <a:cubicBezTo>
                    <a:pt x="2182" y="0"/>
                    <a:pt x="0" y="2182"/>
                    <a:pt x="0" y="4874"/>
                  </a:cubicBezTo>
                  <a:cubicBezTo>
                    <a:pt x="0" y="7566"/>
                    <a:pt x="2182" y="9749"/>
                    <a:pt x="4874" y="9749"/>
                  </a:cubicBezTo>
                  <a:close/>
                </a:path>
              </a:pathLst>
            </a:custGeom>
            <a:solidFill>
              <a:srgbClr val="BD5C7A"/>
            </a:solidFill>
            <a:ln w="1785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reeform 220">
              <a:extLst>
                <a:ext uri="{FF2B5EF4-FFF2-40B4-BE49-F238E27FC236}">
                  <a16:creationId xmlns:a16="http://schemas.microsoft.com/office/drawing/2014/main" id="{3CCA18F0-A741-6842-9C22-8B53F3E72BF3}"/>
                </a:ext>
              </a:extLst>
            </p:cNvPr>
            <p:cNvSpPr/>
            <p:nvPr/>
          </p:nvSpPr>
          <p:spPr>
            <a:xfrm>
              <a:off x="4859857" y="4142589"/>
              <a:ext cx="68205" cy="68241"/>
            </a:xfrm>
            <a:custGeom>
              <a:avLst/>
              <a:gdLst>
                <a:gd name="connsiteX0" fmla="*/ 4874 w 68205"/>
                <a:gd name="connsiteY0" fmla="*/ 9676 h 68241"/>
                <a:gd name="connsiteX1" fmla="*/ 58457 w 68205"/>
                <a:gd name="connsiteY1" fmla="*/ 63367 h 68241"/>
                <a:gd name="connsiteX2" fmla="*/ 63331 w 68205"/>
                <a:gd name="connsiteY2" fmla="*/ 68242 h 68241"/>
                <a:gd name="connsiteX3" fmla="*/ 68205 w 68205"/>
                <a:gd name="connsiteY3" fmla="*/ 63367 h 68241"/>
                <a:gd name="connsiteX4" fmla="*/ 4874 w 68205"/>
                <a:gd name="connsiteY4" fmla="*/ 0 h 68241"/>
                <a:gd name="connsiteX5" fmla="*/ 0 w 68205"/>
                <a:gd name="connsiteY5" fmla="*/ 4874 h 68241"/>
                <a:gd name="connsiteX6" fmla="*/ 4874 w 68205"/>
                <a:gd name="connsiteY6" fmla="*/ 9749 h 68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205" h="68241">
                  <a:moveTo>
                    <a:pt x="4874" y="9676"/>
                  </a:moveTo>
                  <a:cubicBezTo>
                    <a:pt x="34489" y="9726"/>
                    <a:pt x="58467" y="33753"/>
                    <a:pt x="58457" y="63367"/>
                  </a:cubicBezTo>
                  <a:cubicBezTo>
                    <a:pt x="58457" y="66060"/>
                    <a:pt x="60639" y="68242"/>
                    <a:pt x="63331" y="68242"/>
                  </a:cubicBezTo>
                  <a:cubicBezTo>
                    <a:pt x="66023" y="68242"/>
                    <a:pt x="68205" y="66060"/>
                    <a:pt x="68205" y="63367"/>
                  </a:cubicBezTo>
                  <a:cubicBezTo>
                    <a:pt x="68165" y="28401"/>
                    <a:pt x="39840" y="60"/>
                    <a:pt x="4874" y="0"/>
                  </a:cubicBezTo>
                  <a:cubicBezTo>
                    <a:pt x="2182" y="0"/>
                    <a:pt x="0" y="2182"/>
                    <a:pt x="0" y="4874"/>
                  </a:cubicBezTo>
                  <a:cubicBezTo>
                    <a:pt x="0" y="7566"/>
                    <a:pt x="2182" y="9749"/>
                    <a:pt x="4874" y="9749"/>
                  </a:cubicBezTo>
                  <a:close/>
                </a:path>
              </a:pathLst>
            </a:custGeom>
            <a:solidFill>
              <a:srgbClr val="BD5C7A"/>
            </a:solidFill>
            <a:ln w="1785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eform 221">
              <a:extLst>
                <a:ext uri="{FF2B5EF4-FFF2-40B4-BE49-F238E27FC236}">
                  <a16:creationId xmlns:a16="http://schemas.microsoft.com/office/drawing/2014/main" id="{6EED970E-2994-D740-9D86-3AE6C2780DEA}"/>
                </a:ext>
              </a:extLst>
            </p:cNvPr>
            <p:cNvSpPr/>
            <p:nvPr/>
          </p:nvSpPr>
          <p:spPr>
            <a:xfrm>
              <a:off x="4859857" y="4171836"/>
              <a:ext cx="38995" cy="38995"/>
            </a:xfrm>
            <a:custGeom>
              <a:avLst/>
              <a:gdLst>
                <a:gd name="connsiteX0" fmla="*/ 4874 w 38995"/>
                <a:gd name="connsiteY0" fmla="*/ 9749 h 38995"/>
                <a:gd name="connsiteX1" fmla="*/ 29247 w 38995"/>
                <a:gd name="connsiteY1" fmla="*/ 34121 h 38995"/>
                <a:gd name="connsiteX2" fmla="*/ 34121 w 38995"/>
                <a:gd name="connsiteY2" fmla="*/ 38995 h 38995"/>
                <a:gd name="connsiteX3" fmla="*/ 38995 w 38995"/>
                <a:gd name="connsiteY3" fmla="*/ 34121 h 38995"/>
                <a:gd name="connsiteX4" fmla="*/ 4874 w 38995"/>
                <a:gd name="connsiteY4" fmla="*/ 0 h 38995"/>
                <a:gd name="connsiteX5" fmla="*/ 0 w 38995"/>
                <a:gd name="connsiteY5" fmla="*/ 4874 h 38995"/>
                <a:gd name="connsiteX6" fmla="*/ 4874 w 38995"/>
                <a:gd name="connsiteY6" fmla="*/ 9749 h 38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95" h="38995">
                  <a:moveTo>
                    <a:pt x="4874" y="9749"/>
                  </a:moveTo>
                  <a:cubicBezTo>
                    <a:pt x="18335" y="9749"/>
                    <a:pt x="29247" y="20661"/>
                    <a:pt x="29247" y="34121"/>
                  </a:cubicBezTo>
                  <a:cubicBezTo>
                    <a:pt x="29247" y="36813"/>
                    <a:pt x="31429" y="38995"/>
                    <a:pt x="34121" y="38995"/>
                  </a:cubicBezTo>
                  <a:cubicBezTo>
                    <a:pt x="36813" y="38995"/>
                    <a:pt x="38995" y="36813"/>
                    <a:pt x="38995" y="34121"/>
                  </a:cubicBezTo>
                  <a:cubicBezTo>
                    <a:pt x="38975" y="15285"/>
                    <a:pt x="23711" y="20"/>
                    <a:pt x="4874" y="0"/>
                  </a:cubicBezTo>
                  <a:cubicBezTo>
                    <a:pt x="2182" y="0"/>
                    <a:pt x="0" y="2182"/>
                    <a:pt x="0" y="4874"/>
                  </a:cubicBezTo>
                  <a:cubicBezTo>
                    <a:pt x="0" y="7566"/>
                    <a:pt x="2182" y="9749"/>
                    <a:pt x="4874" y="9749"/>
                  </a:cubicBezTo>
                  <a:close/>
                </a:path>
              </a:pathLst>
            </a:custGeom>
            <a:solidFill>
              <a:srgbClr val="BD5C7A"/>
            </a:solidFill>
            <a:ln w="1785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3" name="Graphic 279">
            <a:extLst>
              <a:ext uri="{FF2B5EF4-FFF2-40B4-BE49-F238E27FC236}">
                <a16:creationId xmlns:a16="http://schemas.microsoft.com/office/drawing/2014/main" id="{2C79F67F-BECA-2F4C-9F19-B1FAD4F8580C}"/>
              </a:ext>
            </a:extLst>
          </p:cNvPr>
          <p:cNvGrpSpPr/>
          <p:nvPr userDrawn="1"/>
        </p:nvGrpSpPr>
        <p:grpSpPr>
          <a:xfrm>
            <a:off x="5500687" y="4025899"/>
            <a:ext cx="360363" cy="360363"/>
            <a:chOff x="5500687" y="4025899"/>
            <a:chExt cx="360363" cy="360363"/>
          </a:xfrm>
        </p:grpSpPr>
        <p:sp>
          <p:nvSpPr>
            <p:cNvPr id="224" name="Freeform 223">
              <a:extLst>
                <a:ext uri="{FF2B5EF4-FFF2-40B4-BE49-F238E27FC236}">
                  <a16:creationId xmlns:a16="http://schemas.microsoft.com/office/drawing/2014/main" id="{1AAB4AC4-B75F-E94B-87A5-152E41014D02}"/>
                </a:ext>
              </a:extLst>
            </p:cNvPr>
            <p:cNvSpPr/>
            <p:nvPr/>
          </p:nvSpPr>
          <p:spPr>
            <a:xfrm>
              <a:off x="5575536" y="4079048"/>
              <a:ext cx="268037" cy="195681"/>
            </a:xfrm>
            <a:custGeom>
              <a:avLst/>
              <a:gdLst>
                <a:gd name="connsiteX0" fmla="*/ 80557 w 268037"/>
                <a:gd name="connsiteY0" fmla="*/ 195682 h 195681"/>
                <a:gd name="connsiteX1" fmla="*/ 80129 w 268037"/>
                <a:gd name="connsiteY1" fmla="*/ 195682 h 195681"/>
                <a:gd name="connsiteX2" fmla="*/ 70197 w 268037"/>
                <a:gd name="connsiteY2" fmla="*/ 191177 h 195681"/>
                <a:gd name="connsiteX3" fmla="*/ 3552 w 268037"/>
                <a:gd name="connsiteY3" fmla="*/ 118812 h 195681"/>
                <a:gd name="connsiteX4" fmla="*/ 4729 w 268037"/>
                <a:gd name="connsiteY4" fmla="*/ 98939 h 195681"/>
                <a:gd name="connsiteX5" fmla="*/ 24250 w 268037"/>
                <a:gd name="connsiteY5" fmla="*/ 99735 h 195681"/>
                <a:gd name="connsiteX6" fmla="*/ 81053 w 268037"/>
                <a:gd name="connsiteY6" fmla="*/ 161470 h 195681"/>
                <a:gd name="connsiteX7" fmla="*/ 244545 w 268037"/>
                <a:gd name="connsiteY7" fmla="*/ 3585 h 195681"/>
                <a:gd name="connsiteX8" fmla="*/ 264453 w 268037"/>
                <a:gd name="connsiteY8" fmla="*/ 4705 h 195681"/>
                <a:gd name="connsiteX9" fmla="*/ 264117 w 268037"/>
                <a:gd name="connsiteY9" fmla="*/ 23856 h 195681"/>
                <a:gd name="connsiteX10" fmla="*/ 90242 w 268037"/>
                <a:gd name="connsiteY10" fmla="*/ 191718 h 195681"/>
                <a:gd name="connsiteX11" fmla="*/ 80557 w 268037"/>
                <a:gd name="connsiteY11" fmla="*/ 195681 h 19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8037" h="195681">
                  <a:moveTo>
                    <a:pt x="80557" y="195682"/>
                  </a:moveTo>
                  <a:lnTo>
                    <a:pt x="80129" y="195682"/>
                  </a:lnTo>
                  <a:cubicBezTo>
                    <a:pt x="76349" y="195568"/>
                    <a:pt x="72772" y="193946"/>
                    <a:pt x="70197" y="191177"/>
                  </a:cubicBezTo>
                  <a:lnTo>
                    <a:pt x="3552" y="118812"/>
                  </a:lnTo>
                  <a:cubicBezTo>
                    <a:pt x="-1611" y="112999"/>
                    <a:pt x="-1084" y="104102"/>
                    <a:pt x="4729" y="98939"/>
                  </a:cubicBezTo>
                  <a:cubicBezTo>
                    <a:pt x="10391" y="93910"/>
                    <a:pt x="19017" y="94262"/>
                    <a:pt x="24250" y="99735"/>
                  </a:cubicBezTo>
                  <a:lnTo>
                    <a:pt x="81053" y="161470"/>
                  </a:lnTo>
                  <a:lnTo>
                    <a:pt x="244545" y="3585"/>
                  </a:lnTo>
                  <a:cubicBezTo>
                    <a:pt x="250351" y="-1603"/>
                    <a:pt x="259264" y="-1101"/>
                    <a:pt x="264453" y="4705"/>
                  </a:cubicBezTo>
                  <a:cubicBezTo>
                    <a:pt x="269359" y="10197"/>
                    <a:pt x="269213" y="18540"/>
                    <a:pt x="264117" y="23856"/>
                  </a:cubicBezTo>
                  <a:lnTo>
                    <a:pt x="90242" y="191718"/>
                  </a:lnTo>
                  <a:cubicBezTo>
                    <a:pt x="87647" y="194240"/>
                    <a:pt x="84176" y="195661"/>
                    <a:pt x="80557" y="195681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eform 224">
              <a:extLst>
                <a:ext uri="{FF2B5EF4-FFF2-40B4-BE49-F238E27FC236}">
                  <a16:creationId xmlns:a16="http://schemas.microsoft.com/office/drawing/2014/main" id="{035E595D-7686-8947-9696-D1FE5950455F}"/>
                </a:ext>
              </a:extLst>
            </p:cNvPr>
            <p:cNvSpPr/>
            <p:nvPr/>
          </p:nvSpPr>
          <p:spPr>
            <a:xfrm>
              <a:off x="5526011" y="4056858"/>
              <a:ext cx="297364" cy="297333"/>
            </a:xfrm>
            <a:custGeom>
              <a:avLst/>
              <a:gdLst>
                <a:gd name="connsiteX0" fmla="*/ 293574 w 297364"/>
                <a:gd name="connsiteY0" fmla="*/ 115438 h 297333"/>
                <a:gd name="connsiteX1" fmla="*/ 181895 w 297364"/>
                <a:gd name="connsiteY1" fmla="*/ 293543 h 297333"/>
                <a:gd name="connsiteX2" fmla="*/ 3791 w 297364"/>
                <a:gd name="connsiteY2" fmla="*/ 181863 h 297333"/>
                <a:gd name="connsiteX3" fmla="*/ 115470 w 297364"/>
                <a:gd name="connsiteY3" fmla="*/ 3759 h 297333"/>
                <a:gd name="connsiteX4" fmla="*/ 238033 w 297364"/>
                <a:gd name="connsiteY4" fmla="*/ 29852 h 29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364" h="297333">
                  <a:moveTo>
                    <a:pt x="293574" y="115438"/>
                  </a:moveTo>
                  <a:cubicBezTo>
                    <a:pt x="311917" y="195460"/>
                    <a:pt x="261917" y="275200"/>
                    <a:pt x="181895" y="293543"/>
                  </a:cubicBezTo>
                  <a:cubicBezTo>
                    <a:pt x="101873" y="311886"/>
                    <a:pt x="22133" y="261885"/>
                    <a:pt x="3791" y="181863"/>
                  </a:cubicBezTo>
                  <a:cubicBezTo>
                    <a:pt x="-14552" y="101842"/>
                    <a:pt x="35448" y="22102"/>
                    <a:pt x="115470" y="3759"/>
                  </a:cubicBezTo>
                  <a:cubicBezTo>
                    <a:pt x="158173" y="-6030"/>
                    <a:pt x="203020" y="3518"/>
                    <a:pt x="238033" y="29852"/>
                  </a:cubicBezTo>
                </a:path>
              </a:pathLst>
            </a:custGeom>
            <a:noFill/>
            <a:ln w="16520" cap="rnd">
              <a:solidFill>
                <a:srgbClr val="1F689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6" name="Graphic 284">
            <a:extLst>
              <a:ext uri="{FF2B5EF4-FFF2-40B4-BE49-F238E27FC236}">
                <a16:creationId xmlns:a16="http://schemas.microsoft.com/office/drawing/2014/main" id="{FEA783F9-0E86-5C41-86C2-805FB1EA3896}"/>
              </a:ext>
            </a:extLst>
          </p:cNvPr>
          <p:cNvGrpSpPr/>
          <p:nvPr userDrawn="1"/>
        </p:nvGrpSpPr>
        <p:grpSpPr>
          <a:xfrm>
            <a:off x="6426200" y="4000500"/>
            <a:ext cx="323850" cy="323850"/>
            <a:chOff x="6426200" y="4000500"/>
            <a:chExt cx="323850" cy="323850"/>
          </a:xfrm>
        </p:grpSpPr>
        <p:sp>
          <p:nvSpPr>
            <p:cNvPr id="227" name="Freeform 226">
              <a:extLst>
                <a:ext uri="{FF2B5EF4-FFF2-40B4-BE49-F238E27FC236}">
                  <a16:creationId xmlns:a16="http://schemas.microsoft.com/office/drawing/2014/main" id="{ED6D8320-781C-9E4D-AEB9-B29292D6E83B}"/>
                </a:ext>
              </a:extLst>
            </p:cNvPr>
            <p:cNvSpPr/>
            <p:nvPr/>
          </p:nvSpPr>
          <p:spPr>
            <a:xfrm>
              <a:off x="6613854" y="4126462"/>
              <a:ext cx="60359" cy="32886"/>
            </a:xfrm>
            <a:custGeom>
              <a:avLst/>
              <a:gdLst>
                <a:gd name="connsiteX0" fmla="*/ 583 w 60359"/>
                <a:gd name="connsiteY0" fmla="*/ 29891 h 32886"/>
                <a:gd name="connsiteX1" fmla="*/ 5482 w 60359"/>
                <a:gd name="connsiteY1" fmla="*/ 32886 h 32886"/>
                <a:gd name="connsiteX2" fmla="*/ 7951 w 60359"/>
                <a:gd name="connsiteY2" fmla="*/ 32299 h 32886"/>
                <a:gd name="connsiteX3" fmla="*/ 56529 w 60359"/>
                <a:gd name="connsiteY3" fmla="*/ 10723 h 32886"/>
                <a:gd name="connsiteX4" fmla="*/ 60101 w 60359"/>
                <a:gd name="connsiteY4" fmla="*/ 3831 h 32886"/>
                <a:gd name="connsiteX5" fmla="*/ 53209 w 60359"/>
                <a:gd name="connsiteY5" fmla="*/ 258 h 32886"/>
                <a:gd name="connsiteX6" fmla="*/ 3073 w 60359"/>
                <a:gd name="connsiteY6" fmla="*/ 22523 h 32886"/>
                <a:gd name="connsiteX7" fmla="*/ 553 w 60359"/>
                <a:gd name="connsiteY7" fmla="*/ 29829 h 32886"/>
                <a:gd name="connsiteX8" fmla="*/ 583 w 60359"/>
                <a:gd name="connsiteY8" fmla="*/ 29891 h 3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359" h="32886">
                  <a:moveTo>
                    <a:pt x="583" y="29891"/>
                  </a:moveTo>
                  <a:cubicBezTo>
                    <a:pt x="1521" y="31732"/>
                    <a:pt x="3415" y="32890"/>
                    <a:pt x="5482" y="32886"/>
                  </a:cubicBezTo>
                  <a:cubicBezTo>
                    <a:pt x="6340" y="32889"/>
                    <a:pt x="7186" y="32688"/>
                    <a:pt x="7951" y="32299"/>
                  </a:cubicBezTo>
                  <a:cubicBezTo>
                    <a:pt x="23723" y="24196"/>
                    <a:pt x="39942" y="16992"/>
                    <a:pt x="56529" y="10723"/>
                  </a:cubicBezTo>
                  <a:cubicBezTo>
                    <a:pt x="59418" y="9806"/>
                    <a:pt x="61018" y="6721"/>
                    <a:pt x="60101" y="3831"/>
                  </a:cubicBezTo>
                  <a:cubicBezTo>
                    <a:pt x="59184" y="941"/>
                    <a:pt x="56099" y="-658"/>
                    <a:pt x="53209" y="258"/>
                  </a:cubicBezTo>
                  <a:cubicBezTo>
                    <a:pt x="36078" y="6698"/>
                    <a:pt x="19337" y="14132"/>
                    <a:pt x="3073" y="22523"/>
                  </a:cubicBezTo>
                  <a:cubicBezTo>
                    <a:pt x="360" y="23845"/>
                    <a:pt x="-769" y="27116"/>
                    <a:pt x="553" y="29829"/>
                  </a:cubicBezTo>
                  <a:cubicBezTo>
                    <a:pt x="563" y="29850"/>
                    <a:pt x="573" y="29870"/>
                    <a:pt x="583" y="29891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reeform 227">
              <a:extLst>
                <a:ext uri="{FF2B5EF4-FFF2-40B4-BE49-F238E27FC236}">
                  <a16:creationId xmlns:a16="http://schemas.microsoft.com/office/drawing/2014/main" id="{54ECC4EE-C94E-DA4B-8AB5-2637F9A960B1}"/>
                </a:ext>
              </a:extLst>
            </p:cNvPr>
            <p:cNvSpPr/>
            <p:nvPr/>
          </p:nvSpPr>
          <p:spPr>
            <a:xfrm>
              <a:off x="6613959" y="4060638"/>
              <a:ext cx="60529" cy="32968"/>
            </a:xfrm>
            <a:custGeom>
              <a:avLst/>
              <a:gdLst>
                <a:gd name="connsiteX0" fmla="*/ 5417 w 60529"/>
                <a:gd name="connsiteY0" fmla="*/ 32968 h 32968"/>
                <a:gd name="connsiteX1" fmla="*/ 7886 w 60529"/>
                <a:gd name="connsiteY1" fmla="*/ 32361 h 32968"/>
                <a:gd name="connsiteX2" fmla="*/ 56464 w 60529"/>
                <a:gd name="connsiteY2" fmla="*/ 10784 h 32968"/>
                <a:gd name="connsiteX3" fmla="*/ 60341 w 60529"/>
                <a:gd name="connsiteY3" fmla="*/ 4065 h 32968"/>
                <a:gd name="connsiteX4" fmla="*/ 53622 w 60529"/>
                <a:gd name="connsiteY4" fmla="*/ 189 h 32968"/>
                <a:gd name="connsiteX5" fmla="*/ 53144 w 60529"/>
                <a:gd name="connsiteY5" fmla="*/ 340 h 32968"/>
                <a:gd name="connsiteX6" fmla="*/ 3008 w 60529"/>
                <a:gd name="connsiteY6" fmla="*/ 22605 h 32968"/>
                <a:gd name="connsiteX7" fmla="*/ 585 w 60529"/>
                <a:gd name="connsiteY7" fmla="*/ 29944 h 32968"/>
                <a:gd name="connsiteX8" fmla="*/ 600 w 60529"/>
                <a:gd name="connsiteY8" fmla="*/ 29973 h 32968"/>
                <a:gd name="connsiteX9" fmla="*/ 5417 w 60529"/>
                <a:gd name="connsiteY9" fmla="*/ 32968 h 3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529" h="32968">
                  <a:moveTo>
                    <a:pt x="5417" y="32968"/>
                  </a:moveTo>
                  <a:cubicBezTo>
                    <a:pt x="6277" y="32964"/>
                    <a:pt x="7123" y="32756"/>
                    <a:pt x="7886" y="32361"/>
                  </a:cubicBezTo>
                  <a:cubicBezTo>
                    <a:pt x="23658" y="24257"/>
                    <a:pt x="39877" y="17054"/>
                    <a:pt x="56464" y="10784"/>
                  </a:cubicBezTo>
                  <a:cubicBezTo>
                    <a:pt x="59390" y="10000"/>
                    <a:pt x="61125" y="6991"/>
                    <a:pt x="60341" y="4065"/>
                  </a:cubicBezTo>
                  <a:cubicBezTo>
                    <a:pt x="59556" y="1139"/>
                    <a:pt x="56547" y="-596"/>
                    <a:pt x="53622" y="189"/>
                  </a:cubicBezTo>
                  <a:cubicBezTo>
                    <a:pt x="53460" y="232"/>
                    <a:pt x="53301" y="283"/>
                    <a:pt x="53144" y="340"/>
                  </a:cubicBezTo>
                  <a:cubicBezTo>
                    <a:pt x="36010" y="6771"/>
                    <a:pt x="19269" y="14205"/>
                    <a:pt x="3008" y="22605"/>
                  </a:cubicBezTo>
                  <a:cubicBezTo>
                    <a:pt x="313" y="23962"/>
                    <a:pt x="-772" y="27248"/>
                    <a:pt x="585" y="29944"/>
                  </a:cubicBezTo>
                  <a:cubicBezTo>
                    <a:pt x="590" y="29954"/>
                    <a:pt x="595" y="29963"/>
                    <a:pt x="600" y="29973"/>
                  </a:cubicBezTo>
                  <a:cubicBezTo>
                    <a:pt x="1531" y="31782"/>
                    <a:pt x="3382" y="32933"/>
                    <a:pt x="5417" y="32968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eform 228">
              <a:extLst>
                <a:ext uri="{FF2B5EF4-FFF2-40B4-BE49-F238E27FC236}">
                  <a16:creationId xmlns:a16="http://schemas.microsoft.com/office/drawing/2014/main" id="{F57F6544-9597-714F-90E3-C81F42586DA5}"/>
                </a:ext>
              </a:extLst>
            </p:cNvPr>
            <p:cNvSpPr/>
            <p:nvPr/>
          </p:nvSpPr>
          <p:spPr>
            <a:xfrm>
              <a:off x="6427303" y="4000499"/>
              <a:ext cx="329061" cy="328789"/>
            </a:xfrm>
            <a:custGeom>
              <a:avLst/>
              <a:gdLst>
                <a:gd name="connsiteX0" fmla="*/ 323577 w 329061"/>
                <a:gd name="connsiteY0" fmla="*/ 82198 h 328789"/>
                <a:gd name="connsiteX1" fmla="*/ 318092 w 329061"/>
                <a:gd name="connsiteY1" fmla="*/ 87683 h 328789"/>
                <a:gd name="connsiteX2" fmla="*/ 318092 w 329061"/>
                <a:gd name="connsiteY2" fmla="*/ 301383 h 328789"/>
                <a:gd name="connsiteX3" fmla="*/ 301656 w 329061"/>
                <a:gd name="connsiteY3" fmla="*/ 317819 h 328789"/>
                <a:gd name="connsiteX4" fmla="*/ 170092 w 329061"/>
                <a:gd name="connsiteY4" fmla="*/ 317819 h 328789"/>
                <a:gd name="connsiteX5" fmla="*/ 170092 w 329061"/>
                <a:gd name="connsiteY5" fmla="*/ 305229 h 328789"/>
                <a:gd name="connsiteX6" fmla="*/ 219398 w 329061"/>
                <a:gd name="connsiteY6" fmla="*/ 295918 h 328789"/>
                <a:gd name="connsiteX7" fmla="*/ 299875 w 329061"/>
                <a:gd name="connsiteY7" fmla="*/ 306585 h 328789"/>
                <a:gd name="connsiteX8" fmla="*/ 306796 w 329061"/>
                <a:gd name="connsiteY8" fmla="*/ 303146 h 328789"/>
                <a:gd name="connsiteX9" fmla="*/ 307081 w 329061"/>
                <a:gd name="connsiteY9" fmla="*/ 301383 h 328789"/>
                <a:gd name="connsiteX10" fmla="*/ 307081 w 329061"/>
                <a:gd name="connsiteY10" fmla="*/ 60277 h 328789"/>
                <a:gd name="connsiteX11" fmla="*/ 302790 w 329061"/>
                <a:gd name="connsiteY11" fmla="*/ 54933 h 328789"/>
                <a:gd name="connsiteX12" fmla="*/ 291151 w 329061"/>
                <a:gd name="connsiteY12" fmla="*/ 52626 h 328789"/>
                <a:gd name="connsiteX13" fmla="*/ 284755 w 329061"/>
                <a:gd name="connsiteY13" fmla="*/ 56998 h 328789"/>
                <a:gd name="connsiteX14" fmla="*/ 289127 w 329061"/>
                <a:gd name="connsiteY14" fmla="*/ 63394 h 328789"/>
                <a:gd name="connsiteX15" fmla="*/ 296070 w 329061"/>
                <a:gd name="connsiteY15" fmla="*/ 64730 h 328789"/>
                <a:gd name="connsiteX16" fmla="*/ 296070 w 329061"/>
                <a:gd name="connsiteY16" fmla="*/ 294097 h 328789"/>
                <a:gd name="connsiteX17" fmla="*/ 219358 w 329061"/>
                <a:gd name="connsiteY17" fmla="*/ 284948 h 328789"/>
                <a:gd name="connsiteX18" fmla="*/ 164708 w 329061"/>
                <a:gd name="connsiteY18" fmla="*/ 295453 h 328789"/>
                <a:gd name="connsiteX19" fmla="*/ 115179 w 329061"/>
                <a:gd name="connsiteY19" fmla="*/ 284948 h 328789"/>
                <a:gd name="connsiteX20" fmla="*/ 32982 w 329061"/>
                <a:gd name="connsiteY20" fmla="*/ 294340 h 328789"/>
                <a:gd name="connsiteX21" fmla="*/ 32982 w 329061"/>
                <a:gd name="connsiteY21" fmla="*/ 64527 h 328789"/>
                <a:gd name="connsiteX22" fmla="*/ 115179 w 329061"/>
                <a:gd name="connsiteY22" fmla="*/ 54792 h 328789"/>
                <a:gd name="connsiteX23" fmla="*/ 159020 w 329061"/>
                <a:gd name="connsiteY23" fmla="*/ 63839 h 328789"/>
                <a:gd name="connsiteX24" fmla="*/ 159020 w 329061"/>
                <a:gd name="connsiteY24" fmla="*/ 279463 h 328789"/>
                <a:gd name="connsiteX25" fmla="*/ 161793 w 329061"/>
                <a:gd name="connsiteY25" fmla="*/ 284239 h 328789"/>
                <a:gd name="connsiteX26" fmla="*/ 167319 w 329061"/>
                <a:gd name="connsiteY26" fmla="*/ 284239 h 328789"/>
                <a:gd name="connsiteX27" fmla="*/ 270344 w 329061"/>
                <a:gd name="connsiteY27" fmla="*/ 235439 h 328789"/>
                <a:gd name="connsiteX28" fmla="*/ 274088 w 329061"/>
                <a:gd name="connsiteY28" fmla="*/ 230237 h 328789"/>
                <a:gd name="connsiteX29" fmla="*/ 274088 w 329061"/>
                <a:gd name="connsiteY29" fmla="*/ 5486 h 328789"/>
                <a:gd name="connsiteX30" fmla="*/ 271741 w 329061"/>
                <a:gd name="connsiteY30" fmla="*/ 972 h 328789"/>
                <a:gd name="connsiteX31" fmla="*/ 266680 w 329061"/>
                <a:gd name="connsiteY31" fmla="*/ 344 h 328789"/>
                <a:gd name="connsiteX32" fmla="*/ 178047 w 329061"/>
                <a:gd name="connsiteY32" fmla="*/ 44671 h 328789"/>
                <a:gd name="connsiteX33" fmla="*/ 175933 w 329061"/>
                <a:gd name="connsiteY33" fmla="*/ 52135 h 328789"/>
                <a:gd name="connsiteX34" fmla="*/ 183397 w 329061"/>
                <a:gd name="connsiteY34" fmla="*/ 54249 h 328789"/>
                <a:gd name="connsiteX35" fmla="*/ 183856 w 329061"/>
                <a:gd name="connsiteY35" fmla="*/ 53962 h 328789"/>
                <a:gd name="connsiteX36" fmla="*/ 263138 w 329061"/>
                <a:gd name="connsiteY36" fmla="*/ 13481 h 328789"/>
                <a:gd name="connsiteX37" fmla="*/ 263138 w 329061"/>
                <a:gd name="connsiteY37" fmla="*/ 226210 h 328789"/>
                <a:gd name="connsiteX38" fmla="*/ 170031 w 329061"/>
                <a:gd name="connsiteY38" fmla="*/ 269929 h 328789"/>
                <a:gd name="connsiteX39" fmla="*/ 170031 w 329061"/>
                <a:gd name="connsiteY39" fmla="*/ 60277 h 328789"/>
                <a:gd name="connsiteX40" fmla="*/ 166995 w 329061"/>
                <a:gd name="connsiteY40" fmla="*/ 55379 h 328789"/>
                <a:gd name="connsiteX41" fmla="*/ 115220 w 329061"/>
                <a:gd name="connsiteY41" fmla="*/ 43842 h 328789"/>
                <a:gd name="connsiteX42" fmla="*/ 26040 w 329061"/>
                <a:gd name="connsiteY42" fmla="*/ 55014 h 328789"/>
                <a:gd name="connsiteX43" fmla="*/ 21991 w 329061"/>
                <a:gd name="connsiteY43" fmla="*/ 60277 h 328789"/>
                <a:gd name="connsiteX44" fmla="*/ 21991 w 329061"/>
                <a:gd name="connsiteY44" fmla="*/ 301383 h 328789"/>
                <a:gd name="connsiteX45" fmla="*/ 27518 w 329061"/>
                <a:gd name="connsiteY45" fmla="*/ 306868 h 328789"/>
                <a:gd name="connsiteX46" fmla="*/ 28974 w 329061"/>
                <a:gd name="connsiteY46" fmla="*/ 306666 h 328789"/>
                <a:gd name="connsiteX47" fmla="*/ 115139 w 329061"/>
                <a:gd name="connsiteY47" fmla="*/ 295918 h 328789"/>
                <a:gd name="connsiteX48" fmla="*/ 158980 w 329061"/>
                <a:gd name="connsiteY48" fmla="*/ 304946 h 328789"/>
                <a:gd name="connsiteX49" fmla="*/ 158980 w 329061"/>
                <a:gd name="connsiteY49" fmla="*/ 317778 h 328789"/>
                <a:gd name="connsiteX50" fmla="*/ 27416 w 329061"/>
                <a:gd name="connsiteY50" fmla="*/ 317778 h 328789"/>
                <a:gd name="connsiteX51" fmla="*/ 10960 w 329061"/>
                <a:gd name="connsiteY51" fmla="*/ 301323 h 328789"/>
                <a:gd name="connsiteX52" fmla="*/ 10960 w 329061"/>
                <a:gd name="connsiteY52" fmla="*/ 87683 h 328789"/>
                <a:gd name="connsiteX53" fmla="*/ 5818 w 329061"/>
                <a:gd name="connsiteY53" fmla="*/ 81875 h 328789"/>
                <a:gd name="connsiteX54" fmla="*/ 10 w 329061"/>
                <a:gd name="connsiteY54" fmla="*/ 87017 h 328789"/>
                <a:gd name="connsiteX55" fmla="*/ 10 w 329061"/>
                <a:gd name="connsiteY55" fmla="*/ 87683 h 328789"/>
                <a:gd name="connsiteX56" fmla="*/ 10 w 329061"/>
                <a:gd name="connsiteY56" fmla="*/ 301383 h 328789"/>
                <a:gd name="connsiteX57" fmla="*/ 27416 w 329061"/>
                <a:gd name="connsiteY57" fmla="*/ 328789 h 328789"/>
                <a:gd name="connsiteX58" fmla="*/ 301656 w 329061"/>
                <a:gd name="connsiteY58" fmla="*/ 328789 h 328789"/>
                <a:gd name="connsiteX59" fmla="*/ 329062 w 329061"/>
                <a:gd name="connsiteY59" fmla="*/ 301383 h 328789"/>
                <a:gd name="connsiteX60" fmla="*/ 329062 w 329061"/>
                <a:gd name="connsiteY60" fmla="*/ 87683 h 328789"/>
                <a:gd name="connsiteX61" fmla="*/ 323577 w 329061"/>
                <a:gd name="connsiteY61" fmla="*/ 82198 h 328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29061" h="328789">
                  <a:moveTo>
                    <a:pt x="323577" y="82198"/>
                  </a:moveTo>
                  <a:cubicBezTo>
                    <a:pt x="320547" y="82198"/>
                    <a:pt x="318092" y="84653"/>
                    <a:pt x="318092" y="87683"/>
                  </a:cubicBezTo>
                  <a:lnTo>
                    <a:pt x="318092" y="301383"/>
                  </a:lnTo>
                  <a:cubicBezTo>
                    <a:pt x="318080" y="310456"/>
                    <a:pt x="310729" y="317808"/>
                    <a:pt x="301656" y="317819"/>
                  </a:cubicBezTo>
                  <a:lnTo>
                    <a:pt x="170092" y="317819"/>
                  </a:lnTo>
                  <a:lnTo>
                    <a:pt x="170092" y="305229"/>
                  </a:lnTo>
                  <a:cubicBezTo>
                    <a:pt x="185939" y="299564"/>
                    <a:pt x="202577" y="296422"/>
                    <a:pt x="219398" y="295918"/>
                  </a:cubicBezTo>
                  <a:cubicBezTo>
                    <a:pt x="246597" y="295593"/>
                    <a:pt x="273700" y="299186"/>
                    <a:pt x="299875" y="306585"/>
                  </a:cubicBezTo>
                  <a:cubicBezTo>
                    <a:pt x="302736" y="307547"/>
                    <a:pt x="305835" y="306007"/>
                    <a:pt x="306796" y="303146"/>
                  </a:cubicBezTo>
                  <a:cubicBezTo>
                    <a:pt x="306987" y="302578"/>
                    <a:pt x="307083" y="301982"/>
                    <a:pt x="307081" y="301383"/>
                  </a:cubicBezTo>
                  <a:lnTo>
                    <a:pt x="307081" y="60277"/>
                  </a:lnTo>
                  <a:cubicBezTo>
                    <a:pt x="307084" y="57709"/>
                    <a:pt x="305298" y="55485"/>
                    <a:pt x="302790" y="54933"/>
                  </a:cubicBezTo>
                  <a:cubicBezTo>
                    <a:pt x="302790" y="54933"/>
                    <a:pt x="298499" y="53982"/>
                    <a:pt x="291151" y="52626"/>
                  </a:cubicBezTo>
                  <a:cubicBezTo>
                    <a:pt x="288178" y="52067"/>
                    <a:pt x="285314" y="54024"/>
                    <a:pt x="284755" y="56998"/>
                  </a:cubicBezTo>
                  <a:cubicBezTo>
                    <a:pt x="284196" y="59971"/>
                    <a:pt x="286154" y="62835"/>
                    <a:pt x="289127" y="63394"/>
                  </a:cubicBezTo>
                  <a:lnTo>
                    <a:pt x="296070" y="64730"/>
                  </a:lnTo>
                  <a:lnTo>
                    <a:pt x="296070" y="294097"/>
                  </a:lnTo>
                  <a:cubicBezTo>
                    <a:pt x="270980" y="287862"/>
                    <a:pt x="245210" y="284789"/>
                    <a:pt x="219358" y="284948"/>
                  </a:cubicBezTo>
                  <a:cubicBezTo>
                    <a:pt x="200693" y="285469"/>
                    <a:pt x="182236" y="289016"/>
                    <a:pt x="164708" y="295453"/>
                  </a:cubicBezTo>
                  <a:cubicBezTo>
                    <a:pt x="149061" y="288693"/>
                    <a:pt x="132223" y="285122"/>
                    <a:pt x="115179" y="284948"/>
                  </a:cubicBezTo>
                  <a:cubicBezTo>
                    <a:pt x="87515" y="284991"/>
                    <a:pt x="59943" y="288141"/>
                    <a:pt x="32982" y="294340"/>
                  </a:cubicBezTo>
                  <a:lnTo>
                    <a:pt x="32982" y="64527"/>
                  </a:lnTo>
                  <a:cubicBezTo>
                    <a:pt x="59917" y="58137"/>
                    <a:pt x="87497" y="54870"/>
                    <a:pt x="115179" y="54792"/>
                  </a:cubicBezTo>
                  <a:cubicBezTo>
                    <a:pt x="130235" y="55000"/>
                    <a:pt x="145113" y="58070"/>
                    <a:pt x="159020" y="63839"/>
                  </a:cubicBezTo>
                  <a:lnTo>
                    <a:pt x="159020" y="279463"/>
                  </a:lnTo>
                  <a:cubicBezTo>
                    <a:pt x="159021" y="281437"/>
                    <a:pt x="160079" y="283260"/>
                    <a:pt x="161793" y="284239"/>
                  </a:cubicBezTo>
                  <a:cubicBezTo>
                    <a:pt x="163500" y="285239"/>
                    <a:pt x="165613" y="285239"/>
                    <a:pt x="167319" y="284239"/>
                  </a:cubicBezTo>
                  <a:cubicBezTo>
                    <a:pt x="200107" y="264877"/>
                    <a:pt x="234591" y="248543"/>
                    <a:pt x="270344" y="235439"/>
                  </a:cubicBezTo>
                  <a:cubicBezTo>
                    <a:pt x="272581" y="234691"/>
                    <a:pt x="274088" y="232596"/>
                    <a:pt x="274088" y="230237"/>
                  </a:cubicBezTo>
                  <a:lnTo>
                    <a:pt x="274088" y="5486"/>
                  </a:lnTo>
                  <a:cubicBezTo>
                    <a:pt x="274093" y="3687"/>
                    <a:pt x="273216" y="2001"/>
                    <a:pt x="271741" y="972"/>
                  </a:cubicBezTo>
                  <a:cubicBezTo>
                    <a:pt x="270256" y="-46"/>
                    <a:pt x="268369" y="-280"/>
                    <a:pt x="266680" y="344"/>
                  </a:cubicBezTo>
                  <a:cubicBezTo>
                    <a:pt x="235935" y="12585"/>
                    <a:pt x="206284" y="27414"/>
                    <a:pt x="178047" y="44671"/>
                  </a:cubicBezTo>
                  <a:cubicBezTo>
                    <a:pt x="175402" y="46149"/>
                    <a:pt x="174456" y="49491"/>
                    <a:pt x="175933" y="52135"/>
                  </a:cubicBezTo>
                  <a:cubicBezTo>
                    <a:pt x="177411" y="54780"/>
                    <a:pt x="180752" y="55726"/>
                    <a:pt x="183397" y="54249"/>
                  </a:cubicBezTo>
                  <a:cubicBezTo>
                    <a:pt x="183555" y="54161"/>
                    <a:pt x="183708" y="54065"/>
                    <a:pt x="183856" y="53962"/>
                  </a:cubicBezTo>
                  <a:cubicBezTo>
                    <a:pt x="209218" y="38477"/>
                    <a:pt x="235722" y="24944"/>
                    <a:pt x="263138" y="13481"/>
                  </a:cubicBezTo>
                  <a:lnTo>
                    <a:pt x="263138" y="226210"/>
                  </a:lnTo>
                  <a:cubicBezTo>
                    <a:pt x="230934" y="238151"/>
                    <a:pt x="199789" y="252776"/>
                    <a:pt x="170031" y="269929"/>
                  </a:cubicBezTo>
                  <a:lnTo>
                    <a:pt x="170031" y="60277"/>
                  </a:lnTo>
                  <a:cubicBezTo>
                    <a:pt x="170028" y="58201"/>
                    <a:pt x="168853" y="56305"/>
                    <a:pt x="166995" y="55379"/>
                  </a:cubicBezTo>
                  <a:cubicBezTo>
                    <a:pt x="150742" y="47929"/>
                    <a:pt x="133098" y="43998"/>
                    <a:pt x="115220" y="43842"/>
                  </a:cubicBezTo>
                  <a:cubicBezTo>
                    <a:pt x="85140" y="43776"/>
                    <a:pt x="55174" y="47531"/>
                    <a:pt x="26040" y="55014"/>
                  </a:cubicBezTo>
                  <a:cubicBezTo>
                    <a:pt x="23657" y="55654"/>
                    <a:pt x="21998" y="57810"/>
                    <a:pt x="21991" y="60277"/>
                  </a:cubicBezTo>
                  <a:lnTo>
                    <a:pt x="21991" y="301383"/>
                  </a:lnTo>
                  <a:cubicBezTo>
                    <a:pt x="22003" y="304424"/>
                    <a:pt x="24477" y="306879"/>
                    <a:pt x="27518" y="306868"/>
                  </a:cubicBezTo>
                  <a:cubicBezTo>
                    <a:pt x="28010" y="306866"/>
                    <a:pt x="28500" y="306798"/>
                    <a:pt x="28974" y="306666"/>
                  </a:cubicBezTo>
                  <a:cubicBezTo>
                    <a:pt x="57140" y="299529"/>
                    <a:pt x="86083" y="295919"/>
                    <a:pt x="115139" y="295918"/>
                  </a:cubicBezTo>
                  <a:cubicBezTo>
                    <a:pt x="130193" y="296120"/>
                    <a:pt x="145071" y="299183"/>
                    <a:pt x="158980" y="304946"/>
                  </a:cubicBezTo>
                  <a:lnTo>
                    <a:pt x="158980" y="317778"/>
                  </a:lnTo>
                  <a:lnTo>
                    <a:pt x="27416" y="317778"/>
                  </a:lnTo>
                  <a:cubicBezTo>
                    <a:pt x="18332" y="317767"/>
                    <a:pt x="10971" y="310406"/>
                    <a:pt x="10960" y="301323"/>
                  </a:cubicBezTo>
                  <a:lnTo>
                    <a:pt x="10960" y="87683"/>
                  </a:lnTo>
                  <a:cubicBezTo>
                    <a:pt x="11144" y="84659"/>
                    <a:pt x="8842" y="82059"/>
                    <a:pt x="5818" y="81875"/>
                  </a:cubicBezTo>
                  <a:cubicBezTo>
                    <a:pt x="2794" y="81691"/>
                    <a:pt x="194" y="83993"/>
                    <a:pt x="10" y="87017"/>
                  </a:cubicBezTo>
                  <a:cubicBezTo>
                    <a:pt x="-3" y="87238"/>
                    <a:pt x="-3" y="87461"/>
                    <a:pt x="10" y="87683"/>
                  </a:cubicBezTo>
                  <a:lnTo>
                    <a:pt x="10" y="301383"/>
                  </a:lnTo>
                  <a:cubicBezTo>
                    <a:pt x="21" y="316514"/>
                    <a:pt x="12285" y="328778"/>
                    <a:pt x="27416" y="328789"/>
                  </a:cubicBezTo>
                  <a:lnTo>
                    <a:pt x="301656" y="328789"/>
                  </a:lnTo>
                  <a:cubicBezTo>
                    <a:pt x="316787" y="328778"/>
                    <a:pt x="329051" y="316514"/>
                    <a:pt x="329062" y="301383"/>
                  </a:cubicBezTo>
                  <a:lnTo>
                    <a:pt x="329062" y="87683"/>
                  </a:lnTo>
                  <a:cubicBezTo>
                    <a:pt x="329062" y="84653"/>
                    <a:pt x="326606" y="82198"/>
                    <a:pt x="323577" y="82198"/>
                  </a:cubicBezTo>
                  <a:close/>
                </a:path>
              </a:pathLst>
            </a:custGeom>
            <a:solidFill>
              <a:srgbClr val="1F6898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 229">
              <a:extLst>
                <a:ext uri="{FF2B5EF4-FFF2-40B4-BE49-F238E27FC236}">
                  <a16:creationId xmlns:a16="http://schemas.microsoft.com/office/drawing/2014/main" id="{EF7D051F-FD8D-3646-9C33-793D4BB4083A}"/>
                </a:ext>
              </a:extLst>
            </p:cNvPr>
            <p:cNvSpPr/>
            <p:nvPr/>
          </p:nvSpPr>
          <p:spPr>
            <a:xfrm>
              <a:off x="6613854" y="4093652"/>
              <a:ext cx="60359" cy="32886"/>
            </a:xfrm>
            <a:custGeom>
              <a:avLst/>
              <a:gdLst>
                <a:gd name="connsiteX0" fmla="*/ 583 w 60359"/>
                <a:gd name="connsiteY0" fmla="*/ 29891 h 32886"/>
                <a:gd name="connsiteX1" fmla="*/ 5482 w 60359"/>
                <a:gd name="connsiteY1" fmla="*/ 32886 h 32886"/>
                <a:gd name="connsiteX2" fmla="*/ 7951 w 60359"/>
                <a:gd name="connsiteY2" fmla="*/ 32279 h 32886"/>
                <a:gd name="connsiteX3" fmla="*/ 56529 w 60359"/>
                <a:gd name="connsiteY3" fmla="*/ 10723 h 32886"/>
                <a:gd name="connsiteX4" fmla="*/ 60101 w 60359"/>
                <a:gd name="connsiteY4" fmla="*/ 3831 h 32886"/>
                <a:gd name="connsiteX5" fmla="*/ 53209 w 60359"/>
                <a:gd name="connsiteY5" fmla="*/ 258 h 32886"/>
                <a:gd name="connsiteX6" fmla="*/ 3073 w 60359"/>
                <a:gd name="connsiteY6" fmla="*/ 22523 h 32886"/>
                <a:gd name="connsiteX7" fmla="*/ 553 w 60359"/>
                <a:gd name="connsiteY7" fmla="*/ 29829 h 32886"/>
                <a:gd name="connsiteX8" fmla="*/ 583 w 60359"/>
                <a:gd name="connsiteY8" fmla="*/ 29891 h 3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359" h="32886">
                  <a:moveTo>
                    <a:pt x="583" y="29891"/>
                  </a:moveTo>
                  <a:cubicBezTo>
                    <a:pt x="1521" y="31732"/>
                    <a:pt x="3415" y="32890"/>
                    <a:pt x="5482" y="32886"/>
                  </a:cubicBezTo>
                  <a:cubicBezTo>
                    <a:pt x="6341" y="32882"/>
                    <a:pt x="7188" y="32674"/>
                    <a:pt x="7951" y="32279"/>
                  </a:cubicBezTo>
                  <a:cubicBezTo>
                    <a:pt x="23725" y="24185"/>
                    <a:pt x="39943" y="16988"/>
                    <a:pt x="56529" y="10723"/>
                  </a:cubicBezTo>
                  <a:cubicBezTo>
                    <a:pt x="59418" y="9806"/>
                    <a:pt x="61018" y="6721"/>
                    <a:pt x="60101" y="3831"/>
                  </a:cubicBezTo>
                  <a:cubicBezTo>
                    <a:pt x="59184" y="941"/>
                    <a:pt x="56099" y="-658"/>
                    <a:pt x="53209" y="258"/>
                  </a:cubicBezTo>
                  <a:cubicBezTo>
                    <a:pt x="36078" y="6698"/>
                    <a:pt x="19337" y="14132"/>
                    <a:pt x="3073" y="22523"/>
                  </a:cubicBezTo>
                  <a:cubicBezTo>
                    <a:pt x="360" y="23845"/>
                    <a:pt x="-769" y="27116"/>
                    <a:pt x="553" y="29829"/>
                  </a:cubicBezTo>
                  <a:cubicBezTo>
                    <a:pt x="563" y="29850"/>
                    <a:pt x="573" y="29870"/>
                    <a:pt x="583" y="29891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eform 230">
              <a:extLst>
                <a:ext uri="{FF2B5EF4-FFF2-40B4-BE49-F238E27FC236}">
                  <a16:creationId xmlns:a16="http://schemas.microsoft.com/office/drawing/2014/main" id="{9664F7D2-DC26-5345-A472-245B02EA03FC}"/>
                </a:ext>
              </a:extLst>
            </p:cNvPr>
            <p:cNvSpPr/>
            <p:nvPr/>
          </p:nvSpPr>
          <p:spPr>
            <a:xfrm>
              <a:off x="6613854" y="4159483"/>
              <a:ext cx="60116" cy="32816"/>
            </a:xfrm>
            <a:custGeom>
              <a:avLst/>
              <a:gdLst>
                <a:gd name="connsiteX0" fmla="*/ 583 w 60116"/>
                <a:gd name="connsiteY0" fmla="*/ 29821 h 32816"/>
                <a:gd name="connsiteX1" fmla="*/ 5482 w 60116"/>
                <a:gd name="connsiteY1" fmla="*/ 32816 h 32816"/>
                <a:gd name="connsiteX2" fmla="*/ 7951 w 60116"/>
                <a:gd name="connsiteY2" fmla="*/ 32209 h 32816"/>
                <a:gd name="connsiteX3" fmla="*/ 56529 w 60116"/>
                <a:gd name="connsiteY3" fmla="*/ 10632 h 32816"/>
                <a:gd name="connsiteX4" fmla="*/ 59776 w 60116"/>
                <a:gd name="connsiteY4" fmla="*/ 3588 h 32816"/>
                <a:gd name="connsiteX5" fmla="*/ 53209 w 60116"/>
                <a:gd name="connsiteY5" fmla="*/ 188 h 32816"/>
                <a:gd name="connsiteX6" fmla="*/ 3073 w 60116"/>
                <a:gd name="connsiteY6" fmla="*/ 22453 h 32816"/>
                <a:gd name="connsiteX7" fmla="*/ 553 w 60116"/>
                <a:gd name="connsiteY7" fmla="*/ 29759 h 32816"/>
                <a:gd name="connsiteX8" fmla="*/ 583 w 60116"/>
                <a:gd name="connsiteY8" fmla="*/ 29821 h 32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116" h="32816">
                  <a:moveTo>
                    <a:pt x="583" y="29821"/>
                  </a:moveTo>
                  <a:cubicBezTo>
                    <a:pt x="1521" y="31662"/>
                    <a:pt x="3415" y="32820"/>
                    <a:pt x="5482" y="32816"/>
                  </a:cubicBezTo>
                  <a:cubicBezTo>
                    <a:pt x="6341" y="32812"/>
                    <a:pt x="7188" y="32604"/>
                    <a:pt x="7951" y="32209"/>
                  </a:cubicBezTo>
                  <a:cubicBezTo>
                    <a:pt x="23727" y="24114"/>
                    <a:pt x="39945" y="16910"/>
                    <a:pt x="56529" y="10632"/>
                  </a:cubicBezTo>
                  <a:cubicBezTo>
                    <a:pt x="59371" y="9584"/>
                    <a:pt x="60825" y="6430"/>
                    <a:pt x="59776" y="3588"/>
                  </a:cubicBezTo>
                  <a:cubicBezTo>
                    <a:pt x="58795" y="928"/>
                    <a:pt x="55948" y="-546"/>
                    <a:pt x="53209" y="188"/>
                  </a:cubicBezTo>
                  <a:cubicBezTo>
                    <a:pt x="36078" y="6628"/>
                    <a:pt x="19337" y="14062"/>
                    <a:pt x="3073" y="22453"/>
                  </a:cubicBezTo>
                  <a:cubicBezTo>
                    <a:pt x="360" y="23775"/>
                    <a:pt x="-769" y="27046"/>
                    <a:pt x="553" y="29759"/>
                  </a:cubicBezTo>
                  <a:cubicBezTo>
                    <a:pt x="563" y="29780"/>
                    <a:pt x="573" y="29800"/>
                    <a:pt x="583" y="29821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reeform 231">
              <a:extLst>
                <a:ext uri="{FF2B5EF4-FFF2-40B4-BE49-F238E27FC236}">
                  <a16:creationId xmlns:a16="http://schemas.microsoft.com/office/drawing/2014/main" id="{08D2ACFB-9D7C-DC4C-B8B7-5631180BCBA9}"/>
                </a:ext>
              </a:extLst>
            </p:cNvPr>
            <p:cNvSpPr/>
            <p:nvPr/>
          </p:nvSpPr>
          <p:spPr>
            <a:xfrm>
              <a:off x="6482286" y="4099416"/>
              <a:ext cx="81911" cy="16152"/>
            </a:xfrm>
            <a:custGeom>
              <a:avLst/>
              <a:gdLst>
                <a:gd name="connsiteX0" fmla="*/ 78048 w 81911"/>
                <a:gd name="connsiteY0" fmla="*/ 2772 h 16152"/>
                <a:gd name="connsiteX1" fmla="*/ 4149 w 81911"/>
                <a:gd name="connsiteY1" fmla="*/ 5383 h 16152"/>
                <a:gd name="connsiteX2" fmla="*/ 162 w 81911"/>
                <a:gd name="connsiteY2" fmla="*/ 12004 h 16152"/>
                <a:gd name="connsiteX3" fmla="*/ 5566 w 81911"/>
                <a:gd name="connsiteY3" fmla="*/ 16151 h 16152"/>
                <a:gd name="connsiteX4" fmla="*/ 6983 w 81911"/>
                <a:gd name="connsiteY4" fmla="*/ 15969 h 16152"/>
                <a:gd name="connsiteX5" fmla="*/ 75477 w 81911"/>
                <a:gd name="connsiteY5" fmla="*/ 13439 h 16152"/>
                <a:gd name="connsiteX6" fmla="*/ 81828 w 81911"/>
                <a:gd name="connsiteY6" fmla="*/ 8985 h 16152"/>
                <a:gd name="connsiteX7" fmla="*/ 77967 w 81911"/>
                <a:gd name="connsiteY7" fmla="*/ 2772 h 1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11" h="16152">
                  <a:moveTo>
                    <a:pt x="78048" y="2772"/>
                  </a:moveTo>
                  <a:cubicBezTo>
                    <a:pt x="53512" y="-1660"/>
                    <a:pt x="28311" y="-769"/>
                    <a:pt x="4149" y="5383"/>
                  </a:cubicBezTo>
                  <a:cubicBezTo>
                    <a:pt x="1220" y="6111"/>
                    <a:pt x="-565" y="9075"/>
                    <a:pt x="162" y="12004"/>
                  </a:cubicBezTo>
                  <a:cubicBezTo>
                    <a:pt x="776" y="14477"/>
                    <a:pt x="3018" y="16198"/>
                    <a:pt x="5566" y="16151"/>
                  </a:cubicBezTo>
                  <a:cubicBezTo>
                    <a:pt x="6044" y="16151"/>
                    <a:pt x="6520" y="16089"/>
                    <a:pt x="6983" y="15969"/>
                  </a:cubicBezTo>
                  <a:cubicBezTo>
                    <a:pt x="29387" y="10351"/>
                    <a:pt x="52720" y="9489"/>
                    <a:pt x="75477" y="13439"/>
                  </a:cubicBezTo>
                  <a:cubicBezTo>
                    <a:pt x="78461" y="13963"/>
                    <a:pt x="81305" y="11968"/>
                    <a:pt x="81828" y="8985"/>
                  </a:cubicBezTo>
                  <a:cubicBezTo>
                    <a:pt x="82311" y="6233"/>
                    <a:pt x="80648" y="3558"/>
                    <a:pt x="77967" y="2772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reeform 232">
              <a:extLst>
                <a:ext uri="{FF2B5EF4-FFF2-40B4-BE49-F238E27FC236}">
                  <a16:creationId xmlns:a16="http://schemas.microsoft.com/office/drawing/2014/main" id="{E71F30AE-0EBB-694A-A7D8-53AF6C0E9B5D}"/>
                </a:ext>
              </a:extLst>
            </p:cNvPr>
            <p:cNvSpPr/>
            <p:nvPr/>
          </p:nvSpPr>
          <p:spPr>
            <a:xfrm>
              <a:off x="6482424" y="4132299"/>
              <a:ext cx="81773" cy="16159"/>
            </a:xfrm>
            <a:custGeom>
              <a:avLst/>
              <a:gdLst>
                <a:gd name="connsiteX0" fmla="*/ 77910 w 81773"/>
                <a:gd name="connsiteY0" fmla="*/ 2780 h 16159"/>
                <a:gd name="connsiteX1" fmla="*/ 4011 w 81773"/>
                <a:gd name="connsiteY1" fmla="*/ 5391 h 16159"/>
                <a:gd name="connsiteX2" fmla="*/ 203 w 81773"/>
                <a:gd name="connsiteY2" fmla="*/ 12150 h 16159"/>
                <a:gd name="connsiteX3" fmla="*/ 5428 w 81773"/>
                <a:gd name="connsiteY3" fmla="*/ 16159 h 16159"/>
                <a:gd name="connsiteX4" fmla="*/ 6845 w 81773"/>
                <a:gd name="connsiteY4" fmla="*/ 15977 h 16159"/>
                <a:gd name="connsiteX5" fmla="*/ 75339 w 81773"/>
                <a:gd name="connsiteY5" fmla="*/ 13447 h 16159"/>
                <a:gd name="connsiteX6" fmla="*/ 81690 w 81773"/>
                <a:gd name="connsiteY6" fmla="*/ 8992 h 16159"/>
                <a:gd name="connsiteX7" fmla="*/ 77829 w 81773"/>
                <a:gd name="connsiteY7" fmla="*/ 2780 h 16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73" h="16159">
                  <a:moveTo>
                    <a:pt x="77910" y="2780"/>
                  </a:moveTo>
                  <a:cubicBezTo>
                    <a:pt x="53375" y="-1663"/>
                    <a:pt x="28171" y="-772"/>
                    <a:pt x="4011" y="5391"/>
                  </a:cubicBezTo>
                  <a:cubicBezTo>
                    <a:pt x="1094" y="6206"/>
                    <a:pt x="-611" y="9232"/>
                    <a:pt x="203" y="12150"/>
                  </a:cubicBezTo>
                  <a:cubicBezTo>
                    <a:pt x="860" y="14499"/>
                    <a:pt x="2989" y="16133"/>
                    <a:pt x="5428" y="16159"/>
                  </a:cubicBezTo>
                  <a:cubicBezTo>
                    <a:pt x="5906" y="16158"/>
                    <a:pt x="6382" y="16097"/>
                    <a:pt x="6845" y="15977"/>
                  </a:cubicBezTo>
                  <a:cubicBezTo>
                    <a:pt x="29248" y="10347"/>
                    <a:pt x="52583" y="9486"/>
                    <a:pt x="75339" y="13447"/>
                  </a:cubicBezTo>
                  <a:cubicBezTo>
                    <a:pt x="78323" y="13971"/>
                    <a:pt x="81167" y="11976"/>
                    <a:pt x="81690" y="8992"/>
                  </a:cubicBezTo>
                  <a:cubicBezTo>
                    <a:pt x="82173" y="6241"/>
                    <a:pt x="80510" y="3565"/>
                    <a:pt x="77829" y="2780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eform 233">
              <a:extLst>
                <a:ext uri="{FF2B5EF4-FFF2-40B4-BE49-F238E27FC236}">
                  <a16:creationId xmlns:a16="http://schemas.microsoft.com/office/drawing/2014/main" id="{3DFA6717-A372-3244-B707-8BD23AA8BB23}"/>
                </a:ext>
              </a:extLst>
            </p:cNvPr>
            <p:cNvSpPr/>
            <p:nvPr/>
          </p:nvSpPr>
          <p:spPr>
            <a:xfrm>
              <a:off x="6613854" y="4192284"/>
              <a:ext cx="60359" cy="32886"/>
            </a:xfrm>
            <a:custGeom>
              <a:avLst/>
              <a:gdLst>
                <a:gd name="connsiteX0" fmla="*/ 583 w 60359"/>
                <a:gd name="connsiteY0" fmla="*/ 29891 h 32886"/>
                <a:gd name="connsiteX1" fmla="*/ 5482 w 60359"/>
                <a:gd name="connsiteY1" fmla="*/ 32886 h 32886"/>
                <a:gd name="connsiteX2" fmla="*/ 7951 w 60359"/>
                <a:gd name="connsiteY2" fmla="*/ 32299 h 32886"/>
                <a:gd name="connsiteX3" fmla="*/ 56529 w 60359"/>
                <a:gd name="connsiteY3" fmla="*/ 10723 h 32886"/>
                <a:gd name="connsiteX4" fmla="*/ 60101 w 60359"/>
                <a:gd name="connsiteY4" fmla="*/ 3831 h 32886"/>
                <a:gd name="connsiteX5" fmla="*/ 53209 w 60359"/>
                <a:gd name="connsiteY5" fmla="*/ 258 h 32886"/>
                <a:gd name="connsiteX6" fmla="*/ 3073 w 60359"/>
                <a:gd name="connsiteY6" fmla="*/ 22523 h 32886"/>
                <a:gd name="connsiteX7" fmla="*/ 553 w 60359"/>
                <a:gd name="connsiteY7" fmla="*/ 29829 h 32886"/>
                <a:gd name="connsiteX8" fmla="*/ 583 w 60359"/>
                <a:gd name="connsiteY8" fmla="*/ 29891 h 3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359" h="32886">
                  <a:moveTo>
                    <a:pt x="583" y="29891"/>
                  </a:moveTo>
                  <a:cubicBezTo>
                    <a:pt x="1521" y="31732"/>
                    <a:pt x="3415" y="32890"/>
                    <a:pt x="5482" y="32886"/>
                  </a:cubicBezTo>
                  <a:cubicBezTo>
                    <a:pt x="6340" y="32889"/>
                    <a:pt x="7186" y="32688"/>
                    <a:pt x="7951" y="32299"/>
                  </a:cubicBezTo>
                  <a:cubicBezTo>
                    <a:pt x="23719" y="24187"/>
                    <a:pt x="39938" y="16983"/>
                    <a:pt x="56529" y="10723"/>
                  </a:cubicBezTo>
                  <a:cubicBezTo>
                    <a:pt x="59418" y="9806"/>
                    <a:pt x="61018" y="6721"/>
                    <a:pt x="60101" y="3831"/>
                  </a:cubicBezTo>
                  <a:cubicBezTo>
                    <a:pt x="59184" y="941"/>
                    <a:pt x="56099" y="-658"/>
                    <a:pt x="53209" y="258"/>
                  </a:cubicBezTo>
                  <a:cubicBezTo>
                    <a:pt x="36078" y="6698"/>
                    <a:pt x="19337" y="14132"/>
                    <a:pt x="3073" y="22523"/>
                  </a:cubicBezTo>
                  <a:cubicBezTo>
                    <a:pt x="360" y="23845"/>
                    <a:pt x="-769" y="27116"/>
                    <a:pt x="553" y="29829"/>
                  </a:cubicBezTo>
                  <a:cubicBezTo>
                    <a:pt x="563" y="29850"/>
                    <a:pt x="573" y="29870"/>
                    <a:pt x="583" y="29891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Freeform 234">
              <a:extLst>
                <a:ext uri="{FF2B5EF4-FFF2-40B4-BE49-F238E27FC236}">
                  <a16:creationId xmlns:a16="http://schemas.microsoft.com/office/drawing/2014/main" id="{AE441496-7DF7-7E43-A496-3A0A67B00BDF}"/>
                </a:ext>
              </a:extLst>
            </p:cNvPr>
            <p:cNvSpPr/>
            <p:nvPr/>
          </p:nvSpPr>
          <p:spPr>
            <a:xfrm>
              <a:off x="6482351" y="4165153"/>
              <a:ext cx="81846" cy="16155"/>
            </a:xfrm>
            <a:custGeom>
              <a:avLst/>
              <a:gdLst>
                <a:gd name="connsiteX0" fmla="*/ 77983 w 81846"/>
                <a:gd name="connsiteY0" fmla="*/ 2797 h 16155"/>
                <a:gd name="connsiteX1" fmla="*/ 4085 w 81846"/>
                <a:gd name="connsiteY1" fmla="*/ 5368 h 16155"/>
                <a:gd name="connsiteX2" fmla="*/ 183 w 81846"/>
                <a:gd name="connsiteY2" fmla="*/ 12072 h 16155"/>
                <a:gd name="connsiteX3" fmla="*/ 5502 w 81846"/>
                <a:gd name="connsiteY3" fmla="*/ 16156 h 16155"/>
                <a:gd name="connsiteX4" fmla="*/ 6918 w 81846"/>
                <a:gd name="connsiteY4" fmla="*/ 15953 h 16155"/>
                <a:gd name="connsiteX5" fmla="*/ 75413 w 81846"/>
                <a:gd name="connsiteY5" fmla="*/ 13464 h 16155"/>
                <a:gd name="connsiteX6" fmla="*/ 81764 w 81846"/>
                <a:gd name="connsiteY6" fmla="*/ 9009 h 16155"/>
                <a:gd name="connsiteX7" fmla="*/ 77902 w 81846"/>
                <a:gd name="connsiteY7" fmla="*/ 2797 h 16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46" h="16155">
                  <a:moveTo>
                    <a:pt x="77983" y="2797"/>
                  </a:moveTo>
                  <a:cubicBezTo>
                    <a:pt x="53451" y="-1659"/>
                    <a:pt x="28248" y="-782"/>
                    <a:pt x="4085" y="5368"/>
                  </a:cubicBezTo>
                  <a:cubicBezTo>
                    <a:pt x="1156" y="6142"/>
                    <a:pt x="-591" y="9144"/>
                    <a:pt x="183" y="12072"/>
                  </a:cubicBezTo>
                  <a:cubicBezTo>
                    <a:pt x="821" y="14485"/>
                    <a:pt x="3006" y="16163"/>
                    <a:pt x="5502" y="16156"/>
                  </a:cubicBezTo>
                  <a:cubicBezTo>
                    <a:pt x="5981" y="16148"/>
                    <a:pt x="6457" y="16080"/>
                    <a:pt x="6918" y="15953"/>
                  </a:cubicBezTo>
                  <a:cubicBezTo>
                    <a:pt x="29325" y="10349"/>
                    <a:pt x="52658" y="9501"/>
                    <a:pt x="75413" y="13464"/>
                  </a:cubicBezTo>
                  <a:cubicBezTo>
                    <a:pt x="78397" y="13987"/>
                    <a:pt x="81240" y="11993"/>
                    <a:pt x="81764" y="9009"/>
                  </a:cubicBezTo>
                  <a:cubicBezTo>
                    <a:pt x="82246" y="6257"/>
                    <a:pt x="80584" y="3582"/>
                    <a:pt x="77902" y="2797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Freeform 235">
              <a:extLst>
                <a:ext uri="{FF2B5EF4-FFF2-40B4-BE49-F238E27FC236}">
                  <a16:creationId xmlns:a16="http://schemas.microsoft.com/office/drawing/2014/main" id="{4DEAC701-7BBA-EA4C-88AD-559096DB611C}"/>
                </a:ext>
              </a:extLst>
            </p:cNvPr>
            <p:cNvSpPr/>
            <p:nvPr/>
          </p:nvSpPr>
          <p:spPr>
            <a:xfrm>
              <a:off x="6482424" y="4230932"/>
              <a:ext cx="81773" cy="16159"/>
            </a:xfrm>
            <a:custGeom>
              <a:avLst/>
              <a:gdLst>
                <a:gd name="connsiteX0" fmla="*/ 77910 w 81773"/>
                <a:gd name="connsiteY0" fmla="*/ 2780 h 16159"/>
                <a:gd name="connsiteX1" fmla="*/ 4011 w 81773"/>
                <a:gd name="connsiteY1" fmla="*/ 5391 h 16159"/>
                <a:gd name="connsiteX2" fmla="*/ 203 w 81773"/>
                <a:gd name="connsiteY2" fmla="*/ 12150 h 16159"/>
                <a:gd name="connsiteX3" fmla="*/ 5428 w 81773"/>
                <a:gd name="connsiteY3" fmla="*/ 16159 h 16159"/>
                <a:gd name="connsiteX4" fmla="*/ 6845 w 81773"/>
                <a:gd name="connsiteY4" fmla="*/ 15977 h 16159"/>
                <a:gd name="connsiteX5" fmla="*/ 75339 w 81773"/>
                <a:gd name="connsiteY5" fmla="*/ 13447 h 16159"/>
                <a:gd name="connsiteX6" fmla="*/ 81690 w 81773"/>
                <a:gd name="connsiteY6" fmla="*/ 8992 h 16159"/>
                <a:gd name="connsiteX7" fmla="*/ 77829 w 81773"/>
                <a:gd name="connsiteY7" fmla="*/ 2780 h 16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73" h="16159">
                  <a:moveTo>
                    <a:pt x="77910" y="2780"/>
                  </a:moveTo>
                  <a:cubicBezTo>
                    <a:pt x="53375" y="-1663"/>
                    <a:pt x="28171" y="-772"/>
                    <a:pt x="4011" y="5391"/>
                  </a:cubicBezTo>
                  <a:cubicBezTo>
                    <a:pt x="1094" y="6206"/>
                    <a:pt x="-611" y="9232"/>
                    <a:pt x="203" y="12150"/>
                  </a:cubicBezTo>
                  <a:cubicBezTo>
                    <a:pt x="860" y="14499"/>
                    <a:pt x="2989" y="16133"/>
                    <a:pt x="5428" y="16159"/>
                  </a:cubicBezTo>
                  <a:cubicBezTo>
                    <a:pt x="5906" y="16158"/>
                    <a:pt x="6382" y="16097"/>
                    <a:pt x="6845" y="15977"/>
                  </a:cubicBezTo>
                  <a:cubicBezTo>
                    <a:pt x="29249" y="10359"/>
                    <a:pt x="52582" y="9497"/>
                    <a:pt x="75339" y="13447"/>
                  </a:cubicBezTo>
                  <a:cubicBezTo>
                    <a:pt x="78323" y="13971"/>
                    <a:pt x="81167" y="11976"/>
                    <a:pt x="81690" y="8992"/>
                  </a:cubicBezTo>
                  <a:cubicBezTo>
                    <a:pt x="82173" y="6241"/>
                    <a:pt x="80510" y="3565"/>
                    <a:pt x="77829" y="2780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eform 236">
              <a:extLst>
                <a:ext uri="{FF2B5EF4-FFF2-40B4-BE49-F238E27FC236}">
                  <a16:creationId xmlns:a16="http://schemas.microsoft.com/office/drawing/2014/main" id="{F524E4DF-695B-CF42-A2D2-43A36C854172}"/>
                </a:ext>
              </a:extLst>
            </p:cNvPr>
            <p:cNvSpPr/>
            <p:nvPr/>
          </p:nvSpPr>
          <p:spPr>
            <a:xfrm>
              <a:off x="6482351" y="4198097"/>
              <a:ext cx="81742" cy="16163"/>
            </a:xfrm>
            <a:custGeom>
              <a:avLst/>
              <a:gdLst>
                <a:gd name="connsiteX0" fmla="*/ 77983 w 81742"/>
                <a:gd name="connsiteY0" fmla="*/ 2785 h 16163"/>
                <a:gd name="connsiteX1" fmla="*/ 4085 w 81742"/>
                <a:gd name="connsiteY1" fmla="*/ 5376 h 16163"/>
                <a:gd name="connsiteX2" fmla="*/ 183 w 81742"/>
                <a:gd name="connsiteY2" fmla="*/ 12081 h 16163"/>
                <a:gd name="connsiteX3" fmla="*/ 5502 w 81742"/>
                <a:gd name="connsiteY3" fmla="*/ 16164 h 16163"/>
                <a:gd name="connsiteX4" fmla="*/ 6918 w 81742"/>
                <a:gd name="connsiteY4" fmla="*/ 15962 h 16163"/>
                <a:gd name="connsiteX5" fmla="*/ 75413 w 81742"/>
                <a:gd name="connsiteY5" fmla="*/ 13411 h 16163"/>
                <a:gd name="connsiteX6" fmla="*/ 81677 w 81742"/>
                <a:gd name="connsiteY6" fmla="*/ 8836 h 16163"/>
                <a:gd name="connsiteX7" fmla="*/ 77983 w 81742"/>
                <a:gd name="connsiteY7" fmla="*/ 2785 h 1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42" h="16163">
                  <a:moveTo>
                    <a:pt x="77983" y="2785"/>
                  </a:moveTo>
                  <a:cubicBezTo>
                    <a:pt x="53450" y="-1660"/>
                    <a:pt x="28247" y="-776"/>
                    <a:pt x="4085" y="5376"/>
                  </a:cubicBezTo>
                  <a:cubicBezTo>
                    <a:pt x="1156" y="6150"/>
                    <a:pt x="-591" y="9152"/>
                    <a:pt x="183" y="12081"/>
                  </a:cubicBezTo>
                  <a:cubicBezTo>
                    <a:pt x="821" y="14493"/>
                    <a:pt x="3006" y="16171"/>
                    <a:pt x="5502" y="16164"/>
                  </a:cubicBezTo>
                  <a:cubicBezTo>
                    <a:pt x="5981" y="16166"/>
                    <a:pt x="6459" y="16098"/>
                    <a:pt x="6918" y="15962"/>
                  </a:cubicBezTo>
                  <a:cubicBezTo>
                    <a:pt x="29320" y="10330"/>
                    <a:pt x="52654" y="9461"/>
                    <a:pt x="75413" y="13411"/>
                  </a:cubicBezTo>
                  <a:cubicBezTo>
                    <a:pt x="78406" y="13877"/>
                    <a:pt x="81211" y="11829"/>
                    <a:pt x="81677" y="8836"/>
                  </a:cubicBezTo>
                  <a:cubicBezTo>
                    <a:pt x="82089" y="6187"/>
                    <a:pt x="80527" y="3628"/>
                    <a:pt x="77983" y="2785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8" name="Graphic 298">
            <a:extLst>
              <a:ext uri="{FF2B5EF4-FFF2-40B4-BE49-F238E27FC236}">
                <a16:creationId xmlns:a16="http://schemas.microsoft.com/office/drawing/2014/main" id="{2AFDAF04-BFC6-1F42-9CE9-06C47AEB4C41}"/>
              </a:ext>
            </a:extLst>
          </p:cNvPr>
          <p:cNvGrpSpPr/>
          <p:nvPr userDrawn="1"/>
        </p:nvGrpSpPr>
        <p:grpSpPr>
          <a:xfrm>
            <a:off x="7259637" y="3980656"/>
            <a:ext cx="404813" cy="404813"/>
            <a:chOff x="7259637" y="3980656"/>
            <a:chExt cx="404813" cy="404813"/>
          </a:xfrm>
        </p:grpSpPr>
        <p:sp>
          <p:nvSpPr>
            <p:cNvPr id="239" name="Freeform 238">
              <a:extLst>
                <a:ext uri="{FF2B5EF4-FFF2-40B4-BE49-F238E27FC236}">
                  <a16:creationId xmlns:a16="http://schemas.microsoft.com/office/drawing/2014/main" id="{5121773E-68D6-7043-8564-94FE4C081518}"/>
                </a:ext>
              </a:extLst>
            </p:cNvPr>
            <p:cNvSpPr/>
            <p:nvPr/>
          </p:nvSpPr>
          <p:spPr>
            <a:xfrm>
              <a:off x="7262311" y="4056544"/>
              <a:ext cx="396781" cy="243863"/>
            </a:xfrm>
            <a:custGeom>
              <a:avLst/>
              <a:gdLst>
                <a:gd name="connsiteX0" fmla="*/ 336357 w 396781"/>
                <a:gd name="connsiteY0" fmla="*/ 243863 h 243863"/>
                <a:gd name="connsiteX1" fmla="*/ 60578 w 396781"/>
                <a:gd name="connsiteY1" fmla="*/ 243863 h 243863"/>
                <a:gd name="connsiteX2" fmla="*/ 1 w 396781"/>
                <a:gd name="connsiteY2" fmla="*/ 183807 h 243863"/>
                <a:gd name="connsiteX3" fmla="*/ 55087 w 396781"/>
                <a:gd name="connsiteY3" fmla="*/ 123456 h 243863"/>
                <a:gd name="connsiteX4" fmla="*/ 141413 w 396781"/>
                <a:gd name="connsiteY4" fmla="*/ 48238 h 243863"/>
                <a:gd name="connsiteX5" fmla="*/ 162009 w 396781"/>
                <a:gd name="connsiteY5" fmla="*/ 52387 h 243863"/>
                <a:gd name="connsiteX6" fmla="*/ 294069 w 396781"/>
                <a:gd name="connsiteY6" fmla="*/ 11219 h 243863"/>
                <a:gd name="connsiteX7" fmla="*/ 342985 w 396781"/>
                <a:gd name="connsiteY7" fmla="*/ 123583 h 243863"/>
                <a:gd name="connsiteX8" fmla="*/ 396422 w 396781"/>
                <a:gd name="connsiteY8" fmla="*/ 190072 h 243863"/>
                <a:gd name="connsiteX9" fmla="*/ 336357 w 396781"/>
                <a:gd name="connsiteY9" fmla="*/ 243863 h 243863"/>
                <a:gd name="connsiteX10" fmla="*/ 135772 w 396781"/>
                <a:gd name="connsiteY10" fmla="*/ 59370 h 243863"/>
                <a:gd name="connsiteX11" fmla="*/ 66270 w 396781"/>
                <a:gd name="connsiteY11" fmla="*/ 128871 h 243863"/>
                <a:gd name="connsiteX12" fmla="*/ 60603 w 396781"/>
                <a:gd name="connsiteY12" fmla="*/ 134538 h 243863"/>
                <a:gd name="connsiteX13" fmla="*/ 10495 w 396781"/>
                <a:gd name="connsiteY13" fmla="*/ 182420 h 243863"/>
                <a:gd name="connsiteX14" fmla="*/ 58376 w 396781"/>
                <a:gd name="connsiteY14" fmla="*/ 232528 h 243863"/>
                <a:gd name="connsiteX15" fmla="*/ 60603 w 396781"/>
                <a:gd name="connsiteY15" fmla="*/ 232528 h 243863"/>
                <a:gd name="connsiteX16" fmla="*/ 336357 w 396781"/>
                <a:gd name="connsiteY16" fmla="*/ 232528 h 243863"/>
                <a:gd name="connsiteX17" fmla="*/ 386465 w 396781"/>
                <a:gd name="connsiteY17" fmla="*/ 184647 h 243863"/>
                <a:gd name="connsiteX18" fmla="*/ 338583 w 396781"/>
                <a:gd name="connsiteY18" fmla="*/ 134538 h 243863"/>
                <a:gd name="connsiteX19" fmla="*/ 336357 w 396781"/>
                <a:gd name="connsiteY19" fmla="*/ 134538 h 243863"/>
                <a:gd name="connsiteX20" fmla="*/ 335420 w 396781"/>
                <a:gd name="connsiteY20" fmla="*/ 134538 h 243863"/>
                <a:gd name="connsiteX21" fmla="*/ 329756 w 396781"/>
                <a:gd name="connsiteY21" fmla="*/ 128817 h 243863"/>
                <a:gd name="connsiteX22" fmla="*/ 330082 w 396781"/>
                <a:gd name="connsiteY22" fmla="*/ 126948 h 243863"/>
                <a:gd name="connsiteX23" fmla="*/ 335142 w 396781"/>
                <a:gd name="connsiteY23" fmla="*/ 98055 h 243863"/>
                <a:gd name="connsiteX24" fmla="*/ 248716 w 396781"/>
                <a:gd name="connsiteY24" fmla="*/ 11424 h 243863"/>
                <a:gd name="connsiteX25" fmla="*/ 169953 w 396781"/>
                <a:gd name="connsiteY25" fmla="*/ 61900 h 243863"/>
                <a:gd name="connsiteX26" fmla="*/ 162616 w 396781"/>
                <a:gd name="connsiteY26" fmla="*/ 64733 h 243863"/>
                <a:gd name="connsiteX27" fmla="*/ 135772 w 396781"/>
                <a:gd name="connsiteY27" fmla="*/ 59370 h 243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96781" h="243863">
                  <a:moveTo>
                    <a:pt x="336357" y="243863"/>
                  </a:moveTo>
                  <a:lnTo>
                    <a:pt x="60578" y="243863"/>
                  </a:lnTo>
                  <a:cubicBezTo>
                    <a:pt x="27266" y="244007"/>
                    <a:pt x="144" y="217119"/>
                    <a:pt x="1" y="183807"/>
                  </a:cubicBezTo>
                  <a:cubicBezTo>
                    <a:pt x="-135" y="152422"/>
                    <a:pt x="23820" y="126178"/>
                    <a:pt x="55087" y="123456"/>
                  </a:cubicBezTo>
                  <a:cubicBezTo>
                    <a:pt x="58155" y="78847"/>
                    <a:pt x="96804" y="45171"/>
                    <a:pt x="141413" y="48238"/>
                  </a:cubicBezTo>
                  <a:cubicBezTo>
                    <a:pt x="148429" y="48720"/>
                    <a:pt x="155353" y="50115"/>
                    <a:pt x="162009" y="52387"/>
                  </a:cubicBezTo>
                  <a:cubicBezTo>
                    <a:pt x="187108" y="4551"/>
                    <a:pt x="246233" y="-13881"/>
                    <a:pt x="294069" y="11219"/>
                  </a:cubicBezTo>
                  <a:cubicBezTo>
                    <a:pt x="334725" y="32551"/>
                    <a:pt x="355072" y="79290"/>
                    <a:pt x="342985" y="123583"/>
                  </a:cubicBezTo>
                  <a:cubicBezTo>
                    <a:pt x="376102" y="127187"/>
                    <a:pt x="400026" y="156956"/>
                    <a:pt x="396422" y="190072"/>
                  </a:cubicBezTo>
                  <a:cubicBezTo>
                    <a:pt x="393087" y="220717"/>
                    <a:pt x="367182" y="243915"/>
                    <a:pt x="336357" y="243863"/>
                  </a:cubicBezTo>
                  <a:close/>
                  <a:moveTo>
                    <a:pt x="135772" y="59370"/>
                  </a:moveTo>
                  <a:cubicBezTo>
                    <a:pt x="97405" y="59411"/>
                    <a:pt x="66312" y="90504"/>
                    <a:pt x="66270" y="128871"/>
                  </a:cubicBezTo>
                  <a:cubicBezTo>
                    <a:pt x="66270" y="132001"/>
                    <a:pt x="63733" y="134538"/>
                    <a:pt x="60603" y="134538"/>
                  </a:cubicBezTo>
                  <a:cubicBezTo>
                    <a:pt x="33544" y="133923"/>
                    <a:pt x="11109" y="155361"/>
                    <a:pt x="10495" y="182420"/>
                  </a:cubicBezTo>
                  <a:cubicBezTo>
                    <a:pt x="9880" y="209479"/>
                    <a:pt x="31317" y="231913"/>
                    <a:pt x="58376" y="232528"/>
                  </a:cubicBezTo>
                  <a:cubicBezTo>
                    <a:pt x="59118" y="232545"/>
                    <a:pt x="59861" y="232545"/>
                    <a:pt x="60603" y="232528"/>
                  </a:cubicBezTo>
                  <a:lnTo>
                    <a:pt x="336357" y="232528"/>
                  </a:lnTo>
                  <a:cubicBezTo>
                    <a:pt x="363416" y="233143"/>
                    <a:pt x="385850" y="211706"/>
                    <a:pt x="386465" y="184647"/>
                  </a:cubicBezTo>
                  <a:cubicBezTo>
                    <a:pt x="387080" y="157588"/>
                    <a:pt x="365643" y="135153"/>
                    <a:pt x="338583" y="134538"/>
                  </a:cubicBezTo>
                  <a:cubicBezTo>
                    <a:pt x="337841" y="134521"/>
                    <a:pt x="337099" y="134521"/>
                    <a:pt x="336357" y="134538"/>
                  </a:cubicBezTo>
                  <a:lnTo>
                    <a:pt x="335420" y="134538"/>
                  </a:lnTo>
                  <a:cubicBezTo>
                    <a:pt x="332277" y="134522"/>
                    <a:pt x="329741" y="131961"/>
                    <a:pt x="329756" y="128817"/>
                  </a:cubicBezTo>
                  <a:cubicBezTo>
                    <a:pt x="329760" y="128180"/>
                    <a:pt x="329870" y="127548"/>
                    <a:pt x="330082" y="126948"/>
                  </a:cubicBezTo>
                  <a:cubicBezTo>
                    <a:pt x="333363" y="117665"/>
                    <a:pt x="335073" y="107900"/>
                    <a:pt x="335142" y="98055"/>
                  </a:cubicBezTo>
                  <a:cubicBezTo>
                    <a:pt x="335199" y="50266"/>
                    <a:pt x="296504" y="11480"/>
                    <a:pt x="248716" y="11424"/>
                  </a:cubicBezTo>
                  <a:cubicBezTo>
                    <a:pt x="214845" y="11383"/>
                    <a:pt x="184065" y="31109"/>
                    <a:pt x="169953" y="61900"/>
                  </a:cubicBezTo>
                  <a:cubicBezTo>
                    <a:pt x="168658" y="64654"/>
                    <a:pt x="165426" y="65902"/>
                    <a:pt x="162616" y="64733"/>
                  </a:cubicBezTo>
                  <a:cubicBezTo>
                    <a:pt x="154117" y="61168"/>
                    <a:pt x="144988" y="59344"/>
                    <a:pt x="135772" y="59370"/>
                  </a:cubicBezTo>
                  <a:close/>
                </a:path>
              </a:pathLst>
            </a:custGeom>
            <a:solidFill>
              <a:srgbClr val="1F6896"/>
            </a:solidFill>
            <a:ln w="250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eform 239">
              <a:extLst>
                <a:ext uri="{FF2B5EF4-FFF2-40B4-BE49-F238E27FC236}">
                  <a16:creationId xmlns:a16="http://schemas.microsoft.com/office/drawing/2014/main" id="{A32FD3B7-DEC7-6B41-B0AB-5323911D49B0}"/>
                </a:ext>
              </a:extLst>
            </p:cNvPr>
            <p:cNvSpPr/>
            <p:nvPr/>
          </p:nvSpPr>
          <p:spPr>
            <a:xfrm>
              <a:off x="7372655" y="4171826"/>
              <a:ext cx="65099" cy="75207"/>
            </a:xfrm>
            <a:custGeom>
              <a:avLst/>
              <a:gdLst>
                <a:gd name="connsiteX0" fmla="*/ 65099 w 65099"/>
                <a:gd name="connsiteY0" fmla="*/ 62242 h 75207"/>
                <a:gd name="connsiteX1" fmla="*/ 54068 w 65099"/>
                <a:gd name="connsiteY1" fmla="*/ 71603 h 75207"/>
                <a:gd name="connsiteX2" fmla="*/ 37800 w 65099"/>
                <a:gd name="connsiteY2" fmla="*/ 75196 h 75207"/>
                <a:gd name="connsiteX3" fmla="*/ 22619 w 65099"/>
                <a:gd name="connsiteY3" fmla="*/ 72413 h 75207"/>
                <a:gd name="connsiteX4" fmla="*/ 10702 w 65099"/>
                <a:gd name="connsiteY4" fmla="*/ 64620 h 75207"/>
                <a:gd name="connsiteX5" fmla="*/ 2859 w 65099"/>
                <a:gd name="connsiteY5" fmla="*/ 52704 h 75207"/>
                <a:gd name="connsiteX6" fmla="*/ 2859 w 65099"/>
                <a:gd name="connsiteY6" fmla="*/ 22165 h 75207"/>
                <a:gd name="connsiteX7" fmla="*/ 10955 w 65099"/>
                <a:gd name="connsiteY7" fmla="*/ 10325 h 75207"/>
                <a:gd name="connsiteX8" fmla="*/ 23024 w 65099"/>
                <a:gd name="connsiteY8" fmla="*/ 2734 h 75207"/>
                <a:gd name="connsiteX9" fmla="*/ 38204 w 65099"/>
                <a:gd name="connsiteY9" fmla="*/ 2 h 75207"/>
                <a:gd name="connsiteX10" fmla="*/ 45567 w 65099"/>
                <a:gd name="connsiteY10" fmla="*/ 710 h 75207"/>
                <a:gd name="connsiteX11" fmla="*/ 52752 w 65099"/>
                <a:gd name="connsiteY11" fmla="*/ 2836 h 75207"/>
                <a:gd name="connsiteX12" fmla="*/ 59027 w 65099"/>
                <a:gd name="connsiteY12" fmla="*/ 6327 h 75207"/>
                <a:gd name="connsiteX13" fmla="*/ 63885 w 65099"/>
                <a:gd name="connsiteY13" fmla="*/ 11109 h 75207"/>
                <a:gd name="connsiteX14" fmla="*/ 55991 w 65099"/>
                <a:gd name="connsiteY14" fmla="*/ 17181 h 75207"/>
                <a:gd name="connsiteX15" fmla="*/ 48552 w 65099"/>
                <a:gd name="connsiteY15" fmla="*/ 11235 h 75207"/>
                <a:gd name="connsiteX16" fmla="*/ 38204 w 65099"/>
                <a:gd name="connsiteY16" fmla="*/ 8705 h 75207"/>
                <a:gd name="connsiteX17" fmla="*/ 26920 w 65099"/>
                <a:gd name="connsiteY17" fmla="*/ 10982 h 75207"/>
                <a:gd name="connsiteX18" fmla="*/ 18368 w 65099"/>
                <a:gd name="connsiteY18" fmla="*/ 17207 h 75207"/>
                <a:gd name="connsiteX19" fmla="*/ 12929 w 65099"/>
                <a:gd name="connsiteY19" fmla="*/ 26365 h 75207"/>
                <a:gd name="connsiteX20" fmla="*/ 11006 w 65099"/>
                <a:gd name="connsiteY20" fmla="*/ 37422 h 75207"/>
                <a:gd name="connsiteX21" fmla="*/ 12878 w 65099"/>
                <a:gd name="connsiteY21" fmla="*/ 48757 h 75207"/>
                <a:gd name="connsiteX22" fmla="*/ 18217 w 65099"/>
                <a:gd name="connsiteY22" fmla="*/ 57890 h 75207"/>
                <a:gd name="connsiteX23" fmla="*/ 26718 w 65099"/>
                <a:gd name="connsiteY23" fmla="*/ 64013 h 75207"/>
                <a:gd name="connsiteX24" fmla="*/ 37901 w 65099"/>
                <a:gd name="connsiteY24" fmla="*/ 66239 h 75207"/>
                <a:gd name="connsiteX25" fmla="*/ 48907 w 65099"/>
                <a:gd name="connsiteY25" fmla="*/ 63709 h 75207"/>
                <a:gd name="connsiteX26" fmla="*/ 57104 w 65099"/>
                <a:gd name="connsiteY26" fmla="*/ 56625 h 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5099" h="75207">
                  <a:moveTo>
                    <a:pt x="65099" y="62242"/>
                  </a:moveTo>
                  <a:cubicBezTo>
                    <a:pt x="62174" y="66154"/>
                    <a:pt x="58403" y="69354"/>
                    <a:pt x="54068" y="71603"/>
                  </a:cubicBezTo>
                  <a:cubicBezTo>
                    <a:pt x="49019" y="74110"/>
                    <a:pt x="43434" y="75343"/>
                    <a:pt x="37800" y="75196"/>
                  </a:cubicBezTo>
                  <a:cubicBezTo>
                    <a:pt x="32608" y="75250"/>
                    <a:pt x="27454" y="74306"/>
                    <a:pt x="22619" y="72413"/>
                  </a:cubicBezTo>
                  <a:cubicBezTo>
                    <a:pt x="18157" y="70655"/>
                    <a:pt x="14102" y="68003"/>
                    <a:pt x="10702" y="64620"/>
                  </a:cubicBezTo>
                  <a:cubicBezTo>
                    <a:pt x="7320" y="61210"/>
                    <a:pt x="4654" y="57159"/>
                    <a:pt x="2859" y="52704"/>
                  </a:cubicBezTo>
                  <a:cubicBezTo>
                    <a:pt x="-953" y="42881"/>
                    <a:pt x="-953" y="31988"/>
                    <a:pt x="2859" y="22165"/>
                  </a:cubicBezTo>
                  <a:cubicBezTo>
                    <a:pt x="4701" y="17697"/>
                    <a:pt x="7459" y="13663"/>
                    <a:pt x="10955" y="10325"/>
                  </a:cubicBezTo>
                  <a:cubicBezTo>
                    <a:pt x="14435" y="7019"/>
                    <a:pt x="18537" y="4439"/>
                    <a:pt x="23024" y="2734"/>
                  </a:cubicBezTo>
                  <a:cubicBezTo>
                    <a:pt x="27867" y="878"/>
                    <a:pt x="33017" y="-49"/>
                    <a:pt x="38204" y="2"/>
                  </a:cubicBezTo>
                  <a:cubicBezTo>
                    <a:pt x="40676" y="2"/>
                    <a:pt x="43141" y="239"/>
                    <a:pt x="45567" y="710"/>
                  </a:cubicBezTo>
                  <a:cubicBezTo>
                    <a:pt x="48032" y="1157"/>
                    <a:pt x="50441" y="1869"/>
                    <a:pt x="52752" y="2836"/>
                  </a:cubicBezTo>
                  <a:cubicBezTo>
                    <a:pt x="54980" y="3735"/>
                    <a:pt x="57088" y="4908"/>
                    <a:pt x="59027" y="6327"/>
                  </a:cubicBezTo>
                  <a:cubicBezTo>
                    <a:pt x="60875" y="7670"/>
                    <a:pt x="62513" y="9282"/>
                    <a:pt x="63885" y="11109"/>
                  </a:cubicBezTo>
                  <a:lnTo>
                    <a:pt x="55991" y="17181"/>
                  </a:lnTo>
                  <a:cubicBezTo>
                    <a:pt x="54036" y="14620"/>
                    <a:pt x="51482" y="12578"/>
                    <a:pt x="48552" y="11235"/>
                  </a:cubicBezTo>
                  <a:cubicBezTo>
                    <a:pt x="45346" y="9601"/>
                    <a:pt x="41803" y="8735"/>
                    <a:pt x="38204" y="8705"/>
                  </a:cubicBezTo>
                  <a:cubicBezTo>
                    <a:pt x="34323" y="8642"/>
                    <a:pt x="30473" y="9419"/>
                    <a:pt x="26920" y="10982"/>
                  </a:cubicBezTo>
                  <a:cubicBezTo>
                    <a:pt x="23669" y="12442"/>
                    <a:pt x="20757" y="14561"/>
                    <a:pt x="18368" y="17207"/>
                  </a:cubicBezTo>
                  <a:cubicBezTo>
                    <a:pt x="15987" y="19884"/>
                    <a:pt x="14140" y="22993"/>
                    <a:pt x="12929" y="26365"/>
                  </a:cubicBezTo>
                  <a:cubicBezTo>
                    <a:pt x="11630" y="29906"/>
                    <a:pt x="10979" y="33651"/>
                    <a:pt x="11006" y="37422"/>
                  </a:cubicBezTo>
                  <a:cubicBezTo>
                    <a:pt x="10967" y="41280"/>
                    <a:pt x="11600" y="45116"/>
                    <a:pt x="12878" y="48757"/>
                  </a:cubicBezTo>
                  <a:cubicBezTo>
                    <a:pt x="14046" y="52120"/>
                    <a:pt x="15860" y="55222"/>
                    <a:pt x="18217" y="57890"/>
                  </a:cubicBezTo>
                  <a:cubicBezTo>
                    <a:pt x="20574" y="60522"/>
                    <a:pt x="23474" y="62611"/>
                    <a:pt x="26718" y="64013"/>
                  </a:cubicBezTo>
                  <a:cubicBezTo>
                    <a:pt x="30245" y="65541"/>
                    <a:pt x="34057" y="66300"/>
                    <a:pt x="37901" y="66239"/>
                  </a:cubicBezTo>
                  <a:cubicBezTo>
                    <a:pt x="41716" y="66259"/>
                    <a:pt x="45483" y="65392"/>
                    <a:pt x="48907" y="63709"/>
                  </a:cubicBezTo>
                  <a:cubicBezTo>
                    <a:pt x="52210" y="62104"/>
                    <a:pt x="55036" y="59661"/>
                    <a:pt x="57104" y="56625"/>
                  </a:cubicBezTo>
                  <a:close/>
                </a:path>
              </a:pathLst>
            </a:custGeom>
            <a:solidFill>
              <a:srgbClr val="BD5C7A"/>
            </a:solidFill>
            <a:ln w="250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eform 240">
              <a:extLst>
                <a:ext uri="{FF2B5EF4-FFF2-40B4-BE49-F238E27FC236}">
                  <a16:creationId xmlns:a16="http://schemas.microsoft.com/office/drawing/2014/main" id="{EEEA8AE5-9D15-E841-85FF-DD187DB64DE4}"/>
                </a:ext>
              </a:extLst>
            </p:cNvPr>
            <p:cNvSpPr/>
            <p:nvPr/>
          </p:nvSpPr>
          <p:spPr>
            <a:xfrm>
              <a:off x="7448077" y="4171763"/>
              <a:ext cx="75906" cy="75223"/>
            </a:xfrm>
            <a:custGeom>
              <a:avLst/>
              <a:gdLst>
                <a:gd name="connsiteX0" fmla="*/ 75902 w 75906"/>
                <a:gd name="connsiteY0" fmla="*/ 37536 h 75223"/>
                <a:gd name="connsiteX1" fmla="*/ 73018 w 75906"/>
                <a:gd name="connsiteY1" fmla="*/ 52716 h 75223"/>
                <a:gd name="connsiteX2" fmla="*/ 65074 w 75906"/>
                <a:gd name="connsiteY2" fmla="*/ 64633 h 75223"/>
                <a:gd name="connsiteX3" fmla="*/ 53056 w 75906"/>
                <a:gd name="connsiteY3" fmla="*/ 72426 h 75223"/>
                <a:gd name="connsiteX4" fmla="*/ 22695 w 75906"/>
                <a:gd name="connsiteY4" fmla="*/ 72426 h 75223"/>
                <a:gd name="connsiteX5" fmla="*/ 2834 w 75906"/>
                <a:gd name="connsiteY5" fmla="*/ 52716 h 75223"/>
                <a:gd name="connsiteX6" fmla="*/ 2834 w 75906"/>
                <a:gd name="connsiteY6" fmla="*/ 22178 h 75223"/>
                <a:gd name="connsiteX7" fmla="*/ 10727 w 75906"/>
                <a:gd name="connsiteY7" fmla="*/ 10338 h 75223"/>
                <a:gd name="connsiteX8" fmla="*/ 22695 w 75906"/>
                <a:gd name="connsiteY8" fmla="*/ 2747 h 75223"/>
                <a:gd name="connsiteX9" fmla="*/ 53056 w 75906"/>
                <a:gd name="connsiteY9" fmla="*/ 2747 h 75223"/>
                <a:gd name="connsiteX10" fmla="*/ 65074 w 75906"/>
                <a:gd name="connsiteY10" fmla="*/ 10338 h 75223"/>
                <a:gd name="connsiteX11" fmla="*/ 73018 w 75906"/>
                <a:gd name="connsiteY11" fmla="*/ 22178 h 75223"/>
                <a:gd name="connsiteX12" fmla="*/ 75902 w 75906"/>
                <a:gd name="connsiteY12" fmla="*/ 37536 h 75223"/>
                <a:gd name="connsiteX13" fmla="*/ 65074 w 75906"/>
                <a:gd name="connsiteY13" fmla="*/ 37536 h 75223"/>
                <a:gd name="connsiteX14" fmla="*/ 63176 w 75906"/>
                <a:gd name="connsiteY14" fmla="*/ 26479 h 75223"/>
                <a:gd name="connsiteX15" fmla="*/ 57711 w 75906"/>
                <a:gd name="connsiteY15" fmla="*/ 17321 h 75223"/>
                <a:gd name="connsiteX16" fmla="*/ 49159 w 75906"/>
                <a:gd name="connsiteY16" fmla="*/ 11097 h 75223"/>
                <a:gd name="connsiteX17" fmla="*/ 26718 w 75906"/>
                <a:gd name="connsiteY17" fmla="*/ 11097 h 75223"/>
                <a:gd name="connsiteX18" fmla="*/ 18217 w 75906"/>
                <a:gd name="connsiteY18" fmla="*/ 17321 h 75223"/>
                <a:gd name="connsiteX19" fmla="*/ 12827 w 75906"/>
                <a:gd name="connsiteY19" fmla="*/ 26479 h 75223"/>
                <a:gd name="connsiteX20" fmla="*/ 10905 w 75906"/>
                <a:gd name="connsiteY20" fmla="*/ 37536 h 75223"/>
                <a:gd name="connsiteX21" fmla="*/ 12827 w 75906"/>
                <a:gd name="connsiteY21" fmla="*/ 48769 h 75223"/>
                <a:gd name="connsiteX22" fmla="*/ 18267 w 75906"/>
                <a:gd name="connsiteY22" fmla="*/ 57903 h 75223"/>
                <a:gd name="connsiteX23" fmla="*/ 26768 w 75906"/>
                <a:gd name="connsiteY23" fmla="*/ 64026 h 75223"/>
                <a:gd name="connsiteX24" fmla="*/ 37901 w 75906"/>
                <a:gd name="connsiteY24" fmla="*/ 66252 h 75223"/>
                <a:gd name="connsiteX25" fmla="*/ 49109 w 75906"/>
                <a:gd name="connsiteY25" fmla="*/ 64026 h 75223"/>
                <a:gd name="connsiteX26" fmla="*/ 57711 w 75906"/>
                <a:gd name="connsiteY26" fmla="*/ 57903 h 75223"/>
                <a:gd name="connsiteX27" fmla="*/ 63176 w 75906"/>
                <a:gd name="connsiteY27" fmla="*/ 48769 h 75223"/>
                <a:gd name="connsiteX28" fmla="*/ 65074 w 75906"/>
                <a:gd name="connsiteY28" fmla="*/ 37536 h 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5906" h="75223">
                  <a:moveTo>
                    <a:pt x="75902" y="37536"/>
                  </a:moveTo>
                  <a:cubicBezTo>
                    <a:pt x="75956" y="42737"/>
                    <a:pt x="74975" y="47897"/>
                    <a:pt x="73018" y="52716"/>
                  </a:cubicBezTo>
                  <a:cubicBezTo>
                    <a:pt x="71197" y="57182"/>
                    <a:pt x="68495" y="61234"/>
                    <a:pt x="65074" y="64633"/>
                  </a:cubicBezTo>
                  <a:cubicBezTo>
                    <a:pt x="61640" y="68022"/>
                    <a:pt x="57551" y="70674"/>
                    <a:pt x="53056" y="72426"/>
                  </a:cubicBezTo>
                  <a:cubicBezTo>
                    <a:pt x="43279" y="76156"/>
                    <a:pt x="32471" y="76156"/>
                    <a:pt x="22695" y="72426"/>
                  </a:cubicBezTo>
                  <a:cubicBezTo>
                    <a:pt x="13637" y="68881"/>
                    <a:pt x="6448" y="61747"/>
                    <a:pt x="2834" y="52716"/>
                  </a:cubicBezTo>
                  <a:cubicBezTo>
                    <a:pt x="-945" y="42888"/>
                    <a:pt x="-945" y="32007"/>
                    <a:pt x="2834" y="22178"/>
                  </a:cubicBezTo>
                  <a:cubicBezTo>
                    <a:pt x="4610" y="17724"/>
                    <a:pt x="7299" y="13690"/>
                    <a:pt x="10727" y="10338"/>
                  </a:cubicBezTo>
                  <a:cubicBezTo>
                    <a:pt x="14174" y="7039"/>
                    <a:pt x="18242" y="4459"/>
                    <a:pt x="22695" y="2747"/>
                  </a:cubicBezTo>
                  <a:cubicBezTo>
                    <a:pt x="32484" y="-916"/>
                    <a:pt x="43267" y="-916"/>
                    <a:pt x="53056" y="2747"/>
                  </a:cubicBezTo>
                  <a:cubicBezTo>
                    <a:pt x="57530" y="4446"/>
                    <a:pt x="61617" y="7027"/>
                    <a:pt x="65074" y="10338"/>
                  </a:cubicBezTo>
                  <a:cubicBezTo>
                    <a:pt x="68510" y="13694"/>
                    <a:pt x="71215" y="17726"/>
                    <a:pt x="73018" y="22178"/>
                  </a:cubicBezTo>
                  <a:cubicBezTo>
                    <a:pt x="74995" y="27054"/>
                    <a:pt x="75976" y="32275"/>
                    <a:pt x="75902" y="37536"/>
                  </a:cubicBezTo>
                  <a:close/>
                  <a:moveTo>
                    <a:pt x="65074" y="37536"/>
                  </a:moveTo>
                  <a:cubicBezTo>
                    <a:pt x="65096" y="33767"/>
                    <a:pt x="64454" y="30025"/>
                    <a:pt x="63176" y="26479"/>
                  </a:cubicBezTo>
                  <a:cubicBezTo>
                    <a:pt x="61946" y="23110"/>
                    <a:pt x="60092" y="20003"/>
                    <a:pt x="57711" y="17321"/>
                  </a:cubicBezTo>
                  <a:cubicBezTo>
                    <a:pt x="55328" y="14670"/>
                    <a:pt x="52414" y="12549"/>
                    <a:pt x="49159" y="11097"/>
                  </a:cubicBezTo>
                  <a:cubicBezTo>
                    <a:pt x="41987" y="8061"/>
                    <a:pt x="33890" y="8061"/>
                    <a:pt x="26718" y="11097"/>
                  </a:cubicBezTo>
                  <a:cubicBezTo>
                    <a:pt x="23474" y="12544"/>
                    <a:pt x="20576" y="14666"/>
                    <a:pt x="18217" y="17321"/>
                  </a:cubicBezTo>
                  <a:cubicBezTo>
                    <a:pt x="15859" y="20007"/>
                    <a:pt x="14031" y="23114"/>
                    <a:pt x="12827" y="26479"/>
                  </a:cubicBezTo>
                  <a:cubicBezTo>
                    <a:pt x="11529" y="30020"/>
                    <a:pt x="10877" y="33765"/>
                    <a:pt x="10905" y="37536"/>
                  </a:cubicBezTo>
                  <a:cubicBezTo>
                    <a:pt x="10876" y="41365"/>
                    <a:pt x="11527" y="45168"/>
                    <a:pt x="12827" y="48769"/>
                  </a:cubicBezTo>
                  <a:cubicBezTo>
                    <a:pt x="14021" y="52143"/>
                    <a:pt x="15870" y="55247"/>
                    <a:pt x="18267" y="57903"/>
                  </a:cubicBezTo>
                  <a:cubicBezTo>
                    <a:pt x="20640" y="60518"/>
                    <a:pt x="23536" y="62604"/>
                    <a:pt x="26768" y="64026"/>
                  </a:cubicBezTo>
                  <a:cubicBezTo>
                    <a:pt x="30277" y="65556"/>
                    <a:pt x="34073" y="66315"/>
                    <a:pt x="37901" y="66252"/>
                  </a:cubicBezTo>
                  <a:cubicBezTo>
                    <a:pt x="41752" y="66307"/>
                    <a:pt x="45571" y="65548"/>
                    <a:pt x="49109" y="64026"/>
                  </a:cubicBezTo>
                  <a:cubicBezTo>
                    <a:pt x="52382" y="62626"/>
                    <a:pt x="55316" y="60537"/>
                    <a:pt x="57711" y="57903"/>
                  </a:cubicBezTo>
                  <a:cubicBezTo>
                    <a:pt x="60107" y="55242"/>
                    <a:pt x="61964" y="52139"/>
                    <a:pt x="63176" y="48769"/>
                  </a:cubicBezTo>
                  <a:cubicBezTo>
                    <a:pt x="64457" y="45164"/>
                    <a:pt x="65099" y="41362"/>
                    <a:pt x="65074" y="37536"/>
                  </a:cubicBezTo>
                  <a:close/>
                </a:path>
              </a:pathLst>
            </a:custGeom>
            <a:solidFill>
              <a:srgbClr val="BD5C7A"/>
            </a:solidFill>
            <a:ln w="250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eform 241">
              <a:extLst>
                <a:ext uri="{FF2B5EF4-FFF2-40B4-BE49-F238E27FC236}">
                  <a16:creationId xmlns:a16="http://schemas.microsoft.com/office/drawing/2014/main" id="{BBB82859-545A-0A47-B73B-8630B3EAA24D}"/>
                </a:ext>
              </a:extLst>
            </p:cNvPr>
            <p:cNvSpPr/>
            <p:nvPr/>
          </p:nvSpPr>
          <p:spPr>
            <a:xfrm>
              <a:off x="7538224" y="4209172"/>
              <a:ext cx="32612" cy="51183"/>
            </a:xfrm>
            <a:custGeom>
              <a:avLst/>
              <a:gdLst>
                <a:gd name="connsiteX0" fmla="*/ 32613 w 32612"/>
                <a:gd name="connsiteY0" fmla="*/ 51184 h 51183"/>
                <a:gd name="connsiteX1" fmla="*/ 0 w 32612"/>
                <a:gd name="connsiteY1" fmla="*/ 51184 h 51183"/>
                <a:gd name="connsiteX2" fmla="*/ 0 w 32612"/>
                <a:gd name="connsiteY2" fmla="*/ 44732 h 51183"/>
                <a:gd name="connsiteX3" fmla="*/ 19962 w 32612"/>
                <a:gd name="connsiteY3" fmla="*/ 24921 h 51183"/>
                <a:gd name="connsiteX4" fmla="*/ 23859 w 32612"/>
                <a:gd name="connsiteY4" fmla="*/ 20038 h 51183"/>
                <a:gd name="connsiteX5" fmla="*/ 25478 w 32612"/>
                <a:gd name="connsiteY5" fmla="*/ 14295 h 51183"/>
                <a:gd name="connsiteX6" fmla="*/ 24770 w 32612"/>
                <a:gd name="connsiteY6" fmla="*/ 10728 h 51183"/>
                <a:gd name="connsiteX7" fmla="*/ 22872 w 32612"/>
                <a:gd name="connsiteY7" fmla="*/ 7995 h 51183"/>
                <a:gd name="connsiteX8" fmla="*/ 20038 w 32612"/>
                <a:gd name="connsiteY8" fmla="*/ 6275 h 51183"/>
                <a:gd name="connsiteX9" fmla="*/ 16572 w 32612"/>
                <a:gd name="connsiteY9" fmla="*/ 5667 h 51183"/>
                <a:gd name="connsiteX10" fmla="*/ 10272 w 32612"/>
                <a:gd name="connsiteY10" fmla="*/ 8198 h 51183"/>
                <a:gd name="connsiteX11" fmla="*/ 7160 w 32612"/>
                <a:gd name="connsiteY11" fmla="*/ 14447 h 51183"/>
                <a:gd name="connsiteX12" fmla="*/ 430 w 32612"/>
                <a:gd name="connsiteY12" fmla="*/ 13308 h 51183"/>
                <a:gd name="connsiteX13" fmla="*/ 2252 w 32612"/>
                <a:gd name="connsiteY13" fmla="*/ 8046 h 51183"/>
                <a:gd name="connsiteX14" fmla="*/ 5743 w 32612"/>
                <a:gd name="connsiteY14" fmla="*/ 3795 h 51183"/>
                <a:gd name="connsiteX15" fmla="*/ 10652 w 32612"/>
                <a:gd name="connsiteY15" fmla="*/ 1012 h 51183"/>
                <a:gd name="connsiteX16" fmla="*/ 16648 w 32612"/>
                <a:gd name="connsiteY16" fmla="*/ 0 h 51183"/>
                <a:gd name="connsiteX17" fmla="*/ 22619 w 32612"/>
                <a:gd name="connsiteY17" fmla="*/ 936 h 51183"/>
                <a:gd name="connsiteX18" fmla="*/ 27679 w 32612"/>
                <a:gd name="connsiteY18" fmla="*/ 3618 h 51183"/>
                <a:gd name="connsiteX19" fmla="*/ 31196 w 32612"/>
                <a:gd name="connsiteY19" fmla="*/ 8071 h 51183"/>
                <a:gd name="connsiteX20" fmla="*/ 32486 w 32612"/>
                <a:gd name="connsiteY20" fmla="*/ 14244 h 51183"/>
                <a:gd name="connsiteX21" fmla="*/ 31854 w 32612"/>
                <a:gd name="connsiteY21" fmla="*/ 18697 h 51183"/>
                <a:gd name="connsiteX22" fmla="*/ 30133 w 32612"/>
                <a:gd name="connsiteY22" fmla="*/ 22594 h 51183"/>
                <a:gd name="connsiteX23" fmla="*/ 27603 w 32612"/>
                <a:gd name="connsiteY23" fmla="*/ 26085 h 51183"/>
                <a:gd name="connsiteX24" fmla="*/ 24466 w 32612"/>
                <a:gd name="connsiteY24" fmla="*/ 29374 h 51183"/>
                <a:gd name="connsiteX25" fmla="*/ 8197 w 32612"/>
                <a:gd name="connsiteY25" fmla="*/ 45238 h 51183"/>
                <a:gd name="connsiteX26" fmla="*/ 32613 w 32612"/>
                <a:gd name="connsiteY26" fmla="*/ 45238 h 5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2612" h="51183">
                  <a:moveTo>
                    <a:pt x="32613" y="51184"/>
                  </a:moveTo>
                  <a:lnTo>
                    <a:pt x="0" y="51184"/>
                  </a:lnTo>
                  <a:lnTo>
                    <a:pt x="0" y="44732"/>
                  </a:lnTo>
                  <a:lnTo>
                    <a:pt x="19962" y="24921"/>
                  </a:lnTo>
                  <a:cubicBezTo>
                    <a:pt x="21420" y="23427"/>
                    <a:pt x="22725" y="21792"/>
                    <a:pt x="23859" y="20038"/>
                  </a:cubicBezTo>
                  <a:cubicBezTo>
                    <a:pt x="24947" y="18323"/>
                    <a:pt x="25509" y="16326"/>
                    <a:pt x="25478" y="14295"/>
                  </a:cubicBezTo>
                  <a:cubicBezTo>
                    <a:pt x="25500" y="13069"/>
                    <a:pt x="25259" y="11852"/>
                    <a:pt x="24770" y="10728"/>
                  </a:cubicBezTo>
                  <a:cubicBezTo>
                    <a:pt x="24334" y="9695"/>
                    <a:pt x="23688" y="8764"/>
                    <a:pt x="22872" y="7995"/>
                  </a:cubicBezTo>
                  <a:cubicBezTo>
                    <a:pt x="22047" y="7245"/>
                    <a:pt x="21085" y="6661"/>
                    <a:pt x="20038" y="6275"/>
                  </a:cubicBezTo>
                  <a:cubicBezTo>
                    <a:pt x="18928" y="5867"/>
                    <a:pt x="17754" y="5661"/>
                    <a:pt x="16572" y="5667"/>
                  </a:cubicBezTo>
                  <a:cubicBezTo>
                    <a:pt x="14212" y="5602"/>
                    <a:pt x="11931" y="6518"/>
                    <a:pt x="10272" y="8198"/>
                  </a:cubicBezTo>
                  <a:cubicBezTo>
                    <a:pt x="8589" y="9891"/>
                    <a:pt x="7497" y="12083"/>
                    <a:pt x="7160" y="14447"/>
                  </a:cubicBezTo>
                  <a:lnTo>
                    <a:pt x="430" y="13308"/>
                  </a:lnTo>
                  <a:cubicBezTo>
                    <a:pt x="699" y="11455"/>
                    <a:pt x="1317" y="9669"/>
                    <a:pt x="2252" y="8046"/>
                  </a:cubicBezTo>
                  <a:cubicBezTo>
                    <a:pt x="3156" y="6434"/>
                    <a:pt x="4338" y="4995"/>
                    <a:pt x="5743" y="3795"/>
                  </a:cubicBezTo>
                  <a:cubicBezTo>
                    <a:pt x="7200" y="2582"/>
                    <a:pt x="8862" y="1639"/>
                    <a:pt x="10652" y="1012"/>
                  </a:cubicBezTo>
                  <a:cubicBezTo>
                    <a:pt x="12578" y="336"/>
                    <a:pt x="14606" y="-6"/>
                    <a:pt x="16648" y="0"/>
                  </a:cubicBezTo>
                  <a:cubicBezTo>
                    <a:pt x="18675" y="0"/>
                    <a:pt x="20689" y="316"/>
                    <a:pt x="22619" y="936"/>
                  </a:cubicBezTo>
                  <a:cubicBezTo>
                    <a:pt x="24456" y="1511"/>
                    <a:pt x="26172" y="2420"/>
                    <a:pt x="27679" y="3618"/>
                  </a:cubicBezTo>
                  <a:cubicBezTo>
                    <a:pt x="29164" y="4826"/>
                    <a:pt x="30365" y="6346"/>
                    <a:pt x="31196" y="8071"/>
                  </a:cubicBezTo>
                  <a:cubicBezTo>
                    <a:pt x="32087" y="10005"/>
                    <a:pt x="32528" y="12116"/>
                    <a:pt x="32486" y="14244"/>
                  </a:cubicBezTo>
                  <a:cubicBezTo>
                    <a:pt x="32503" y="15752"/>
                    <a:pt x="32290" y="17254"/>
                    <a:pt x="31854" y="18697"/>
                  </a:cubicBezTo>
                  <a:cubicBezTo>
                    <a:pt x="31433" y="20058"/>
                    <a:pt x="30855" y="21366"/>
                    <a:pt x="30133" y="22594"/>
                  </a:cubicBezTo>
                  <a:cubicBezTo>
                    <a:pt x="29397" y="23831"/>
                    <a:pt x="28550" y="25000"/>
                    <a:pt x="27603" y="26085"/>
                  </a:cubicBezTo>
                  <a:cubicBezTo>
                    <a:pt x="26591" y="27198"/>
                    <a:pt x="25554" y="28286"/>
                    <a:pt x="24466" y="29374"/>
                  </a:cubicBezTo>
                  <a:lnTo>
                    <a:pt x="8197" y="45238"/>
                  </a:lnTo>
                  <a:lnTo>
                    <a:pt x="32613" y="45238"/>
                  </a:lnTo>
                  <a:close/>
                </a:path>
              </a:pathLst>
            </a:custGeom>
            <a:solidFill>
              <a:srgbClr val="BD5C7A"/>
            </a:solidFill>
            <a:ln w="250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43" name="Graphic 305">
            <a:extLst>
              <a:ext uri="{FF2B5EF4-FFF2-40B4-BE49-F238E27FC236}">
                <a16:creationId xmlns:a16="http://schemas.microsoft.com/office/drawing/2014/main" id="{C8871899-16BA-DF4E-90B9-A17E0356DD5E}"/>
              </a:ext>
            </a:extLst>
          </p:cNvPr>
          <p:cNvGrpSpPr/>
          <p:nvPr userDrawn="1"/>
        </p:nvGrpSpPr>
        <p:grpSpPr>
          <a:xfrm>
            <a:off x="3857626" y="4668838"/>
            <a:ext cx="360362" cy="360362"/>
            <a:chOff x="3857626" y="4668838"/>
            <a:chExt cx="360362" cy="360362"/>
          </a:xfrm>
        </p:grpSpPr>
        <p:sp>
          <p:nvSpPr>
            <p:cNvPr id="244" name="Freeform 243">
              <a:extLst>
                <a:ext uri="{FF2B5EF4-FFF2-40B4-BE49-F238E27FC236}">
                  <a16:creationId xmlns:a16="http://schemas.microsoft.com/office/drawing/2014/main" id="{010B750E-E3EF-5044-97A5-6EFA3CBB79F9}"/>
                </a:ext>
              </a:extLst>
            </p:cNvPr>
            <p:cNvSpPr/>
            <p:nvPr/>
          </p:nvSpPr>
          <p:spPr>
            <a:xfrm>
              <a:off x="3860104" y="4682682"/>
              <a:ext cx="364707" cy="344231"/>
            </a:xfrm>
            <a:custGeom>
              <a:avLst/>
              <a:gdLst>
                <a:gd name="connsiteX0" fmla="*/ 358605 w 364707"/>
                <a:gd name="connsiteY0" fmla="*/ 332756 h 344231"/>
                <a:gd name="connsiteX1" fmla="*/ 334280 w 364707"/>
                <a:gd name="connsiteY1" fmla="*/ 332756 h 344231"/>
                <a:gd name="connsiteX2" fmla="*/ 334280 w 364707"/>
                <a:gd name="connsiteY2" fmla="*/ 172102 h 344231"/>
                <a:gd name="connsiteX3" fmla="*/ 316059 w 364707"/>
                <a:gd name="connsiteY3" fmla="*/ 154895 h 344231"/>
                <a:gd name="connsiteX4" fmla="*/ 316059 w 364707"/>
                <a:gd name="connsiteY4" fmla="*/ 120480 h 344231"/>
                <a:gd name="connsiteX5" fmla="*/ 297816 w 364707"/>
                <a:gd name="connsiteY5" fmla="*/ 103273 h 344231"/>
                <a:gd name="connsiteX6" fmla="*/ 297816 w 364707"/>
                <a:gd name="connsiteY6" fmla="*/ 68836 h 344231"/>
                <a:gd name="connsiteX7" fmla="*/ 279595 w 364707"/>
                <a:gd name="connsiteY7" fmla="*/ 51629 h 344231"/>
                <a:gd name="connsiteX8" fmla="*/ 279595 w 364707"/>
                <a:gd name="connsiteY8" fmla="*/ 17214 h 344231"/>
                <a:gd name="connsiteX9" fmla="*/ 261352 w 364707"/>
                <a:gd name="connsiteY9" fmla="*/ 7 h 344231"/>
                <a:gd name="connsiteX10" fmla="*/ 103378 w 364707"/>
                <a:gd name="connsiteY10" fmla="*/ 7 h 344231"/>
                <a:gd name="connsiteX11" fmla="*/ 85157 w 364707"/>
                <a:gd name="connsiteY11" fmla="*/ 17214 h 344231"/>
                <a:gd name="connsiteX12" fmla="*/ 85157 w 364707"/>
                <a:gd name="connsiteY12" fmla="*/ 51629 h 344231"/>
                <a:gd name="connsiteX13" fmla="*/ 66914 w 364707"/>
                <a:gd name="connsiteY13" fmla="*/ 68836 h 344231"/>
                <a:gd name="connsiteX14" fmla="*/ 66914 w 364707"/>
                <a:gd name="connsiteY14" fmla="*/ 103273 h 344231"/>
                <a:gd name="connsiteX15" fmla="*/ 48693 w 364707"/>
                <a:gd name="connsiteY15" fmla="*/ 120480 h 344231"/>
                <a:gd name="connsiteX16" fmla="*/ 48693 w 364707"/>
                <a:gd name="connsiteY16" fmla="*/ 154895 h 344231"/>
                <a:gd name="connsiteX17" fmla="*/ 30450 w 364707"/>
                <a:gd name="connsiteY17" fmla="*/ 172102 h 344231"/>
                <a:gd name="connsiteX18" fmla="*/ 30450 w 364707"/>
                <a:gd name="connsiteY18" fmla="*/ 332756 h 344231"/>
                <a:gd name="connsiteX19" fmla="*/ 6103 w 364707"/>
                <a:gd name="connsiteY19" fmla="*/ 332756 h 344231"/>
                <a:gd name="connsiteX20" fmla="*/ 11 w 364707"/>
                <a:gd name="connsiteY20" fmla="*/ 338128 h 344231"/>
                <a:gd name="connsiteX21" fmla="*/ 5384 w 364707"/>
                <a:gd name="connsiteY21" fmla="*/ 344220 h 344231"/>
                <a:gd name="connsiteX22" fmla="*/ 6103 w 364707"/>
                <a:gd name="connsiteY22" fmla="*/ 344220 h 344231"/>
                <a:gd name="connsiteX23" fmla="*/ 358605 w 364707"/>
                <a:gd name="connsiteY23" fmla="*/ 344220 h 344231"/>
                <a:gd name="connsiteX24" fmla="*/ 364696 w 364707"/>
                <a:gd name="connsiteY24" fmla="*/ 338847 h 344231"/>
                <a:gd name="connsiteX25" fmla="*/ 359324 w 364707"/>
                <a:gd name="connsiteY25" fmla="*/ 332756 h 344231"/>
                <a:gd name="connsiteX26" fmla="*/ 358605 w 364707"/>
                <a:gd name="connsiteY26" fmla="*/ 332756 h 344231"/>
                <a:gd name="connsiteX27" fmla="*/ 97275 w 364707"/>
                <a:gd name="connsiteY27" fmla="*/ 17214 h 344231"/>
                <a:gd name="connsiteX28" fmla="*/ 103328 w 364707"/>
                <a:gd name="connsiteY28" fmla="*/ 11469 h 344231"/>
                <a:gd name="connsiteX29" fmla="*/ 103378 w 364707"/>
                <a:gd name="connsiteY29" fmla="*/ 11471 h 344231"/>
                <a:gd name="connsiteX30" fmla="*/ 261397 w 364707"/>
                <a:gd name="connsiteY30" fmla="*/ 11471 h 344231"/>
                <a:gd name="connsiteX31" fmla="*/ 267478 w 364707"/>
                <a:gd name="connsiteY31" fmla="*/ 17214 h 344231"/>
                <a:gd name="connsiteX32" fmla="*/ 267478 w 364707"/>
                <a:gd name="connsiteY32" fmla="*/ 51629 h 344231"/>
                <a:gd name="connsiteX33" fmla="*/ 175653 w 364707"/>
                <a:gd name="connsiteY33" fmla="*/ 51629 h 344231"/>
                <a:gd name="connsiteX34" fmla="*/ 138044 w 364707"/>
                <a:gd name="connsiteY34" fmla="*/ 29688 h 344231"/>
                <a:gd name="connsiteX35" fmla="*/ 116103 w 364707"/>
                <a:gd name="connsiteY35" fmla="*/ 51629 h 344231"/>
                <a:gd name="connsiteX36" fmla="*/ 97275 w 364707"/>
                <a:gd name="connsiteY36" fmla="*/ 51629 h 344231"/>
                <a:gd name="connsiteX37" fmla="*/ 97275 w 364707"/>
                <a:gd name="connsiteY37" fmla="*/ 17214 h 344231"/>
                <a:gd name="connsiteX38" fmla="*/ 162996 w 364707"/>
                <a:gd name="connsiteY38" fmla="*/ 51629 h 344231"/>
                <a:gd name="connsiteX39" fmla="*/ 128784 w 364707"/>
                <a:gd name="connsiteY39" fmla="*/ 51629 h 344231"/>
                <a:gd name="connsiteX40" fmla="*/ 152912 w 364707"/>
                <a:gd name="connsiteY40" fmla="*/ 41544 h 344231"/>
                <a:gd name="connsiteX41" fmla="*/ 162996 w 364707"/>
                <a:gd name="connsiteY41" fmla="*/ 51629 h 344231"/>
                <a:gd name="connsiteX42" fmla="*/ 79031 w 364707"/>
                <a:gd name="connsiteY42" fmla="*/ 68836 h 344231"/>
                <a:gd name="connsiteX43" fmla="*/ 85112 w 364707"/>
                <a:gd name="connsiteY43" fmla="*/ 63115 h 344231"/>
                <a:gd name="connsiteX44" fmla="*/ 279595 w 364707"/>
                <a:gd name="connsiteY44" fmla="*/ 63115 h 344231"/>
                <a:gd name="connsiteX45" fmla="*/ 285676 w 364707"/>
                <a:gd name="connsiteY45" fmla="*/ 68836 h 344231"/>
                <a:gd name="connsiteX46" fmla="*/ 285676 w 364707"/>
                <a:gd name="connsiteY46" fmla="*/ 103273 h 344231"/>
                <a:gd name="connsiteX47" fmla="*/ 157432 w 364707"/>
                <a:gd name="connsiteY47" fmla="*/ 103273 h 344231"/>
                <a:gd name="connsiteX48" fmla="*/ 119823 w 364707"/>
                <a:gd name="connsiteY48" fmla="*/ 81333 h 344231"/>
                <a:gd name="connsiteX49" fmla="*/ 97883 w 364707"/>
                <a:gd name="connsiteY49" fmla="*/ 103273 h 344231"/>
                <a:gd name="connsiteX50" fmla="*/ 79031 w 364707"/>
                <a:gd name="connsiteY50" fmla="*/ 103273 h 344231"/>
                <a:gd name="connsiteX51" fmla="*/ 79031 w 364707"/>
                <a:gd name="connsiteY51" fmla="*/ 68836 h 344231"/>
                <a:gd name="connsiteX52" fmla="*/ 144775 w 364707"/>
                <a:gd name="connsiteY52" fmla="*/ 103273 h 344231"/>
                <a:gd name="connsiteX53" fmla="*/ 110540 w 364707"/>
                <a:gd name="connsiteY53" fmla="*/ 103273 h 344231"/>
                <a:gd name="connsiteX54" fmla="*/ 134652 w 364707"/>
                <a:gd name="connsiteY54" fmla="*/ 93150 h 344231"/>
                <a:gd name="connsiteX55" fmla="*/ 144775 w 364707"/>
                <a:gd name="connsiteY55" fmla="*/ 103273 h 344231"/>
                <a:gd name="connsiteX56" fmla="*/ 60810 w 364707"/>
                <a:gd name="connsiteY56" fmla="*/ 120480 h 344231"/>
                <a:gd name="connsiteX57" fmla="*/ 66865 w 364707"/>
                <a:gd name="connsiteY57" fmla="*/ 114737 h 344231"/>
                <a:gd name="connsiteX58" fmla="*/ 66869 w 364707"/>
                <a:gd name="connsiteY58" fmla="*/ 114737 h 344231"/>
                <a:gd name="connsiteX59" fmla="*/ 297816 w 364707"/>
                <a:gd name="connsiteY59" fmla="*/ 114737 h 344231"/>
                <a:gd name="connsiteX60" fmla="*/ 303897 w 364707"/>
                <a:gd name="connsiteY60" fmla="*/ 120480 h 344231"/>
                <a:gd name="connsiteX61" fmla="*/ 303897 w 364707"/>
                <a:gd name="connsiteY61" fmla="*/ 154895 h 344231"/>
                <a:gd name="connsiteX62" fmla="*/ 139189 w 364707"/>
                <a:gd name="connsiteY62" fmla="*/ 154895 h 344231"/>
                <a:gd name="connsiteX63" fmla="*/ 109414 w 364707"/>
                <a:gd name="connsiteY63" fmla="*/ 131944 h 344231"/>
                <a:gd name="connsiteX64" fmla="*/ 79639 w 364707"/>
                <a:gd name="connsiteY64" fmla="*/ 154895 h 344231"/>
                <a:gd name="connsiteX65" fmla="*/ 60810 w 364707"/>
                <a:gd name="connsiteY65" fmla="*/ 154895 h 344231"/>
                <a:gd name="connsiteX66" fmla="*/ 126531 w 364707"/>
                <a:gd name="connsiteY66" fmla="*/ 154895 h 344231"/>
                <a:gd name="connsiteX67" fmla="*/ 92297 w 364707"/>
                <a:gd name="connsiteY67" fmla="*/ 154895 h 344231"/>
                <a:gd name="connsiteX68" fmla="*/ 116468 w 364707"/>
                <a:gd name="connsiteY68" fmla="*/ 144831 h 344231"/>
                <a:gd name="connsiteX69" fmla="*/ 126531 w 364707"/>
                <a:gd name="connsiteY69" fmla="*/ 154895 h 344231"/>
                <a:gd name="connsiteX70" fmla="*/ 322140 w 364707"/>
                <a:gd name="connsiteY70" fmla="*/ 332824 h 344231"/>
                <a:gd name="connsiteX71" fmla="*/ 42567 w 364707"/>
                <a:gd name="connsiteY71" fmla="*/ 332824 h 344231"/>
                <a:gd name="connsiteX72" fmla="*/ 42567 w 364707"/>
                <a:gd name="connsiteY72" fmla="*/ 172102 h 344231"/>
                <a:gd name="connsiteX73" fmla="*/ 48644 w 364707"/>
                <a:gd name="connsiteY73" fmla="*/ 166336 h 344231"/>
                <a:gd name="connsiteX74" fmla="*/ 48648 w 364707"/>
                <a:gd name="connsiteY74" fmla="*/ 166336 h 344231"/>
                <a:gd name="connsiteX75" fmla="*/ 316059 w 364707"/>
                <a:gd name="connsiteY75" fmla="*/ 166336 h 344231"/>
                <a:gd name="connsiteX76" fmla="*/ 322140 w 364707"/>
                <a:gd name="connsiteY76" fmla="*/ 172057 h 344231"/>
                <a:gd name="connsiteX77" fmla="*/ 322140 w 364707"/>
                <a:gd name="connsiteY77" fmla="*/ 332711 h 34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364707" h="344231">
                  <a:moveTo>
                    <a:pt x="358605" y="332756"/>
                  </a:moveTo>
                  <a:lnTo>
                    <a:pt x="334280" y="332756"/>
                  </a:lnTo>
                  <a:lnTo>
                    <a:pt x="334280" y="172102"/>
                  </a:lnTo>
                  <a:cubicBezTo>
                    <a:pt x="333974" y="162331"/>
                    <a:pt x="325832" y="154642"/>
                    <a:pt x="316059" y="154895"/>
                  </a:cubicBezTo>
                  <a:lnTo>
                    <a:pt x="316059" y="120480"/>
                  </a:lnTo>
                  <a:cubicBezTo>
                    <a:pt x="315753" y="110700"/>
                    <a:pt x="307597" y="103008"/>
                    <a:pt x="297816" y="103273"/>
                  </a:cubicBezTo>
                  <a:lnTo>
                    <a:pt x="297816" y="68836"/>
                  </a:lnTo>
                  <a:cubicBezTo>
                    <a:pt x="297522" y="59059"/>
                    <a:pt x="289373" y="51363"/>
                    <a:pt x="279595" y="51629"/>
                  </a:cubicBezTo>
                  <a:lnTo>
                    <a:pt x="279595" y="17214"/>
                  </a:lnTo>
                  <a:cubicBezTo>
                    <a:pt x="279289" y="7434"/>
                    <a:pt x="271133" y="-259"/>
                    <a:pt x="261352" y="7"/>
                  </a:cubicBezTo>
                  <a:lnTo>
                    <a:pt x="103378" y="7"/>
                  </a:lnTo>
                  <a:cubicBezTo>
                    <a:pt x="93601" y="-258"/>
                    <a:pt x="85452" y="7437"/>
                    <a:pt x="85157" y="17214"/>
                  </a:cubicBezTo>
                  <a:lnTo>
                    <a:pt x="85157" y="51629"/>
                  </a:lnTo>
                  <a:cubicBezTo>
                    <a:pt x="75376" y="51363"/>
                    <a:pt x="67220" y="59056"/>
                    <a:pt x="66914" y="68836"/>
                  </a:cubicBezTo>
                  <a:lnTo>
                    <a:pt x="66914" y="103273"/>
                  </a:lnTo>
                  <a:cubicBezTo>
                    <a:pt x="57136" y="103008"/>
                    <a:pt x="48988" y="110703"/>
                    <a:pt x="48693" y="120480"/>
                  </a:cubicBezTo>
                  <a:lnTo>
                    <a:pt x="48693" y="154895"/>
                  </a:lnTo>
                  <a:cubicBezTo>
                    <a:pt x="38917" y="154642"/>
                    <a:pt x="30769" y="162327"/>
                    <a:pt x="30450" y="172102"/>
                  </a:cubicBezTo>
                  <a:lnTo>
                    <a:pt x="30450" y="332756"/>
                  </a:lnTo>
                  <a:lnTo>
                    <a:pt x="6103" y="332756"/>
                  </a:lnTo>
                  <a:cubicBezTo>
                    <a:pt x="2937" y="332557"/>
                    <a:pt x="210" y="334963"/>
                    <a:pt x="11" y="338128"/>
                  </a:cubicBezTo>
                  <a:cubicBezTo>
                    <a:pt x="-187" y="341294"/>
                    <a:pt x="2218" y="344021"/>
                    <a:pt x="5384" y="344220"/>
                  </a:cubicBezTo>
                  <a:cubicBezTo>
                    <a:pt x="5623" y="344235"/>
                    <a:pt x="5864" y="344235"/>
                    <a:pt x="6103" y="344220"/>
                  </a:cubicBezTo>
                  <a:lnTo>
                    <a:pt x="358605" y="344220"/>
                  </a:lnTo>
                  <a:cubicBezTo>
                    <a:pt x="361770" y="344418"/>
                    <a:pt x="364498" y="342013"/>
                    <a:pt x="364696" y="338847"/>
                  </a:cubicBezTo>
                  <a:cubicBezTo>
                    <a:pt x="364895" y="335682"/>
                    <a:pt x="362489" y="332954"/>
                    <a:pt x="359324" y="332756"/>
                  </a:cubicBezTo>
                  <a:cubicBezTo>
                    <a:pt x="359084" y="332741"/>
                    <a:pt x="358844" y="332741"/>
                    <a:pt x="358605" y="332756"/>
                  </a:cubicBezTo>
                  <a:close/>
                  <a:moveTo>
                    <a:pt x="97275" y="17214"/>
                  </a:moveTo>
                  <a:cubicBezTo>
                    <a:pt x="97360" y="13956"/>
                    <a:pt x="100070" y="11384"/>
                    <a:pt x="103328" y="11469"/>
                  </a:cubicBezTo>
                  <a:cubicBezTo>
                    <a:pt x="103344" y="11470"/>
                    <a:pt x="103361" y="11470"/>
                    <a:pt x="103378" y="11471"/>
                  </a:cubicBezTo>
                  <a:lnTo>
                    <a:pt x="261397" y="11471"/>
                  </a:lnTo>
                  <a:cubicBezTo>
                    <a:pt x="264660" y="11382"/>
                    <a:pt x="267380" y="13951"/>
                    <a:pt x="267478" y="17214"/>
                  </a:cubicBezTo>
                  <a:lnTo>
                    <a:pt x="267478" y="51629"/>
                  </a:lnTo>
                  <a:lnTo>
                    <a:pt x="175653" y="51629"/>
                  </a:lnTo>
                  <a:cubicBezTo>
                    <a:pt x="171326" y="35184"/>
                    <a:pt x="154488" y="25361"/>
                    <a:pt x="138044" y="29688"/>
                  </a:cubicBezTo>
                  <a:cubicBezTo>
                    <a:pt x="127310" y="32513"/>
                    <a:pt x="118928" y="40895"/>
                    <a:pt x="116103" y="51629"/>
                  </a:cubicBezTo>
                  <a:lnTo>
                    <a:pt x="97275" y="51629"/>
                  </a:lnTo>
                  <a:lnTo>
                    <a:pt x="97275" y="17214"/>
                  </a:lnTo>
                  <a:close/>
                  <a:moveTo>
                    <a:pt x="162996" y="51629"/>
                  </a:moveTo>
                  <a:lnTo>
                    <a:pt x="128784" y="51629"/>
                  </a:lnTo>
                  <a:cubicBezTo>
                    <a:pt x="132662" y="42181"/>
                    <a:pt x="143464" y="37666"/>
                    <a:pt x="152912" y="41544"/>
                  </a:cubicBezTo>
                  <a:cubicBezTo>
                    <a:pt x="157486" y="43422"/>
                    <a:pt x="161118" y="47054"/>
                    <a:pt x="162996" y="51629"/>
                  </a:cubicBezTo>
                  <a:close/>
                  <a:moveTo>
                    <a:pt x="79031" y="68836"/>
                  </a:moveTo>
                  <a:cubicBezTo>
                    <a:pt x="79141" y="65582"/>
                    <a:pt x="81857" y="63027"/>
                    <a:pt x="85112" y="63115"/>
                  </a:cubicBezTo>
                  <a:lnTo>
                    <a:pt x="279595" y="63115"/>
                  </a:lnTo>
                  <a:cubicBezTo>
                    <a:pt x="282850" y="63027"/>
                    <a:pt x="285566" y="65582"/>
                    <a:pt x="285676" y="68836"/>
                  </a:cubicBezTo>
                  <a:lnTo>
                    <a:pt x="285676" y="103273"/>
                  </a:lnTo>
                  <a:lnTo>
                    <a:pt x="157432" y="103273"/>
                  </a:lnTo>
                  <a:cubicBezTo>
                    <a:pt x="153105" y="86829"/>
                    <a:pt x="136267" y="77006"/>
                    <a:pt x="119823" y="81333"/>
                  </a:cubicBezTo>
                  <a:cubicBezTo>
                    <a:pt x="109090" y="84157"/>
                    <a:pt x="100707" y="92540"/>
                    <a:pt x="97883" y="103273"/>
                  </a:cubicBezTo>
                  <a:lnTo>
                    <a:pt x="79031" y="103273"/>
                  </a:lnTo>
                  <a:lnTo>
                    <a:pt x="79031" y="68836"/>
                  </a:lnTo>
                  <a:close/>
                  <a:moveTo>
                    <a:pt x="144775" y="103273"/>
                  </a:moveTo>
                  <a:lnTo>
                    <a:pt x="110540" y="103273"/>
                  </a:lnTo>
                  <a:cubicBezTo>
                    <a:pt x="114403" y="93819"/>
                    <a:pt x="125198" y="89287"/>
                    <a:pt x="134652" y="93150"/>
                  </a:cubicBezTo>
                  <a:cubicBezTo>
                    <a:pt x="139249" y="95028"/>
                    <a:pt x="142897" y="98676"/>
                    <a:pt x="144775" y="103273"/>
                  </a:cubicBezTo>
                  <a:close/>
                  <a:moveTo>
                    <a:pt x="60810" y="120480"/>
                  </a:moveTo>
                  <a:cubicBezTo>
                    <a:pt x="60896" y="117222"/>
                    <a:pt x="63607" y="114651"/>
                    <a:pt x="66865" y="114737"/>
                  </a:cubicBezTo>
                  <a:cubicBezTo>
                    <a:pt x="66866" y="114737"/>
                    <a:pt x="66868" y="114737"/>
                    <a:pt x="66869" y="114737"/>
                  </a:cubicBezTo>
                  <a:lnTo>
                    <a:pt x="297816" y="114737"/>
                  </a:lnTo>
                  <a:cubicBezTo>
                    <a:pt x="301079" y="114649"/>
                    <a:pt x="303799" y="117217"/>
                    <a:pt x="303897" y="120480"/>
                  </a:cubicBezTo>
                  <a:lnTo>
                    <a:pt x="303897" y="154895"/>
                  </a:lnTo>
                  <a:lnTo>
                    <a:pt x="139189" y="154895"/>
                  </a:lnTo>
                  <a:cubicBezTo>
                    <a:pt x="135875" y="141208"/>
                    <a:pt x="123493" y="131665"/>
                    <a:pt x="109414" y="131944"/>
                  </a:cubicBezTo>
                  <a:cubicBezTo>
                    <a:pt x="95338" y="131673"/>
                    <a:pt x="82961" y="141213"/>
                    <a:pt x="79639" y="154895"/>
                  </a:cubicBezTo>
                  <a:lnTo>
                    <a:pt x="60810" y="154895"/>
                  </a:lnTo>
                  <a:close/>
                  <a:moveTo>
                    <a:pt x="126531" y="154895"/>
                  </a:moveTo>
                  <a:lnTo>
                    <a:pt x="92297" y="154895"/>
                  </a:lnTo>
                  <a:cubicBezTo>
                    <a:pt x="96193" y="145441"/>
                    <a:pt x="107014" y="140936"/>
                    <a:pt x="116468" y="144831"/>
                  </a:cubicBezTo>
                  <a:cubicBezTo>
                    <a:pt x="121029" y="146711"/>
                    <a:pt x="124652" y="150333"/>
                    <a:pt x="126531" y="154895"/>
                  </a:cubicBezTo>
                  <a:close/>
                  <a:moveTo>
                    <a:pt x="322140" y="332824"/>
                  </a:moveTo>
                  <a:lnTo>
                    <a:pt x="42567" y="332824"/>
                  </a:lnTo>
                  <a:lnTo>
                    <a:pt x="42567" y="172102"/>
                  </a:lnTo>
                  <a:cubicBezTo>
                    <a:pt x="42653" y="168832"/>
                    <a:pt x="45374" y="166250"/>
                    <a:pt x="48644" y="166336"/>
                  </a:cubicBezTo>
                  <a:cubicBezTo>
                    <a:pt x="48645" y="166336"/>
                    <a:pt x="48647" y="166336"/>
                    <a:pt x="48648" y="166336"/>
                  </a:cubicBezTo>
                  <a:lnTo>
                    <a:pt x="316059" y="166336"/>
                  </a:lnTo>
                  <a:cubicBezTo>
                    <a:pt x="319314" y="166248"/>
                    <a:pt x="322030" y="168803"/>
                    <a:pt x="322140" y="172057"/>
                  </a:cubicBezTo>
                  <a:lnTo>
                    <a:pt x="322140" y="332711"/>
                  </a:lnTo>
                  <a:close/>
                </a:path>
              </a:pathLst>
            </a:custGeom>
            <a:solidFill>
              <a:srgbClr val="1F6898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eform 244">
              <a:extLst>
                <a:ext uri="{FF2B5EF4-FFF2-40B4-BE49-F238E27FC236}">
                  <a16:creationId xmlns:a16="http://schemas.microsoft.com/office/drawing/2014/main" id="{04F630AB-5409-E04A-B47B-BA6D733572B1}"/>
                </a:ext>
              </a:extLst>
            </p:cNvPr>
            <p:cNvSpPr/>
            <p:nvPr/>
          </p:nvSpPr>
          <p:spPr>
            <a:xfrm>
              <a:off x="3926841" y="4871945"/>
              <a:ext cx="73281" cy="68966"/>
            </a:xfrm>
            <a:custGeom>
              <a:avLst/>
              <a:gdLst>
                <a:gd name="connsiteX0" fmla="*/ 36641 w 73281"/>
                <a:gd name="connsiteY0" fmla="*/ 68898 h 68966"/>
                <a:gd name="connsiteX1" fmla="*/ 73213 w 73281"/>
                <a:gd name="connsiteY1" fmla="*/ 36641 h 68966"/>
                <a:gd name="connsiteX2" fmla="*/ 40956 w 73281"/>
                <a:gd name="connsiteY2" fmla="*/ 69 h 68966"/>
                <a:gd name="connsiteX3" fmla="*/ 36641 w 73281"/>
                <a:gd name="connsiteY3" fmla="*/ 69 h 68966"/>
                <a:gd name="connsiteX4" fmla="*/ 69 w 73281"/>
                <a:gd name="connsiteY4" fmla="*/ 32326 h 68966"/>
                <a:gd name="connsiteX5" fmla="*/ 32326 w 73281"/>
                <a:gd name="connsiteY5" fmla="*/ 68898 h 68966"/>
                <a:gd name="connsiteX6" fmla="*/ 36641 w 73281"/>
                <a:gd name="connsiteY6" fmla="*/ 68898 h 68966"/>
                <a:gd name="connsiteX7" fmla="*/ 36641 w 73281"/>
                <a:gd name="connsiteY7" fmla="*/ 11533 h 68966"/>
                <a:gd name="connsiteX8" fmla="*/ 61030 w 73281"/>
                <a:gd name="connsiteY8" fmla="*/ 33045 h 68966"/>
                <a:gd name="connsiteX9" fmla="*/ 39518 w 73281"/>
                <a:gd name="connsiteY9" fmla="*/ 57434 h 68966"/>
                <a:gd name="connsiteX10" fmla="*/ 36641 w 73281"/>
                <a:gd name="connsiteY10" fmla="*/ 57434 h 68966"/>
                <a:gd name="connsiteX11" fmla="*/ 12252 w 73281"/>
                <a:gd name="connsiteY11" fmla="*/ 35922 h 68966"/>
                <a:gd name="connsiteX12" fmla="*/ 33764 w 73281"/>
                <a:gd name="connsiteY12" fmla="*/ 11533 h 68966"/>
                <a:gd name="connsiteX13" fmla="*/ 36641 w 73281"/>
                <a:gd name="connsiteY13" fmla="*/ 11533 h 68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281" h="68966">
                  <a:moveTo>
                    <a:pt x="36641" y="68898"/>
                  </a:moveTo>
                  <a:cubicBezTo>
                    <a:pt x="55648" y="70089"/>
                    <a:pt x="72021" y="55648"/>
                    <a:pt x="73213" y="36641"/>
                  </a:cubicBezTo>
                  <a:cubicBezTo>
                    <a:pt x="74405" y="17634"/>
                    <a:pt x="59963" y="1260"/>
                    <a:pt x="40956" y="69"/>
                  </a:cubicBezTo>
                  <a:cubicBezTo>
                    <a:pt x="39519" y="-21"/>
                    <a:pt x="38078" y="-21"/>
                    <a:pt x="36641" y="69"/>
                  </a:cubicBezTo>
                  <a:cubicBezTo>
                    <a:pt x="17634" y="-1123"/>
                    <a:pt x="1260" y="13319"/>
                    <a:pt x="69" y="32326"/>
                  </a:cubicBezTo>
                  <a:cubicBezTo>
                    <a:pt x="-1123" y="51332"/>
                    <a:pt x="13319" y="67706"/>
                    <a:pt x="32326" y="68898"/>
                  </a:cubicBezTo>
                  <a:cubicBezTo>
                    <a:pt x="33763" y="68988"/>
                    <a:pt x="35204" y="68988"/>
                    <a:pt x="36641" y="68898"/>
                  </a:cubicBezTo>
                  <a:close/>
                  <a:moveTo>
                    <a:pt x="36641" y="11533"/>
                  </a:moveTo>
                  <a:cubicBezTo>
                    <a:pt x="49316" y="10738"/>
                    <a:pt x="60236" y="20369"/>
                    <a:pt x="61030" y="33045"/>
                  </a:cubicBezTo>
                  <a:cubicBezTo>
                    <a:pt x="61825" y="45720"/>
                    <a:pt x="52193" y="56639"/>
                    <a:pt x="39518" y="57434"/>
                  </a:cubicBezTo>
                  <a:cubicBezTo>
                    <a:pt x="38560" y="57494"/>
                    <a:pt x="37599" y="57494"/>
                    <a:pt x="36641" y="57434"/>
                  </a:cubicBezTo>
                  <a:cubicBezTo>
                    <a:pt x="23966" y="58228"/>
                    <a:pt x="13046" y="48597"/>
                    <a:pt x="12252" y="35922"/>
                  </a:cubicBezTo>
                  <a:cubicBezTo>
                    <a:pt x="11457" y="23247"/>
                    <a:pt x="21088" y="12327"/>
                    <a:pt x="33764" y="11533"/>
                  </a:cubicBezTo>
                  <a:cubicBezTo>
                    <a:pt x="34722" y="11473"/>
                    <a:pt x="35683" y="11473"/>
                    <a:pt x="36641" y="11533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eform 245">
              <a:extLst>
                <a:ext uri="{FF2B5EF4-FFF2-40B4-BE49-F238E27FC236}">
                  <a16:creationId xmlns:a16="http://schemas.microsoft.com/office/drawing/2014/main" id="{18107ACE-CADF-474C-B6DB-47B47C26E337}"/>
                </a:ext>
              </a:extLst>
            </p:cNvPr>
            <p:cNvSpPr/>
            <p:nvPr/>
          </p:nvSpPr>
          <p:spPr>
            <a:xfrm>
              <a:off x="4018190" y="4872003"/>
              <a:ext cx="139819" cy="11486"/>
            </a:xfrm>
            <a:custGeom>
              <a:avLst/>
              <a:gdLst>
                <a:gd name="connsiteX0" fmla="*/ 133649 w 139819"/>
                <a:gd name="connsiteY0" fmla="*/ 11 h 11486"/>
                <a:gd name="connsiteX1" fmla="*/ 6103 w 139819"/>
                <a:gd name="connsiteY1" fmla="*/ 11 h 11486"/>
                <a:gd name="connsiteX2" fmla="*/ 11 w 139819"/>
                <a:gd name="connsiteY2" fmla="*/ 5384 h 11486"/>
                <a:gd name="connsiteX3" fmla="*/ 5384 w 139819"/>
                <a:gd name="connsiteY3" fmla="*/ 11475 h 11486"/>
                <a:gd name="connsiteX4" fmla="*/ 6103 w 139819"/>
                <a:gd name="connsiteY4" fmla="*/ 11475 h 11486"/>
                <a:gd name="connsiteX5" fmla="*/ 133716 w 139819"/>
                <a:gd name="connsiteY5" fmla="*/ 11475 h 11486"/>
                <a:gd name="connsiteX6" fmla="*/ 139808 w 139819"/>
                <a:gd name="connsiteY6" fmla="*/ 6103 h 11486"/>
                <a:gd name="connsiteX7" fmla="*/ 134435 w 139819"/>
                <a:gd name="connsiteY7" fmla="*/ 11 h 11486"/>
                <a:gd name="connsiteX8" fmla="*/ 133716 w 139819"/>
                <a:gd name="connsiteY8" fmla="*/ 11 h 1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819" h="11486">
                  <a:moveTo>
                    <a:pt x="133649" y="11"/>
                  </a:moveTo>
                  <a:lnTo>
                    <a:pt x="6103" y="11"/>
                  </a:lnTo>
                  <a:cubicBezTo>
                    <a:pt x="2937" y="-187"/>
                    <a:pt x="210" y="2218"/>
                    <a:pt x="11" y="5384"/>
                  </a:cubicBezTo>
                  <a:cubicBezTo>
                    <a:pt x="-187" y="8550"/>
                    <a:pt x="2218" y="11277"/>
                    <a:pt x="5384" y="11475"/>
                  </a:cubicBezTo>
                  <a:cubicBezTo>
                    <a:pt x="5623" y="11490"/>
                    <a:pt x="5864" y="11490"/>
                    <a:pt x="6103" y="11475"/>
                  </a:cubicBezTo>
                  <a:lnTo>
                    <a:pt x="133716" y="11475"/>
                  </a:lnTo>
                  <a:cubicBezTo>
                    <a:pt x="136882" y="11674"/>
                    <a:pt x="139609" y="9269"/>
                    <a:pt x="139808" y="6103"/>
                  </a:cubicBezTo>
                  <a:cubicBezTo>
                    <a:pt x="140006" y="2937"/>
                    <a:pt x="137601" y="210"/>
                    <a:pt x="134435" y="11"/>
                  </a:cubicBezTo>
                  <a:cubicBezTo>
                    <a:pt x="134196" y="-4"/>
                    <a:pt x="133956" y="-4"/>
                    <a:pt x="133716" y="11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eform 246">
              <a:extLst>
                <a:ext uri="{FF2B5EF4-FFF2-40B4-BE49-F238E27FC236}">
                  <a16:creationId xmlns:a16="http://schemas.microsoft.com/office/drawing/2014/main" id="{F8BA7956-9E4E-0F48-8D90-27CA28474C67}"/>
                </a:ext>
              </a:extLst>
            </p:cNvPr>
            <p:cNvSpPr/>
            <p:nvPr/>
          </p:nvSpPr>
          <p:spPr>
            <a:xfrm>
              <a:off x="4018550" y="4900685"/>
              <a:ext cx="139099" cy="11486"/>
            </a:xfrm>
            <a:custGeom>
              <a:avLst/>
              <a:gdLst>
                <a:gd name="connsiteX0" fmla="*/ 133289 w 139099"/>
                <a:gd name="connsiteY0" fmla="*/ 0 h 11486"/>
                <a:gd name="connsiteX1" fmla="*/ 5743 w 139099"/>
                <a:gd name="connsiteY1" fmla="*/ 0 h 11486"/>
                <a:gd name="connsiteX2" fmla="*/ 0 w 139099"/>
                <a:gd name="connsiteY2" fmla="*/ 5743 h 11486"/>
                <a:gd name="connsiteX3" fmla="*/ 5743 w 139099"/>
                <a:gd name="connsiteY3" fmla="*/ 11487 h 11486"/>
                <a:gd name="connsiteX4" fmla="*/ 133356 w 139099"/>
                <a:gd name="connsiteY4" fmla="*/ 11487 h 11486"/>
                <a:gd name="connsiteX5" fmla="*/ 139100 w 139099"/>
                <a:gd name="connsiteY5" fmla="*/ 5743 h 11486"/>
                <a:gd name="connsiteX6" fmla="*/ 133356 w 139099"/>
                <a:gd name="connsiteY6" fmla="*/ 0 h 1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099" h="11486">
                  <a:moveTo>
                    <a:pt x="133289" y="0"/>
                  </a:moveTo>
                  <a:lnTo>
                    <a:pt x="5743" y="0"/>
                  </a:lnTo>
                  <a:cubicBezTo>
                    <a:pt x="2571" y="0"/>
                    <a:pt x="0" y="2571"/>
                    <a:pt x="0" y="5743"/>
                  </a:cubicBezTo>
                  <a:cubicBezTo>
                    <a:pt x="0" y="8915"/>
                    <a:pt x="2571" y="11487"/>
                    <a:pt x="5743" y="11487"/>
                  </a:cubicBezTo>
                  <a:lnTo>
                    <a:pt x="133356" y="11487"/>
                  </a:lnTo>
                  <a:cubicBezTo>
                    <a:pt x="136528" y="11487"/>
                    <a:pt x="139100" y="8915"/>
                    <a:pt x="139100" y="5743"/>
                  </a:cubicBezTo>
                  <a:cubicBezTo>
                    <a:pt x="139100" y="2571"/>
                    <a:pt x="136528" y="0"/>
                    <a:pt x="133356" y="0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form 247">
              <a:extLst>
                <a:ext uri="{FF2B5EF4-FFF2-40B4-BE49-F238E27FC236}">
                  <a16:creationId xmlns:a16="http://schemas.microsoft.com/office/drawing/2014/main" id="{3BF35061-C407-5B4B-A509-D13E513CFC87}"/>
                </a:ext>
              </a:extLst>
            </p:cNvPr>
            <p:cNvSpPr/>
            <p:nvPr/>
          </p:nvSpPr>
          <p:spPr>
            <a:xfrm>
              <a:off x="4018190" y="4929368"/>
              <a:ext cx="139819" cy="11486"/>
            </a:xfrm>
            <a:custGeom>
              <a:avLst/>
              <a:gdLst>
                <a:gd name="connsiteX0" fmla="*/ 133649 w 139819"/>
                <a:gd name="connsiteY0" fmla="*/ 11 h 11486"/>
                <a:gd name="connsiteX1" fmla="*/ 6103 w 139819"/>
                <a:gd name="connsiteY1" fmla="*/ 11 h 11486"/>
                <a:gd name="connsiteX2" fmla="*/ 11 w 139819"/>
                <a:gd name="connsiteY2" fmla="*/ 5384 h 11486"/>
                <a:gd name="connsiteX3" fmla="*/ 5384 w 139819"/>
                <a:gd name="connsiteY3" fmla="*/ 11475 h 11486"/>
                <a:gd name="connsiteX4" fmla="*/ 6103 w 139819"/>
                <a:gd name="connsiteY4" fmla="*/ 11475 h 11486"/>
                <a:gd name="connsiteX5" fmla="*/ 133716 w 139819"/>
                <a:gd name="connsiteY5" fmla="*/ 11475 h 11486"/>
                <a:gd name="connsiteX6" fmla="*/ 139808 w 139819"/>
                <a:gd name="connsiteY6" fmla="*/ 6103 h 11486"/>
                <a:gd name="connsiteX7" fmla="*/ 134435 w 139819"/>
                <a:gd name="connsiteY7" fmla="*/ 11 h 11486"/>
                <a:gd name="connsiteX8" fmla="*/ 133716 w 139819"/>
                <a:gd name="connsiteY8" fmla="*/ 11 h 1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819" h="11486">
                  <a:moveTo>
                    <a:pt x="133649" y="11"/>
                  </a:moveTo>
                  <a:lnTo>
                    <a:pt x="6103" y="11"/>
                  </a:lnTo>
                  <a:cubicBezTo>
                    <a:pt x="2937" y="-187"/>
                    <a:pt x="210" y="2218"/>
                    <a:pt x="11" y="5384"/>
                  </a:cubicBezTo>
                  <a:cubicBezTo>
                    <a:pt x="-187" y="8550"/>
                    <a:pt x="2218" y="11277"/>
                    <a:pt x="5384" y="11475"/>
                  </a:cubicBezTo>
                  <a:cubicBezTo>
                    <a:pt x="5623" y="11490"/>
                    <a:pt x="5864" y="11490"/>
                    <a:pt x="6103" y="11475"/>
                  </a:cubicBezTo>
                  <a:lnTo>
                    <a:pt x="133716" y="11475"/>
                  </a:lnTo>
                  <a:cubicBezTo>
                    <a:pt x="136882" y="11674"/>
                    <a:pt x="139609" y="9269"/>
                    <a:pt x="139808" y="6103"/>
                  </a:cubicBezTo>
                  <a:cubicBezTo>
                    <a:pt x="140006" y="2937"/>
                    <a:pt x="137601" y="210"/>
                    <a:pt x="134435" y="11"/>
                  </a:cubicBezTo>
                  <a:cubicBezTo>
                    <a:pt x="134196" y="-4"/>
                    <a:pt x="133956" y="-4"/>
                    <a:pt x="133716" y="11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eform 248">
              <a:extLst>
                <a:ext uri="{FF2B5EF4-FFF2-40B4-BE49-F238E27FC236}">
                  <a16:creationId xmlns:a16="http://schemas.microsoft.com/office/drawing/2014/main" id="{8CC9272E-0C8B-3147-B42A-6A73D8269B11}"/>
                </a:ext>
              </a:extLst>
            </p:cNvPr>
            <p:cNvSpPr/>
            <p:nvPr/>
          </p:nvSpPr>
          <p:spPr>
            <a:xfrm>
              <a:off x="3927310" y="4958051"/>
              <a:ext cx="230271" cy="11486"/>
            </a:xfrm>
            <a:custGeom>
              <a:avLst/>
              <a:gdLst>
                <a:gd name="connsiteX0" fmla="*/ 224528 w 230271"/>
                <a:gd name="connsiteY0" fmla="*/ 0 h 11486"/>
                <a:gd name="connsiteX1" fmla="*/ 5743 w 230271"/>
                <a:gd name="connsiteY1" fmla="*/ 0 h 11486"/>
                <a:gd name="connsiteX2" fmla="*/ 0 w 230271"/>
                <a:gd name="connsiteY2" fmla="*/ 5743 h 11486"/>
                <a:gd name="connsiteX3" fmla="*/ 5743 w 230271"/>
                <a:gd name="connsiteY3" fmla="*/ 11487 h 11486"/>
                <a:gd name="connsiteX4" fmla="*/ 224528 w 230271"/>
                <a:gd name="connsiteY4" fmla="*/ 11487 h 11486"/>
                <a:gd name="connsiteX5" fmla="*/ 230271 w 230271"/>
                <a:gd name="connsiteY5" fmla="*/ 5743 h 11486"/>
                <a:gd name="connsiteX6" fmla="*/ 224528 w 230271"/>
                <a:gd name="connsiteY6" fmla="*/ 0 h 1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71" h="11486">
                  <a:moveTo>
                    <a:pt x="224528" y="0"/>
                  </a:moveTo>
                  <a:lnTo>
                    <a:pt x="5743" y="0"/>
                  </a:lnTo>
                  <a:cubicBezTo>
                    <a:pt x="2571" y="0"/>
                    <a:pt x="0" y="2571"/>
                    <a:pt x="0" y="5743"/>
                  </a:cubicBezTo>
                  <a:cubicBezTo>
                    <a:pt x="0" y="8915"/>
                    <a:pt x="2571" y="11487"/>
                    <a:pt x="5743" y="11487"/>
                  </a:cubicBezTo>
                  <a:lnTo>
                    <a:pt x="224528" y="11487"/>
                  </a:lnTo>
                  <a:cubicBezTo>
                    <a:pt x="227700" y="11487"/>
                    <a:pt x="230271" y="8915"/>
                    <a:pt x="230271" y="5743"/>
                  </a:cubicBezTo>
                  <a:cubicBezTo>
                    <a:pt x="230271" y="2571"/>
                    <a:pt x="227700" y="0"/>
                    <a:pt x="224528" y="0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reeform 249">
              <a:extLst>
                <a:ext uri="{FF2B5EF4-FFF2-40B4-BE49-F238E27FC236}">
                  <a16:creationId xmlns:a16="http://schemas.microsoft.com/office/drawing/2014/main" id="{98996ABB-5C39-5149-A89E-DD5608282F70}"/>
                </a:ext>
              </a:extLst>
            </p:cNvPr>
            <p:cNvSpPr/>
            <p:nvPr/>
          </p:nvSpPr>
          <p:spPr>
            <a:xfrm>
              <a:off x="3927310" y="4986744"/>
              <a:ext cx="230271" cy="11486"/>
            </a:xfrm>
            <a:custGeom>
              <a:avLst/>
              <a:gdLst>
                <a:gd name="connsiteX0" fmla="*/ 224528 w 230271"/>
                <a:gd name="connsiteY0" fmla="*/ 0 h 11486"/>
                <a:gd name="connsiteX1" fmla="*/ 5743 w 230271"/>
                <a:gd name="connsiteY1" fmla="*/ 0 h 11486"/>
                <a:gd name="connsiteX2" fmla="*/ 0 w 230271"/>
                <a:gd name="connsiteY2" fmla="*/ 5743 h 11486"/>
                <a:gd name="connsiteX3" fmla="*/ 5743 w 230271"/>
                <a:gd name="connsiteY3" fmla="*/ 11487 h 11486"/>
                <a:gd name="connsiteX4" fmla="*/ 224528 w 230271"/>
                <a:gd name="connsiteY4" fmla="*/ 11487 h 11486"/>
                <a:gd name="connsiteX5" fmla="*/ 230271 w 230271"/>
                <a:gd name="connsiteY5" fmla="*/ 5743 h 11486"/>
                <a:gd name="connsiteX6" fmla="*/ 224528 w 230271"/>
                <a:gd name="connsiteY6" fmla="*/ 0 h 1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71" h="11486">
                  <a:moveTo>
                    <a:pt x="224528" y="0"/>
                  </a:moveTo>
                  <a:lnTo>
                    <a:pt x="5743" y="0"/>
                  </a:lnTo>
                  <a:cubicBezTo>
                    <a:pt x="2571" y="0"/>
                    <a:pt x="0" y="2571"/>
                    <a:pt x="0" y="5743"/>
                  </a:cubicBezTo>
                  <a:cubicBezTo>
                    <a:pt x="0" y="8915"/>
                    <a:pt x="2571" y="11487"/>
                    <a:pt x="5743" y="11487"/>
                  </a:cubicBezTo>
                  <a:lnTo>
                    <a:pt x="224528" y="11487"/>
                  </a:lnTo>
                  <a:cubicBezTo>
                    <a:pt x="227700" y="11487"/>
                    <a:pt x="230271" y="8915"/>
                    <a:pt x="230271" y="5743"/>
                  </a:cubicBezTo>
                  <a:cubicBezTo>
                    <a:pt x="230271" y="2571"/>
                    <a:pt x="227700" y="0"/>
                    <a:pt x="224528" y="0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1" name="Graphic 315">
            <a:extLst>
              <a:ext uri="{FF2B5EF4-FFF2-40B4-BE49-F238E27FC236}">
                <a16:creationId xmlns:a16="http://schemas.microsoft.com/office/drawing/2014/main" id="{F43F7769-61FF-D34D-BAE2-B804C1EB8F96}"/>
              </a:ext>
            </a:extLst>
          </p:cNvPr>
          <p:cNvGrpSpPr/>
          <p:nvPr userDrawn="1"/>
        </p:nvGrpSpPr>
        <p:grpSpPr>
          <a:xfrm>
            <a:off x="4668838" y="4654550"/>
            <a:ext cx="361950" cy="361950"/>
            <a:chOff x="4668838" y="4654550"/>
            <a:chExt cx="361950" cy="361950"/>
          </a:xfrm>
        </p:grpSpPr>
        <p:sp>
          <p:nvSpPr>
            <p:cNvPr id="252" name="Freeform 251">
              <a:extLst>
                <a:ext uri="{FF2B5EF4-FFF2-40B4-BE49-F238E27FC236}">
                  <a16:creationId xmlns:a16="http://schemas.microsoft.com/office/drawing/2014/main" id="{2878D710-8800-0543-95E0-9B1BFA1AE061}"/>
                </a:ext>
              </a:extLst>
            </p:cNvPr>
            <p:cNvSpPr/>
            <p:nvPr/>
          </p:nvSpPr>
          <p:spPr>
            <a:xfrm>
              <a:off x="4689921" y="4659074"/>
              <a:ext cx="322768" cy="358828"/>
            </a:xfrm>
            <a:custGeom>
              <a:avLst/>
              <a:gdLst>
                <a:gd name="connsiteX0" fmla="*/ 296528 w 322768"/>
                <a:gd name="connsiteY0" fmla="*/ 24093 h 358828"/>
                <a:gd name="connsiteX1" fmla="*/ 274064 w 322768"/>
                <a:gd name="connsiteY1" fmla="*/ 24093 h 358828"/>
                <a:gd name="connsiteX2" fmla="*/ 274064 w 322768"/>
                <a:gd name="connsiteY2" fmla="*/ 16062 h 358828"/>
                <a:gd name="connsiteX3" fmla="*/ 258093 w 322768"/>
                <a:gd name="connsiteY3" fmla="*/ 0 h 358828"/>
                <a:gd name="connsiteX4" fmla="*/ 255672 w 322768"/>
                <a:gd name="connsiteY4" fmla="*/ 0 h 358828"/>
                <a:gd name="connsiteX5" fmla="*/ 239679 w 322768"/>
                <a:gd name="connsiteY5" fmla="*/ 15994 h 358828"/>
                <a:gd name="connsiteX6" fmla="*/ 239679 w 322768"/>
                <a:gd name="connsiteY6" fmla="*/ 24025 h 358828"/>
                <a:gd name="connsiteX7" fmla="*/ 83158 w 322768"/>
                <a:gd name="connsiteY7" fmla="*/ 24025 h 358828"/>
                <a:gd name="connsiteX8" fmla="*/ 83158 w 322768"/>
                <a:gd name="connsiteY8" fmla="*/ 16062 h 358828"/>
                <a:gd name="connsiteX9" fmla="*/ 67187 w 322768"/>
                <a:gd name="connsiteY9" fmla="*/ 0 h 358828"/>
                <a:gd name="connsiteX10" fmla="*/ 67142 w 322768"/>
                <a:gd name="connsiteY10" fmla="*/ 0 h 358828"/>
                <a:gd name="connsiteX11" fmla="*/ 64880 w 322768"/>
                <a:gd name="connsiteY11" fmla="*/ 0 h 358828"/>
                <a:gd name="connsiteX12" fmla="*/ 48773 w 322768"/>
                <a:gd name="connsiteY12" fmla="*/ 15836 h 358828"/>
                <a:gd name="connsiteX13" fmla="*/ 48773 w 322768"/>
                <a:gd name="connsiteY13" fmla="*/ 24002 h 358828"/>
                <a:gd name="connsiteX14" fmla="*/ 26422 w 322768"/>
                <a:gd name="connsiteY14" fmla="*/ 24002 h 358828"/>
                <a:gd name="connsiteX15" fmla="*/ 0 w 322768"/>
                <a:gd name="connsiteY15" fmla="*/ 50334 h 358828"/>
                <a:gd name="connsiteX16" fmla="*/ 0 w 322768"/>
                <a:gd name="connsiteY16" fmla="*/ 50379 h 358828"/>
                <a:gd name="connsiteX17" fmla="*/ 0 w 322768"/>
                <a:gd name="connsiteY17" fmla="*/ 50379 h 358828"/>
                <a:gd name="connsiteX18" fmla="*/ 0 w 322768"/>
                <a:gd name="connsiteY18" fmla="*/ 332542 h 358828"/>
                <a:gd name="connsiteX19" fmla="*/ 26264 w 322768"/>
                <a:gd name="connsiteY19" fmla="*/ 358828 h 358828"/>
                <a:gd name="connsiteX20" fmla="*/ 296573 w 322768"/>
                <a:gd name="connsiteY20" fmla="*/ 358828 h 358828"/>
                <a:gd name="connsiteX21" fmla="*/ 322769 w 322768"/>
                <a:gd name="connsiteY21" fmla="*/ 332542 h 358828"/>
                <a:gd name="connsiteX22" fmla="*/ 322769 w 322768"/>
                <a:gd name="connsiteY22" fmla="*/ 50402 h 358828"/>
                <a:gd name="connsiteX23" fmla="*/ 296528 w 322768"/>
                <a:gd name="connsiteY23" fmla="*/ 24093 h 358828"/>
                <a:gd name="connsiteX24" fmla="*/ 250198 w 322768"/>
                <a:gd name="connsiteY24" fmla="*/ 16062 h 358828"/>
                <a:gd name="connsiteX25" fmla="*/ 255672 w 322768"/>
                <a:gd name="connsiteY25" fmla="*/ 10587 h 358828"/>
                <a:gd name="connsiteX26" fmla="*/ 258070 w 322768"/>
                <a:gd name="connsiteY26" fmla="*/ 10587 h 358828"/>
                <a:gd name="connsiteX27" fmla="*/ 263545 w 322768"/>
                <a:gd name="connsiteY27" fmla="*/ 16062 h 358828"/>
                <a:gd name="connsiteX28" fmla="*/ 263545 w 322768"/>
                <a:gd name="connsiteY28" fmla="*/ 24093 h 358828"/>
                <a:gd name="connsiteX29" fmla="*/ 250198 w 322768"/>
                <a:gd name="connsiteY29" fmla="*/ 24093 h 358828"/>
                <a:gd name="connsiteX30" fmla="*/ 64880 w 322768"/>
                <a:gd name="connsiteY30" fmla="*/ 10587 h 358828"/>
                <a:gd name="connsiteX31" fmla="*/ 67142 w 322768"/>
                <a:gd name="connsiteY31" fmla="*/ 10587 h 358828"/>
                <a:gd name="connsiteX32" fmla="*/ 72639 w 322768"/>
                <a:gd name="connsiteY32" fmla="*/ 16039 h 358828"/>
                <a:gd name="connsiteX33" fmla="*/ 72639 w 322768"/>
                <a:gd name="connsiteY33" fmla="*/ 16039 h 358828"/>
                <a:gd name="connsiteX34" fmla="*/ 72639 w 322768"/>
                <a:gd name="connsiteY34" fmla="*/ 16039 h 358828"/>
                <a:gd name="connsiteX35" fmla="*/ 72639 w 322768"/>
                <a:gd name="connsiteY35" fmla="*/ 24070 h 358828"/>
                <a:gd name="connsiteX36" fmla="*/ 59292 w 322768"/>
                <a:gd name="connsiteY36" fmla="*/ 24070 h 358828"/>
                <a:gd name="connsiteX37" fmla="*/ 59292 w 322768"/>
                <a:gd name="connsiteY37" fmla="*/ 16062 h 358828"/>
                <a:gd name="connsiteX38" fmla="*/ 59292 w 322768"/>
                <a:gd name="connsiteY38" fmla="*/ 16062 h 358828"/>
                <a:gd name="connsiteX39" fmla="*/ 64765 w 322768"/>
                <a:gd name="connsiteY39" fmla="*/ 10586 h 358828"/>
                <a:gd name="connsiteX40" fmla="*/ 64880 w 322768"/>
                <a:gd name="connsiteY40" fmla="*/ 10587 h 358828"/>
                <a:gd name="connsiteX41" fmla="*/ 312318 w 322768"/>
                <a:gd name="connsiteY41" fmla="*/ 332542 h 358828"/>
                <a:gd name="connsiteX42" fmla="*/ 296482 w 322768"/>
                <a:gd name="connsiteY42" fmla="*/ 348377 h 358828"/>
                <a:gd name="connsiteX43" fmla="*/ 26264 w 322768"/>
                <a:gd name="connsiteY43" fmla="*/ 348377 h 358828"/>
                <a:gd name="connsiteX44" fmla="*/ 10429 w 322768"/>
                <a:gd name="connsiteY44" fmla="*/ 332542 h 358828"/>
                <a:gd name="connsiteX45" fmla="*/ 10429 w 322768"/>
                <a:gd name="connsiteY45" fmla="*/ 332542 h 358828"/>
                <a:gd name="connsiteX46" fmla="*/ 26264 w 322768"/>
                <a:gd name="connsiteY46" fmla="*/ 337835 h 358828"/>
                <a:gd name="connsiteX47" fmla="*/ 239339 w 322768"/>
                <a:gd name="connsiteY47" fmla="*/ 337835 h 358828"/>
                <a:gd name="connsiteX48" fmla="*/ 257935 w 322768"/>
                <a:gd name="connsiteY48" fmla="*/ 330121 h 358828"/>
                <a:gd name="connsiteX49" fmla="*/ 312227 w 322768"/>
                <a:gd name="connsiteY49" fmla="*/ 275829 h 358828"/>
                <a:gd name="connsiteX50" fmla="*/ 252641 w 322768"/>
                <a:gd name="connsiteY50" fmla="*/ 320597 h 358828"/>
                <a:gd name="connsiteX51" fmla="*/ 253275 w 322768"/>
                <a:gd name="connsiteY51" fmla="*/ 315304 h 358828"/>
                <a:gd name="connsiteX52" fmla="*/ 253275 w 322768"/>
                <a:gd name="connsiteY52" fmla="*/ 280217 h 358828"/>
                <a:gd name="connsiteX53" fmla="*/ 265264 w 322768"/>
                <a:gd name="connsiteY53" fmla="*/ 268228 h 358828"/>
                <a:gd name="connsiteX54" fmla="*/ 300351 w 322768"/>
                <a:gd name="connsiteY54" fmla="*/ 268228 h 358828"/>
                <a:gd name="connsiteX55" fmla="*/ 305644 w 322768"/>
                <a:gd name="connsiteY55" fmla="*/ 267594 h 358828"/>
                <a:gd name="connsiteX56" fmla="*/ 312340 w 322768"/>
                <a:gd name="connsiteY56" fmla="*/ 99197 h 358828"/>
                <a:gd name="connsiteX57" fmla="*/ 267391 w 322768"/>
                <a:gd name="connsiteY57" fmla="*/ 99197 h 358828"/>
                <a:gd name="connsiteX58" fmla="*/ 262142 w 322768"/>
                <a:gd name="connsiteY58" fmla="*/ 104445 h 358828"/>
                <a:gd name="connsiteX59" fmla="*/ 267391 w 322768"/>
                <a:gd name="connsiteY59" fmla="*/ 109694 h 358828"/>
                <a:gd name="connsiteX60" fmla="*/ 312318 w 322768"/>
                <a:gd name="connsiteY60" fmla="*/ 109694 h 358828"/>
                <a:gd name="connsiteX61" fmla="*/ 312318 w 322768"/>
                <a:gd name="connsiteY61" fmla="*/ 245719 h 358828"/>
                <a:gd name="connsiteX62" fmla="*/ 300328 w 322768"/>
                <a:gd name="connsiteY62" fmla="*/ 257709 h 358828"/>
                <a:gd name="connsiteX63" fmla="*/ 265241 w 322768"/>
                <a:gd name="connsiteY63" fmla="*/ 257709 h 358828"/>
                <a:gd name="connsiteX64" fmla="*/ 242755 w 322768"/>
                <a:gd name="connsiteY64" fmla="*/ 280217 h 358828"/>
                <a:gd name="connsiteX65" fmla="*/ 242755 w 322768"/>
                <a:gd name="connsiteY65" fmla="*/ 315304 h 358828"/>
                <a:gd name="connsiteX66" fmla="*/ 230743 w 322768"/>
                <a:gd name="connsiteY66" fmla="*/ 327294 h 358828"/>
                <a:gd name="connsiteX67" fmla="*/ 26422 w 322768"/>
                <a:gd name="connsiteY67" fmla="*/ 327294 h 358828"/>
                <a:gd name="connsiteX68" fmla="*/ 10587 w 322768"/>
                <a:gd name="connsiteY68" fmla="*/ 311458 h 358828"/>
                <a:gd name="connsiteX69" fmla="*/ 10587 w 322768"/>
                <a:gd name="connsiteY69" fmla="*/ 109694 h 358828"/>
                <a:gd name="connsiteX70" fmla="*/ 246352 w 322768"/>
                <a:gd name="connsiteY70" fmla="*/ 109694 h 358828"/>
                <a:gd name="connsiteX71" fmla="*/ 251601 w 322768"/>
                <a:gd name="connsiteY71" fmla="*/ 104445 h 358828"/>
                <a:gd name="connsiteX72" fmla="*/ 246352 w 322768"/>
                <a:gd name="connsiteY72" fmla="*/ 99197 h 358828"/>
                <a:gd name="connsiteX73" fmla="*/ 10587 w 322768"/>
                <a:gd name="connsiteY73" fmla="*/ 99197 h 358828"/>
                <a:gd name="connsiteX74" fmla="*/ 10587 w 322768"/>
                <a:gd name="connsiteY74" fmla="*/ 50402 h 358828"/>
                <a:gd name="connsiteX75" fmla="*/ 26422 w 322768"/>
                <a:gd name="connsiteY75" fmla="*/ 34566 h 358828"/>
                <a:gd name="connsiteX76" fmla="*/ 48886 w 322768"/>
                <a:gd name="connsiteY76" fmla="*/ 34566 h 358828"/>
                <a:gd name="connsiteX77" fmla="*/ 48886 w 322768"/>
                <a:gd name="connsiteY77" fmla="*/ 50017 h 358828"/>
                <a:gd name="connsiteX78" fmla="*/ 64880 w 322768"/>
                <a:gd name="connsiteY78" fmla="*/ 66011 h 358828"/>
                <a:gd name="connsiteX79" fmla="*/ 69794 w 322768"/>
                <a:gd name="connsiteY79" fmla="*/ 60406 h 358828"/>
                <a:gd name="connsiteX80" fmla="*/ 64880 w 322768"/>
                <a:gd name="connsiteY80" fmla="*/ 55492 h 358828"/>
                <a:gd name="connsiteX81" fmla="*/ 59405 w 322768"/>
                <a:gd name="connsiteY81" fmla="*/ 50017 h 358828"/>
                <a:gd name="connsiteX82" fmla="*/ 59405 w 322768"/>
                <a:gd name="connsiteY82" fmla="*/ 50017 h 358828"/>
                <a:gd name="connsiteX83" fmla="*/ 59405 w 322768"/>
                <a:gd name="connsiteY83" fmla="*/ 34589 h 358828"/>
                <a:gd name="connsiteX84" fmla="*/ 239792 w 322768"/>
                <a:gd name="connsiteY84" fmla="*/ 34589 h 358828"/>
                <a:gd name="connsiteX85" fmla="*/ 239792 w 322768"/>
                <a:gd name="connsiteY85" fmla="*/ 50040 h 358828"/>
                <a:gd name="connsiteX86" fmla="*/ 255786 w 322768"/>
                <a:gd name="connsiteY86" fmla="*/ 66034 h 358828"/>
                <a:gd name="connsiteX87" fmla="*/ 260700 w 322768"/>
                <a:gd name="connsiteY87" fmla="*/ 60429 h 358828"/>
                <a:gd name="connsiteX88" fmla="*/ 255786 w 322768"/>
                <a:gd name="connsiteY88" fmla="*/ 55514 h 358828"/>
                <a:gd name="connsiteX89" fmla="*/ 250379 w 322768"/>
                <a:gd name="connsiteY89" fmla="*/ 50040 h 358828"/>
                <a:gd name="connsiteX90" fmla="*/ 250379 w 322768"/>
                <a:gd name="connsiteY90" fmla="*/ 34589 h 358828"/>
                <a:gd name="connsiteX91" fmla="*/ 296528 w 322768"/>
                <a:gd name="connsiteY91" fmla="*/ 34589 h 358828"/>
                <a:gd name="connsiteX92" fmla="*/ 312363 w 322768"/>
                <a:gd name="connsiteY92" fmla="*/ 50424 h 358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322768" h="358828">
                  <a:moveTo>
                    <a:pt x="296528" y="24093"/>
                  </a:moveTo>
                  <a:lnTo>
                    <a:pt x="274064" y="24093"/>
                  </a:lnTo>
                  <a:lnTo>
                    <a:pt x="274064" y="16062"/>
                  </a:lnTo>
                  <a:cubicBezTo>
                    <a:pt x="274089" y="7216"/>
                    <a:pt x="266939" y="25"/>
                    <a:pt x="258093" y="0"/>
                  </a:cubicBezTo>
                  <a:lnTo>
                    <a:pt x="255672" y="0"/>
                  </a:lnTo>
                  <a:cubicBezTo>
                    <a:pt x="246850" y="25"/>
                    <a:pt x="239704" y="7171"/>
                    <a:pt x="239679" y="15994"/>
                  </a:cubicBezTo>
                  <a:lnTo>
                    <a:pt x="239679" y="24025"/>
                  </a:lnTo>
                  <a:lnTo>
                    <a:pt x="83158" y="24025"/>
                  </a:lnTo>
                  <a:lnTo>
                    <a:pt x="83158" y="16062"/>
                  </a:lnTo>
                  <a:cubicBezTo>
                    <a:pt x="83183" y="7216"/>
                    <a:pt x="76033" y="25"/>
                    <a:pt x="67187" y="0"/>
                  </a:cubicBezTo>
                  <a:cubicBezTo>
                    <a:pt x="67172" y="0"/>
                    <a:pt x="67157" y="0"/>
                    <a:pt x="67142" y="0"/>
                  </a:cubicBezTo>
                  <a:lnTo>
                    <a:pt x="64880" y="0"/>
                  </a:lnTo>
                  <a:cubicBezTo>
                    <a:pt x="56069" y="-50"/>
                    <a:pt x="48872" y="7025"/>
                    <a:pt x="48773" y="15836"/>
                  </a:cubicBezTo>
                  <a:lnTo>
                    <a:pt x="48773" y="24002"/>
                  </a:lnTo>
                  <a:lnTo>
                    <a:pt x="26422" y="24002"/>
                  </a:lnTo>
                  <a:cubicBezTo>
                    <a:pt x="11855" y="23977"/>
                    <a:pt x="25" y="35766"/>
                    <a:pt x="0" y="50334"/>
                  </a:cubicBezTo>
                  <a:cubicBezTo>
                    <a:pt x="0" y="50349"/>
                    <a:pt x="0" y="50364"/>
                    <a:pt x="0" y="50379"/>
                  </a:cubicBezTo>
                  <a:lnTo>
                    <a:pt x="0" y="50379"/>
                  </a:lnTo>
                  <a:lnTo>
                    <a:pt x="0" y="332542"/>
                  </a:lnTo>
                  <a:cubicBezTo>
                    <a:pt x="12" y="347046"/>
                    <a:pt x="11760" y="358804"/>
                    <a:pt x="26264" y="358828"/>
                  </a:cubicBezTo>
                  <a:lnTo>
                    <a:pt x="296573" y="358828"/>
                  </a:lnTo>
                  <a:cubicBezTo>
                    <a:pt x="311050" y="358766"/>
                    <a:pt x="322757" y="347019"/>
                    <a:pt x="322769" y="332542"/>
                  </a:cubicBezTo>
                  <a:lnTo>
                    <a:pt x="322769" y="50402"/>
                  </a:lnTo>
                  <a:cubicBezTo>
                    <a:pt x="322744" y="35908"/>
                    <a:pt x="311021" y="24155"/>
                    <a:pt x="296528" y="24093"/>
                  </a:cubicBezTo>
                  <a:close/>
                  <a:moveTo>
                    <a:pt x="250198" y="16062"/>
                  </a:moveTo>
                  <a:cubicBezTo>
                    <a:pt x="250198" y="13038"/>
                    <a:pt x="252649" y="10587"/>
                    <a:pt x="255672" y="10587"/>
                  </a:cubicBezTo>
                  <a:lnTo>
                    <a:pt x="258070" y="10587"/>
                  </a:lnTo>
                  <a:cubicBezTo>
                    <a:pt x="261094" y="10587"/>
                    <a:pt x="263545" y="13038"/>
                    <a:pt x="263545" y="16062"/>
                  </a:cubicBezTo>
                  <a:lnTo>
                    <a:pt x="263545" y="24093"/>
                  </a:lnTo>
                  <a:lnTo>
                    <a:pt x="250198" y="24093"/>
                  </a:lnTo>
                  <a:close/>
                  <a:moveTo>
                    <a:pt x="64880" y="10587"/>
                  </a:moveTo>
                  <a:lnTo>
                    <a:pt x="67142" y="10587"/>
                  </a:lnTo>
                  <a:cubicBezTo>
                    <a:pt x="70165" y="10575"/>
                    <a:pt x="72626" y="13016"/>
                    <a:pt x="72639" y="16039"/>
                  </a:cubicBezTo>
                  <a:cubicBezTo>
                    <a:pt x="72639" y="16039"/>
                    <a:pt x="72639" y="16039"/>
                    <a:pt x="72639" y="16039"/>
                  </a:cubicBezTo>
                  <a:lnTo>
                    <a:pt x="72639" y="16039"/>
                  </a:lnTo>
                  <a:lnTo>
                    <a:pt x="72639" y="24070"/>
                  </a:lnTo>
                  <a:lnTo>
                    <a:pt x="59292" y="24070"/>
                  </a:lnTo>
                  <a:lnTo>
                    <a:pt x="59292" y="16062"/>
                  </a:lnTo>
                  <a:lnTo>
                    <a:pt x="59292" y="16062"/>
                  </a:lnTo>
                  <a:cubicBezTo>
                    <a:pt x="59291" y="13038"/>
                    <a:pt x="61742" y="10587"/>
                    <a:pt x="64765" y="10586"/>
                  </a:cubicBezTo>
                  <a:cubicBezTo>
                    <a:pt x="64803" y="10586"/>
                    <a:pt x="64841" y="10587"/>
                    <a:pt x="64880" y="10587"/>
                  </a:cubicBezTo>
                  <a:close/>
                  <a:moveTo>
                    <a:pt x="312318" y="332542"/>
                  </a:moveTo>
                  <a:cubicBezTo>
                    <a:pt x="312318" y="341287"/>
                    <a:pt x="305228" y="348377"/>
                    <a:pt x="296482" y="348377"/>
                  </a:cubicBezTo>
                  <a:lnTo>
                    <a:pt x="26264" y="348377"/>
                  </a:lnTo>
                  <a:cubicBezTo>
                    <a:pt x="17518" y="348377"/>
                    <a:pt x="10429" y="341287"/>
                    <a:pt x="10429" y="332542"/>
                  </a:cubicBezTo>
                  <a:lnTo>
                    <a:pt x="10429" y="332542"/>
                  </a:lnTo>
                  <a:cubicBezTo>
                    <a:pt x="14987" y="335989"/>
                    <a:pt x="20549" y="337849"/>
                    <a:pt x="26264" y="337835"/>
                  </a:cubicBezTo>
                  <a:lnTo>
                    <a:pt x="239339" y="337835"/>
                  </a:lnTo>
                  <a:cubicBezTo>
                    <a:pt x="246321" y="337859"/>
                    <a:pt x="253020" y="335080"/>
                    <a:pt x="257935" y="330121"/>
                  </a:cubicBezTo>
                  <a:lnTo>
                    <a:pt x="312227" y="275829"/>
                  </a:lnTo>
                  <a:close/>
                  <a:moveTo>
                    <a:pt x="252641" y="320597"/>
                  </a:moveTo>
                  <a:cubicBezTo>
                    <a:pt x="253055" y="318863"/>
                    <a:pt x="253267" y="317087"/>
                    <a:pt x="253275" y="315304"/>
                  </a:cubicBezTo>
                  <a:lnTo>
                    <a:pt x="253275" y="280217"/>
                  </a:lnTo>
                  <a:cubicBezTo>
                    <a:pt x="253299" y="273606"/>
                    <a:pt x="258653" y="268253"/>
                    <a:pt x="265264" y="268228"/>
                  </a:cubicBezTo>
                  <a:lnTo>
                    <a:pt x="300351" y="268228"/>
                  </a:lnTo>
                  <a:cubicBezTo>
                    <a:pt x="302134" y="268232"/>
                    <a:pt x="303912" y="268019"/>
                    <a:pt x="305644" y="267594"/>
                  </a:cubicBezTo>
                  <a:close/>
                  <a:moveTo>
                    <a:pt x="312340" y="99197"/>
                  </a:moveTo>
                  <a:lnTo>
                    <a:pt x="267391" y="99197"/>
                  </a:lnTo>
                  <a:cubicBezTo>
                    <a:pt x="264492" y="99197"/>
                    <a:pt x="262142" y="101547"/>
                    <a:pt x="262142" y="104445"/>
                  </a:cubicBezTo>
                  <a:cubicBezTo>
                    <a:pt x="262142" y="107344"/>
                    <a:pt x="264492" y="109694"/>
                    <a:pt x="267391" y="109694"/>
                  </a:cubicBezTo>
                  <a:lnTo>
                    <a:pt x="312318" y="109694"/>
                  </a:lnTo>
                  <a:lnTo>
                    <a:pt x="312318" y="245719"/>
                  </a:lnTo>
                  <a:cubicBezTo>
                    <a:pt x="312318" y="252341"/>
                    <a:pt x="306950" y="257709"/>
                    <a:pt x="300328" y="257709"/>
                  </a:cubicBezTo>
                  <a:lnTo>
                    <a:pt x="265241" y="257709"/>
                  </a:lnTo>
                  <a:cubicBezTo>
                    <a:pt x="252845" y="257783"/>
                    <a:pt x="242817" y="267821"/>
                    <a:pt x="242755" y="280217"/>
                  </a:cubicBezTo>
                  <a:lnTo>
                    <a:pt x="242755" y="315304"/>
                  </a:lnTo>
                  <a:cubicBezTo>
                    <a:pt x="242743" y="321929"/>
                    <a:pt x="237368" y="327294"/>
                    <a:pt x="230743" y="327294"/>
                  </a:cubicBezTo>
                  <a:lnTo>
                    <a:pt x="26422" y="327294"/>
                  </a:lnTo>
                  <a:cubicBezTo>
                    <a:pt x="17677" y="327294"/>
                    <a:pt x="10587" y="320204"/>
                    <a:pt x="10587" y="311458"/>
                  </a:cubicBezTo>
                  <a:lnTo>
                    <a:pt x="10587" y="109694"/>
                  </a:lnTo>
                  <a:lnTo>
                    <a:pt x="246352" y="109694"/>
                  </a:lnTo>
                  <a:cubicBezTo>
                    <a:pt x="249251" y="109694"/>
                    <a:pt x="251601" y="107344"/>
                    <a:pt x="251601" y="104445"/>
                  </a:cubicBezTo>
                  <a:cubicBezTo>
                    <a:pt x="251601" y="101547"/>
                    <a:pt x="249251" y="99197"/>
                    <a:pt x="246352" y="99197"/>
                  </a:cubicBezTo>
                  <a:lnTo>
                    <a:pt x="10587" y="99197"/>
                  </a:lnTo>
                  <a:lnTo>
                    <a:pt x="10587" y="50402"/>
                  </a:lnTo>
                  <a:cubicBezTo>
                    <a:pt x="10587" y="41656"/>
                    <a:pt x="17677" y="34566"/>
                    <a:pt x="26422" y="34566"/>
                  </a:cubicBezTo>
                  <a:lnTo>
                    <a:pt x="48886" y="34566"/>
                  </a:lnTo>
                  <a:lnTo>
                    <a:pt x="48886" y="50017"/>
                  </a:lnTo>
                  <a:cubicBezTo>
                    <a:pt x="48911" y="58840"/>
                    <a:pt x="56057" y="65986"/>
                    <a:pt x="64880" y="66011"/>
                  </a:cubicBezTo>
                  <a:cubicBezTo>
                    <a:pt x="67784" y="65820"/>
                    <a:pt x="69985" y="63311"/>
                    <a:pt x="69794" y="60406"/>
                  </a:cubicBezTo>
                  <a:cubicBezTo>
                    <a:pt x="69621" y="57767"/>
                    <a:pt x="67519" y="55665"/>
                    <a:pt x="64880" y="55492"/>
                  </a:cubicBezTo>
                  <a:cubicBezTo>
                    <a:pt x="61856" y="55492"/>
                    <a:pt x="59405" y="53041"/>
                    <a:pt x="59405" y="50017"/>
                  </a:cubicBezTo>
                  <a:lnTo>
                    <a:pt x="59405" y="50017"/>
                  </a:lnTo>
                  <a:lnTo>
                    <a:pt x="59405" y="34589"/>
                  </a:lnTo>
                  <a:lnTo>
                    <a:pt x="239792" y="34589"/>
                  </a:lnTo>
                  <a:lnTo>
                    <a:pt x="239792" y="50040"/>
                  </a:lnTo>
                  <a:cubicBezTo>
                    <a:pt x="239817" y="58863"/>
                    <a:pt x="246963" y="66009"/>
                    <a:pt x="255786" y="66034"/>
                  </a:cubicBezTo>
                  <a:cubicBezTo>
                    <a:pt x="258690" y="65843"/>
                    <a:pt x="260891" y="63334"/>
                    <a:pt x="260700" y="60429"/>
                  </a:cubicBezTo>
                  <a:cubicBezTo>
                    <a:pt x="260527" y="57790"/>
                    <a:pt x="258425" y="55688"/>
                    <a:pt x="255786" y="55514"/>
                  </a:cubicBezTo>
                  <a:cubicBezTo>
                    <a:pt x="252789" y="55477"/>
                    <a:pt x="250379" y="53037"/>
                    <a:pt x="250379" y="50040"/>
                  </a:cubicBezTo>
                  <a:lnTo>
                    <a:pt x="250379" y="34589"/>
                  </a:lnTo>
                  <a:lnTo>
                    <a:pt x="296528" y="34589"/>
                  </a:lnTo>
                  <a:cubicBezTo>
                    <a:pt x="305273" y="34589"/>
                    <a:pt x="312363" y="41679"/>
                    <a:pt x="312363" y="50424"/>
                  </a:cubicBez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reeform 252">
              <a:extLst>
                <a:ext uri="{FF2B5EF4-FFF2-40B4-BE49-F238E27FC236}">
                  <a16:creationId xmlns:a16="http://schemas.microsoft.com/office/drawing/2014/main" id="{29C478EC-D1CC-0541-8A29-5F239B200150}"/>
                </a:ext>
              </a:extLst>
            </p:cNvPr>
            <p:cNvSpPr/>
            <p:nvPr/>
          </p:nvSpPr>
          <p:spPr>
            <a:xfrm>
              <a:off x="4761683" y="4787626"/>
              <a:ext cx="178519" cy="171075"/>
            </a:xfrm>
            <a:custGeom>
              <a:avLst/>
              <a:gdLst>
                <a:gd name="connsiteX0" fmla="*/ 41528 w 178519"/>
                <a:gd name="connsiteY0" fmla="*/ 171075 h 171075"/>
                <a:gd name="connsiteX1" fmla="*/ 29646 w 178519"/>
                <a:gd name="connsiteY1" fmla="*/ 159159 h 171075"/>
                <a:gd name="connsiteX2" fmla="*/ 30217 w 178519"/>
                <a:gd name="connsiteY2" fmla="*/ 155534 h 171075"/>
                <a:gd name="connsiteX3" fmla="*/ 45736 w 178519"/>
                <a:gd name="connsiteY3" fmla="*/ 107485 h 171075"/>
                <a:gd name="connsiteX4" fmla="*/ 4858 w 178519"/>
                <a:gd name="connsiteY4" fmla="*/ 77805 h 171075"/>
                <a:gd name="connsiteX5" fmla="*/ 2308 w 178519"/>
                <a:gd name="connsiteY5" fmla="*/ 61172 h 171075"/>
                <a:gd name="connsiteX6" fmla="*/ 11826 w 178519"/>
                <a:gd name="connsiteY6" fmla="*/ 56314 h 171075"/>
                <a:gd name="connsiteX7" fmla="*/ 62431 w 178519"/>
                <a:gd name="connsiteY7" fmla="*/ 56314 h 171075"/>
                <a:gd name="connsiteX8" fmla="*/ 78266 w 178519"/>
                <a:gd name="connsiteY8" fmla="*/ 8311 h 171075"/>
                <a:gd name="connsiteX9" fmla="*/ 93124 w 178519"/>
                <a:gd name="connsiteY9" fmla="*/ 546 h 171075"/>
                <a:gd name="connsiteX10" fmla="*/ 100888 w 178519"/>
                <a:gd name="connsiteY10" fmla="*/ 8311 h 171075"/>
                <a:gd name="connsiteX11" fmla="*/ 116565 w 178519"/>
                <a:gd name="connsiteY11" fmla="*/ 56314 h 171075"/>
                <a:gd name="connsiteX12" fmla="*/ 166650 w 178519"/>
                <a:gd name="connsiteY12" fmla="*/ 56314 h 171075"/>
                <a:gd name="connsiteX13" fmla="*/ 178520 w 178519"/>
                <a:gd name="connsiteY13" fmla="*/ 68242 h 171075"/>
                <a:gd name="connsiteX14" fmla="*/ 173663 w 178519"/>
                <a:gd name="connsiteY14" fmla="*/ 77805 h 171075"/>
                <a:gd name="connsiteX15" fmla="*/ 132717 w 178519"/>
                <a:gd name="connsiteY15" fmla="*/ 107485 h 171075"/>
                <a:gd name="connsiteX16" fmla="*/ 148552 w 178519"/>
                <a:gd name="connsiteY16" fmla="*/ 155534 h 171075"/>
                <a:gd name="connsiteX17" fmla="*/ 140966 w 178519"/>
                <a:gd name="connsiteY17" fmla="*/ 170483 h 171075"/>
                <a:gd name="connsiteX18" fmla="*/ 130297 w 178519"/>
                <a:gd name="connsiteY18" fmla="*/ 168790 h 171075"/>
                <a:gd name="connsiteX19" fmla="*/ 89351 w 178519"/>
                <a:gd name="connsiteY19" fmla="*/ 139088 h 171075"/>
                <a:gd name="connsiteX20" fmla="*/ 48451 w 178519"/>
                <a:gd name="connsiteY20" fmla="*/ 168790 h 171075"/>
                <a:gd name="connsiteX21" fmla="*/ 41528 w 178519"/>
                <a:gd name="connsiteY21" fmla="*/ 171075 h 171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8519" h="171075">
                  <a:moveTo>
                    <a:pt x="41528" y="171075"/>
                  </a:moveTo>
                  <a:cubicBezTo>
                    <a:pt x="34957" y="171066"/>
                    <a:pt x="29637" y="165731"/>
                    <a:pt x="29646" y="159159"/>
                  </a:cubicBezTo>
                  <a:cubicBezTo>
                    <a:pt x="29648" y="157928"/>
                    <a:pt x="29841" y="156705"/>
                    <a:pt x="30217" y="155534"/>
                  </a:cubicBezTo>
                  <a:lnTo>
                    <a:pt x="45736" y="107485"/>
                  </a:lnTo>
                  <a:lnTo>
                    <a:pt x="4858" y="77805"/>
                  </a:lnTo>
                  <a:cubicBezTo>
                    <a:pt x="-439" y="73916"/>
                    <a:pt x="-1581" y="66469"/>
                    <a:pt x="2308" y="61172"/>
                  </a:cubicBezTo>
                  <a:cubicBezTo>
                    <a:pt x="4534" y="58139"/>
                    <a:pt x="8064" y="56338"/>
                    <a:pt x="11826" y="56314"/>
                  </a:cubicBezTo>
                  <a:lnTo>
                    <a:pt x="62431" y="56314"/>
                  </a:lnTo>
                  <a:lnTo>
                    <a:pt x="78266" y="8311"/>
                  </a:lnTo>
                  <a:cubicBezTo>
                    <a:pt x="80225" y="2064"/>
                    <a:pt x="86877" y="-1413"/>
                    <a:pt x="93124" y="546"/>
                  </a:cubicBezTo>
                  <a:cubicBezTo>
                    <a:pt x="96827" y="1707"/>
                    <a:pt x="99727" y="4607"/>
                    <a:pt x="100888" y="8311"/>
                  </a:cubicBezTo>
                  <a:lnTo>
                    <a:pt x="116565" y="56314"/>
                  </a:lnTo>
                  <a:lnTo>
                    <a:pt x="166650" y="56314"/>
                  </a:lnTo>
                  <a:cubicBezTo>
                    <a:pt x="173222" y="56330"/>
                    <a:pt x="178536" y="61671"/>
                    <a:pt x="178520" y="68242"/>
                  </a:cubicBezTo>
                  <a:cubicBezTo>
                    <a:pt x="178511" y="72020"/>
                    <a:pt x="176708" y="75569"/>
                    <a:pt x="173663" y="77805"/>
                  </a:cubicBezTo>
                  <a:lnTo>
                    <a:pt x="132717" y="107485"/>
                  </a:lnTo>
                  <a:lnTo>
                    <a:pt x="148552" y="155534"/>
                  </a:lnTo>
                  <a:cubicBezTo>
                    <a:pt x="150586" y="161757"/>
                    <a:pt x="147189" y="168450"/>
                    <a:pt x="140966" y="170483"/>
                  </a:cubicBezTo>
                  <a:cubicBezTo>
                    <a:pt x="137344" y="171666"/>
                    <a:pt x="133374" y="171037"/>
                    <a:pt x="130297" y="168790"/>
                  </a:cubicBezTo>
                  <a:lnTo>
                    <a:pt x="89351" y="139088"/>
                  </a:lnTo>
                  <a:lnTo>
                    <a:pt x="48451" y="168790"/>
                  </a:lnTo>
                  <a:cubicBezTo>
                    <a:pt x="46449" y="170276"/>
                    <a:pt x="44021" y="171077"/>
                    <a:pt x="41528" y="171075"/>
                  </a:cubicBezTo>
                  <a:close/>
                </a:path>
              </a:pathLst>
            </a:custGeom>
            <a:noFill/>
            <a:ln w="11311" cap="rnd">
              <a:solidFill>
                <a:srgbClr val="BD5C7A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4" name="Graphic 320">
            <a:extLst>
              <a:ext uri="{FF2B5EF4-FFF2-40B4-BE49-F238E27FC236}">
                <a16:creationId xmlns:a16="http://schemas.microsoft.com/office/drawing/2014/main" id="{6329347F-F6EC-CE49-80DC-3E9033DCB43F}"/>
              </a:ext>
            </a:extLst>
          </p:cNvPr>
          <p:cNvGrpSpPr/>
          <p:nvPr userDrawn="1"/>
        </p:nvGrpSpPr>
        <p:grpSpPr>
          <a:xfrm>
            <a:off x="5510212" y="4668838"/>
            <a:ext cx="365125" cy="365125"/>
            <a:chOff x="5465762" y="4668837"/>
            <a:chExt cx="365125" cy="365125"/>
          </a:xfrm>
        </p:grpSpPr>
        <p:sp>
          <p:nvSpPr>
            <p:cNvPr id="255" name="Freeform 254">
              <a:extLst>
                <a:ext uri="{FF2B5EF4-FFF2-40B4-BE49-F238E27FC236}">
                  <a16:creationId xmlns:a16="http://schemas.microsoft.com/office/drawing/2014/main" id="{73B65DF0-A31D-BB4B-B2C7-F4DA81E187EF}"/>
                </a:ext>
              </a:extLst>
            </p:cNvPr>
            <p:cNvSpPr/>
            <p:nvPr/>
          </p:nvSpPr>
          <p:spPr>
            <a:xfrm>
              <a:off x="5616988" y="4994756"/>
              <a:ext cx="66576" cy="32811"/>
            </a:xfrm>
            <a:custGeom>
              <a:avLst/>
              <a:gdLst>
                <a:gd name="connsiteX0" fmla="*/ 59519 w 66576"/>
                <a:gd name="connsiteY0" fmla="*/ 1 h 32811"/>
                <a:gd name="connsiteX1" fmla="*/ 7033 w 66576"/>
                <a:gd name="connsiteY1" fmla="*/ 1 h 32811"/>
                <a:gd name="connsiteX2" fmla="*/ 0 w 66576"/>
                <a:gd name="connsiteY2" fmla="*/ 6888 h 32811"/>
                <a:gd name="connsiteX3" fmla="*/ 346 w 66576"/>
                <a:gd name="connsiteY3" fmla="*/ 9129 h 32811"/>
                <a:gd name="connsiteX4" fmla="*/ 44370 w 66576"/>
                <a:gd name="connsiteY4" fmla="*/ 30988 h 32811"/>
                <a:gd name="connsiteX5" fmla="*/ 66229 w 66576"/>
                <a:gd name="connsiteY5" fmla="*/ 9129 h 32811"/>
                <a:gd name="connsiteX6" fmla="*/ 61783 w 66576"/>
                <a:gd name="connsiteY6" fmla="*/ 346 h 32811"/>
                <a:gd name="connsiteX7" fmla="*/ 59519 w 66576"/>
                <a:gd name="connsiteY7" fmla="*/ 1 h 32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576" h="32811">
                  <a:moveTo>
                    <a:pt x="59519" y="1"/>
                  </a:moveTo>
                  <a:lnTo>
                    <a:pt x="7033" y="1"/>
                  </a:lnTo>
                  <a:cubicBezTo>
                    <a:pt x="3189" y="-39"/>
                    <a:pt x="40" y="3044"/>
                    <a:pt x="0" y="6888"/>
                  </a:cubicBezTo>
                  <a:cubicBezTo>
                    <a:pt x="-8" y="7649"/>
                    <a:pt x="109" y="8406"/>
                    <a:pt x="346" y="9129"/>
                  </a:cubicBezTo>
                  <a:cubicBezTo>
                    <a:pt x="6467" y="27322"/>
                    <a:pt x="26177" y="37108"/>
                    <a:pt x="44370" y="30988"/>
                  </a:cubicBezTo>
                  <a:cubicBezTo>
                    <a:pt x="54674" y="27521"/>
                    <a:pt x="62762" y="19433"/>
                    <a:pt x="66229" y="9129"/>
                  </a:cubicBezTo>
                  <a:cubicBezTo>
                    <a:pt x="67426" y="5476"/>
                    <a:pt x="65436" y="1544"/>
                    <a:pt x="61783" y="346"/>
                  </a:cubicBezTo>
                  <a:cubicBezTo>
                    <a:pt x="61053" y="107"/>
                    <a:pt x="60288" y="-10"/>
                    <a:pt x="59519" y="1"/>
                  </a:cubicBezTo>
                  <a:close/>
                </a:path>
              </a:pathLst>
            </a:custGeom>
            <a:solidFill>
              <a:srgbClr val="BA5D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Freeform 255">
              <a:extLst>
                <a:ext uri="{FF2B5EF4-FFF2-40B4-BE49-F238E27FC236}">
                  <a16:creationId xmlns:a16="http://schemas.microsoft.com/office/drawing/2014/main" id="{15478D2A-02DB-6446-BB7D-437DEDC9BDB4}"/>
                </a:ext>
              </a:extLst>
            </p:cNvPr>
            <p:cNvSpPr/>
            <p:nvPr/>
          </p:nvSpPr>
          <p:spPr>
            <a:xfrm>
              <a:off x="5510426" y="4706695"/>
              <a:ext cx="282625" cy="279007"/>
            </a:xfrm>
            <a:custGeom>
              <a:avLst/>
              <a:gdLst>
                <a:gd name="connsiteX0" fmla="*/ 258024 w 282625"/>
                <a:gd name="connsiteY0" fmla="*/ 279001 h 279007"/>
                <a:gd name="connsiteX1" fmla="*/ 24618 w 282625"/>
                <a:gd name="connsiteY1" fmla="*/ 279001 h 279007"/>
                <a:gd name="connsiteX2" fmla="*/ 2437 w 282625"/>
                <a:gd name="connsiteY2" fmla="*/ 265925 h 279007"/>
                <a:gd name="connsiteX3" fmla="*/ 4285 w 282625"/>
                <a:gd name="connsiteY3" fmla="*/ 243105 h 279007"/>
                <a:gd name="connsiteX4" fmla="*/ 35207 w 282625"/>
                <a:gd name="connsiteY4" fmla="*/ 214146 h 279007"/>
                <a:gd name="connsiteX5" fmla="*/ 35207 w 282625"/>
                <a:gd name="connsiteY5" fmla="*/ 134115 h 279007"/>
                <a:gd name="connsiteX6" fmla="*/ 108757 w 282625"/>
                <a:gd name="connsiteY6" fmla="*/ 34413 h 279007"/>
                <a:gd name="connsiteX7" fmla="*/ 108757 w 282625"/>
                <a:gd name="connsiteY7" fmla="*/ 30876 h 279007"/>
                <a:gd name="connsiteX8" fmla="*/ 139633 w 282625"/>
                <a:gd name="connsiteY8" fmla="*/ 0 h 279007"/>
                <a:gd name="connsiteX9" fmla="*/ 170508 w 282625"/>
                <a:gd name="connsiteY9" fmla="*/ 30876 h 279007"/>
                <a:gd name="connsiteX10" fmla="*/ 170508 w 282625"/>
                <a:gd name="connsiteY10" fmla="*/ 34527 h 279007"/>
                <a:gd name="connsiteX11" fmla="*/ 243807 w 282625"/>
                <a:gd name="connsiteY11" fmla="*/ 134115 h 279007"/>
                <a:gd name="connsiteX12" fmla="*/ 243807 w 282625"/>
                <a:gd name="connsiteY12" fmla="*/ 214260 h 279007"/>
                <a:gd name="connsiteX13" fmla="*/ 276303 w 282625"/>
                <a:gd name="connsiteY13" fmla="*/ 240846 h 279007"/>
                <a:gd name="connsiteX14" fmla="*/ 277513 w 282625"/>
                <a:gd name="connsiteY14" fmla="*/ 242055 h 279007"/>
                <a:gd name="connsiteX15" fmla="*/ 280480 w 282625"/>
                <a:gd name="connsiteY15" fmla="*/ 265332 h 279007"/>
                <a:gd name="connsiteX16" fmla="*/ 258024 w 282625"/>
                <a:gd name="connsiteY16" fmla="*/ 279001 h 279007"/>
                <a:gd name="connsiteX17" fmla="*/ 48397 w 282625"/>
                <a:gd name="connsiteY17" fmla="*/ 225145 h 279007"/>
                <a:gd name="connsiteX18" fmla="*/ 16951 w 282625"/>
                <a:gd name="connsiteY18" fmla="*/ 254424 h 279007"/>
                <a:gd name="connsiteX19" fmla="*/ 17590 w 282625"/>
                <a:gd name="connsiteY19" fmla="*/ 258143 h 279007"/>
                <a:gd name="connsiteX20" fmla="*/ 24436 w 282625"/>
                <a:gd name="connsiteY20" fmla="*/ 261886 h 279007"/>
                <a:gd name="connsiteX21" fmla="*/ 258024 w 282625"/>
                <a:gd name="connsiteY21" fmla="*/ 261886 h 279007"/>
                <a:gd name="connsiteX22" fmla="*/ 265007 w 282625"/>
                <a:gd name="connsiteY22" fmla="*/ 258006 h 279007"/>
                <a:gd name="connsiteX23" fmla="*/ 264688 w 282625"/>
                <a:gd name="connsiteY23" fmla="*/ 253442 h 279007"/>
                <a:gd name="connsiteX24" fmla="*/ 229818 w 282625"/>
                <a:gd name="connsiteY24" fmla="*/ 224940 h 279007"/>
                <a:gd name="connsiteX25" fmla="*/ 226692 w 282625"/>
                <a:gd name="connsiteY25" fmla="*/ 218322 h 279007"/>
                <a:gd name="connsiteX26" fmla="*/ 226692 w 282625"/>
                <a:gd name="connsiteY26" fmla="*/ 134115 h 279007"/>
                <a:gd name="connsiteX27" fmla="*/ 159920 w 282625"/>
                <a:gd name="connsiteY27" fmla="*/ 49338 h 279007"/>
                <a:gd name="connsiteX28" fmla="*/ 153393 w 282625"/>
                <a:gd name="connsiteY28" fmla="*/ 41031 h 279007"/>
                <a:gd name="connsiteX29" fmla="*/ 153393 w 282625"/>
                <a:gd name="connsiteY29" fmla="*/ 30876 h 279007"/>
                <a:gd name="connsiteX30" fmla="*/ 139633 w 282625"/>
                <a:gd name="connsiteY30" fmla="*/ 17115 h 279007"/>
                <a:gd name="connsiteX31" fmla="*/ 125872 w 282625"/>
                <a:gd name="connsiteY31" fmla="*/ 30876 h 279007"/>
                <a:gd name="connsiteX32" fmla="*/ 125872 w 282625"/>
                <a:gd name="connsiteY32" fmla="*/ 40940 h 279007"/>
                <a:gd name="connsiteX33" fmla="*/ 119300 w 282625"/>
                <a:gd name="connsiteY33" fmla="*/ 49269 h 279007"/>
                <a:gd name="connsiteX34" fmla="*/ 52208 w 282625"/>
                <a:gd name="connsiteY34" fmla="*/ 134115 h 279007"/>
                <a:gd name="connsiteX35" fmla="*/ 52208 w 282625"/>
                <a:gd name="connsiteY35" fmla="*/ 218002 h 279007"/>
                <a:gd name="connsiteX36" fmla="*/ 48397 w 282625"/>
                <a:gd name="connsiteY36" fmla="*/ 225145 h 279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82625" h="279007">
                  <a:moveTo>
                    <a:pt x="258024" y="279001"/>
                  </a:moveTo>
                  <a:lnTo>
                    <a:pt x="24618" y="279001"/>
                  </a:lnTo>
                  <a:cubicBezTo>
                    <a:pt x="15352" y="279169"/>
                    <a:pt x="6777" y="274114"/>
                    <a:pt x="2437" y="265925"/>
                  </a:cubicBezTo>
                  <a:cubicBezTo>
                    <a:pt x="-1386" y="258596"/>
                    <a:pt x="-667" y="249723"/>
                    <a:pt x="4285" y="243105"/>
                  </a:cubicBezTo>
                  <a:lnTo>
                    <a:pt x="35207" y="214146"/>
                  </a:lnTo>
                  <a:lnTo>
                    <a:pt x="35207" y="134115"/>
                  </a:lnTo>
                  <a:cubicBezTo>
                    <a:pt x="35105" y="88315"/>
                    <a:pt x="64967" y="47835"/>
                    <a:pt x="108757" y="34413"/>
                  </a:cubicBezTo>
                  <a:lnTo>
                    <a:pt x="108757" y="30876"/>
                  </a:lnTo>
                  <a:cubicBezTo>
                    <a:pt x="108757" y="13824"/>
                    <a:pt x="122580" y="0"/>
                    <a:pt x="139633" y="0"/>
                  </a:cubicBezTo>
                  <a:cubicBezTo>
                    <a:pt x="156685" y="0"/>
                    <a:pt x="170508" y="13824"/>
                    <a:pt x="170508" y="30876"/>
                  </a:cubicBezTo>
                  <a:lnTo>
                    <a:pt x="170508" y="34527"/>
                  </a:lnTo>
                  <a:cubicBezTo>
                    <a:pt x="214140" y="48052"/>
                    <a:pt x="243863" y="88435"/>
                    <a:pt x="243807" y="134115"/>
                  </a:cubicBezTo>
                  <a:lnTo>
                    <a:pt x="243807" y="214260"/>
                  </a:lnTo>
                  <a:lnTo>
                    <a:pt x="276303" y="240846"/>
                  </a:lnTo>
                  <a:cubicBezTo>
                    <a:pt x="276756" y="241197"/>
                    <a:pt x="277162" y="241603"/>
                    <a:pt x="277513" y="242055"/>
                  </a:cubicBezTo>
                  <a:cubicBezTo>
                    <a:pt x="283023" y="248542"/>
                    <a:pt x="284186" y="257670"/>
                    <a:pt x="280480" y="265332"/>
                  </a:cubicBezTo>
                  <a:cubicBezTo>
                    <a:pt x="276300" y="273877"/>
                    <a:pt x="267534" y="279212"/>
                    <a:pt x="258024" y="279001"/>
                  </a:cubicBezTo>
                  <a:close/>
                  <a:moveTo>
                    <a:pt x="48397" y="225145"/>
                  </a:moveTo>
                  <a:lnTo>
                    <a:pt x="16951" y="254424"/>
                  </a:lnTo>
                  <a:cubicBezTo>
                    <a:pt x="16784" y="255700"/>
                    <a:pt x="17007" y="256996"/>
                    <a:pt x="17590" y="258143"/>
                  </a:cubicBezTo>
                  <a:cubicBezTo>
                    <a:pt x="18997" y="260568"/>
                    <a:pt x="21635" y="262010"/>
                    <a:pt x="24436" y="261886"/>
                  </a:cubicBezTo>
                  <a:lnTo>
                    <a:pt x="258024" y="261886"/>
                  </a:lnTo>
                  <a:cubicBezTo>
                    <a:pt x="260910" y="262070"/>
                    <a:pt x="263639" y="260554"/>
                    <a:pt x="265007" y="258006"/>
                  </a:cubicBezTo>
                  <a:cubicBezTo>
                    <a:pt x="265778" y="256548"/>
                    <a:pt x="265654" y="254779"/>
                    <a:pt x="264688" y="253442"/>
                  </a:cubicBezTo>
                  <a:lnTo>
                    <a:pt x="229818" y="224940"/>
                  </a:lnTo>
                  <a:cubicBezTo>
                    <a:pt x="227838" y="223313"/>
                    <a:pt x="226691" y="220885"/>
                    <a:pt x="226692" y="218322"/>
                  </a:cubicBezTo>
                  <a:lnTo>
                    <a:pt x="226692" y="134115"/>
                  </a:lnTo>
                  <a:cubicBezTo>
                    <a:pt x="226728" y="93811"/>
                    <a:pt x="199110" y="58746"/>
                    <a:pt x="159920" y="49338"/>
                  </a:cubicBezTo>
                  <a:cubicBezTo>
                    <a:pt x="156086" y="48409"/>
                    <a:pt x="153388" y="44975"/>
                    <a:pt x="153393" y="41031"/>
                  </a:cubicBezTo>
                  <a:lnTo>
                    <a:pt x="153393" y="30876"/>
                  </a:lnTo>
                  <a:cubicBezTo>
                    <a:pt x="153393" y="23276"/>
                    <a:pt x="147232" y="17115"/>
                    <a:pt x="139633" y="17115"/>
                  </a:cubicBezTo>
                  <a:cubicBezTo>
                    <a:pt x="132033" y="17115"/>
                    <a:pt x="125872" y="23276"/>
                    <a:pt x="125872" y="30876"/>
                  </a:cubicBezTo>
                  <a:lnTo>
                    <a:pt x="125872" y="40940"/>
                  </a:lnTo>
                  <a:cubicBezTo>
                    <a:pt x="125866" y="44900"/>
                    <a:pt x="123150" y="48342"/>
                    <a:pt x="119300" y="49269"/>
                  </a:cubicBezTo>
                  <a:cubicBezTo>
                    <a:pt x="80160" y="58873"/>
                    <a:pt x="52529" y="93815"/>
                    <a:pt x="52208" y="134115"/>
                  </a:cubicBezTo>
                  <a:lnTo>
                    <a:pt x="52208" y="218002"/>
                  </a:lnTo>
                  <a:cubicBezTo>
                    <a:pt x="52199" y="220868"/>
                    <a:pt x="50772" y="223543"/>
                    <a:pt x="48397" y="225145"/>
                  </a:cubicBezTo>
                  <a:close/>
                </a:path>
              </a:pathLst>
            </a:custGeom>
            <a:solidFill>
              <a:srgbClr val="1F6896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reeform 256">
              <a:extLst>
                <a:ext uri="{FF2B5EF4-FFF2-40B4-BE49-F238E27FC236}">
                  <a16:creationId xmlns:a16="http://schemas.microsoft.com/office/drawing/2014/main" id="{67E66960-DBB3-F547-B576-3FA8144F44F3}"/>
                </a:ext>
              </a:extLst>
            </p:cNvPr>
            <p:cNvSpPr/>
            <p:nvPr/>
          </p:nvSpPr>
          <p:spPr>
            <a:xfrm>
              <a:off x="5711590" y="4682258"/>
              <a:ext cx="104644" cy="104665"/>
            </a:xfrm>
            <a:custGeom>
              <a:avLst/>
              <a:gdLst>
                <a:gd name="connsiteX0" fmla="*/ 104578 w 104644"/>
                <a:gd name="connsiteY0" fmla="*/ 99265 h 104665"/>
                <a:gd name="connsiteX1" fmla="*/ 12492 w 104644"/>
                <a:gd name="connsiteY1" fmla="*/ 66 h 104665"/>
                <a:gd name="connsiteX2" fmla="*/ 5400 w 104644"/>
                <a:gd name="connsiteY2" fmla="*/ 65 h 104665"/>
                <a:gd name="connsiteX3" fmla="*/ 3 w 104644"/>
                <a:gd name="connsiteY3" fmla="*/ 5850 h 104665"/>
                <a:gd name="connsiteX4" fmla="*/ 5788 w 104644"/>
                <a:gd name="connsiteY4" fmla="*/ 11247 h 104665"/>
                <a:gd name="connsiteX5" fmla="*/ 93396 w 104644"/>
                <a:gd name="connsiteY5" fmla="*/ 92386 h 104665"/>
                <a:gd name="connsiteX6" fmla="*/ 93396 w 104644"/>
                <a:gd name="connsiteY6" fmla="*/ 98877 h 104665"/>
                <a:gd name="connsiteX7" fmla="*/ 95039 w 104644"/>
                <a:gd name="connsiteY7" fmla="*/ 103031 h 104665"/>
                <a:gd name="connsiteX8" fmla="*/ 102945 w 104644"/>
                <a:gd name="connsiteY8" fmla="*/ 103026 h 104665"/>
                <a:gd name="connsiteX9" fmla="*/ 104578 w 104644"/>
                <a:gd name="connsiteY9" fmla="*/ 99265 h 104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644" h="104665">
                  <a:moveTo>
                    <a:pt x="104578" y="99265"/>
                  </a:moveTo>
                  <a:cubicBezTo>
                    <a:pt x="106542" y="46443"/>
                    <a:pt x="65314" y="2030"/>
                    <a:pt x="12492" y="66"/>
                  </a:cubicBezTo>
                  <a:cubicBezTo>
                    <a:pt x="10129" y="-22"/>
                    <a:pt x="7763" y="-22"/>
                    <a:pt x="5400" y="65"/>
                  </a:cubicBezTo>
                  <a:cubicBezTo>
                    <a:pt x="2313" y="172"/>
                    <a:pt x="-104" y="2762"/>
                    <a:pt x="3" y="5850"/>
                  </a:cubicBezTo>
                  <a:cubicBezTo>
                    <a:pt x="111" y="8938"/>
                    <a:pt x="2701" y="11354"/>
                    <a:pt x="5788" y="11247"/>
                  </a:cubicBezTo>
                  <a:cubicBezTo>
                    <a:pt x="52386" y="9461"/>
                    <a:pt x="91610" y="45788"/>
                    <a:pt x="93396" y="92386"/>
                  </a:cubicBezTo>
                  <a:cubicBezTo>
                    <a:pt x="93479" y="94549"/>
                    <a:pt x="93479" y="96714"/>
                    <a:pt x="93396" y="98877"/>
                  </a:cubicBezTo>
                  <a:cubicBezTo>
                    <a:pt x="93356" y="100427"/>
                    <a:pt x="93949" y="101927"/>
                    <a:pt x="95039" y="103031"/>
                  </a:cubicBezTo>
                  <a:cubicBezTo>
                    <a:pt x="97223" y="105213"/>
                    <a:pt x="100763" y="105211"/>
                    <a:pt x="102945" y="103026"/>
                  </a:cubicBezTo>
                  <a:cubicBezTo>
                    <a:pt x="103946" y="102024"/>
                    <a:pt x="104529" y="100680"/>
                    <a:pt x="104578" y="99265"/>
                  </a:cubicBezTo>
                  <a:close/>
                </a:path>
              </a:pathLst>
            </a:custGeom>
            <a:solidFill>
              <a:srgbClr val="1F6896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eform 257">
              <a:extLst>
                <a:ext uri="{FF2B5EF4-FFF2-40B4-BE49-F238E27FC236}">
                  <a16:creationId xmlns:a16="http://schemas.microsoft.com/office/drawing/2014/main" id="{D4DC0879-CE0E-784C-B987-55B008747606}"/>
                </a:ext>
              </a:extLst>
            </p:cNvPr>
            <p:cNvSpPr/>
            <p:nvPr/>
          </p:nvSpPr>
          <p:spPr>
            <a:xfrm>
              <a:off x="5709597" y="4713180"/>
              <a:ext cx="75672" cy="75691"/>
            </a:xfrm>
            <a:custGeom>
              <a:avLst/>
              <a:gdLst>
                <a:gd name="connsiteX0" fmla="*/ 75649 w 75672"/>
                <a:gd name="connsiteY0" fmla="*/ 70146 h 75691"/>
                <a:gd name="connsiteX1" fmla="*/ 8894 w 75672"/>
                <a:gd name="connsiteY1" fmla="*/ 21 h 75691"/>
                <a:gd name="connsiteX2" fmla="*/ 5591 w 75672"/>
                <a:gd name="connsiteY2" fmla="*/ 19 h 75691"/>
                <a:gd name="connsiteX3" fmla="*/ 0 w 75672"/>
                <a:gd name="connsiteY3" fmla="*/ 5610 h 75691"/>
                <a:gd name="connsiteX4" fmla="*/ 5591 w 75672"/>
                <a:gd name="connsiteY4" fmla="*/ 11201 h 75691"/>
                <a:gd name="connsiteX5" fmla="*/ 64490 w 75672"/>
                <a:gd name="connsiteY5" fmla="*/ 66954 h 75691"/>
                <a:gd name="connsiteX6" fmla="*/ 64490 w 75672"/>
                <a:gd name="connsiteY6" fmla="*/ 70100 h 75691"/>
                <a:gd name="connsiteX7" fmla="*/ 70081 w 75672"/>
                <a:gd name="connsiteY7" fmla="*/ 75691 h 75691"/>
                <a:gd name="connsiteX8" fmla="*/ 75672 w 75672"/>
                <a:gd name="connsiteY8" fmla="*/ 70100 h 7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672" h="75691">
                  <a:moveTo>
                    <a:pt x="75649" y="70146"/>
                  </a:moveTo>
                  <a:cubicBezTo>
                    <a:pt x="76580" y="32347"/>
                    <a:pt x="46693" y="951"/>
                    <a:pt x="8894" y="21"/>
                  </a:cubicBezTo>
                  <a:cubicBezTo>
                    <a:pt x="7793" y="-6"/>
                    <a:pt x="6692" y="-7"/>
                    <a:pt x="5591" y="19"/>
                  </a:cubicBezTo>
                  <a:cubicBezTo>
                    <a:pt x="2503" y="19"/>
                    <a:pt x="0" y="2522"/>
                    <a:pt x="0" y="5610"/>
                  </a:cubicBezTo>
                  <a:cubicBezTo>
                    <a:pt x="0" y="8698"/>
                    <a:pt x="2503" y="11201"/>
                    <a:pt x="5591" y="11201"/>
                  </a:cubicBezTo>
                  <a:cubicBezTo>
                    <a:pt x="37251" y="10332"/>
                    <a:pt x="63621" y="35293"/>
                    <a:pt x="64490" y="66954"/>
                  </a:cubicBezTo>
                  <a:cubicBezTo>
                    <a:pt x="64519" y="68002"/>
                    <a:pt x="64519" y="69052"/>
                    <a:pt x="64490" y="70100"/>
                  </a:cubicBezTo>
                  <a:cubicBezTo>
                    <a:pt x="64490" y="73188"/>
                    <a:pt x="66993" y="75691"/>
                    <a:pt x="70081" y="75691"/>
                  </a:cubicBezTo>
                  <a:cubicBezTo>
                    <a:pt x="73169" y="75691"/>
                    <a:pt x="75672" y="73188"/>
                    <a:pt x="75672" y="70100"/>
                  </a:cubicBezTo>
                  <a:close/>
                </a:path>
              </a:pathLst>
            </a:custGeom>
            <a:solidFill>
              <a:srgbClr val="1F6896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reeform 258">
              <a:extLst>
                <a:ext uri="{FF2B5EF4-FFF2-40B4-BE49-F238E27FC236}">
                  <a16:creationId xmlns:a16="http://schemas.microsoft.com/office/drawing/2014/main" id="{E3C42905-1621-6F4A-A8F5-4C1B0744E9BF}"/>
                </a:ext>
              </a:extLst>
            </p:cNvPr>
            <p:cNvSpPr/>
            <p:nvPr/>
          </p:nvSpPr>
          <p:spPr>
            <a:xfrm>
              <a:off x="5489744" y="4681319"/>
              <a:ext cx="104648" cy="104658"/>
            </a:xfrm>
            <a:custGeom>
              <a:avLst/>
              <a:gdLst>
                <a:gd name="connsiteX0" fmla="*/ 5844 w 104648"/>
                <a:gd name="connsiteY0" fmla="*/ 104654 h 104658"/>
                <a:gd name="connsiteX1" fmla="*/ 9609 w 104648"/>
                <a:gd name="connsiteY1" fmla="*/ 103011 h 104658"/>
                <a:gd name="connsiteX2" fmla="*/ 11252 w 104648"/>
                <a:gd name="connsiteY2" fmla="*/ 98858 h 104658"/>
                <a:gd name="connsiteX3" fmla="*/ 92392 w 104648"/>
                <a:gd name="connsiteY3" fmla="*/ 11250 h 104658"/>
                <a:gd name="connsiteX4" fmla="*/ 98860 w 104648"/>
                <a:gd name="connsiteY4" fmla="*/ 11250 h 104658"/>
                <a:gd name="connsiteX5" fmla="*/ 104645 w 104648"/>
                <a:gd name="connsiteY5" fmla="*/ 5853 h 104658"/>
                <a:gd name="connsiteX6" fmla="*/ 99248 w 104648"/>
                <a:gd name="connsiteY6" fmla="*/ 68 h 104658"/>
                <a:gd name="connsiteX7" fmla="*/ 67 w 104648"/>
                <a:gd name="connsiteY7" fmla="*/ 92079 h 104658"/>
                <a:gd name="connsiteX8" fmla="*/ 71 w 104648"/>
                <a:gd name="connsiteY8" fmla="*/ 99337 h 104658"/>
                <a:gd name="connsiteX9" fmla="*/ 5844 w 104648"/>
                <a:gd name="connsiteY9" fmla="*/ 104654 h 104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648" h="104658">
                  <a:moveTo>
                    <a:pt x="5844" y="104654"/>
                  </a:moveTo>
                  <a:cubicBezTo>
                    <a:pt x="7263" y="104606"/>
                    <a:pt x="8610" y="104019"/>
                    <a:pt x="9609" y="103011"/>
                  </a:cubicBezTo>
                  <a:cubicBezTo>
                    <a:pt x="10706" y="101912"/>
                    <a:pt x="11300" y="100409"/>
                    <a:pt x="11252" y="98858"/>
                  </a:cubicBezTo>
                  <a:cubicBezTo>
                    <a:pt x="9466" y="52260"/>
                    <a:pt x="45794" y="13037"/>
                    <a:pt x="92392" y="11250"/>
                  </a:cubicBezTo>
                  <a:cubicBezTo>
                    <a:pt x="94547" y="11168"/>
                    <a:pt x="96704" y="11168"/>
                    <a:pt x="98860" y="11250"/>
                  </a:cubicBezTo>
                  <a:cubicBezTo>
                    <a:pt x="101947" y="11358"/>
                    <a:pt x="104537" y="8941"/>
                    <a:pt x="104645" y="5853"/>
                  </a:cubicBezTo>
                  <a:cubicBezTo>
                    <a:pt x="104752" y="2766"/>
                    <a:pt x="102335" y="176"/>
                    <a:pt x="99248" y="68"/>
                  </a:cubicBezTo>
                  <a:cubicBezTo>
                    <a:pt x="46452" y="-1911"/>
                    <a:pt x="2047" y="39283"/>
                    <a:pt x="67" y="92079"/>
                  </a:cubicBezTo>
                  <a:cubicBezTo>
                    <a:pt x="-23" y="94498"/>
                    <a:pt x="-22" y="96919"/>
                    <a:pt x="71" y="99337"/>
                  </a:cubicBezTo>
                  <a:cubicBezTo>
                    <a:pt x="206" y="102395"/>
                    <a:pt x="2785" y="104770"/>
                    <a:pt x="5844" y="104654"/>
                  </a:cubicBezTo>
                  <a:close/>
                </a:path>
              </a:pathLst>
            </a:custGeom>
            <a:solidFill>
              <a:srgbClr val="1F6896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reeform 259">
              <a:extLst>
                <a:ext uri="{FF2B5EF4-FFF2-40B4-BE49-F238E27FC236}">
                  <a16:creationId xmlns:a16="http://schemas.microsoft.com/office/drawing/2014/main" id="{96B36EC4-F4E0-BC43-8109-306E38D285D6}"/>
                </a:ext>
              </a:extLst>
            </p:cNvPr>
            <p:cNvSpPr/>
            <p:nvPr/>
          </p:nvSpPr>
          <p:spPr>
            <a:xfrm>
              <a:off x="5520669" y="4712219"/>
              <a:ext cx="76142" cy="75739"/>
            </a:xfrm>
            <a:custGeom>
              <a:avLst/>
              <a:gdLst>
                <a:gd name="connsiteX0" fmla="*/ 5635 w 76142"/>
                <a:gd name="connsiteY0" fmla="*/ 75740 h 75739"/>
                <a:gd name="connsiteX1" fmla="*/ 11271 w 76142"/>
                <a:gd name="connsiteY1" fmla="*/ 70149 h 75739"/>
                <a:gd name="connsiteX2" fmla="*/ 11271 w 76142"/>
                <a:gd name="connsiteY2" fmla="*/ 70103 h 75739"/>
                <a:gd name="connsiteX3" fmla="*/ 67047 w 76142"/>
                <a:gd name="connsiteY3" fmla="*/ 11226 h 75739"/>
                <a:gd name="connsiteX4" fmla="*/ 70170 w 76142"/>
                <a:gd name="connsiteY4" fmla="*/ 11227 h 75739"/>
                <a:gd name="connsiteX5" fmla="*/ 76131 w 76142"/>
                <a:gd name="connsiteY5" fmla="*/ 5982 h 75739"/>
                <a:gd name="connsiteX6" fmla="*/ 70886 w 76142"/>
                <a:gd name="connsiteY6" fmla="*/ 22 h 75739"/>
                <a:gd name="connsiteX7" fmla="*/ 70170 w 76142"/>
                <a:gd name="connsiteY7" fmla="*/ 22 h 75739"/>
                <a:gd name="connsiteX8" fmla="*/ 21 w 76142"/>
                <a:gd name="connsiteY8" fmla="*/ 66752 h 75739"/>
                <a:gd name="connsiteX9" fmla="*/ 21 w 76142"/>
                <a:gd name="connsiteY9" fmla="*/ 70149 h 75739"/>
                <a:gd name="connsiteX10" fmla="*/ 5612 w 76142"/>
                <a:gd name="connsiteY10" fmla="*/ 75740 h 75739"/>
                <a:gd name="connsiteX11" fmla="*/ 5635 w 76142"/>
                <a:gd name="connsiteY11" fmla="*/ 75740 h 75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142" h="75739">
                  <a:moveTo>
                    <a:pt x="5635" y="75740"/>
                  </a:moveTo>
                  <a:cubicBezTo>
                    <a:pt x="8735" y="75752"/>
                    <a:pt x="11259" y="73249"/>
                    <a:pt x="11271" y="70149"/>
                  </a:cubicBezTo>
                  <a:cubicBezTo>
                    <a:pt x="11271" y="70133"/>
                    <a:pt x="11271" y="70118"/>
                    <a:pt x="11271" y="70103"/>
                  </a:cubicBezTo>
                  <a:cubicBezTo>
                    <a:pt x="10415" y="38442"/>
                    <a:pt x="35387" y="12082"/>
                    <a:pt x="67047" y="11226"/>
                  </a:cubicBezTo>
                  <a:cubicBezTo>
                    <a:pt x="68088" y="11198"/>
                    <a:pt x="69130" y="11198"/>
                    <a:pt x="70170" y="11227"/>
                  </a:cubicBezTo>
                  <a:cubicBezTo>
                    <a:pt x="73265" y="11424"/>
                    <a:pt x="75933" y="9076"/>
                    <a:pt x="76131" y="5982"/>
                  </a:cubicBezTo>
                  <a:cubicBezTo>
                    <a:pt x="76328" y="2888"/>
                    <a:pt x="73980" y="219"/>
                    <a:pt x="70886" y="22"/>
                  </a:cubicBezTo>
                  <a:cubicBezTo>
                    <a:pt x="70648" y="7"/>
                    <a:pt x="70409" y="7"/>
                    <a:pt x="70170" y="22"/>
                  </a:cubicBezTo>
                  <a:cubicBezTo>
                    <a:pt x="32372" y="-922"/>
                    <a:pt x="965" y="28954"/>
                    <a:pt x="21" y="66752"/>
                  </a:cubicBezTo>
                  <a:cubicBezTo>
                    <a:pt x="-7" y="67884"/>
                    <a:pt x="-7" y="69017"/>
                    <a:pt x="21" y="70149"/>
                  </a:cubicBezTo>
                  <a:cubicBezTo>
                    <a:pt x="21" y="73236"/>
                    <a:pt x="2524" y="75740"/>
                    <a:pt x="5612" y="75740"/>
                  </a:cubicBezTo>
                  <a:cubicBezTo>
                    <a:pt x="5619" y="75740"/>
                    <a:pt x="5627" y="75740"/>
                    <a:pt x="5635" y="75740"/>
                  </a:cubicBezTo>
                  <a:close/>
                </a:path>
              </a:pathLst>
            </a:custGeom>
            <a:solidFill>
              <a:srgbClr val="1F6896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61" name="Graphic 329">
            <a:extLst>
              <a:ext uri="{FF2B5EF4-FFF2-40B4-BE49-F238E27FC236}">
                <a16:creationId xmlns:a16="http://schemas.microsoft.com/office/drawing/2014/main" id="{2B2D2DD3-93F4-D441-AA53-9C48B94E2971}"/>
              </a:ext>
            </a:extLst>
          </p:cNvPr>
          <p:cNvGrpSpPr/>
          <p:nvPr userDrawn="1"/>
        </p:nvGrpSpPr>
        <p:grpSpPr>
          <a:xfrm>
            <a:off x="6408738" y="4668838"/>
            <a:ext cx="371476" cy="321946"/>
            <a:chOff x="6411913" y="4668838"/>
            <a:chExt cx="371476" cy="321946"/>
          </a:xfrm>
        </p:grpSpPr>
        <p:sp>
          <p:nvSpPr>
            <p:cNvPr id="262" name="Freeform 261">
              <a:extLst>
                <a:ext uri="{FF2B5EF4-FFF2-40B4-BE49-F238E27FC236}">
                  <a16:creationId xmlns:a16="http://schemas.microsoft.com/office/drawing/2014/main" id="{4C1D64B6-C92A-CF45-8ECD-169E57B88BFD}"/>
                </a:ext>
              </a:extLst>
            </p:cNvPr>
            <p:cNvSpPr/>
            <p:nvPr/>
          </p:nvSpPr>
          <p:spPr>
            <a:xfrm>
              <a:off x="6443238" y="4878101"/>
              <a:ext cx="300972" cy="114184"/>
            </a:xfrm>
            <a:custGeom>
              <a:avLst/>
              <a:gdLst>
                <a:gd name="connsiteX0" fmla="*/ 192657 w 300972"/>
                <a:gd name="connsiteY0" fmla="*/ 97336 h 114184"/>
                <a:gd name="connsiteX1" fmla="*/ 153740 w 300972"/>
                <a:gd name="connsiteY1" fmla="*/ 101718 h 114184"/>
                <a:gd name="connsiteX2" fmla="*/ 85053 w 300972"/>
                <a:gd name="connsiteY2" fmla="*/ 82276 h 114184"/>
                <a:gd name="connsiteX3" fmla="*/ 62057 w 300972"/>
                <a:gd name="connsiteY3" fmla="*/ 84834 h 114184"/>
                <a:gd name="connsiteX4" fmla="*/ 56148 w 300972"/>
                <a:gd name="connsiteY4" fmla="*/ 88018 h 114184"/>
                <a:gd name="connsiteX5" fmla="*/ 57758 w 300972"/>
                <a:gd name="connsiteY5" fmla="*/ 29978 h 114184"/>
                <a:gd name="connsiteX6" fmla="*/ 120308 w 300972"/>
                <a:gd name="connsiteY6" fmla="*/ 26597 h 114184"/>
                <a:gd name="connsiteX7" fmla="*/ 124341 w 300972"/>
                <a:gd name="connsiteY7" fmla="*/ 28618 h 114184"/>
                <a:gd name="connsiteX8" fmla="*/ 147602 w 300972"/>
                <a:gd name="connsiteY8" fmla="*/ 34700 h 114184"/>
                <a:gd name="connsiteX9" fmla="*/ 188128 w 300972"/>
                <a:gd name="connsiteY9" fmla="*/ 35844 h 114184"/>
                <a:gd name="connsiteX10" fmla="*/ 211461 w 300972"/>
                <a:gd name="connsiteY10" fmla="*/ 55519 h 114184"/>
                <a:gd name="connsiteX11" fmla="*/ 151069 w 300972"/>
                <a:gd name="connsiteY11" fmla="*/ 53855 h 114184"/>
                <a:gd name="connsiteX12" fmla="*/ 145329 w 300972"/>
                <a:gd name="connsiteY12" fmla="*/ 59355 h 114184"/>
                <a:gd name="connsiteX13" fmla="*/ 150769 w 300972"/>
                <a:gd name="connsiteY13" fmla="*/ 65159 h 114184"/>
                <a:gd name="connsiteX14" fmla="*/ 217351 w 300972"/>
                <a:gd name="connsiteY14" fmla="*/ 66948 h 114184"/>
                <a:gd name="connsiteX15" fmla="*/ 217510 w 300972"/>
                <a:gd name="connsiteY15" fmla="*/ 66948 h 114184"/>
                <a:gd name="connsiteX16" fmla="*/ 223029 w 300972"/>
                <a:gd name="connsiteY16" fmla="*/ 61439 h 114184"/>
                <a:gd name="connsiteX17" fmla="*/ 223030 w 300972"/>
                <a:gd name="connsiteY17" fmla="*/ 61421 h 114184"/>
                <a:gd name="connsiteX18" fmla="*/ 222463 w 300972"/>
                <a:gd name="connsiteY18" fmla="*/ 53981 h 114184"/>
                <a:gd name="connsiteX19" fmla="*/ 267483 w 300972"/>
                <a:gd name="connsiteY19" fmla="*/ 32518 h 114184"/>
                <a:gd name="connsiteX20" fmla="*/ 267695 w 300972"/>
                <a:gd name="connsiteY20" fmla="*/ 32518 h 114184"/>
                <a:gd name="connsiteX21" fmla="*/ 287153 w 300972"/>
                <a:gd name="connsiteY21" fmla="*/ 35254 h 114184"/>
                <a:gd name="connsiteX22" fmla="*/ 11341 w 300972"/>
                <a:gd name="connsiteY22" fmla="*/ 98821 h 114184"/>
                <a:gd name="connsiteX23" fmla="*/ 13729 w 300972"/>
                <a:gd name="connsiteY23" fmla="*/ 11681 h 114184"/>
                <a:gd name="connsiteX24" fmla="*/ 46968 w 300972"/>
                <a:gd name="connsiteY24" fmla="*/ 12575 h 114184"/>
                <a:gd name="connsiteX25" fmla="*/ 44562 w 300972"/>
                <a:gd name="connsiteY25" fmla="*/ 99840 h 114184"/>
                <a:gd name="connsiteX26" fmla="*/ 262795 w 300972"/>
                <a:gd name="connsiteY26" fmla="*/ 22662 h 114184"/>
                <a:gd name="connsiteX27" fmla="*/ 218926 w 300972"/>
                <a:gd name="connsiteY27" fmla="*/ 43607 h 114184"/>
                <a:gd name="connsiteX28" fmla="*/ 188447 w 300972"/>
                <a:gd name="connsiteY28" fmla="*/ 24612 h 114184"/>
                <a:gd name="connsiteX29" fmla="*/ 147938 w 300972"/>
                <a:gd name="connsiteY29" fmla="*/ 23485 h 114184"/>
                <a:gd name="connsiteX30" fmla="*/ 129647 w 300972"/>
                <a:gd name="connsiteY30" fmla="*/ 18674 h 114184"/>
                <a:gd name="connsiteX31" fmla="*/ 125544 w 300972"/>
                <a:gd name="connsiteY31" fmla="*/ 16510 h 114184"/>
                <a:gd name="connsiteX32" fmla="*/ 58183 w 300972"/>
                <a:gd name="connsiteY32" fmla="*/ 16510 h 114184"/>
                <a:gd name="connsiteX33" fmla="*/ 58448 w 300972"/>
                <a:gd name="connsiteY33" fmla="*/ 7066 h 114184"/>
                <a:gd name="connsiteX34" fmla="*/ 52949 w 300972"/>
                <a:gd name="connsiteY34" fmla="*/ 1253 h 114184"/>
                <a:gd name="connsiteX35" fmla="*/ 52947 w 300972"/>
                <a:gd name="connsiteY35" fmla="*/ 1253 h 114184"/>
                <a:gd name="connsiteX36" fmla="*/ 8458 w 300972"/>
                <a:gd name="connsiteY36" fmla="*/ 1 h 114184"/>
                <a:gd name="connsiteX37" fmla="*/ 2709 w 300972"/>
                <a:gd name="connsiteY37" fmla="*/ 5564 h 114184"/>
                <a:gd name="connsiteX38" fmla="*/ 2 w 300972"/>
                <a:gd name="connsiteY38" fmla="*/ 104061 h 114184"/>
                <a:gd name="connsiteX39" fmla="*/ 5446 w 300972"/>
                <a:gd name="connsiteY39" fmla="*/ 109892 h 114184"/>
                <a:gd name="connsiteX40" fmla="*/ 5451 w 300972"/>
                <a:gd name="connsiteY40" fmla="*/ 109892 h 114184"/>
                <a:gd name="connsiteX41" fmla="*/ 5451 w 300972"/>
                <a:gd name="connsiteY41" fmla="*/ 109892 h 114184"/>
                <a:gd name="connsiteX42" fmla="*/ 49886 w 300972"/>
                <a:gd name="connsiteY42" fmla="*/ 111126 h 114184"/>
                <a:gd name="connsiteX43" fmla="*/ 50045 w 300972"/>
                <a:gd name="connsiteY43" fmla="*/ 111126 h 114184"/>
                <a:gd name="connsiteX44" fmla="*/ 55671 w 300972"/>
                <a:gd name="connsiteY44" fmla="*/ 105564 h 114184"/>
                <a:gd name="connsiteX45" fmla="*/ 55795 w 300972"/>
                <a:gd name="connsiteY45" fmla="*/ 100842 h 114184"/>
                <a:gd name="connsiteX46" fmla="*/ 67328 w 300972"/>
                <a:gd name="connsiteY46" fmla="*/ 94600 h 114184"/>
                <a:gd name="connsiteX47" fmla="*/ 82099 w 300972"/>
                <a:gd name="connsiteY47" fmla="*/ 92954 h 114184"/>
                <a:gd name="connsiteX48" fmla="*/ 151087 w 300972"/>
                <a:gd name="connsiteY48" fmla="*/ 112629 h 114184"/>
                <a:gd name="connsiteX49" fmla="*/ 151423 w 300972"/>
                <a:gd name="connsiteY49" fmla="*/ 112629 h 114184"/>
                <a:gd name="connsiteX50" fmla="*/ 197805 w 300972"/>
                <a:gd name="connsiteY50" fmla="*/ 107263 h 114184"/>
                <a:gd name="connsiteX51" fmla="*/ 198494 w 300972"/>
                <a:gd name="connsiteY51" fmla="*/ 106869 h 114184"/>
                <a:gd name="connsiteX52" fmla="*/ 298421 w 300972"/>
                <a:gd name="connsiteY52" fmla="*/ 41532 h 114184"/>
                <a:gd name="connsiteX53" fmla="*/ 300190 w 300972"/>
                <a:gd name="connsiteY53" fmla="*/ 33966 h 114184"/>
                <a:gd name="connsiteX54" fmla="*/ 262813 w 300972"/>
                <a:gd name="connsiteY54" fmla="*/ 22484 h 11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00972" h="114184">
                  <a:moveTo>
                    <a:pt x="192657" y="97336"/>
                  </a:moveTo>
                  <a:cubicBezTo>
                    <a:pt x="180465" y="102904"/>
                    <a:pt x="166845" y="104437"/>
                    <a:pt x="153740" y="101718"/>
                  </a:cubicBezTo>
                  <a:lnTo>
                    <a:pt x="85053" y="82276"/>
                  </a:lnTo>
                  <a:cubicBezTo>
                    <a:pt x="77349" y="80084"/>
                    <a:pt x="69105" y="81001"/>
                    <a:pt x="62057" y="84834"/>
                  </a:cubicBezTo>
                  <a:lnTo>
                    <a:pt x="56148" y="88018"/>
                  </a:lnTo>
                  <a:lnTo>
                    <a:pt x="57758" y="29978"/>
                  </a:lnTo>
                  <a:cubicBezTo>
                    <a:pt x="76440" y="17408"/>
                    <a:pt x="100407" y="16113"/>
                    <a:pt x="120308" y="26597"/>
                  </a:cubicBezTo>
                  <a:lnTo>
                    <a:pt x="124341" y="28618"/>
                  </a:lnTo>
                  <a:cubicBezTo>
                    <a:pt x="131546" y="32382"/>
                    <a:pt x="139496" y="34460"/>
                    <a:pt x="147602" y="34700"/>
                  </a:cubicBezTo>
                  <a:lnTo>
                    <a:pt x="188128" y="35844"/>
                  </a:lnTo>
                  <a:cubicBezTo>
                    <a:pt x="199474" y="36147"/>
                    <a:pt x="209129" y="44288"/>
                    <a:pt x="211461" y="55519"/>
                  </a:cubicBezTo>
                  <a:lnTo>
                    <a:pt x="151069" y="53855"/>
                  </a:lnTo>
                  <a:cubicBezTo>
                    <a:pt x="147982" y="53772"/>
                    <a:pt x="145412" y="56234"/>
                    <a:pt x="145329" y="59355"/>
                  </a:cubicBezTo>
                  <a:cubicBezTo>
                    <a:pt x="145246" y="62477"/>
                    <a:pt x="147681" y="65075"/>
                    <a:pt x="150769" y="65159"/>
                  </a:cubicBezTo>
                  <a:lnTo>
                    <a:pt x="217351" y="66948"/>
                  </a:lnTo>
                  <a:lnTo>
                    <a:pt x="217510" y="66948"/>
                  </a:lnTo>
                  <a:cubicBezTo>
                    <a:pt x="220539" y="66968"/>
                    <a:pt x="223010" y="64501"/>
                    <a:pt x="223029" y="61439"/>
                  </a:cubicBezTo>
                  <a:cubicBezTo>
                    <a:pt x="223029" y="61433"/>
                    <a:pt x="223029" y="61427"/>
                    <a:pt x="223030" y="61421"/>
                  </a:cubicBezTo>
                  <a:cubicBezTo>
                    <a:pt x="223098" y="58928"/>
                    <a:pt x="222908" y="56434"/>
                    <a:pt x="222463" y="53981"/>
                  </a:cubicBezTo>
                  <a:lnTo>
                    <a:pt x="267483" y="32518"/>
                  </a:lnTo>
                  <a:lnTo>
                    <a:pt x="267695" y="32518"/>
                  </a:lnTo>
                  <a:cubicBezTo>
                    <a:pt x="274106" y="29208"/>
                    <a:pt x="281879" y="30301"/>
                    <a:pt x="287153" y="35254"/>
                  </a:cubicBezTo>
                  <a:close/>
                  <a:moveTo>
                    <a:pt x="11341" y="98821"/>
                  </a:moveTo>
                  <a:lnTo>
                    <a:pt x="13729" y="11681"/>
                  </a:lnTo>
                  <a:lnTo>
                    <a:pt x="46968" y="12575"/>
                  </a:lnTo>
                  <a:lnTo>
                    <a:pt x="44562" y="99840"/>
                  </a:lnTo>
                  <a:close/>
                  <a:moveTo>
                    <a:pt x="262795" y="22662"/>
                  </a:moveTo>
                  <a:lnTo>
                    <a:pt x="218926" y="43607"/>
                  </a:lnTo>
                  <a:cubicBezTo>
                    <a:pt x="212857" y="32220"/>
                    <a:pt x="201235" y="24977"/>
                    <a:pt x="188447" y="24612"/>
                  </a:cubicBezTo>
                  <a:lnTo>
                    <a:pt x="147938" y="23485"/>
                  </a:lnTo>
                  <a:cubicBezTo>
                    <a:pt x="141565" y="23266"/>
                    <a:pt x="135318" y="21623"/>
                    <a:pt x="129647" y="18674"/>
                  </a:cubicBezTo>
                  <a:lnTo>
                    <a:pt x="125544" y="16510"/>
                  </a:lnTo>
                  <a:cubicBezTo>
                    <a:pt x="104442" y="5367"/>
                    <a:pt x="79284" y="5367"/>
                    <a:pt x="58183" y="16510"/>
                  </a:cubicBezTo>
                  <a:lnTo>
                    <a:pt x="58448" y="7066"/>
                  </a:lnTo>
                  <a:cubicBezTo>
                    <a:pt x="58517" y="3926"/>
                    <a:pt x="56055" y="1323"/>
                    <a:pt x="52949" y="1253"/>
                  </a:cubicBezTo>
                  <a:cubicBezTo>
                    <a:pt x="52948" y="1253"/>
                    <a:pt x="52947" y="1253"/>
                    <a:pt x="52947" y="1253"/>
                  </a:cubicBezTo>
                  <a:lnTo>
                    <a:pt x="8458" y="1"/>
                  </a:lnTo>
                  <a:cubicBezTo>
                    <a:pt x="5355" y="-59"/>
                    <a:pt x="2786" y="2426"/>
                    <a:pt x="2709" y="5564"/>
                  </a:cubicBezTo>
                  <a:lnTo>
                    <a:pt x="2" y="104061"/>
                  </a:lnTo>
                  <a:cubicBezTo>
                    <a:pt x="-87" y="107191"/>
                    <a:pt x="2351" y="109802"/>
                    <a:pt x="5446" y="109892"/>
                  </a:cubicBezTo>
                  <a:cubicBezTo>
                    <a:pt x="5448" y="109892"/>
                    <a:pt x="5449" y="109892"/>
                    <a:pt x="5451" y="109892"/>
                  </a:cubicBezTo>
                  <a:lnTo>
                    <a:pt x="5451" y="109892"/>
                  </a:lnTo>
                  <a:lnTo>
                    <a:pt x="49886" y="111126"/>
                  </a:lnTo>
                  <a:lnTo>
                    <a:pt x="50045" y="111126"/>
                  </a:lnTo>
                  <a:cubicBezTo>
                    <a:pt x="53108" y="111136"/>
                    <a:pt x="55613" y="108660"/>
                    <a:pt x="55671" y="105564"/>
                  </a:cubicBezTo>
                  <a:lnTo>
                    <a:pt x="55795" y="100842"/>
                  </a:lnTo>
                  <a:lnTo>
                    <a:pt x="67328" y="94600"/>
                  </a:lnTo>
                  <a:cubicBezTo>
                    <a:pt x="71856" y="92141"/>
                    <a:pt x="77150" y="91552"/>
                    <a:pt x="82099" y="92954"/>
                  </a:cubicBezTo>
                  <a:lnTo>
                    <a:pt x="151087" y="112629"/>
                  </a:lnTo>
                  <a:lnTo>
                    <a:pt x="151423" y="112629"/>
                  </a:lnTo>
                  <a:cubicBezTo>
                    <a:pt x="167054" y="115883"/>
                    <a:pt x="183305" y="114003"/>
                    <a:pt x="197805" y="107263"/>
                  </a:cubicBezTo>
                  <a:cubicBezTo>
                    <a:pt x="198053" y="107167"/>
                    <a:pt x="198285" y="107035"/>
                    <a:pt x="198494" y="106869"/>
                  </a:cubicBezTo>
                  <a:lnTo>
                    <a:pt x="298421" y="41532"/>
                  </a:lnTo>
                  <a:cubicBezTo>
                    <a:pt x="300937" y="39909"/>
                    <a:pt x="301721" y="36557"/>
                    <a:pt x="300190" y="33966"/>
                  </a:cubicBezTo>
                  <a:cubicBezTo>
                    <a:pt x="292760" y="20665"/>
                    <a:pt x="276306" y="15610"/>
                    <a:pt x="262813" y="22484"/>
                  </a:cubicBezTo>
                  <a:close/>
                </a:path>
              </a:pathLst>
            </a:custGeom>
            <a:solidFill>
              <a:srgbClr val="1F6999"/>
            </a:solidFill>
            <a:ln w="1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eform 262">
              <a:extLst>
                <a:ext uri="{FF2B5EF4-FFF2-40B4-BE49-F238E27FC236}">
                  <a16:creationId xmlns:a16="http://schemas.microsoft.com/office/drawing/2014/main" id="{B76B2CB7-B22D-AE44-AE64-954ED5BE2859}"/>
                </a:ext>
              </a:extLst>
            </p:cNvPr>
            <p:cNvSpPr/>
            <p:nvPr/>
          </p:nvSpPr>
          <p:spPr>
            <a:xfrm>
              <a:off x="6442445" y="4710051"/>
              <a:ext cx="136849" cy="100961"/>
            </a:xfrm>
            <a:custGeom>
              <a:avLst/>
              <a:gdLst>
                <a:gd name="connsiteX0" fmla="*/ 41180 w 136849"/>
                <a:gd name="connsiteY0" fmla="*/ 100961 h 100961"/>
                <a:gd name="connsiteX1" fmla="*/ 40968 w 136849"/>
                <a:gd name="connsiteY1" fmla="*/ 100961 h 100961"/>
                <a:gd name="connsiteX2" fmla="*/ 35891 w 136849"/>
                <a:gd name="connsiteY2" fmla="*/ 98618 h 100961"/>
                <a:gd name="connsiteX3" fmla="*/ 1892 w 136849"/>
                <a:gd name="connsiteY3" fmla="*/ 61290 h 100961"/>
                <a:gd name="connsiteX4" fmla="*/ 2335 w 136849"/>
                <a:gd name="connsiteY4" fmla="*/ 51006 h 100961"/>
                <a:gd name="connsiteX5" fmla="*/ 12506 w 136849"/>
                <a:gd name="connsiteY5" fmla="*/ 51453 h 100961"/>
                <a:gd name="connsiteX6" fmla="*/ 41516 w 136849"/>
                <a:gd name="connsiteY6" fmla="*/ 83308 h 100961"/>
                <a:gd name="connsiteX7" fmla="*/ 124869 w 136849"/>
                <a:gd name="connsiteY7" fmla="*/ 1838 h 100961"/>
                <a:gd name="connsiteX8" fmla="*/ 135033 w 136849"/>
                <a:gd name="connsiteY8" fmla="*/ 2445 h 100961"/>
                <a:gd name="connsiteX9" fmla="*/ 134863 w 136849"/>
                <a:gd name="connsiteY9" fmla="*/ 12301 h 100961"/>
                <a:gd name="connsiteX10" fmla="*/ 46133 w 136849"/>
                <a:gd name="connsiteY10" fmla="*/ 98922 h 100961"/>
                <a:gd name="connsiteX11" fmla="*/ 41180 w 136849"/>
                <a:gd name="connsiteY11" fmla="*/ 100961 h 100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6849" h="100961">
                  <a:moveTo>
                    <a:pt x="41180" y="100961"/>
                  </a:moveTo>
                  <a:lnTo>
                    <a:pt x="40968" y="100961"/>
                  </a:lnTo>
                  <a:cubicBezTo>
                    <a:pt x="39033" y="100904"/>
                    <a:pt x="37202" y="100059"/>
                    <a:pt x="35891" y="98618"/>
                  </a:cubicBezTo>
                  <a:lnTo>
                    <a:pt x="1892" y="61290"/>
                  </a:lnTo>
                  <a:cubicBezTo>
                    <a:pt x="-794" y="58327"/>
                    <a:pt x="-596" y="53722"/>
                    <a:pt x="2335" y="51006"/>
                  </a:cubicBezTo>
                  <a:cubicBezTo>
                    <a:pt x="5265" y="48290"/>
                    <a:pt x="9819" y="48490"/>
                    <a:pt x="12506" y="51453"/>
                  </a:cubicBezTo>
                  <a:lnTo>
                    <a:pt x="41516" y="83308"/>
                  </a:lnTo>
                  <a:lnTo>
                    <a:pt x="124869" y="1838"/>
                  </a:lnTo>
                  <a:cubicBezTo>
                    <a:pt x="127841" y="-833"/>
                    <a:pt x="132392" y="-561"/>
                    <a:pt x="135033" y="2445"/>
                  </a:cubicBezTo>
                  <a:cubicBezTo>
                    <a:pt x="137519" y="5275"/>
                    <a:pt x="137446" y="9560"/>
                    <a:pt x="134863" y="12301"/>
                  </a:cubicBezTo>
                  <a:lnTo>
                    <a:pt x="46133" y="98922"/>
                  </a:lnTo>
                  <a:cubicBezTo>
                    <a:pt x="44804" y="100223"/>
                    <a:pt x="43030" y="100954"/>
                    <a:pt x="41180" y="100961"/>
                  </a:cubicBezTo>
                </a:path>
              </a:pathLst>
            </a:custGeom>
            <a:solidFill>
              <a:srgbClr val="BA5C7A"/>
            </a:solidFill>
            <a:ln w="1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eform 263">
              <a:extLst>
                <a:ext uri="{FF2B5EF4-FFF2-40B4-BE49-F238E27FC236}">
                  <a16:creationId xmlns:a16="http://schemas.microsoft.com/office/drawing/2014/main" id="{AEA3FEB0-13D1-D044-BB93-C8629594EF1C}"/>
                </a:ext>
              </a:extLst>
            </p:cNvPr>
            <p:cNvSpPr/>
            <p:nvPr/>
          </p:nvSpPr>
          <p:spPr>
            <a:xfrm>
              <a:off x="6412941" y="4694241"/>
              <a:ext cx="160364" cy="162147"/>
            </a:xfrm>
            <a:custGeom>
              <a:avLst/>
              <a:gdLst>
                <a:gd name="connsiteX0" fmla="*/ 80024 w 160364"/>
                <a:gd name="connsiteY0" fmla="*/ 162147 h 162147"/>
                <a:gd name="connsiteX1" fmla="*/ 2031 w 160364"/>
                <a:gd name="connsiteY1" fmla="*/ 99153 h 162147"/>
                <a:gd name="connsiteX2" fmla="*/ 62361 w 160364"/>
                <a:gd name="connsiteY2" fmla="*/ 2037 h 162147"/>
                <a:gd name="connsiteX3" fmla="*/ 128386 w 160364"/>
                <a:gd name="connsiteY3" fmla="*/ 16252 h 162147"/>
                <a:gd name="connsiteX4" fmla="*/ 129235 w 160364"/>
                <a:gd name="connsiteY4" fmla="*/ 22369 h 162147"/>
                <a:gd name="connsiteX5" fmla="*/ 123186 w 160364"/>
                <a:gd name="connsiteY5" fmla="*/ 23228 h 162147"/>
                <a:gd name="connsiteX6" fmla="*/ 22964 w 160364"/>
                <a:gd name="connsiteY6" fmla="*/ 37540 h 162147"/>
                <a:gd name="connsiteX7" fmla="*/ 37119 w 160364"/>
                <a:gd name="connsiteY7" fmla="*/ 138876 h 162147"/>
                <a:gd name="connsiteX8" fmla="*/ 137341 w 160364"/>
                <a:gd name="connsiteY8" fmla="*/ 124563 h 162147"/>
                <a:gd name="connsiteX9" fmla="*/ 149914 w 160364"/>
                <a:gd name="connsiteY9" fmla="*/ 64884 h 162147"/>
                <a:gd name="connsiteX10" fmla="*/ 153160 w 160364"/>
                <a:gd name="connsiteY10" fmla="*/ 59652 h 162147"/>
                <a:gd name="connsiteX11" fmla="*/ 158334 w 160364"/>
                <a:gd name="connsiteY11" fmla="*/ 62934 h 162147"/>
                <a:gd name="connsiteX12" fmla="*/ 98031 w 160364"/>
                <a:gd name="connsiteY12" fmla="*/ 160073 h 162147"/>
                <a:gd name="connsiteX13" fmla="*/ 79953 w 160364"/>
                <a:gd name="connsiteY13" fmla="*/ 162147 h 162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0364" h="162147">
                  <a:moveTo>
                    <a:pt x="80024" y="162147"/>
                  </a:moveTo>
                  <a:cubicBezTo>
                    <a:pt x="42703" y="162039"/>
                    <a:pt x="10381" y="135933"/>
                    <a:pt x="2031" y="99153"/>
                  </a:cubicBezTo>
                  <a:cubicBezTo>
                    <a:pt x="-7832" y="55491"/>
                    <a:pt x="19178" y="12010"/>
                    <a:pt x="62361" y="2037"/>
                  </a:cubicBezTo>
                  <a:cubicBezTo>
                    <a:pt x="85366" y="-3276"/>
                    <a:pt x="109518" y="1924"/>
                    <a:pt x="128386" y="16252"/>
                  </a:cubicBezTo>
                  <a:cubicBezTo>
                    <a:pt x="130291" y="17704"/>
                    <a:pt x="130672" y="20443"/>
                    <a:pt x="129235" y="22369"/>
                  </a:cubicBezTo>
                  <a:cubicBezTo>
                    <a:pt x="127799" y="24295"/>
                    <a:pt x="125091" y="24680"/>
                    <a:pt x="123186" y="23228"/>
                  </a:cubicBezTo>
                  <a:cubicBezTo>
                    <a:pt x="91601" y="-803"/>
                    <a:pt x="46730" y="5605"/>
                    <a:pt x="22964" y="37540"/>
                  </a:cubicBezTo>
                  <a:cubicBezTo>
                    <a:pt x="-803" y="69476"/>
                    <a:pt x="5535" y="114845"/>
                    <a:pt x="37119" y="138876"/>
                  </a:cubicBezTo>
                  <a:cubicBezTo>
                    <a:pt x="68703" y="162907"/>
                    <a:pt x="113574" y="156499"/>
                    <a:pt x="137341" y="124563"/>
                  </a:cubicBezTo>
                  <a:cubicBezTo>
                    <a:pt x="150027" y="107517"/>
                    <a:pt x="154628" y="85679"/>
                    <a:pt x="149914" y="64884"/>
                  </a:cubicBezTo>
                  <a:cubicBezTo>
                    <a:pt x="149382" y="62533"/>
                    <a:pt x="150835" y="60191"/>
                    <a:pt x="153160" y="59652"/>
                  </a:cubicBezTo>
                  <a:cubicBezTo>
                    <a:pt x="155485" y="59114"/>
                    <a:pt x="157802" y="60583"/>
                    <a:pt x="158334" y="62934"/>
                  </a:cubicBezTo>
                  <a:cubicBezTo>
                    <a:pt x="168192" y="106592"/>
                    <a:pt x="141202" y="150070"/>
                    <a:pt x="98031" y="160073"/>
                  </a:cubicBezTo>
                  <a:cubicBezTo>
                    <a:pt x="92102" y="161451"/>
                    <a:pt x="86037" y="162147"/>
                    <a:pt x="79953" y="162147"/>
                  </a:cubicBezTo>
                </a:path>
              </a:pathLst>
            </a:custGeom>
            <a:solidFill>
              <a:srgbClr val="1F6994"/>
            </a:solidFill>
            <a:ln w="1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eform 264">
              <a:extLst>
                <a:ext uri="{FF2B5EF4-FFF2-40B4-BE49-F238E27FC236}">
                  <a16:creationId xmlns:a16="http://schemas.microsoft.com/office/drawing/2014/main" id="{D8F55057-04FC-A748-9EBA-F864F847BEDB}"/>
                </a:ext>
              </a:extLst>
            </p:cNvPr>
            <p:cNvSpPr/>
            <p:nvPr/>
          </p:nvSpPr>
          <p:spPr>
            <a:xfrm>
              <a:off x="6672176" y="4752132"/>
              <a:ext cx="45500" cy="46002"/>
            </a:xfrm>
            <a:custGeom>
              <a:avLst/>
              <a:gdLst>
                <a:gd name="connsiteX0" fmla="*/ 22766 w 45500"/>
                <a:gd name="connsiteY0" fmla="*/ 7619 h 46002"/>
                <a:gd name="connsiteX1" fmla="*/ 7571 w 45500"/>
                <a:gd name="connsiteY1" fmla="*/ 22948 h 46002"/>
                <a:gd name="connsiteX2" fmla="*/ 22731 w 45500"/>
                <a:gd name="connsiteY2" fmla="*/ 38312 h 46002"/>
                <a:gd name="connsiteX3" fmla="*/ 37926 w 45500"/>
                <a:gd name="connsiteY3" fmla="*/ 22983 h 46002"/>
                <a:gd name="connsiteX4" fmla="*/ 22766 w 45500"/>
                <a:gd name="connsiteY4" fmla="*/ 7619 h 46002"/>
                <a:gd name="connsiteX5" fmla="*/ 22766 w 45500"/>
                <a:gd name="connsiteY5" fmla="*/ 46002 h 46002"/>
                <a:gd name="connsiteX6" fmla="*/ 0 w 45500"/>
                <a:gd name="connsiteY6" fmla="*/ 23019 h 46002"/>
                <a:gd name="connsiteX7" fmla="*/ 22731 w 45500"/>
                <a:gd name="connsiteY7" fmla="*/ 0 h 46002"/>
                <a:gd name="connsiteX8" fmla="*/ 45497 w 45500"/>
                <a:gd name="connsiteY8" fmla="*/ 22983 h 46002"/>
                <a:gd name="connsiteX9" fmla="*/ 23580 w 45500"/>
                <a:gd name="connsiteY9" fmla="*/ 46003 h 46002"/>
                <a:gd name="connsiteX10" fmla="*/ 22766 w 45500"/>
                <a:gd name="connsiteY10" fmla="*/ 46002 h 4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500" h="46002">
                  <a:moveTo>
                    <a:pt x="22766" y="7619"/>
                  </a:moveTo>
                  <a:cubicBezTo>
                    <a:pt x="14384" y="7610"/>
                    <a:pt x="7581" y="14472"/>
                    <a:pt x="7571" y="22948"/>
                  </a:cubicBezTo>
                  <a:cubicBezTo>
                    <a:pt x="7561" y="31423"/>
                    <a:pt x="14349" y="38302"/>
                    <a:pt x="22731" y="38312"/>
                  </a:cubicBezTo>
                  <a:cubicBezTo>
                    <a:pt x="31113" y="38321"/>
                    <a:pt x="37916" y="31459"/>
                    <a:pt x="37926" y="22983"/>
                  </a:cubicBezTo>
                  <a:cubicBezTo>
                    <a:pt x="37936" y="14508"/>
                    <a:pt x="31148" y="7629"/>
                    <a:pt x="22766" y="7619"/>
                  </a:cubicBezTo>
                  <a:moveTo>
                    <a:pt x="22766" y="46002"/>
                  </a:moveTo>
                  <a:cubicBezTo>
                    <a:pt x="10203" y="46012"/>
                    <a:pt x="10" y="35722"/>
                    <a:pt x="0" y="23019"/>
                  </a:cubicBezTo>
                  <a:cubicBezTo>
                    <a:pt x="-10" y="10316"/>
                    <a:pt x="10167" y="10"/>
                    <a:pt x="22731" y="0"/>
                  </a:cubicBezTo>
                  <a:cubicBezTo>
                    <a:pt x="35294" y="-10"/>
                    <a:pt x="45487" y="10280"/>
                    <a:pt x="45497" y="22983"/>
                  </a:cubicBezTo>
                  <a:cubicBezTo>
                    <a:pt x="45724" y="35456"/>
                    <a:pt x="35916" y="45758"/>
                    <a:pt x="23580" y="46003"/>
                  </a:cubicBezTo>
                  <a:lnTo>
                    <a:pt x="22766" y="46002"/>
                  </a:lnTo>
                  <a:close/>
                </a:path>
              </a:pathLst>
            </a:custGeom>
            <a:solidFill>
              <a:srgbClr val="BD5C7A"/>
            </a:solidFill>
            <a:ln w="1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eform 265">
              <a:extLst>
                <a:ext uri="{FF2B5EF4-FFF2-40B4-BE49-F238E27FC236}">
                  <a16:creationId xmlns:a16="http://schemas.microsoft.com/office/drawing/2014/main" id="{18011A46-6868-C84E-A641-D899E796C027}"/>
                </a:ext>
              </a:extLst>
            </p:cNvPr>
            <p:cNvSpPr/>
            <p:nvPr/>
          </p:nvSpPr>
          <p:spPr>
            <a:xfrm>
              <a:off x="6600198" y="4679128"/>
              <a:ext cx="189275" cy="191486"/>
            </a:xfrm>
            <a:custGeom>
              <a:avLst/>
              <a:gdLst>
                <a:gd name="connsiteX0" fmla="*/ 98990 w 189275"/>
                <a:gd name="connsiteY0" fmla="*/ 168175 h 191486"/>
                <a:gd name="connsiteX1" fmla="*/ 98990 w 189275"/>
                <a:gd name="connsiteY1" fmla="*/ 158194 h 191486"/>
                <a:gd name="connsiteX2" fmla="*/ 94388 w 189275"/>
                <a:gd name="connsiteY2" fmla="*/ 154101 h 191486"/>
                <a:gd name="connsiteX3" fmla="*/ 90339 w 189275"/>
                <a:gd name="connsiteY3" fmla="*/ 158194 h 191486"/>
                <a:gd name="connsiteX4" fmla="*/ 90339 w 189275"/>
                <a:gd name="connsiteY4" fmla="*/ 168175 h 191486"/>
                <a:gd name="connsiteX5" fmla="*/ 23279 w 189275"/>
                <a:gd name="connsiteY5" fmla="*/ 100352 h 191486"/>
                <a:gd name="connsiteX6" fmla="*/ 33150 w 189275"/>
                <a:gd name="connsiteY6" fmla="*/ 100352 h 191486"/>
                <a:gd name="connsiteX7" fmla="*/ 37466 w 189275"/>
                <a:gd name="connsiteY7" fmla="*/ 95987 h 191486"/>
                <a:gd name="connsiteX8" fmla="*/ 33150 w 189275"/>
                <a:gd name="connsiteY8" fmla="*/ 91623 h 191486"/>
                <a:gd name="connsiteX9" fmla="*/ 23279 w 189275"/>
                <a:gd name="connsiteY9" fmla="*/ 91623 h 191486"/>
                <a:gd name="connsiteX10" fmla="*/ 90339 w 189275"/>
                <a:gd name="connsiteY10" fmla="*/ 23836 h 191486"/>
                <a:gd name="connsiteX11" fmla="*/ 90339 w 189275"/>
                <a:gd name="connsiteY11" fmla="*/ 33816 h 191486"/>
                <a:gd name="connsiteX12" fmla="*/ 94388 w 189275"/>
                <a:gd name="connsiteY12" fmla="*/ 38469 h 191486"/>
                <a:gd name="connsiteX13" fmla="*/ 98990 w 189275"/>
                <a:gd name="connsiteY13" fmla="*/ 34376 h 191486"/>
                <a:gd name="connsiteX14" fmla="*/ 98990 w 189275"/>
                <a:gd name="connsiteY14" fmla="*/ 33816 h 191486"/>
                <a:gd name="connsiteX15" fmla="*/ 98990 w 189275"/>
                <a:gd name="connsiteY15" fmla="*/ 23836 h 191486"/>
                <a:gd name="connsiteX16" fmla="*/ 166032 w 189275"/>
                <a:gd name="connsiteY16" fmla="*/ 91659 h 191486"/>
                <a:gd name="connsiteX17" fmla="*/ 156161 w 189275"/>
                <a:gd name="connsiteY17" fmla="*/ 91659 h 191486"/>
                <a:gd name="connsiteX18" fmla="*/ 151845 w 189275"/>
                <a:gd name="connsiteY18" fmla="*/ 96023 h 191486"/>
                <a:gd name="connsiteX19" fmla="*/ 156161 w 189275"/>
                <a:gd name="connsiteY19" fmla="*/ 100387 h 191486"/>
                <a:gd name="connsiteX20" fmla="*/ 166032 w 189275"/>
                <a:gd name="connsiteY20" fmla="*/ 100387 h 191486"/>
                <a:gd name="connsiteX21" fmla="*/ 98990 w 189275"/>
                <a:gd name="connsiteY21" fmla="*/ 168211 h 191486"/>
                <a:gd name="connsiteX22" fmla="*/ 184960 w 189275"/>
                <a:gd name="connsiteY22" fmla="*/ 91659 h 191486"/>
                <a:gd name="connsiteX23" fmla="*/ 174611 w 189275"/>
                <a:gd name="connsiteY23" fmla="*/ 91659 h 191486"/>
                <a:gd name="connsiteX24" fmla="*/ 98936 w 189275"/>
                <a:gd name="connsiteY24" fmla="*/ 15107 h 191486"/>
                <a:gd name="connsiteX25" fmla="*/ 98936 w 189275"/>
                <a:gd name="connsiteY25" fmla="*/ 4662 h 191486"/>
                <a:gd name="connsiteX26" fmla="*/ 94888 w 189275"/>
                <a:gd name="connsiteY26" fmla="*/ 9 h 191486"/>
                <a:gd name="connsiteX27" fmla="*/ 90286 w 189275"/>
                <a:gd name="connsiteY27" fmla="*/ 4102 h 191486"/>
                <a:gd name="connsiteX28" fmla="*/ 90286 w 189275"/>
                <a:gd name="connsiteY28" fmla="*/ 4662 h 191486"/>
                <a:gd name="connsiteX29" fmla="*/ 90286 w 189275"/>
                <a:gd name="connsiteY29" fmla="*/ 15072 h 191486"/>
                <a:gd name="connsiteX30" fmla="*/ 14647 w 189275"/>
                <a:gd name="connsiteY30" fmla="*/ 91659 h 191486"/>
                <a:gd name="connsiteX31" fmla="*/ 4316 w 189275"/>
                <a:gd name="connsiteY31" fmla="*/ 91659 h 191486"/>
                <a:gd name="connsiteX32" fmla="*/ 0 w 189275"/>
                <a:gd name="connsiteY32" fmla="*/ 96023 h 191486"/>
                <a:gd name="connsiteX33" fmla="*/ 4316 w 189275"/>
                <a:gd name="connsiteY33" fmla="*/ 100387 h 191486"/>
                <a:gd name="connsiteX34" fmla="*/ 14647 w 189275"/>
                <a:gd name="connsiteY34" fmla="*/ 100387 h 191486"/>
                <a:gd name="connsiteX35" fmla="*/ 90339 w 189275"/>
                <a:gd name="connsiteY35" fmla="*/ 176939 h 191486"/>
                <a:gd name="connsiteX36" fmla="*/ 90339 w 189275"/>
                <a:gd name="connsiteY36" fmla="*/ 187384 h 191486"/>
                <a:gd name="connsiteX37" fmla="*/ 94941 w 189275"/>
                <a:gd name="connsiteY37" fmla="*/ 191478 h 191486"/>
                <a:gd name="connsiteX38" fmla="*/ 98990 w 189275"/>
                <a:gd name="connsiteY38" fmla="*/ 187384 h 191486"/>
                <a:gd name="connsiteX39" fmla="*/ 98990 w 189275"/>
                <a:gd name="connsiteY39" fmla="*/ 176939 h 191486"/>
                <a:gd name="connsiteX40" fmla="*/ 174664 w 189275"/>
                <a:gd name="connsiteY40" fmla="*/ 100387 h 191486"/>
                <a:gd name="connsiteX41" fmla="*/ 184960 w 189275"/>
                <a:gd name="connsiteY41" fmla="*/ 100387 h 191486"/>
                <a:gd name="connsiteX42" fmla="*/ 189276 w 189275"/>
                <a:gd name="connsiteY42" fmla="*/ 96023 h 191486"/>
                <a:gd name="connsiteX43" fmla="*/ 184960 w 189275"/>
                <a:gd name="connsiteY43" fmla="*/ 91659 h 19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89275" h="191486">
                  <a:moveTo>
                    <a:pt x="98990" y="168175"/>
                  </a:moveTo>
                  <a:lnTo>
                    <a:pt x="98990" y="158194"/>
                  </a:lnTo>
                  <a:cubicBezTo>
                    <a:pt x="98837" y="155779"/>
                    <a:pt x="96776" y="153947"/>
                    <a:pt x="94388" y="154101"/>
                  </a:cubicBezTo>
                  <a:cubicBezTo>
                    <a:pt x="92212" y="154242"/>
                    <a:pt x="90479" y="155995"/>
                    <a:pt x="90339" y="158194"/>
                  </a:cubicBezTo>
                  <a:lnTo>
                    <a:pt x="90339" y="168175"/>
                  </a:lnTo>
                  <a:cubicBezTo>
                    <a:pt x="54252" y="165939"/>
                    <a:pt x="25481" y="136840"/>
                    <a:pt x="23279" y="100352"/>
                  </a:cubicBezTo>
                  <a:lnTo>
                    <a:pt x="33150" y="100352"/>
                  </a:lnTo>
                  <a:cubicBezTo>
                    <a:pt x="35534" y="100352"/>
                    <a:pt x="37466" y="98398"/>
                    <a:pt x="37466" y="95987"/>
                  </a:cubicBezTo>
                  <a:cubicBezTo>
                    <a:pt x="37466" y="93577"/>
                    <a:pt x="35534" y="91623"/>
                    <a:pt x="33150" y="91623"/>
                  </a:cubicBezTo>
                  <a:lnTo>
                    <a:pt x="23279" y="91623"/>
                  </a:lnTo>
                  <a:cubicBezTo>
                    <a:pt x="25491" y="55145"/>
                    <a:pt x="54261" y="26062"/>
                    <a:pt x="90339" y="23836"/>
                  </a:cubicBezTo>
                  <a:lnTo>
                    <a:pt x="90339" y="33816"/>
                  </a:lnTo>
                  <a:cubicBezTo>
                    <a:pt x="90187" y="36231"/>
                    <a:pt x="91999" y="38314"/>
                    <a:pt x="94388" y="38469"/>
                  </a:cubicBezTo>
                  <a:cubicBezTo>
                    <a:pt x="96776" y="38623"/>
                    <a:pt x="98837" y="36791"/>
                    <a:pt x="98990" y="34376"/>
                  </a:cubicBezTo>
                  <a:cubicBezTo>
                    <a:pt x="99001" y="34189"/>
                    <a:pt x="99001" y="34002"/>
                    <a:pt x="98990" y="33816"/>
                  </a:cubicBezTo>
                  <a:lnTo>
                    <a:pt x="98990" y="23836"/>
                  </a:lnTo>
                  <a:cubicBezTo>
                    <a:pt x="135073" y="26073"/>
                    <a:pt x="163839" y="55173"/>
                    <a:pt x="166032" y="91659"/>
                  </a:cubicBezTo>
                  <a:lnTo>
                    <a:pt x="156161" y="91659"/>
                  </a:lnTo>
                  <a:cubicBezTo>
                    <a:pt x="153778" y="91659"/>
                    <a:pt x="151845" y="93613"/>
                    <a:pt x="151845" y="96023"/>
                  </a:cubicBezTo>
                  <a:cubicBezTo>
                    <a:pt x="151845" y="98433"/>
                    <a:pt x="153778" y="100387"/>
                    <a:pt x="156161" y="100387"/>
                  </a:cubicBezTo>
                  <a:lnTo>
                    <a:pt x="166032" y="100387"/>
                  </a:lnTo>
                  <a:cubicBezTo>
                    <a:pt x="163831" y="136870"/>
                    <a:pt x="135070" y="165966"/>
                    <a:pt x="98990" y="168211"/>
                  </a:cubicBezTo>
                  <a:moveTo>
                    <a:pt x="184960" y="91659"/>
                  </a:moveTo>
                  <a:lnTo>
                    <a:pt x="174611" y="91659"/>
                  </a:lnTo>
                  <a:cubicBezTo>
                    <a:pt x="172374" y="50368"/>
                    <a:pt x="139773" y="17389"/>
                    <a:pt x="98936" y="15107"/>
                  </a:cubicBezTo>
                  <a:lnTo>
                    <a:pt x="98936" y="4662"/>
                  </a:lnTo>
                  <a:cubicBezTo>
                    <a:pt x="99089" y="2247"/>
                    <a:pt x="97277" y="164"/>
                    <a:pt x="94888" y="9"/>
                  </a:cubicBezTo>
                  <a:cubicBezTo>
                    <a:pt x="92500" y="-145"/>
                    <a:pt x="90439" y="1687"/>
                    <a:pt x="90286" y="4102"/>
                  </a:cubicBezTo>
                  <a:cubicBezTo>
                    <a:pt x="90275" y="4289"/>
                    <a:pt x="90275" y="4476"/>
                    <a:pt x="90286" y="4662"/>
                  </a:cubicBezTo>
                  <a:lnTo>
                    <a:pt x="90286" y="15072"/>
                  </a:lnTo>
                  <a:cubicBezTo>
                    <a:pt x="49454" y="17380"/>
                    <a:pt x="16873" y="50370"/>
                    <a:pt x="14647" y="91659"/>
                  </a:cubicBezTo>
                  <a:lnTo>
                    <a:pt x="4316" y="91659"/>
                  </a:lnTo>
                  <a:cubicBezTo>
                    <a:pt x="1932" y="91659"/>
                    <a:pt x="0" y="93613"/>
                    <a:pt x="0" y="96023"/>
                  </a:cubicBezTo>
                  <a:cubicBezTo>
                    <a:pt x="0" y="98433"/>
                    <a:pt x="1932" y="100387"/>
                    <a:pt x="4316" y="100387"/>
                  </a:cubicBezTo>
                  <a:lnTo>
                    <a:pt x="14647" y="100387"/>
                  </a:lnTo>
                  <a:cubicBezTo>
                    <a:pt x="16877" y="141689"/>
                    <a:pt x="49493" y="174674"/>
                    <a:pt x="90339" y="176939"/>
                  </a:cubicBezTo>
                  <a:lnTo>
                    <a:pt x="90339" y="187384"/>
                  </a:lnTo>
                  <a:cubicBezTo>
                    <a:pt x="90492" y="189799"/>
                    <a:pt x="92553" y="191632"/>
                    <a:pt x="94941" y="191478"/>
                  </a:cubicBezTo>
                  <a:cubicBezTo>
                    <a:pt x="97117" y="191337"/>
                    <a:pt x="98850" y="189584"/>
                    <a:pt x="98990" y="187384"/>
                  </a:cubicBezTo>
                  <a:lnTo>
                    <a:pt x="98990" y="176939"/>
                  </a:lnTo>
                  <a:cubicBezTo>
                    <a:pt x="139830" y="174665"/>
                    <a:pt x="172435" y="141682"/>
                    <a:pt x="174664" y="100387"/>
                  </a:cubicBezTo>
                  <a:lnTo>
                    <a:pt x="184960" y="100387"/>
                  </a:lnTo>
                  <a:cubicBezTo>
                    <a:pt x="187343" y="100387"/>
                    <a:pt x="189276" y="98433"/>
                    <a:pt x="189276" y="96023"/>
                  </a:cubicBezTo>
                  <a:cubicBezTo>
                    <a:pt x="189276" y="93613"/>
                    <a:pt x="187343" y="91659"/>
                    <a:pt x="184960" y="91659"/>
                  </a:cubicBezTo>
                </a:path>
              </a:pathLst>
            </a:custGeom>
            <a:solidFill>
              <a:srgbClr val="1F6996"/>
            </a:solidFill>
            <a:ln w="1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eform 266">
              <a:extLst>
                <a:ext uri="{FF2B5EF4-FFF2-40B4-BE49-F238E27FC236}">
                  <a16:creationId xmlns:a16="http://schemas.microsoft.com/office/drawing/2014/main" id="{056B99B6-E738-504B-A2C8-D8C02EBE544D}"/>
                </a:ext>
              </a:extLst>
            </p:cNvPr>
            <p:cNvSpPr/>
            <p:nvPr/>
          </p:nvSpPr>
          <p:spPr>
            <a:xfrm>
              <a:off x="6412938" y="4679408"/>
              <a:ext cx="376570" cy="312931"/>
            </a:xfrm>
            <a:custGeom>
              <a:avLst/>
              <a:gdLst>
                <a:gd name="connsiteX0" fmla="*/ 0 w 376570"/>
                <a:gd name="connsiteY0" fmla="*/ 0 h 312931"/>
                <a:gd name="connsiteX1" fmla="*/ 376571 w 376570"/>
                <a:gd name="connsiteY1" fmla="*/ 0 h 312931"/>
                <a:gd name="connsiteX2" fmla="*/ 376571 w 376570"/>
                <a:gd name="connsiteY2" fmla="*/ 312932 h 312931"/>
                <a:gd name="connsiteX3" fmla="*/ 0 w 376570"/>
                <a:gd name="connsiteY3" fmla="*/ 312932 h 312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570" h="312931">
                  <a:moveTo>
                    <a:pt x="0" y="0"/>
                  </a:moveTo>
                  <a:lnTo>
                    <a:pt x="376571" y="0"/>
                  </a:lnTo>
                  <a:lnTo>
                    <a:pt x="376571" y="312932"/>
                  </a:lnTo>
                  <a:lnTo>
                    <a:pt x="0" y="312932"/>
                  </a:lnTo>
                  <a:close/>
                </a:path>
              </a:pathLst>
            </a:custGeom>
            <a:noFill/>
            <a:ln w="1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68" name="Graphic 338">
            <a:extLst>
              <a:ext uri="{FF2B5EF4-FFF2-40B4-BE49-F238E27FC236}">
                <a16:creationId xmlns:a16="http://schemas.microsoft.com/office/drawing/2014/main" id="{7BC9CDA5-B6D1-5D4F-9C2C-4E8B21A122DB}"/>
              </a:ext>
            </a:extLst>
          </p:cNvPr>
          <p:cNvGrpSpPr/>
          <p:nvPr userDrawn="1"/>
        </p:nvGrpSpPr>
        <p:grpSpPr>
          <a:xfrm>
            <a:off x="7273924" y="4619625"/>
            <a:ext cx="390525" cy="390525"/>
            <a:chOff x="7259637" y="4633913"/>
            <a:chExt cx="390525" cy="390525"/>
          </a:xfrm>
        </p:grpSpPr>
        <p:sp>
          <p:nvSpPr>
            <p:cNvPr id="269" name="Freeform 268">
              <a:extLst>
                <a:ext uri="{FF2B5EF4-FFF2-40B4-BE49-F238E27FC236}">
                  <a16:creationId xmlns:a16="http://schemas.microsoft.com/office/drawing/2014/main" id="{96BF8FD4-BEF2-CB4B-9E7F-4B78D0549FF8}"/>
                </a:ext>
              </a:extLst>
            </p:cNvPr>
            <p:cNvSpPr/>
            <p:nvPr/>
          </p:nvSpPr>
          <p:spPr>
            <a:xfrm>
              <a:off x="7270400" y="4642919"/>
              <a:ext cx="378980" cy="378982"/>
            </a:xfrm>
            <a:custGeom>
              <a:avLst/>
              <a:gdLst>
                <a:gd name="connsiteX0" fmla="*/ 353889 w 378980"/>
                <a:gd name="connsiteY0" fmla="*/ 312884 h 378982"/>
                <a:gd name="connsiteX1" fmla="*/ 378980 w 378980"/>
                <a:gd name="connsiteY1" fmla="*/ 246348 h 378982"/>
                <a:gd name="connsiteX2" fmla="*/ 263189 w 378980"/>
                <a:gd name="connsiteY2" fmla="*/ 133730 h 378982"/>
                <a:gd name="connsiteX3" fmla="*/ 265289 w 378980"/>
                <a:gd name="connsiteY3" fmla="*/ 113692 h 378982"/>
                <a:gd name="connsiteX4" fmla="*/ 132632 w 378980"/>
                <a:gd name="connsiteY4" fmla="*/ 0 h 378982"/>
                <a:gd name="connsiteX5" fmla="*/ 0 w 378980"/>
                <a:gd name="connsiteY5" fmla="*/ 113692 h 378982"/>
                <a:gd name="connsiteX6" fmla="*/ 21552 w 378980"/>
                <a:gd name="connsiteY6" fmla="*/ 175761 h 378982"/>
                <a:gd name="connsiteX7" fmla="*/ 415 w 378980"/>
                <a:gd name="connsiteY7" fmla="*/ 231459 h 378982"/>
                <a:gd name="connsiteX8" fmla="*/ 4179 w 378980"/>
                <a:gd name="connsiteY8" fmla="*/ 239568 h 378982"/>
                <a:gd name="connsiteX9" fmla="*/ 6322 w 378980"/>
                <a:gd name="connsiteY9" fmla="*/ 239953 h 378982"/>
                <a:gd name="connsiteX10" fmla="*/ 8762 w 378980"/>
                <a:gd name="connsiteY10" fmla="*/ 239416 h 378982"/>
                <a:gd name="connsiteX11" fmla="*/ 68513 w 378980"/>
                <a:gd name="connsiteY11" fmla="*/ 213251 h 378982"/>
                <a:gd name="connsiteX12" fmla="*/ 115791 w 378980"/>
                <a:gd name="connsiteY12" fmla="*/ 226285 h 378982"/>
                <a:gd name="connsiteX13" fmla="*/ 113692 w 378980"/>
                <a:gd name="connsiteY13" fmla="*/ 246348 h 378982"/>
                <a:gd name="connsiteX14" fmla="*/ 246348 w 378980"/>
                <a:gd name="connsiteY14" fmla="*/ 360040 h 378982"/>
                <a:gd name="connsiteX15" fmla="*/ 305317 w 378980"/>
                <a:gd name="connsiteY15" fmla="*/ 348202 h 378982"/>
                <a:gd name="connsiteX16" fmla="*/ 369998 w 378980"/>
                <a:gd name="connsiteY16" fmla="*/ 378394 h 378982"/>
                <a:gd name="connsiteX17" fmla="*/ 378392 w 378980"/>
                <a:gd name="connsiteY17" fmla="*/ 375318 h 378982"/>
                <a:gd name="connsiteX18" fmla="*/ 378468 w 378980"/>
                <a:gd name="connsiteY18" fmla="*/ 370169 h 378982"/>
                <a:gd name="connsiteX19" fmla="*/ 66121 w 378980"/>
                <a:gd name="connsiteY19" fmla="*/ 200510 h 378982"/>
                <a:gd name="connsiteX20" fmla="*/ 17574 w 378980"/>
                <a:gd name="connsiteY20" fmla="*/ 221867 h 378982"/>
                <a:gd name="connsiteX21" fmla="*/ 34659 w 378980"/>
                <a:gd name="connsiteY21" fmla="*/ 176883 h 378982"/>
                <a:gd name="connsiteX22" fmla="*/ 33634 w 378980"/>
                <a:gd name="connsiteY22" fmla="*/ 170659 h 378982"/>
                <a:gd name="connsiteX23" fmla="*/ 12643 w 378980"/>
                <a:gd name="connsiteY23" fmla="*/ 113692 h 378982"/>
                <a:gd name="connsiteX24" fmla="*/ 132632 w 378980"/>
                <a:gd name="connsiteY24" fmla="*/ 12619 h 378982"/>
                <a:gd name="connsiteX25" fmla="*/ 252645 w 378980"/>
                <a:gd name="connsiteY25" fmla="*/ 113692 h 378982"/>
                <a:gd name="connsiteX26" fmla="*/ 249228 w 378980"/>
                <a:gd name="connsiteY26" fmla="*/ 137538 h 378982"/>
                <a:gd name="connsiteX27" fmla="*/ 132632 w 378980"/>
                <a:gd name="connsiteY27" fmla="*/ 214764 h 378982"/>
                <a:gd name="connsiteX28" fmla="*/ 124041 w 378980"/>
                <a:gd name="connsiteY28" fmla="*/ 214447 h 378982"/>
                <a:gd name="connsiteX29" fmla="*/ 71490 w 378980"/>
                <a:gd name="connsiteY29" fmla="*/ 200657 h 378982"/>
                <a:gd name="connsiteX30" fmla="*/ 66121 w 378980"/>
                <a:gd name="connsiteY30" fmla="*/ 200510 h 378982"/>
                <a:gd name="connsiteX31" fmla="*/ 308075 w 378980"/>
                <a:gd name="connsiteY31" fmla="*/ 335559 h 378982"/>
                <a:gd name="connsiteX32" fmla="*/ 302803 w 378980"/>
                <a:gd name="connsiteY32" fmla="*/ 335559 h 378982"/>
                <a:gd name="connsiteX33" fmla="*/ 246348 w 378980"/>
                <a:gd name="connsiteY33" fmla="*/ 347445 h 378982"/>
                <a:gd name="connsiteX34" fmla="*/ 126335 w 378980"/>
                <a:gd name="connsiteY34" fmla="*/ 246397 h 378982"/>
                <a:gd name="connsiteX35" fmla="*/ 128483 w 378980"/>
                <a:gd name="connsiteY35" fmla="*/ 227383 h 378982"/>
                <a:gd name="connsiteX36" fmla="*/ 132632 w 378980"/>
                <a:gd name="connsiteY36" fmla="*/ 227383 h 378982"/>
                <a:gd name="connsiteX37" fmla="*/ 143835 w 378980"/>
                <a:gd name="connsiteY37" fmla="*/ 226993 h 378982"/>
                <a:gd name="connsiteX38" fmla="*/ 147545 w 378980"/>
                <a:gd name="connsiteY38" fmla="*/ 226602 h 378982"/>
                <a:gd name="connsiteX39" fmla="*/ 154868 w 378980"/>
                <a:gd name="connsiteY39" fmla="*/ 225797 h 378982"/>
                <a:gd name="connsiteX40" fmla="*/ 159237 w 378980"/>
                <a:gd name="connsiteY40" fmla="*/ 225040 h 378982"/>
                <a:gd name="connsiteX41" fmla="*/ 165534 w 378980"/>
                <a:gd name="connsiteY41" fmla="*/ 223868 h 378982"/>
                <a:gd name="connsiteX42" fmla="*/ 170122 w 378980"/>
                <a:gd name="connsiteY42" fmla="*/ 222721 h 378982"/>
                <a:gd name="connsiteX43" fmla="*/ 175907 w 378980"/>
                <a:gd name="connsiteY43" fmla="*/ 221232 h 378982"/>
                <a:gd name="connsiteX44" fmla="*/ 180520 w 378980"/>
                <a:gd name="connsiteY44" fmla="*/ 219719 h 378982"/>
                <a:gd name="connsiteX45" fmla="*/ 185939 w 378980"/>
                <a:gd name="connsiteY45" fmla="*/ 217889 h 378982"/>
                <a:gd name="connsiteX46" fmla="*/ 190454 w 378980"/>
                <a:gd name="connsiteY46" fmla="*/ 216034 h 378982"/>
                <a:gd name="connsiteX47" fmla="*/ 195507 w 378980"/>
                <a:gd name="connsiteY47" fmla="*/ 213886 h 378982"/>
                <a:gd name="connsiteX48" fmla="*/ 199924 w 378980"/>
                <a:gd name="connsiteY48" fmla="*/ 211689 h 378982"/>
                <a:gd name="connsiteX49" fmla="*/ 204806 w 378980"/>
                <a:gd name="connsiteY49" fmla="*/ 209248 h 378982"/>
                <a:gd name="connsiteX50" fmla="*/ 209077 w 378980"/>
                <a:gd name="connsiteY50" fmla="*/ 206807 h 378982"/>
                <a:gd name="connsiteX51" fmla="*/ 213495 w 378980"/>
                <a:gd name="connsiteY51" fmla="*/ 204098 h 378982"/>
                <a:gd name="connsiteX52" fmla="*/ 217571 w 378980"/>
                <a:gd name="connsiteY52" fmla="*/ 201267 h 378982"/>
                <a:gd name="connsiteX53" fmla="*/ 221647 w 378980"/>
                <a:gd name="connsiteY53" fmla="*/ 198289 h 378982"/>
                <a:gd name="connsiteX54" fmla="*/ 225504 w 378980"/>
                <a:gd name="connsiteY54" fmla="*/ 195116 h 378982"/>
                <a:gd name="connsiteX55" fmla="*/ 229263 w 378980"/>
                <a:gd name="connsiteY55" fmla="*/ 191894 h 378982"/>
                <a:gd name="connsiteX56" fmla="*/ 232826 w 378980"/>
                <a:gd name="connsiteY56" fmla="*/ 188477 h 378982"/>
                <a:gd name="connsiteX57" fmla="*/ 236268 w 378980"/>
                <a:gd name="connsiteY57" fmla="*/ 185011 h 378982"/>
                <a:gd name="connsiteX58" fmla="*/ 239514 w 378980"/>
                <a:gd name="connsiteY58" fmla="*/ 181326 h 378982"/>
                <a:gd name="connsiteX59" fmla="*/ 242614 w 378980"/>
                <a:gd name="connsiteY59" fmla="*/ 177616 h 378982"/>
                <a:gd name="connsiteX60" fmla="*/ 245543 w 378980"/>
                <a:gd name="connsiteY60" fmla="*/ 173686 h 378982"/>
                <a:gd name="connsiteX61" fmla="*/ 248276 w 378980"/>
                <a:gd name="connsiteY61" fmla="*/ 169732 h 378982"/>
                <a:gd name="connsiteX62" fmla="*/ 250717 w 378980"/>
                <a:gd name="connsiteY62" fmla="*/ 165631 h 378982"/>
                <a:gd name="connsiteX63" fmla="*/ 253158 w 378980"/>
                <a:gd name="connsiteY63" fmla="*/ 161409 h 378982"/>
                <a:gd name="connsiteX64" fmla="*/ 255306 w 378980"/>
                <a:gd name="connsiteY64" fmla="*/ 157138 h 378982"/>
                <a:gd name="connsiteX65" fmla="*/ 257332 w 378980"/>
                <a:gd name="connsiteY65" fmla="*/ 152671 h 378982"/>
                <a:gd name="connsiteX66" fmla="*/ 259065 w 378980"/>
                <a:gd name="connsiteY66" fmla="*/ 148253 h 378982"/>
                <a:gd name="connsiteX67" fmla="*/ 259943 w 378980"/>
                <a:gd name="connsiteY67" fmla="*/ 146008 h 378982"/>
                <a:gd name="connsiteX68" fmla="*/ 366532 w 378980"/>
                <a:gd name="connsiteY68" fmla="*/ 246446 h 378982"/>
                <a:gd name="connsiteX69" fmla="*/ 342002 w 378980"/>
                <a:gd name="connsiteY69" fmla="*/ 307465 h 378982"/>
                <a:gd name="connsiteX70" fmla="*/ 340880 w 378980"/>
                <a:gd name="connsiteY70" fmla="*/ 314202 h 378982"/>
                <a:gd name="connsiteX71" fmla="*/ 360406 w 378980"/>
                <a:gd name="connsiteY71" fmla="*/ 359942 h 378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378980" h="378982">
                  <a:moveTo>
                    <a:pt x="353889" y="312884"/>
                  </a:moveTo>
                  <a:cubicBezTo>
                    <a:pt x="369971" y="294438"/>
                    <a:pt x="378877" y="270820"/>
                    <a:pt x="378980" y="246348"/>
                  </a:cubicBezTo>
                  <a:cubicBezTo>
                    <a:pt x="378980" y="189014"/>
                    <a:pt x="328676" y="140857"/>
                    <a:pt x="263189" y="133730"/>
                  </a:cubicBezTo>
                  <a:cubicBezTo>
                    <a:pt x="264583" y="127142"/>
                    <a:pt x="265286" y="120426"/>
                    <a:pt x="265289" y="113692"/>
                  </a:cubicBezTo>
                  <a:cubicBezTo>
                    <a:pt x="265289" y="51012"/>
                    <a:pt x="205782" y="0"/>
                    <a:pt x="132632" y="0"/>
                  </a:cubicBezTo>
                  <a:cubicBezTo>
                    <a:pt x="59482" y="0"/>
                    <a:pt x="0" y="51012"/>
                    <a:pt x="0" y="113692"/>
                  </a:cubicBezTo>
                  <a:cubicBezTo>
                    <a:pt x="101" y="136199"/>
                    <a:pt x="7683" y="158034"/>
                    <a:pt x="21552" y="175761"/>
                  </a:cubicBezTo>
                  <a:lnTo>
                    <a:pt x="415" y="231459"/>
                  </a:lnTo>
                  <a:cubicBezTo>
                    <a:pt x="-785" y="234738"/>
                    <a:pt x="900" y="238369"/>
                    <a:pt x="4179" y="239568"/>
                  </a:cubicBezTo>
                  <a:cubicBezTo>
                    <a:pt x="4866" y="239820"/>
                    <a:pt x="5591" y="239950"/>
                    <a:pt x="6322" y="239953"/>
                  </a:cubicBezTo>
                  <a:cubicBezTo>
                    <a:pt x="7163" y="239937"/>
                    <a:pt x="7992" y="239755"/>
                    <a:pt x="8762" y="239416"/>
                  </a:cubicBezTo>
                  <a:lnTo>
                    <a:pt x="68513" y="213251"/>
                  </a:lnTo>
                  <a:cubicBezTo>
                    <a:pt x="83412" y="220264"/>
                    <a:pt x="99403" y="224673"/>
                    <a:pt x="115791" y="226285"/>
                  </a:cubicBezTo>
                  <a:cubicBezTo>
                    <a:pt x="114397" y="232882"/>
                    <a:pt x="113694" y="239606"/>
                    <a:pt x="113692" y="246348"/>
                  </a:cubicBezTo>
                  <a:cubicBezTo>
                    <a:pt x="113692" y="309027"/>
                    <a:pt x="173198" y="360040"/>
                    <a:pt x="246348" y="360040"/>
                  </a:cubicBezTo>
                  <a:cubicBezTo>
                    <a:pt x="266599" y="360085"/>
                    <a:pt x="286653" y="356059"/>
                    <a:pt x="305317" y="348202"/>
                  </a:cubicBezTo>
                  <a:lnTo>
                    <a:pt x="369998" y="378394"/>
                  </a:lnTo>
                  <a:cubicBezTo>
                    <a:pt x="373166" y="379863"/>
                    <a:pt x="376924" y="378486"/>
                    <a:pt x="378392" y="375318"/>
                  </a:cubicBezTo>
                  <a:cubicBezTo>
                    <a:pt x="379147" y="373690"/>
                    <a:pt x="379174" y="371818"/>
                    <a:pt x="378468" y="370169"/>
                  </a:cubicBezTo>
                  <a:close/>
                  <a:moveTo>
                    <a:pt x="66121" y="200510"/>
                  </a:moveTo>
                  <a:lnTo>
                    <a:pt x="17574" y="221867"/>
                  </a:lnTo>
                  <a:lnTo>
                    <a:pt x="34659" y="176883"/>
                  </a:lnTo>
                  <a:cubicBezTo>
                    <a:pt x="35451" y="174774"/>
                    <a:pt x="35060" y="172403"/>
                    <a:pt x="33634" y="170659"/>
                  </a:cubicBezTo>
                  <a:cubicBezTo>
                    <a:pt x="20214" y="154696"/>
                    <a:pt x="12789" y="134546"/>
                    <a:pt x="12643" y="113692"/>
                  </a:cubicBezTo>
                  <a:cubicBezTo>
                    <a:pt x="12619" y="57969"/>
                    <a:pt x="66462" y="12619"/>
                    <a:pt x="132632" y="12619"/>
                  </a:cubicBezTo>
                  <a:cubicBezTo>
                    <a:pt x="198802" y="12619"/>
                    <a:pt x="252645" y="57969"/>
                    <a:pt x="252645" y="113692"/>
                  </a:cubicBezTo>
                  <a:cubicBezTo>
                    <a:pt x="252648" y="121763"/>
                    <a:pt x="251498" y="129793"/>
                    <a:pt x="249228" y="137538"/>
                  </a:cubicBezTo>
                  <a:cubicBezTo>
                    <a:pt x="231628" y="186162"/>
                    <a:pt x="184269" y="217529"/>
                    <a:pt x="132632" y="214764"/>
                  </a:cubicBezTo>
                  <a:cubicBezTo>
                    <a:pt x="129801" y="214764"/>
                    <a:pt x="126994" y="214764"/>
                    <a:pt x="124041" y="214447"/>
                  </a:cubicBezTo>
                  <a:cubicBezTo>
                    <a:pt x="105764" y="213501"/>
                    <a:pt x="87877" y="208807"/>
                    <a:pt x="71490" y="200657"/>
                  </a:cubicBezTo>
                  <a:cubicBezTo>
                    <a:pt x="69813" y="199805"/>
                    <a:pt x="67842" y="199751"/>
                    <a:pt x="66121" y="200510"/>
                  </a:cubicBezTo>
                  <a:close/>
                  <a:moveTo>
                    <a:pt x="308075" y="335559"/>
                  </a:moveTo>
                  <a:cubicBezTo>
                    <a:pt x="306402" y="334791"/>
                    <a:pt x="304477" y="334791"/>
                    <a:pt x="302803" y="335559"/>
                  </a:cubicBezTo>
                  <a:cubicBezTo>
                    <a:pt x="285036" y="343465"/>
                    <a:pt x="265795" y="347516"/>
                    <a:pt x="246348" y="347445"/>
                  </a:cubicBezTo>
                  <a:cubicBezTo>
                    <a:pt x="180154" y="347445"/>
                    <a:pt x="126335" y="302120"/>
                    <a:pt x="126335" y="246397"/>
                  </a:cubicBezTo>
                  <a:cubicBezTo>
                    <a:pt x="126328" y="239998"/>
                    <a:pt x="127049" y="233619"/>
                    <a:pt x="128483" y="227383"/>
                  </a:cubicBezTo>
                  <a:cubicBezTo>
                    <a:pt x="129874" y="227383"/>
                    <a:pt x="131241" y="227383"/>
                    <a:pt x="132632" y="227383"/>
                  </a:cubicBezTo>
                  <a:cubicBezTo>
                    <a:pt x="136415" y="227383"/>
                    <a:pt x="140150" y="227261"/>
                    <a:pt x="143835" y="226993"/>
                  </a:cubicBezTo>
                  <a:cubicBezTo>
                    <a:pt x="145104" y="226993"/>
                    <a:pt x="146276" y="226724"/>
                    <a:pt x="147545" y="226602"/>
                  </a:cubicBezTo>
                  <a:cubicBezTo>
                    <a:pt x="149986" y="226358"/>
                    <a:pt x="152427" y="226138"/>
                    <a:pt x="154868" y="225797"/>
                  </a:cubicBezTo>
                  <a:cubicBezTo>
                    <a:pt x="156332" y="225577"/>
                    <a:pt x="157772" y="225284"/>
                    <a:pt x="159237" y="225040"/>
                  </a:cubicBezTo>
                  <a:cubicBezTo>
                    <a:pt x="161336" y="224674"/>
                    <a:pt x="163484" y="224332"/>
                    <a:pt x="165534" y="223868"/>
                  </a:cubicBezTo>
                  <a:cubicBezTo>
                    <a:pt x="167096" y="223527"/>
                    <a:pt x="168585" y="223112"/>
                    <a:pt x="170122" y="222721"/>
                  </a:cubicBezTo>
                  <a:cubicBezTo>
                    <a:pt x="172051" y="222233"/>
                    <a:pt x="174003" y="221769"/>
                    <a:pt x="175907" y="221232"/>
                  </a:cubicBezTo>
                  <a:cubicBezTo>
                    <a:pt x="177811" y="220695"/>
                    <a:pt x="178983" y="220232"/>
                    <a:pt x="180520" y="219719"/>
                  </a:cubicBezTo>
                  <a:cubicBezTo>
                    <a:pt x="182058" y="219207"/>
                    <a:pt x="184157" y="218548"/>
                    <a:pt x="185939" y="217889"/>
                  </a:cubicBezTo>
                  <a:cubicBezTo>
                    <a:pt x="187720" y="217230"/>
                    <a:pt x="188941" y="216668"/>
                    <a:pt x="190454" y="216034"/>
                  </a:cubicBezTo>
                  <a:cubicBezTo>
                    <a:pt x="191967" y="215399"/>
                    <a:pt x="193871" y="214642"/>
                    <a:pt x="195507" y="213886"/>
                  </a:cubicBezTo>
                  <a:cubicBezTo>
                    <a:pt x="197142" y="213129"/>
                    <a:pt x="198460" y="212421"/>
                    <a:pt x="199924" y="211689"/>
                  </a:cubicBezTo>
                  <a:cubicBezTo>
                    <a:pt x="201389" y="210957"/>
                    <a:pt x="203122" y="210102"/>
                    <a:pt x="204806" y="209248"/>
                  </a:cubicBezTo>
                  <a:cubicBezTo>
                    <a:pt x="206490" y="208394"/>
                    <a:pt x="207662" y="207564"/>
                    <a:pt x="209077" y="206807"/>
                  </a:cubicBezTo>
                  <a:cubicBezTo>
                    <a:pt x="210493" y="206051"/>
                    <a:pt x="212055" y="205050"/>
                    <a:pt x="213495" y="204098"/>
                  </a:cubicBezTo>
                  <a:cubicBezTo>
                    <a:pt x="214935" y="203146"/>
                    <a:pt x="216229" y="202219"/>
                    <a:pt x="217571" y="201267"/>
                  </a:cubicBezTo>
                  <a:cubicBezTo>
                    <a:pt x="218914" y="200315"/>
                    <a:pt x="220329" y="199314"/>
                    <a:pt x="221647" y="198289"/>
                  </a:cubicBezTo>
                  <a:cubicBezTo>
                    <a:pt x="222965" y="197264"/>
                    <a:pt x="224235" y="196190"/>
                    <a:pt x="225504" y="195116"/>
                  </a:cubicBezTo>
                  <a:cubicBezTo>
                    <a:pt x="226773" y="194042"/>
                    <a:pt x="227945" y="193017"/>
                    <a:pt x="229263" y="191894"/>
                  </a:cubicBezTo>
                  <a:cubicBezTo>
                    <a:pt x="230581" y="190771"/>
                    <a:pt x="231703" y="189624"/>
                    <a:pt x="232826" y="188477"/>
                  </a:cubicBezTo>
                  <a:cubicBezTo>
                    <a:pt x="233949" y="187330"/>
                    <a:pt x="235267" y="186183"/>
                    <a:pt x="236268" y="185011"/>
                  </a:cubicBezTo>
                  <a:cubicBezTo>
                    <a:pt x="237268" y="183840"/>
                    <a:pt x="238464" y="182570"/>
                    <a:pt x="239514" y="181326"/>
                  </a:cubicBezTo>
                  <a:cubicBezTo>
                    <a:pt x="240563" y="180081"/>
                    <a:pt x="241613" y="178885"/>
                    <a:pt x="242614" y="177616"/>
                  </a:cubicBezTo>
                  <a:cubicBezTo>
                    <a:pt x="243614" y="176346"/>
                    <a:pt x="244591" y="175004"/>
                    <a:pt x="245543" y="173686"/>
                  </a:cubicBezTo>
                  <a:cubicBezTo>
                    <a:pt x="246495" y="172368"/>
                    <a:pt x="247422" y="171074"/>
                    <a:pt x="248276" y="169732"/>
                  </a:cubicBezTo>
                  <a:cubicBezTo>
                    <a:pt x="249131" y="168390"/>
                    <a:pt x="250009" y="167023"/>
                    <a:pt x="250717" y="165631"/>
                  </a:cubicBezTo>
                  <a:cubicBezTo>
                    <a:pt x="251425" y="164240"/>
                    <a:pt x="252328" y="162849"/>
                    <a:pt x="253158" y="161409"/>
                  </a:cubicBezTo>
                  <a:cubicBezTo>
                    <a:pt x="253988" y="159969"/>
                    <a:pt x="254622" y="158578"/>
                    <a:pt x="255306" y="157138"/>
                  </a:cubicBezTo>
                  <a:cubicBezTo>
                    <a:pt x="255989" y="155697"/>
                    <a:pt x="256697" y="154184"/>
                    <a:pt x="257332" y="152671"/>
                  </a:cubicBezTo>
                  <a:cubicBezTo>
                    <a:pt x="257966" y="151158"/>
                    <a:pt x="258528" y="149766"/>
                    <a:pt x="259065" y="148253"/>
                  </a:cubicBezTo>
                  <a:cubicBezTo>
                    <a:pt x="259357" y="147496"/>
                    <a:pt x="259699" y="146764"/>
                    <a:pt x="259943" y="146008"/>
                  </a:cubicBezTo>
                  <a:cubicBezTo>
                    <a:pt x="320133" y="151695"/>
                    <a:pt x="366532" y="194994"/>
                    <a:pt x="366532" y="246446"/>
                  </a:cubicBezTo>
                  <a:cubicBezTo>
                    <a:pt x="366344" y="269151"/>
                    <a:pt x="357582" y="290947"/>
                    <a:pt x="342002" y="307465"/>
                  </a:cubicBezTo>
                  <a:cubicBezTo>
                    <a:pt x="340343" y="309298"/>
                    <a:pt x="339904" y="311930"/>
                    <a:pt x="340880" y="314202"/>
                  </a:cubicBezTo>
                  <a:lnTo>
                    <a:pt x="360406" y="359942"/>
                  </a:lnTo>
                  <a:close/>
                </a:path>
              </a:pathLst>
            </a:custGeom>
            <a:solidFill>
              <a:srgbClr val="1F6898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Freeform 269">
              <a:extLst>
                <a:ext uri="{FF2B5EF4-FFF2-40B4-BE49-F238E27FC236}">
                  <a16:creationId xmlns:a16="http://schemas.microsoft.com/office/drawing/2014/main" id="{34A0F10B-9895-6347-ABE9-D61D2ADCD0F6}"/>
                </a:ext>
              </a:extLst>
            </p:cNvPr>
            <p:cNvSpPr/>
            <p:nvPr/>
          </p:nvSpPr>
          <p:spPr>
            <a:xfrm>
              <a:off x="7356286" y="4701465"/>
              <a:ext cx="96832" cy="106571"/>
            </a:xfrm>
            <a:custGeom>
              <a:avLst/>
              <a:gdLst>
                <a:gd name="connsiteX0" fmla="*/ 75743 w 96832"/>
                <a:gd name="connsiteY0" fmla="*/ 93930 h 106571"/>
                <a:gd name="connsiteX1" fmla="*/ 62807 w 96832"/>
                <a:gd name="connsiteY1" fmla="*/ 102277 h 106571"/>
                <a:gd name="connsiteX2" fmla="*/ 46307 w 96832"/>
                <a:gd name="connsiteY2" fmla="*/ 105328 h 106571"/>
                <a:gd name="connsiteX3" fmla="*/ 26390 w 96832"/>
                <a:gd name="connsiteY3" fmla="*/ 100862 h 106571"/>
                <a:gd name="connsiteX4" fmla="*/ 11745 w 96832"/>
                <a:gd name="connsiteY4" fmla="*/ 89048 h 106571"/>
                <a:gd name="connsiteX5" fmla="*/ 2934 w 96832"/>
                <a:gd name="connsiteY5" fmla="*/ 72182 h 106571"/>
                <a:gd name="connsiteX6" fmla="*/ 2934 w 96832"/>
                <a:gd name="connsiteY6" fmla="*/ 33130 h 106571"/>
                <a:gd name="connsiteX7" fmla="*/ 11745 w 96832"/>
                <a:gd name="connsiteY7" fmla="*/ 16240 h 106571"/>
                <a:gd name="connsiteX8" fmla="*/ 26390 w 96832"/>
                <a:gd name="connsiteY8" fmla="*/ 4451 h 106571"/>
                <a:gd name="connsiteX9" fmla="*/ 46307 w 96832"/>
                <a:gd name="connsiteY9" fmla="*/ 8 h 106571"/>
                <a:gd name="connsiteX10" fmla="*/ 66199 w 96832"/>
                <a:gd name="connsiteY10" fmla="*/ 4451 h 106571"/>
                <a:gd name="connsiteX11" fmla="*/ 80844 w 96832"/>
                <a:gd name="connsiteY11" fmla="*/ 16240 h 106571"/>
                <a:gd name="connsiteX12" fmla="*/ 89655 w 96832"/>
                <a:gd name="connsiteY12" fmla="*/ 33154 h 106571"/>
                <a:gd name="connsiteX13" fmla="*/ 90314 w 96832"/>
                <a:gd name="connsiteY13" fmla="*/ 70132 h 106571"/>
                <a:gd name="connsiteX14" fmla="*/ 83431 w 96832"/>
                <a:gd name="connsiteY14" fmla="*/ 85485 h 106571"/>
                <a:gd name="connsiteX15" fmla="*/ 94366 w 96832"/>
                <a:gd name="connsiteY15" fmla="*/ 96126 h 106571"/>
                <a:gd name="connsiteX16" fmla="*/ 96172 w 96832"/>
                <a:gd name="connsiteY16" fmla="*/ 98421 h 106571"/>
                <a:gd name="connsiteX17" fmla="*/ 96831 w 96832"/>
                <a:gd name="connsiteY17" fmla="*/ 101179 h 106571"/>
                <a:gd name="connsiteX18" fmla="*/ 95269 w 96832"/>
                <a:gd name="connsiteY18" fmla="*/ 104913 h 106571"/>
                <a:gd name="connsiteX19" fmla="*/ 88093 w 96832"/>
                <a:gd name="connsiteY19" fmla="*/ 105767 h 106571"/>
                <a:gd name="connsiteX20" fmla="*/ 86165 w 96832"/>
                <a:gd name="connsiteY20" fmla="*/ 104205 h 106571"/>
                <a:gd name="connsiteX21" fmla="*/ 58657 w 96832"/>
                <a:gd name="connsiteY21" fmla="*/ 77503 h 106571"/>
                <a:gd name="connsiteX22" fmla="*/ 56729 w 96832"/>
                <a:gd name="connsiteY22" fmla="*/ 75233 h 106571"/>
                <a:gd name="connsiteX23" fmla="*/ 55997 w 96832"/>
                <a:gd name="connsiteY23" fmla="*/ 72646 h 106571"/>
                <a:gd name="connsiteX24" fmla="*/ 57632 w 96832"/>
                <a:gd name="connsiteY24" fmla="*/ 68424 h 106571"/>
                <a:gd name="connsiteX25" fmla="*/ 61757 w 96832"/>
                <a:gd name="connsiteY25" fmla="*/ 66715 h 106571"/>
                <a:gd name="connsiteX26" fmla="*/ 66639 w 96832"/>
                <a:gd name="connsiteY26" fmla="*/ 69156 h 106571"/>
                <a:gd name="connsiteX27" fmla="*/ 73961 w 96832"/>
                <a:gd name="connsiteY27" fmla="*/ 76258 h 106571"/>
                <a:gd name="connsiteX28" fmla="*/ 77598 w 96832"/>
                <a:gd name="connsiteY28" fmla="*/ 64933 h 106571"/>
                <a:gd name="connsiteX29" fmla="*/ 77012 w 96832"/>
                <a:gd name="connsiteY29" fmla="*/ 37914 h 106571"/>
                <a:gd name="connsiteX30" fmla="*/ 71447 w 96832"/>
                <a:gd name="connsiteY30" fmla="*/ 24563 h 106571"/>
                <a:gd name="connsiteX31" fmla="*/ 61464 w 96832"/>
                <a:gd name="connsiteY31" fmla="*/ 14922 h 106571"/>
                <a:gd name="connsiteX32" fmla="*/ 46453 w 96832"/>
                <a:gd name="connsiteY32" fmla="*/ 11212 h 106571"/>
                <a:gd name="connsiteX33" fmla="*/ 31418 w 96832"/>
                <a:gd name="connsiteY33" fmla="*/ 14897 h 106571"/>
                <a:gd name="connsiteX34" fmla="*/ 21411 w 96832"/>
                <a:gd name="connsiteY34" fmla="*/ 24660 h 106571"/>
                <a:gd name="connsiteX35" fmla="*/ 15870 w 96832"/>
                <a:gd name="connsiteY35" fmla="*/ 38011 h 106571"/>
                <a:gd name="connsiteX36" fmla="*/ 15870 w 96832"/>
                <a:gd name="connsiteY36" fmla="*/ 67569 h 106571"/>
                <a:gd name="connsiteX37" fmla="*/ 21411 w 96832"/>
                <a:gd name="connsiteY37" fmla="*/ 80896 h 106571"/>
                <a:gd name="connsiteX38" fmla="*/ 31418 w 96832"/>
                <a:gd name="connsiteY38" fmla="*/ 90537 h 106571"/>
                <a:gd name="connsiteX39" fmla="*/ 46453 w 96832"/>
                <a:gd name="connsiteY39" fmla="*/ 94247 h 106571"/>
                <a:gd name="connsiteX40" fmla="*/ 58438 w 96832"/>
                <a:gd name="connsiteY40" fmla="*/ 92075 h 106571"/>
                <a:gd name="connsiteX41" fmla="*/ 67468 w 96832"/>
                <a:gd name="connsiteY41" fmla="*/ 86022 h 10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96832" h="106571">
                  <a:moveTo>
                    <a:pt x="75743" y="93930"/>
                  </a:moveTo>
                  <a:cubicBezTo>
                    <a:pt x="71987" y="97492"/>
                    <a:pt x="67600" y="100323"/>
                    <a:pt x="62807" y="102277"/>
                  </a:cubicBezTo>
                  <a:cubicBezTo>
                    <a:pt x="57562" y="104372"/>
                    <a:pt x="51954" y="105409"/>
                    <a:pt x="46307" y="105328"/>
                  </a:cubicBezTo>
                  <a:cubicBezTo>
                    <a:pt x="39406" y="105457"/>
                    <a:pt x="32575" y="103925"/>
                    <a:pt x="26390" y="100862"/>
                  </a:cubicBezTo>
                  <a:cubicBezTo>
                    <a:pt x="20710" y="98032"/>
                    <a:pt x="15713" y="94001"/>
                    <a:pt x="11745" y="89048"/>
                  </a:cubicBezTo>
                  <a:cubicBezTo>
                    <a:pt x="7776" y="84029"/>
                    <a:pt x="4787" y="78307"/>
                    <a:pt x="2934" y="72182"/>
                  </a:cubicBezTo>
                  <a:cubicBezTo>
                    <a:pt x="-978" y="59459"/>
                    <a:pt x="-978" y="45853"/>
                    <a:pt x="2934" y="33130"/>
                  </a:cubicBezTo>
                  <a:cubicBezTo>
                    <a:pt x="4790" y="26999"/>
                    <a:pt x="7779" y="21270"/>
                    <a:pt x="11745" y="16240"/>
                  </a:cubicBezTo>
                  <a:cubicBezTo>
                    <a:pt x="15714" y="11294"/>
                    <a:pt x="20711" y="7271"/>
                    <a:pt x="26390" y="4451"/>
                  </a:cubicBezTo>
                  <a:cubicBezTo>
                    <a:pt x="32577" y="1395"/>
                    <a:pt x="39408" y="-128"/>
                    <a:pt x="46307" y="8"/>
                  </a:cubicBezTo>
                  <a:cubicBezTo>
                    <a:pt x="53197" y="-122"/>
                    <a:pt x="60019" y="1401"/>
                    <a:pt x="66199" y="4451"/>
                  </a:cubicBezTo>
                  <a:cubicBezTo>
                    <a:pt x="71878" y="7271"/>
                    <a:pt x="76876" y="11294"/>
                    <a:pt x="80844" y="16240"/>
                  </a:cubicBezTo>
                  <a:cubicBezTo>
                    <a:pt x="84805" y="21283"/>
                    <a:pt x="87793" y="27018"/>
                    <a:pt x="89655" y="33154"/>
                  </a:cubicBezTo>
                  <a:cubicBezTo>
                    <a:pt x="93354" y="45172"/>
                    <a:pt x="93583" y="57990"/>
                    <a:pt x="90314" y="70132"/>
                  </a:cubicBezTo>
                  <a:cubicBezTo>
                    <a:pt x="88832" y="75576"/>
                    <a:pt x="86510" y="80756"/>
                    <a:pt x="83431" y="85485"/>
                  </a:cubicBezTo>
                  <a:lnTo>
                    <a:pt x="94366" y="96126"/>
                  </a:lnTo>
                  <a:cubicBezTo>
                    <a:pt x="95071" y="96804"/>
                    <a:pt x="95679" y="97576"/>
                    <a:pt x="96172" y="98421"/>
                  </a:cubicBezTo>
                  <a:cubicBezTo>
                    <a:pt x="96626" y="99268"/>
                    <a:pt x="96853" y="100218"/>
                    <a:pt x="96831" y="101179"/>
                  </a:cubicBezTo>
                  <a:cubicBezTo>
                    <a:pt x="96810" y="102578"/>
                    <a:pt x="96250" y="103916"/>
                    <a:pt x="95269" y="104913"/>
                  </a:cubicBezTo>
                  <a:cubicBezTo>
                    <a:pt x="93328" y="106751"/>
                    <a:pt x="90411" y="107098"/>
                    <a:pt x="88093" y="105767"/>
                  </a:cubicBezTo>
                  <a:cubicBezTo>
                    <a:pt x="87401" y="105311"/>
                    <a:pt x="86755" y="104788"/>
                    <a:pt x="86165" y="104205"/>
                  </a:cubicBezTo>
                  <a:close/>
                  <a:moveTo>
                    <a:pt x="58657" y="77503"/>
                  </a:moveTo>
                  <a:cubicBezTo>
                    <a:pt x="57936" y="76817"/>
                    <a:pt x="57290" y="76056"/>
                    <a:pt x="56729" y="75233"/>
                  </a:cubicBezTo>
                  <a:cubicBezTo>
                    <a:pt x="56232" y="74463"/>
                    <a:pt x="55977" y="73562"/>
                    <a:pt x="55997" y="72646"/>
                  </a:cubicBezTo>
                  <a:cubicBezTo>
                    <a:pt x="55951" y="71076"/>
                    <a:pt x="56541" y="69553"/>
                    <a:pt x="57632" y="68424"/>
                  </a:cubicBezTo>
                  <a:cubicBezTo>
                    <a:pt x="58701" y="67293"/>
                    <a:pt x="60202" y="66672"/>
                    <a:pt x="61757" y="66715"/>
                  </a:cubicBezTo>
                  <a:cubicBezTo>
                    <a:pt x="63650" y="66824"/>
                    <a:pt x="65415" y="67707"/>
                    <a:pt x="66639" y="69156"/>
                  </a:cubicBezTo>
                  <a:lnTo>
                    <a:pt x="73961" y="76258"/>
                  </a:lnTo>
                  <a:cubicBezTo>
                    <a:pt x="75681" y="72666"/>
                    <a:pt x="76904" y="68856"/>
                    <a:pt x="77598" y="64933"/>
                  </a:cubicBezTo>
                  <a:cubicBezTo>
                    <a:pt x="79271" y="55983"/>
                    <a:pt x="79072" y="46783"/>
                    <a:pt x="77012" y="37914"/>
                  </a:cubicBezTo>
                  <a:cubicBezTo>
                    <a:pt x="75943" y="33175"/>
                    <a:pt x="74060" y="28658"/>
                    <a:pt x="71447" y="24563"/>
                  </a:cubicBezTo>
                  <a:cubicBezTo>
                    <a:pt x="68907" y="20623"/>
                    <a:pt x="65490" y="17323"/>
                    <a:pt x="61464" y="14922"/>
                  </a:cubicBezTo>
                  <a:cubicBezTo>
                    <a:pt x="56895" y="12332"/>
                    <a:pt x="51702" y="11048"/>
                    <a:pt x="46453" y="11212"/>
                  </a:cubicBezTo>
                  <a:cubicBezTo>
                    <a:pt x="41199" y="11046"/>
                    <a:pt x="36000" y="12321"/>
                    <a:pt x="31418" y="14897"/>
                  </a:cubicBezTo>
                  <a:cubicBezTo>
                    <a:pt x="27377" y="17339"/>
                    <a:pt x="23952" y="20680"/>
                    <a:pt x="21411" y="24660"/>
                  </a:cubicBezTo>
                  <a:cubicBezTo>
                    <a:pt x="18797" y="28752"/>
                    <a:pt x="16922" y="33271"/>
                    <a:pt x="15870" y="38011"/>
                  </a:cubicBezTo>
                  <a:cubicBezTo>
                    <a:pt x="13592" y="47732"/>
                    <a:pt x="13592" y="57848"/>
                    <a:pt x="15870" y="67569"/>
                  </a:cubicBezTo>
                  <a:cubicBezTo>
                    <a:pt x="16915" y="72304"/>
                    <a:pt x="18791" y="76816"/>
                    <a:pt x="21411" y="80896"/>
                  </a:cubicBezTo>
                  <a:cubicBezTo>
                    <a:pt x="23953" y="84843"/>
                    <a:pt x="27379" y="88144"/>
                    <a:pt x="31418" y="90537"/>
                  </a:cubicBezTo>
                  <a:cubicBezTo>
                    <a:pt x="35993" y="93133"/>
                    <a:pt x="41196" y="94416"/>
                    <a:pt x="46453" y="94247"/>
                  </a:cubicBezTo>
                  <a:cubicBezTo>
                    <a:pt x="50552" y="94321"/>
                    <a:pt x="54625" y="93583"/>
                    <a:pt x="58438" y="92075"/>
                  </a:cubicBezTo>
                  <a:cubicBezTo>
                    <a:pt x="61820" y="90676"/>
                    <a:pt x="64890" y="88618"/>
                    <a:pt x="67468" y="86022"/>
                  </a:cubicBezTo>
                  <a:close/>
                </a:path>
              </a:pathLst>
            </a:custGeom>
            <a:solidFill>
              <a:srgbClr val="BF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" name="Freeform 270">
              <a:extLst>
                <a:ext uri="{FF2B5EF4-FFF2-40B4-BE49-F238E27FC236}">
                  <a16:creationId xmlns:a16="http://schemas.microsoft.com/office/drawing/2014/main" id="{2AFB19D3-4060-0745-A024-CE933594CD41}"/>
                </a:ext>
              </a:extLst>
            </p:cNvPr>
            <p:cNvSpPr/>
            <p:nvPr/>
          </p:nvSpPr>
          <p:spPr>
            <a:xfrm>
              <a:off x="7472933" y="4847018"/>
              <a:ext cx="87628" cy="105427"/>
            </a:xfrm>
            <a:custGeom>
              <a:avLst/>
              <a:gdLst>
                <a:gd name="connsiteX0" fmla="*/ 12574 w 87628"/>
                <a:gd name="connsiteY0" fmla="*/ 100705 h 105427"/>
                <a:gd name="connsiteX1" fmla="*/ 10377 w 87628"/>
                <a:gd name="connsiteY1" fmla="*/ 104049 h 105427"/>
                <a:gd name="connsiteX2" fmla="*/ 6227 w 87628"/>
                <a:gd name="connsiteY2" fmla="*/ 105416 h 105427"/>
                <a:gd name="connsiteX3" fmla="*/ 1858 w 87628"/>
                <a:gd name="connsiteY3" fmla="*/ 103952 h 105427"/>
                <a:gd name="connsiteX4" fmla="*/ 3 w 87628"/>
                <a:gd name="connsiteY4" fmla="*/ 100022 h 105427"/>
                <a:gd name="connsiteX5" fmla="*/ 736 w 87628"/>
                <a:gd name="connsiteY5" fmla="*/ 96678 h 105427"/>
                <a:gd name="connsiteX6" fmla="*/ 1785 w 87628"/>
                <a:gd name="connsiteY6" fmla="*/ 93603 h 105427"/>
                <a:gd name="connsiteX7" fmla="*/ 34492 w 87628"/>
                <a:gd name="connsiteY7" fmla="*/ 7858 h 105427"/>
                <a:gd name="connsiteX8" fmla="*/ 37811 w 87628"/>
                <a:gd name="connsiteY8" fmla="*/ 2269 h 105427"/>
                <a:gd name="connsiteX9" fmla="*/ 49820 w 87628"/>
                <a:gd name="connsiteY9" fmla="*/ 2269 h 105427"/>
                <a:gd name="connsiteX10" fmla="*/ 53139 w 87628"/>
                <a:gd name="connsiteY10" fmla="*/ 7858 h 105427"/>
                <a:gd name="connsiteX11" fmla="*/ 85870 w 87628"/>
                <a:gd name="connsiteY11" fmla="*/ 93603 h 105427"/>
                <a:gd name="connsiteX12" fmla="*/ 86895 w 87628"/>
                <a:gd name="connsiteY12" fmla="*/ 96678 h 105427"/>
                <a:gd name="connsiteX13" fmla="*/ 87628 w 87628"/>
                <a:gd name="connsiteY13" fmla="*/ 100022 h 105427"/>
                <a:gd name="connsiteX14" fmla="*/ 85797 w 87628"/>
                <a:gd name="connsiteY14" fmla="*/ 103952 h 105427"/>
                <a:gd name="connsiteX15" fmla="*/ 81428 w 87628"/>
                <a:gd name="connsiteY15" fmla="*/ 105416 h 105427"/>
                <a:gd name="connsiteX16" fmla="*/ 77279 w 87628"/>
                <a:gd name="connsiteY16" fmla="*/ 104049 h 105427"/>
                <a:gd name="connsiteX17" fmla="*/ 75058 w 87628"/>
                <a:gd name="connsiteY17" fmla="*/ 100705 h 105427"/>
                <a:gd name="connsiteX18" fmla="*/ 68248 w 87628"/>
                <a:gd name="connsiteY18" fmla="*/ 82448 h 105427"/>
                <a:gd name="connsiteX19" fmla="*/ 19432 w 87628"/>
                <a:gd name="connsiteY19" fmla="*/ 82448 h 105427"/>
                <a:gd name="connsiteX20" fmla="*/ 43962 w 87628"/>
                <a:gd name="connsiteY20" fmla="*/ 14204 h 105427"/>
                <a:gd name="connsiteX21" fmla="*/ 43669 w 87628"/>
                <a:gd name="connsiteY21" fmla="*/ 14204 h 105427"/>
                <a:gd name="connsiteX22" fmla="*/ 23459 w 87628"/>
                <a:gd name="connsiteY22" fmla="*/ 71196 h 105427"/>
                <a:gd name="connsiteX23" fmla="*/ 64318 w 87628"/>
                <a:gd name="connsiteY23" fmla="*/ 71196 h 10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7628" h="105427">
                  <a:moveTo>
                    <a:pt x="12574" y="100705"/>
                  </a:moveTo>
                  <a:cubicBezTo>
                    <a:pt x="12117" y="101979"/>
                    <a:pt x="11364" y="103125"/>
                    <a:pt x="10377" y="104049"/>
                  </a:cubicBezTo>
                  <a:cubicBezTo>
                    <a:pt x="9216" y="105012"/>
                    <a:pt x="7733" y="105500"/>
                    <a:pt x="6227" y="105416"/>
                  </a:cubicBezTo>
                  <a:cubicBezTo>
                    <a:pt x="4645" y="105453"/>
                    <a:pt x="3099" y="104935"/>
                    <a:pt x="1858" y="103952"/>
                  </a:cubicBezTo>
                  <a:cubicBezTo>
                    <a:pt x="637" y="103022"/>
                    <a:pt x="-55" y="101556"/>
                    <a:pt x="3" y="100022"/>
                  </a:cubicBezTo>
                  <a:cubicBezTo>
                    <a:pt x="58" y="98874"/>
                    <a:pt x="306" y="97744"/>
                    <a:pt x="736" y="96678"/>
                  </a:cubicBezTo>
                  <a:cubicBezTo>
                    <a:pt x="1224" y="95311"/>
                    <a:pt x="1590" y="94237"/>
                    <a:pt x="1785" y="93603"/>
                  </a:cubicBezTo>
                  <a:lnTo>
                    <a:pt x="34492" y="7858"/>
                  </a:lnTo>
                  <a:cubicBezTo>
                    <a:pt x="35190" y="5781"/>
                    <a:pt x="36321" y="3876"/>
                    <a:pt x="37811" y="2269"/>
                  </a:cubicBezTo>
                  <a:cubicBezTo>
                    <a:pt x="41243" y="-756"/>
                    <a:pt x="46388" y="-756"/>
                    <a:pt x="49820" y="2269"/>
                  </a:cubicBezTo>
                  <a:cubicBezTo>
                    <a:pt x="51310" y="3876"/>
                    <a:pt x="52441" y="5781"/>
                    <a:pt x="53139" y="7858"/>
                  </a:cubicBezTo>
                  <a:lnTo>
                    <a:pt x="85870" y="93603"/>
                  </a:lnTo>
                  <a:cubicBezTo>
                    <a:pt x="86065" y="94286"/>
                    <a:pt x="86407" y="95311"/>
                    <a:pt x="86895" y="96678"/>
                  </a:cubicBezTo>
                  <a:cubicBezTo>
                    <a:pt x="87334" y="97741"/>
                    <a:pt x="87582" y="98873"/>
                    <a:pt x="87628" y="100022"/>
                  </a:cubicBezTo>
                  <a:cubicBezTo>
                    <a:pt x="87664" y="101546"/>
                    <a:pt x="86987" y="102999"/>
                    <a:pt x="85797" y="103952"/>
                  </a:cubicBezTo>
                  <a:cubicBezTo>
                    <a:pt x="84552" y="104927"/>
                    <a:pt x="83009" y="105444"/>
                    <a:pt x="81428" y="105416"/>
                  </a:cubicBezTo>
                  <a:cubicBezTo>
                    <a:pt x="79921" y="105508"/>
                    <a:pt x="78436" y="105018"/>
                    <a:pt x="77279" y="104049"/>
                  </a:cubicBezTo>
                  <a:cubicBezTo>
                    <a:pt x="76284" y="103126"/>
                    <a:pt x="75523" y="101980"/>
                    <a:pt x="75058" y="100705"/>
                  </a:cubicBezTo>
                  <a:lnTo>
                    <a:pt x="68248" y="82448"/>
                  </a:lnTo>
                  <a:lnTo>
                    <a:pt x="19432" y="82448"/>
                  </a:lnTo>
                  <a:close/>
                  <a:moveTo>
                    <a:pt x="43962" y="14204"/>
                  </a:moveTo>
                  <a:lnTo>
                    <a:pt x="43669" y="14204"/>
                  </a:lnTo>
                  <a:lnTo>
                    <a:pt x="23459" y="71196"/>
                  </a:lnTo>
                  <a:lnTo>
                    <a:pt x="64318" y="71196"/>
                  </a:lnTo>
                  <a:close/>
                </a:path>
              </a:pathLst>
            </a:custGeom>
            <a:solidFill>
              <a:srgbClr val="BF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2" name="Graphic 283">
            <a:extLst>
              <a:ext uri="{FF2B5EF4-FFF2-40B4-BE49-F238E27FC236}">
                <a16:creationId xmlns:a16="http://schemas.microsoft.com/office/drawing/2014/main" id="{11A00FC6-304F-1F49-AF2C-712CFE90CC6E}"/>
              </a:ext>
            </a:extLst>
          </p:cNvPr>
          <p:cNvGrpSpPr/>
          <p:nvPr userDrawn="1"/>
        </p:nvGrpSpPr>
        <p:grpSpPr>
          <a:xfrm>
            <a:off x="8043070" y="1473994"/>
            <a:ext cx="396453" cy="387996"/>
            <a:chOff x="11013451" y="1300103"/>
            <a:chExt cx="587881" cy="587881"/>
          </a:xfrm>
          <a:solidFill>
            <a:srgbClr val="1F6898"/>
          </a:solidFill>
        </p:grpSpPr>
        <p:sp>
          <p:nvSpPr>
            <p:cNvPr id="273" name="Freeform 272">
              <a:extLst>
                <a:ext uri="{FF2B5EF4-FFF2-40B4-BE49-F238E27FC236}">
                  <a16:creationId xmlns:a16="http://schemas.microsoft.com/office/drawing/2014/main" id="{B18924CE-A162-2C41-ADC0-80806D756F17}"/>
                </a:ext>
              </a:extLst>
            </p:cNvPr>
            <p:cNvSpPr/>
            <p:nvPr/>
          </p:nvSpPr>
          <p:spPr>
            <a:xfrm>
              <a:off x="11013451" y="1300103"/>
              <a:ext cx="587881" cy="587881"/>
            </a:xfrm>
            <a:custGeom>
              <a:avLst/>
              <a:gdLst>
                <a:gd name="connsiteX0" fmla="*/ 0 w 587881"/>
                <a:gd name="connsiteY0" fmla="*/ 293941 h 587881"/>
                <a:gd name="connsiteX1" fmla="*/ 293941 w 587881"/>
                <a:gd name="connsiteY1" fmla="*/ 587881 h 587881"/>
                <a:gd name="connsiteX2" fmla="*/ 587881 w 587881"/>
                <a:gd name="connsiteY2" fmla="*/ 293941 h 587881"/>
                <a:gd name="connsiteX3" fmla="*/ 293941 w 587881"/>
                <a:gd name="connsiteY3" fmla="*/ 0 h 587881"/>
                <a:gd name="connsiteX4" fmla="*/ 0 w 587881"/>
                <a:gd name="connsiteY4" fmla="*/ 293941 h 587881"/>
                <a:gd name="connsiteX5" fmla="*/ 19596 w 587881"/>
                <a:gd name="connsiteY5" fmla="*/ 293941 h 587881"/>
                <a:gd name="connsiteX6" fmla="*/ 293941 w 587881"/>
                <a:gd name="connsiteY6" fmla="*/ 19596 h 587881"/>
                <a:gd name="connsiteX7" fmla="*/ 568279 w 587881"/>
                <a:gd name="connsiteY7" fmla="*/ 293941 h 587881"/>
                <a:gd name="connsiteX8" fmla="*/ 293941 w 587881"/>
                <a:gd name="connsiteY8" fmla="*/ 568280 h 587881"/>
                <a:gd name="connsiteX9" fmla="*/ 19596 w 587881"/>
                <a:gd name="connsiteY9" fmla="*/ 293941 h 587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7881" h="587881">
                  <a:moveTo>
                    <a:pt x="0" y="293941"/>
                  </a:moveTo>
                  <a:cubicBezTo>
                    <a:pt x="0" y="456016"/>
                    <a:pt x="131861" y="587881"/>
                    <a:pt x="293941" y="587881"/>
                  </a:cubicBezTo>
                  <a:cubicBezTo>
                    <a:pt x="456021" y="587881"/>
                    <a:pt x="587881" y="456021"/>
                    <a:pt x="587881" y="293941"/>
                  </a:cubicBezTo>
                  <a:cubicBezTo>
                    <a:pt x="587881" y="131861"/>
                    <a:pt x="456014" y="0"/>
                    <a:pt x="293941" y="0"/>
                  </a:cubicBezTo>
                  <a:cubicBezTo>
                    <a:pt x="131867" y="0"/>
                    <a:pt x="0" y="131861"/>
                    <a:pt x="0" y="293941"/>
                  </a:cubicBezTo>
                  <a:close/>
                  <a:moveTo>
                    <a:pt x="19596" y="293941"/>
                  </a:moveTo>
                  <a:cubicBezTo>
                    <a:pt x="19596" y="142668"/>
                    <a:pt x="142667" y="19596"/>
                    <a:pt x="293941" y="19596"/>
                  </a:cubicBezTo>
                  <a:cubicBezTo>
                    <a:pt x="445215" y="19596"/>
                    <a:pt x="568279" y="142667"/>
                    <a:pt x="568279" y="293941"/>
                  </a:cubicBezTo>
                  <a:cubicBezTo>
                    <a:pt x="568279" y="445215"/>
                    <a:pt x="445208" y="568280"/>
                    <a:pt x="293941" y="568280"/>
                  </a:cubicBezTo>
                  <a:cubicBezTo>
                    <a:pt x="142673" y="568280"/>
                    <a:pt x="19596" y="445208"/>
                    <a:pt x="19596" y="293941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4" name="Freeform 273">
              <a:extLst>
                <a:ext uri="{FF2B5EF4-FFF2-40B4-BE49-F238E27FC236}">
                  <a16:creationId xmlns:a16="http://schemas.microsoft.com/office/drawing/2014/main" id="{0D7914F5-3CD3-8444-897F-1E1A007FE4A0}"/>
                </a:ext>
              </a:extLst>
            </p:cNvPr>
            <p:cNvSpPr/>
            <p:nvPr/>
          </p:nvSpPr>
          <p:spPr>
            <a:xfrm>
              <a:off x="11297590" y="1367503"/>
              <a:ext cx="19596" cy="29394"/>
            </a:xfrm>
            <a:custGeom>
              <a:avLst/>
              <a:gdLst>
                <a:gd name="connsiteX0" fmla="*/ 19596 w 19596"/>
                <a:gd name="connsiteY0" fmla="*/ 19596 h 29394"/>
                <a:gd name="connsiteX1" fmla="*/ 19596 w 19596"/>
                <a:gd name="connsiteY1" fmla="*/ 9798 h 29394"/>
                <a:gd name="connsiteX2" fmla="*/ 9798 w 19596"/>
                <a:gd name="connsiteY2" fmla="*/ 0 h 29394"/>
                <a:gd name="connsiteX3" fmla="*/ 0 w 19596"/>
                <a:gd name="connsiteY3" fmla="*/ 9798 h 29394"/>
                <a:gd name="connsiteX4" fmla="*/ 0 w 19596"/>
                <a:gd name="connsiteY4" fmla="*/ 19596 h 29394"/>
                <a:gd name="connsiteX5" fmla="*/ 9798 w 19596"/>
                <a:gd name="connsiteY5" fmla="*/ 29394 h 29394"/>
                <a:gd name="connsiteX6" fmla="*/ 19596 w 19596"/>
                <a:gd name="connsiteY6" fmla="*/ 19596 h 2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96" h="29394">
                  <a:moveTo>
                    <a:pt x="19596" y="19596"/>
                  </a:moveTo>
                  <a:lnTo>
                    <a:pt x="19596" y="9798"/>
                  </a:lnTo>
                  <a:cubicBezTo>
                    <a:pt x="19596" y="4387"/>
                    <a:pt x="15209" y="0"/>
                    <a:pt x="9798" y="0"/>
                  </a:cubicBezTo>
                  <a:cubicBezTo>
                    <a:pt x="4387" y="0"/>
                    <a:pt x="0" y="4387"/>
                    <a:pt x="0" y="9798"/>
                  </a:cubicBezTo>
                  <a:lnTo>
                    <a:pt x="0" y="19596"/>
                  </a:lnTo>
                  <a:cubicBezTo>
                    <a:pt x="0" y="25007"/>
                    <a:pt x="4387" y="29394"/>
                    <a:pt x="9798" y="29394"/>
                  </a:cubicBezTo>
                  <a:cubicBezTo>
                    <a:pt x="15209" y="29394"/>
                    <a:pt x="19596" y="25007"/>
                    <a:pt x="19596" y="19596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5" name="Freeform 274">
              <a:extLst>
                <a:ext uri="{FF2B5EF4-FFF2-40B4-BE49-F238E27FC236}">
                  <a16:creationId xmlns:a16="http://schemas.microsoft.com/office/drawing/2014/main" id="{4C964691-C0E2-7F49-879F-F54B7ADF2516}"/>
                </a:ext>
              </a:extLst>
            </p:cNvPr>
            <p:cNvSpPr/>
            <p:nvPr/>
          </p:nvSpPr>
          <p:spPr>
            <a:xfrm>
              <a:off x="11297589" y="1788814"/>
              <a:ext cx="19596" cy="29493"/>
            </a:xfrm>
            <a:custGeom>
              <a:avLst/>
              <a:gdLst>
                <a:gd name="connsiteX0" fmla="*/ 1 w 19596"/>
                <a:gd name="connsiteY0" fmla="*/ 9798 h 29493"/>
                <a:gd name="connsiteX1" fmla="*/ 1 w 19596"/>
                <a:gd name="connsiteY1" fmla="*/ 19596 h 29493"/>
                <a:gd name="connsiteX2" fmla="*/ 9699 w 19596"/>
                <a:gd name="connsiteY2" fmla="*/ 29493 h 29493"/>
                <a:gd name="connsiteX3" fmla="*/ 19596 w 19596"/>
                <a:gd name="connsiteY3" fmla="*/ 19795 h 29493"/>
                <a:gd name="connsiteX4" fmla="*/ 19596 w 19596"/>
                <a:gd name="connsiteY4" fmla="*/ 19596 h 29493"/>
                <a:gd name="connsiteX5" fmla="*/ 19596 w 19596"/>
                <a:gd name="connsiteY5" fmla="*/ 9798 h 29493"/>
                <a:gd name="connsiteX6" fmla="*/ 9798 w 19596"/>
                <a:gd name="connsiteY6" fmla="*/ 0 h 29493"/>
                <a:gd name="connsiteX7" fmla="*/ 0 w 19596"/>
                <a:gd name="connsiteY7" fmla="*/ 9798 h 2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96" h="29493">
                  <a:moveTo>
                    <a:pt x="1" y="9798"/>
                  </a:moveTo>
                  <a:lnTo>
                    <a:pt x="1" y="19596"/>
                  </a:lnTo>
                  <a:cubicBezTo>
                    <a:pt x="-54" y="25007"/>
                    <a:pt x="4288" y="29438"/>
                    <a:pt x="9699" y="29493"/>
                  </a:cubicBezTo>
                  <a:cubicBezTo>
                    <a:pt x="15110" y="29548"/>
                    <a:pt x="19541" y="25206"/>
                    <a:pt x="19596" y="19795"/>
                  </a:cubicBezTo>
                  <a:cubicBezTo>
                    <a:pt x="19597" y="19728"/>
                    <a:pt x="19597" y="19662"/>
                    <a:pt x="19596" y="19596"/>
                  </a:cubicBezTo>
                  <a:lnTo>
                    <a:pt x="19596" y="9798"/>
                  </a:lnTo>
                  <a:cubicBezTo>
                    <a:pt x="19596" y="4387"/>
                    <a:pt x="15209" y="0"/>
                    <a:pt x="9798" y="0"/>
                  </a:cubicBezTo>
                  <a:cubicBezTo>
                    <a:pt x="4387" y="0"/>
                    <a:pt x="0" y="4387"/>
                    <a:pt x="0" y="9798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6" name="Freeform 275">
              <a:extLst>
                <a:ext uri="{FF2B5EF4-FFF2-40B4-BE49-F238E27FC236}">
                  <a16:creationId xmlns:a16="http://schemas.microsoft.com/office/drawing/2014/main" id="{99084462-EE5D-694D-AE23-980747CE06BD}"/>
                </a:ext>
              </a:extLst>
            </p:cNvPr>
            <p:cNvSpPr/>
            <p:nvPr/>
          </p:nvSpPr>
          <p:spPr>
            <a:xfrm>
              <a:off x="11082036" y="1583057"/>
              <a:ext cx="29394" cy="19596"/>
            </a:xfrm>
            <a:custGeom>
              <a:avLst/>
              <a:gdLst>
                <a:gd name="connsiteX0" fmla="*/ 0 w 29394"/>
                <a:gd name="connsiteY0" fmla="*/ 9798 h 19596"/>
                <a:gd name="connsiteX1" fmla="*/ 9794 w 29394"/>
                <a:gd name="connsiteY1" fmla="*/ 19596 h 19596"/>
                <a:gd name="connsiteX2" fmla="*/ 9798 w 29394"/>
                <a:gd name="connsiteY2" fmla="*/ 19596 h 19596"/>
                <a:gd name="connsiteX3" fmla="*/ 19596 w 29394"/>
                <a:gd name="connsiteY3" fmla="*/ 19596 h 19596"/>
                <a:gd name="connsiteX4" fmla="*/ 29394 w 29394"/>
                <a:gd name="connsiteY4" fmla="*/ 9798 h 19596"/>
                <a:gd name="connsiteX5" fmla="*/ 19596 w 29394"/>
                <a:gd name="connsiteY5" fmla="*/ 0 h 19596"/>
                <a:gd name="connsiteX6" fmla="*/ 9798 w 29394"/>
                <a:gd name="connsiteY6" fmla="*/ 0 h 19596"/>
                <a:gd name="connsiteX7" fmla="*/ 0 w 29394"/>
                <a:gd name="connsiteY7" fmla="*/ 9794 h 19596"/>
                <a:gd name="connsiteX8" fmla="*/ 0 w 29394"/>
                <a:gd name="connsiteY8" fmla="*/ 9798 h 19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4" h="19596">
                  <a:moveTo>
                    <a:pt x="0" y="9798"/>
                  </a:moveTo>
                  <a:cubicBezTo>
                    <a:pt x="-1" y="15208"/>
                    <a:pt x="4384" y="19595"/>
                    <a:pt x="9794" y="19596"/>
                  </a:cubicBezTo>
                  <a:cubicBezTo>
                    <a:pt x="9795" y="19596"/>
                    <a:pt x="9797" y="19596"/>
                    <a:pt x="9798" y="19596"/>
                  </a:cubicBezTo>
                  <a:lnTo>
                    <a:pt x="19596" y="19596"/>
                  </a:lnTo>
                  <a:cubicBezTo>
                    <a:pt x="25007" y="19596"/>
                    <a:pt x="29394" y="15209"/>
                    <a:pt x="29394" y="9798"/>
                  </a:cubicBezTo>
                  <a:cubicBezTo>
                    <a:pt x="29394" y="4387"/>
                    <a:pt x="25007" y="0"/>
                    <a:pt x="19596" y="0"/>
                  </a:cubicBezTo>
                  <a:lnTo>
                    <a:pt x="9798" y="0"/>
                  </a:lnTo>
                  <a:cubicBezTo>
                    <a:pt x="4388" y="-1"/>
                    <a:pt x="1" y="4384"/>
                    <a:pt x="0" y="9794"/>
                  </a:cubicBezTo>
                  <a:cubicBezTo>
                    <a:pt x="0" y="9795"/>
                    <a:pt x="0" y="9797"/>
                    <a:pt x="0" y="9798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7" name="Freeform 276">
              <a:extLst>
                <a:ext uri="{FF2B5EF4-FFF2-40B4-BE49-F238E27FC236}">
                  <a16:creationId xmlns:a16="http://schemas.microsoft.com/office/drawing/2014/main" id="{2D750585-925D-4C4C-B7B9-407044B1F195}"/>
                </a:ext>
              </a:extLst>
            </p:cNvPr>
            <p:cNvSpPr/>
            <p:nvPr/>
          </p:nvSpPr>
          <p:spPr>
            <a:xfrm>
              <a:off x="11503352" y="1583057"/>
              <a:ext cx="29493" cy="19596"/>
            </a:xfrm>
            <a:custGeom>
              <a:avLst/>
              <a:gdLst>
                <a:gd name="connsiteX0" fmla="*/ 0 w 29493"/>
                <a:gd name="connsiteY0" fmla="*/ 9799 h 19596"/>
                <a:gd name="connsiteX1" fmla="*/ 9793 w 29493"/>
                <a:gd name="connsiteY1" fmla="*/ 19596 h 19596"/>
                <a:gd name="connsiteX2" fmla="*/ 9798 w 29493"/>
                <a:gd name="connsiteY2" fmla="*/ 19596 h 19596"/>
                <a:gd name="connsiteX3" fmla="*/ 19596 w 29493"/>
                <a:gd name="connsiteY3" fmla="*/ 19596 h 19596"/>
                <a:gd name="connsiteX4" fmla="*/ 29493 w 29493"/>
                <a:gd name="connsiteY4" fmla="*/ 9897 h 19596"/>
                <a:gd name="connsiteX5" fmla="*/ 19795 w 29493"/>
                <a:gd name="connsiteY5" fmla="*/ 1 h 19596"/>
                <a:gd name="connsiteX6" fmla="*/ 19596 w 29493"/>
                <a:gd name="connsiteY6" fmla="*/ 1 h 19596"/>
                <a:gd name="connsiteX7" fmla="*/ 9798 w 29493"/>
                <a:gd name="connsiteY7" fmla="*/ 1 h 19596"/>
                <a:gd name="connsiteX8" fmla="*/ 0 w 29493"/>
                <a:gd name="connsiteY8" fmla="*/ 9793 h 19596"/>
                <a:gd name="connsiteX9" fmla="*/ 0 w 29493"/>
                <a:gd name="connsiteY9" fmla="*/ 9799 h 19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493" h="19596">
                  <a:moveTo>
                    <a:pt x="0" y="9799"/>
                  </a:moveTo>
                  <a:cubicBezTo>
                    <a:pt x="-1" y="15208"/>
                    <a:pt x="4383" y="19594"/>
                    <a:pt x="9793" y="19596"/>
                  </a:cubicBezTo>
                  <a:cubicBezTo>
                    <a:pt x="9795" y="19596"/>
                    <a:pt x="9796" y="19596"/>
                    <a:pt x="9798" y="19596"/>
                  </a:cubicBezTo>
                  <a:lnTo>
                    <a:pt x="19596" y="19596"/>
                  </a:lnTo>
                  <a:cubicBezTo>
                    <a:pt x="25007" y="19650"/>
                    <a:pt x="29438" y="15308"/>
                    <a:pt x="29493" y="9897"/>
                  </a:cubicBezTo>
                  <a:cubicBezTo>
                    <a:pt x="29548" y="4486"/>
                    <a:pt x="25206" y="55"/>
                    <a:pt x="19795" y="1"/>
                  </a:cubicBezTo>
                  <a:cubicBezTo>
                    <a:pt x="19728" y="0"/>
                    <a:pt x="19662" y="0"/>
                    <a:pt x="19596" y="1"/>
                  </a:cubicBezTo>
                  <a:lnTo>
                    <a:pt x="9798" y="1"/>
                  </a:lnTo>
                  <a:cubicBezTo>
                    <a:pt x="4388" y="-1"/>
                    <a:pt x="2" y="4383"/>
                    <a:pt x="0" y="9793"/>
                  </a:cubicBezTo>
                  <a:cubicBezTo>
                    <a:pt x="0" y="9795"/>
                    <a:pt x="0" y="9797"/>
                    <a:pt x="0" y="9799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8" name="Freeform 277">
              <a:extLst>
                <a:ext uri="{FF2B5EF4-FFF2-40B4-BE49-F238E27FC236}">
                  <a16:creationId xmlns:a16="http://schemas.microsoft.com/office/drawing/2014/main" id="{82AFFAF3-47D6-3B40-B9BB-BEEC990D0225}"/>
                </a:ext>
              </a:extLst>
            </p:cNvPr>
            <p:cNvSpPr/>
            <p:nvPr/>
          </p:nvSpPr>
          <p:spPr>
            <a:xfrm>
              <a:off x="11145174" y="1430636"/>
              <a:ext cx="26680" cy="26676"/>
            </a:xfrm>
            <a:custGeom>
              <a:avLst/>
              <a:gdLst>
                <a:gd name="connsiteX0" fmla="*/ 2873 w 26680"/>
                <a:gd name="connsiteY0" fmla="*/ 2865 h 26676"/>
                <a:gd name="connsiteX1" fmla="*/ 2860 w 26680"/>
                <a:gd name="connsiteY1" fmla="*/ 16706 h 26676"/>
                <a:gd name="connsiteX2" fmla="*/ 2873 w 26680"/>
                <a:gd name="connsiteY2" fmla="*/ 16719 h 26676"/>
                <a:gd name="connsiteX3" fmla="*/ 9800 w 26680"/>
                <a:gd name="connsiteY3" fmla="*/ 23646 h 26676"/>
                <a:gd name="connsiteX4" fmla="*/ 23650 w 26680"/>
                <a:gd name="connsiteY4" fmla="*/ 23965 h 26676"/>
                <a:gd name="connsiteX5" fmla="*/ 23968 w 26680"/>
                <a:gd name="connsiteY5" fmla="*/ 10115 h 26676"/>
                <a:gd name="connsiteX6" fmla="*/ 23651 w 26680"/>
                <a:gd name="connsiteY6" fmla="*/ 9797 h 26676"/>
                <a:gd name="connsiteX7" fmla="*/ 16724 w 26680"/>
                <a:gd name="connsiteY7" fmla="*/ 2870 h 26676"/>
                <a:gd name="connsiteX8" fmla="*/ 2873 w 26680"/>
                <a:gd name="connsiteY8" fmla="*/ 2865 h 26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680" h="26676">
                  <a:moveTo>
                    <a:pt x="2873" y="2865"/>
                  </a:moveTo>
                  <a:cubicBezTo>
                    <a:pt x="-953" y="6684"/>
                    <a:pt x="-958" y="12881"/>
                    <a:pt x="2860" y="16706"/>
                  </a:cubicBezTo>
                  <a:cubicBezTo>
                    <a:pt x="2864" y="16711"/>
                    <a:pt x="2869" y="16715"/>
                    <a:pt x="2873" y="16719"/>
                  </a:cubicBezTo>
                  <a:lnTo>
                    <a:pt x="9800" y="23646"/>
                  </a:lnTo>
                  <a:cubicBezTo>
                    <a:pt x="13537" y="27559"/>
                    <a:pt x="19738" y="27701"/>
                    <a:pt x="23650" y="23965"/>
                  </a:cubicBezTo>
                  <a:cubicBezTo>
                    <a:pt x="27563" y="20228"/>
                    <a:pt x="27705" y="14027"/>
                    <a:pt x="23968" y="10115"/>
                  </a:cubicBezTo>
                  <a:cubicBezTo>
                    <a:pt x="23865" y="10007"/>
                    <a:pt x="23759" y="9901"/>
                    <a:pt x="23651" y="9797"/>
                  </a:cubicBezTo>
                  <a:lnTo>
                    <a:pt x="16724" y="2870"/>
                  </a:lnTo>
                  <a:cubicBezTo>
                    <a:pt x="12900" y="-955"/>
                    <a:pt x="6700" y="-957"/>
                    <a:pt x="2873" y="2865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9" name="Freeform 278">
              <a:extLst>
                <a:ext uri="{FF2B5EF4-FFF2-40B4-BE49-F238E27FC236}">
                  <a16:creationId xmlns:a16="http://schemas.microsoft.com/office/drawing/2014/main" id="{6B11C8A9-8C97-DD4D-82AA-ECD770AA65E8}"/>
                </a:ext>
              </a:extLst>
            </p:cNvPr>
            <p:cNvSpPr/>
            <p:nvPr/>
          </p:nvSpPr>
          <p:spPr>
            <a:xfrm>
              <a:off x="11443078" y="1728546"/>
              <a:ext cx="26526" cy="26523"/>
            </a:xfrm>
            <a:custGeom>
              <a:avLst/>
              <a:gdLst>
                <a:gd name="connsiteX0" fmla="*/ 2873 w 26526"/>
                <a:gd name="connsiteY0" fmla="*/ 2871 h 26523"/>
                <a:gd name="connsiteX1" fmla="*/ 2861 w 26526"/>
                <a:gd name="connsiteY1" fmla="*/ 16715 h 26523"/>
                <a:gd name="connsiteX2" fmla="*/ 2873 w 26526"/>
                <a:gd name="connsiteY2" fmla="*/ 16726 h 26523"/>
                <a:gd name="connsiteX3" fmla="*/ 9800 w 26526"/>
                <a:gd name="connsiteY3" fmla="*/ 23653 h 26523"/>
                <a:gd name="connsiteX4" fmla="*/ 23656 w 26526"/>
                <a:gd name="connsiteY4" fmla="*/ 23654 h 26523"/>
                <a:gd name="connsiteX5" fmla="*/ 23657 w 26526"/>
                <a:gd name="connsiteY5" fmla="*/ 9798 h 26523"/>
                <a:gd name="connsiteX6" fmla="*/ 16730 w 26526"/>
                <a:gd name="connsiteY6" fmla="*/ 2871 h 26523"/>
                <a:gd name="connsiteX7" fmla="*/ 2876 w 26526"/>
                <a:gd name="connsiteY7" fmla="*/ 2867 h 26523"/>
                <a:gd name="connsiteX8" fmla="*/ 2873 w 26526"/>
                <a:gd name="connsiteY8" fmla="*/ 2871 h 26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526" h="26523">
                  <a:moveTo>
                    <a:pt x="2873" y="2871"/>
                  </a:moveTo>
                  <a:cubicBezTo>
                    <a:pt x="-953" y="6691"/>
                    <a:pt x="-958" y="12889"/>
                    <a:pt x="2861" y="16715"/>
                  </a:cubicBezTo>
                  <a:cubicBezTo>
                    <a:pt x="2865" y="16718"/>
                    <a:pt x="2869" y="16722"/>
                    <a:pt x="2873" y="16726"/>
                  </a:cubicBezTo>
                  <a:lnTo>
                    <a:pt x="9800" y="23653"/>
                  </a:lnTo>
                  <a:cubicBezTo>
                    <a:pt x="13626" y="27479"/>
                    <a:pt x="19829" y="27480"/>
                    <a:pt x="23656" y="23654"/>
                  </a:cubicBezTo>
                  <a:cubicBezTo>
                    <a:pt x="27482" y="19828"/>
                    <a:pt x="27483" y="13624"/>
                    <a:pt x="23657" y="9798"/>
                  </a:cubicBezTo>
                  <a:lnTo>
                    <a:pt x="16730" y="2871"/>
                  </a:lnTo>
                  <a:cubicBezTo>
                    <a:pt x="12905" y="-956"/>
                    <a:pt x="6703" y="-957"/>
                    <a:pt x="2876" y="2867"/>
                  </a:cubicBezTo>
                  <a:cubicBezTo>
                    <a:pt x="2875" y="2869"/>
                    <a:pt x="2874" y="2870"/>
                    <a:pt x="2873" y="2871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80" name="Freeform 279">
              <a:extLst>
                <a:ext uri="{FF2B5EF4-FFF2-40B4-BE49-F238E27FC236}">
                  <a16:creationId xmlns:a16="http://schemas.microsoft.com/office/drawing/2014/main" id="{F83DC080-FA2F-4048-BD56-72DD39D9506D}"/>
                </a:ext>
              </a:extLst>
            </p:cNvPr>
            <p:cNvSpPr/>
            <p:nvPr/>
          </p:nvSpPr>
          <p:spPr>
            <a:xfrm>
              <a:off x="11145118" y="1728608"/>
              <a:ext cx="26521" cy="26521"/>
            </a:xfrm>
            <a:custGeom>
              <a:avLst/>
              <a:gdLst>
                <a:gd name="connsiteX0" fmla="*/ 2930 w 26521"/>
                <a:gd name="connsiteY0" fmla="*/ 9736 h 26521"/>
                <a:gd name="connsiteX1" fmla="*/ 2809 w 26521"/>
                <a:gd name="connsiteY1" fmla="*/ 23591 h 26521"/>
                <a:gd name="connsiteX2" fmla="*/ 16664 w 26521"/>
                <a:gd name="connsiteY2" fmla="*/ 23712 h 26521"/>
                <a:gd name="connsiteX3" fmla="*/ 16785 w 26521"/>
                <a:gd name="connsiteY3" fmla="*/ 23591 h 26521"/>
                <a:gd name="connsiteX4" fmla="*/ 23712 w 26521"/>
                <a:gd name="connsiteY4" fmla="*/ 16664 h 26521"/>
                <a:gd name="connsiteX5" fmla="*/ 23591 w 26521"/>
                <a:gd name="connsiteY5" fmla="*/ 2809 h 26521"/>
                <a:gd name="connsiteX6" fmla="*/ 9857 w 26521"/>
                <a:gd name="connsiteY6" fmla="*/ 2809 h 26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21" h="26521">
                  <a:moveTo>
                    <a:pt x="2930" y="9736"/>
                  </a:moveTo>
                  <a:cubicBezTo>
                    <a:pt x="-929" y="13529"/>
                    <a:pt x="-983" y="19732"/>
                    <a:pt x="2809" y="23591"/>
                  </a:cubicBezTo>
                  <a:cubicBezTo>
                    <a:pt x="6602" y="27450"/>
                    <a:pt x="12805" y="27504"/>
                    <a:pt x="16664" y="23712"/>
                  </a:cubicBezTo>
                  <a:cubicBezTo>
                    <a:pt x="16705" y="23672"/>
                    <a:pt x="16745" y="23631"/>
                    <a:pt x="16785" y="23591"/>
                  </a:cubicBezTo>
                  <a:lnTo>
                    <a:pt x="23712" y="16664"/>
                  </a:lnTo>
                  <a:cubicBezTo>
                    <a:pt x="27504" y="12804"/>
                    <a:pt x="27450" y="6601"/>
                    <a:pt x="23591" y="2809"/>
                  </a:cubicBezTo>
                  <a:cubicBezTo>
                    <a:pt x="19779" y="-937"/>
                    <a:pt x="13669" y="-936"/>
                    <a:pt x="9857" y="2809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81" name="Freeform 280">
              <a:extLst>
                <a:ext uri="{FF2B5EF4-FFF2-40B4-BE49-F238E27FC236}">
                  <a16:creationId xmlns:a16="http://schemas.microsoft.com/office/drawing/2014/main" id="{BEC5C8D0-208A-2D48-AC21-2EF23DDA3E30}"/>
                </a:ext>
              </a:extLst>
            </p:cNvPr>
            <p:cNvSpPr/>
            <p:nvPr/>
          </p:nvSpPr>
          <p:spPr>
            <a:xfrm>
              <a:off x="11443081" y="1430637"/>
              <a:ext cx="26519" cy="26519"/>
            </a:xfrm>
            <a:custGeom>
              <a:avLst/>
              <a:gdLst>
                <a:gd name="connsiteX0" fmla="*/ 2869 w 26519"/>
                <a:gd name="connsiteY0" fmla="*/ 9796 h 26519"/>
                <a:gd name="connsiteX1" fmla="*/ 2869 w 26519"/>
                <a:gd name="connsiteY1" fmla="*/ 23650 h 26519"/>
                <a:gd name="connsiteX2" fmla="*/ 16723 w 26519"/>
                <a:gd name="connsiteY2" fmla="*/ 23650 h 26519"/>
                <a:gd name="connsiteX3" fmla="*/ 23650 w 26519"/>
                <a:gd name="connsiteY3" fmla="*/ 16723 h 26519"/>
                <a:gd name="connsiteX4" fmla="*/ 23650 w 26519"/>
                <a:gd name="connsiteY4" fmla="*/ 2869 h 26519"/>
                <a:gd name="connsiteX5" fmla="*/ 9796 w 26519"/>
                <a:gd name="connsiteY5" fmla="*/ 2869 h 26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519" h="26519">
                  <a:moveTo>
                    <a:pt x="2869" y="9796"/>
                  </a:moveTo>
                  <a:cubicBezTo>
                    <a:pt x="-956" y="13622"/>
                    <a:pt x="-956" y="19825"/>
                    <a:pt x="2869" y="23650"/>
                  </a:cubicBezTo>
                  <a:cubicBezTo>
                    <a:pt x="6695" y="27476"/>
                    <a:pt x="12898" y="27476"/>
                    <a:pt x="16723" y="23650"/>
                  </a:cubicBezTo>
                  <a:lnTo>
                    <a:pt x="23650" y="16723"/>
                  </a:lnTo>
                  <a:cubicBezTo>
                    <a:pt x="27476" y="12898"/>
                    <a:pt x="27476" y="6695"/>
                    <a:pt x="23650" y="2869"/>
                  </a:cubicBezTo>
                  <a:cubicBezTo>
                    <a:pt x="19825" y="-956"/>
                    <a:pt x="13622" y="-956"/>
                    <a:pt x="9796" y="2869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82" name="Freeform 281">
              <a:extLst>
                <a:ext uri="{FF2B5EF4-FFF2-40B4-BE49-F238E27FC236}">
                  <a16:creationId xmlns:a16="http://schemas.microsoft.com/office/drawing/2014/main" id="{AE1CD91E-E0D2-514C-8003-21A81F4FE5C6}"/>
                </a:ext>
              </a:extLst>
            </p:cNvPr>
            <p:cNvSpPr/>
            <p:nvPr/>
          </p:nvSpPr>
          <p:spPr>
            <a:xfrm>
              <a:off x="11268187" y="1418759"/>
              <a:ext cx="156876" cy="213297"/>
            </a:xfrm>
            <a:custGeom>
              <a:avLst/>
              <a:gdLst>
                <a:gd name="connsiteX0" fmla="*/ 146978 w 156876"/>
                <a:gd name="connsiteY0" fmla="*/ 164298 h 213297"/>
                <a:gd name="connsiteX1" fmla="*/ 77002 w 156876"/>
                <a:gd name="connsiteY1" fmla="*/ 164298 h 213297"/>
                <a:gd name="connsiteX2" fmla="*/ 49095 w 156876"/>
                <a:gd name="connsiteY2" fmla="*/ 136324 h 213297"/>
                <a:gd name="connsiteX3" fmla="*/ 49034 w 156876"/>
                <a:gd name="connsiteY3" fmla="*/ 9864 h 213297"/>
                <a:gd name="connsiteX4" fmla="*/ 39300 w 156876"/>
                <a:gd name="connsiteY4" fmla="*/ 0 h 213297"/>
                <a:gd name="connsiteX5" fmla="*/ 39234 w 156876"/>
                <a:gd name="connsiteY5" fmla="*/ 0 h 213297"/>
                <a:gd name="connsiteX6" fmla="*/ 29436 w 156876"/>
                <a:gd name="connsiteY6" fmla="*/ 9733 h 213297"/>
                <a:gd name="connsiteX7" fmla="*/ 29537 w 156876"/>
                <a:gd name="connsiteY7" fmla="*/ 35380 h 213297"/>
                <a:gd name="connsiteX8" fmla="*/ 29404 w 156876"/>
                <a:gd name="connsiteY8" fmla="*/ 36925 h 213297"/>
                <a:gd name="connsiteX9" fmla="*/ 29404 w 156876"/>
                <a:gd name="connsiteY9" fmla="*/ 136295 h 213297"/>
                <a:gd name="connsiteX10" fmla="*/ 1235 w 156876"/>
                <a:gd name="connsiteY10" fmla="*/ 183894 h 213297"/>
                <a:gd name="connsiteX11" fmla="*/ 48834 w 156876"/>
                <a:gd name="connsiteY11" fmla="*/ 212063 h 213297"/>
                <a:gd name="connsiteX12" fmla="*/ 77003 w 156876"/>
                <a:gd name="connsiteY12" fmla="*/ 183894 h 213297"/>
                <a:gd name="connsiteX13" fmla="*/ 146979 w 156876"/>
                <a:gd name="connsiteY13" fmla="*/ 183894 h 213297"/>
                <a:gd name="connsiteX14" fmla="*/ 156876 w 156876"/>
                <a:gd name="connsiteY14" fmla="*/ 174196 h 213297"/>
                <a:gd name="connsiteX15" fmla="*/ 147178 w 156876"/>
                <a:gd name="connsiteY15" fmla="*/ 164299 h 213297"/>
                <a:gd name="connsiteX16" fmla="*/ 146979 w 156876"/>
                <a:gd name="connsiteY16" fmla="*/ 164299 h 213297"/>
                <a:gd name="connsiteX17" fmla="*/ 39204 w 156876"/>
                <a:gd name="connsiteY17" fmla="*/ 193693 h 213297"/>
                <a:gd name="connsiteX18" fmla="*/ 19608 w 156876"/>
                <a:gd name="connsiteY18" fmla="*/ 174097 h 213297"/>
                <a:gd name="connsiteX19" fmla="*/ 39204 w 156876"/>
                <a:gd name="connsiteY19" fmla="*/ 154501 h 213297"/>
                <a:gd name="connsiteX20" fmla="*/ 58800 w 156876"/>
                <a:gd name="connsiteY20" fmla="*/ 174097 h 213297"/>
                <a:gd name="connsiteX21" fmla="*/ 39204 w 156876"/>
                <a:gd name="connsiteY21" fmla="*/ 193693 h 213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6876" h="213297">
                  <a:moveTo>
                    <a:pt x="146978" y="164298"/>
                  </a:moveTo>
                  <a:lnTo>
                    <a:pt x="77002" y="164298"/>
                  </a:lnTo>
                  <a:cubicBezTo>
                    <a:pt x="73434" y="150618"/>
                    <a:pt x="62767" y="139925"/>
                    <a:pt x="49095" y="136324"/>
                  </a:cubicBezTo>
                  <a:lnTo>
                    <a:pt x="49034" y="9864"/>
                  </a:lnTo>
                  <a:cubicBezTo>
                    <a:pt x="49069" y="4453"/>
                    <a:pt x="44712" y="37"/>
                    <a:pt x="39300" y="0"/>
                  </a:cubicBezTo>
                  <a:lnTo>
                    <a:pt x="39234" y="0"/>
                  </a:lnTo>
                  <a:cubicBezTo>
                    <a:pt x="33848" y="0"/>
                    <a:pt x="29473" y="4347"/>
                    <a:pt x="29436" y="9733"/>
                  </a:cubicBezTo>
                  <a:lnTo>
                    <a:pt x="29537" y="35380"/>
                  </a:lnTo>
                  <a:cubicBezTo>
                    <a:pt x="29452" y="35890"/>
                    <a:pt x="29408" y="36407"/>
                    <a:pt x="29404" y="36925"/>
                  </a:cubicBezTo>
                  <a:lnTo>
                    <a:pt x="29404" y="136295"/>
                  </a:lnTo>
                  <a:cubicBezTo>
                    <a:pt x="8481" y="141661"/>
                    <a:pt x="-4130" y="162971"/>
                    <a:pt x="1235" y="183894"/>
                  </a:cubicBezTo>
                  <a:cubicBezTo>
                    <a:pt x="6601" y="204817"/>
                    <a:pt x="27912" y="217428"/>
                    <a:pt x="48834" y="212063"/>
                  </a:cubicBezTo>
                  <a:cubicBezTo>
                    <a:pt x="62660" y="208517"/>
                    <a:pt x="73457" y="197720"/>
                    <a:pt x="77003" y="183894"/>
                  </a:cubicBezTo>
                  <a:lnTo>
                    <a:pt x="146979" y="183894"/>
                  </a:lnTo>
                  <a:cubicBezTo>
                    <a:pt x="152390" y="183949"/>
                    <a:pt x="156821" y="179607"/>
                    <a:pt x="156876" y="174196"/>
                  </a:cubicBezTo>
                  <a:cubicBezTo>
                    <a:pt x="156931" y="168785"/>
                    <a:pt x="152589" y="164354"/>
                    <a:pt x="147178" y="164299"/>
                  </a:cubicBezTo>
                  <a:cubicBezTo>
                    <a:pt x="147112" y="164298"/>
                    <a:pt x="147045" y="164298"/>
                    <a:pt x="146979" y="164299"/>
                  </a:cubicBezTo>
                  <a:close/>
                  <a:moveTo>
                    <a:pt x="39204" y="193693"/>
                  </a:moveTo>
                  <a:cubicBezTo>
                    <a:pt x="28381" y="193693"/>
                    <a:pt x="19608" y="184920"/>
                    <a:pt x="19608" y="174097"/>
                  </a:cubicBezTo>
                  <a:cubicBezTo>
                    <a:pt x="19608" y="163274"/>
                    <a:pt x="28381" y="154501"/>
                    <a:pt x="39204" y="154501"/>
                  </a:cubicBezTo>
                  <a:cubicBezTo>
                    <a:pt x="50027" y="154501"/>
                    <a:pt x="58800" y="163274"/>
                    <a:pt x="58800" y="174097"/>
                  </a:cubicBezTo>
                  <a:cubicBezTo>
                    <a:pt x="58789" y="184915"/>
                    <a:pt x="50022" y="193682"/>
                    <a:pt x="39204" y="193693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AF22177-F0EE-C016-A440-EFE259E7C429}"/>
              </a:ext>
            </a:extLst>
          </p:cNvPr>
          <p:cNvGrpSpPr/>
          <p:nvPr userDrawn="1"/>
        </p:nvGrpSpPr>
        <p:grpSpPr>
          <a:xfrm>
            <a:off x="192189" y="753346"/>
            <a:ext cx="1109662" cy="774277"/>
            <a:chOff x="4496980" y="4354878"/>
            <a:chExt cx="1109662" cy="774277"/>
          </a:xfrm>
        </p:grpSpPr>
        <p:sp>
          <p:nvSpPr>
            <p:cNvPr id="35" name="TextBox 18">
              <a:extLst>
                <a:ext uri="{FF2B5EF4-FFF2-40B4-BE49-F238E27FC236}">
                  <a16:creationId xmlns:a16="http://schemas.microsoft.com/office/drawing/2014/main" id="{5178208B-0467-C13E-37CC-91A0F716B40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96980" y="4790601"/>
              <a:ext cx="110966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800" b="1" dirty="0">
                  <a:solidFill>
                    <a:srgbClr val="3B3838"/>
                  </a:solidFill>
                  <a:latin typeface="+mj-lt"/>
                </a:rPr>
                <a:t>Validation Solutions</a:t>
              </a: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7B69D2ED-5B1D-8334-121B-E634222D64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735677" y="4354878"/>
              <a:ext cx="653336" cy="392001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A9D6E36-5F26-BE20-F198-3D6D30F9F4B2}"/>
              </a:ext>
            </a:extLst>
          </p:cNvPr>
          <p:cNvGrpSpPr/>
          <p:nvPr userDrawn="1"/>
        </p:nvGrpSpPr>
        <p:grpSpPr>
          <a:xfrm>
            <a:off x="1214358" y="739297"/>
            <a:ext cx="1127740" cy="811383"/>
            <a:chOff x="5625722" y="4330919"/>
            <a:chExt cx="1127740" cy="811383"/>
          </a:xfrm>
        </p:grpSpPr>
        <p:sp>
          <p:nvSpPr>
            <p:cNvPr id="38" name="TextBox 15">
              <a:extLst>
                <a:ext uri="{FF2B5EF4-FFF2-40B4-BE49-F238E27FC236}">
                  <a16:creationId xmlns:a16="http://schemas.microsoft.com/office/drawing/2014/main" id="{E32F5450-D5A6-1EB1-A201-92106A5D6E4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25722" y="4803748"/>
              <a:ext cx="112774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800" b="1" dirty="0">
                  <a:solidFill>
                    <a:srgbClr val="3B3838"/>
                  </a:solidFill>
                  <a:latin typeface="+mj-lt"/>
                </a:rPr>
                <a:t>Monitoring Solutions</a:t>
              </a:r>
            </a:p>
          </p:txBody>
        </p:sp>
        <p:grpSp>
          <p:nvGrpSpPr>
            <p:cNvPr id="39" name="Graphic 205">
              <a:extLst>
                <a:ext uri="{FF2B5EF4-FFF2-40B4-BE49-F238E27FC236}">
                  <a16:creationId xmlns:a16="http://schemas.microsoft.com/office/drawing/2014/main" id="{705303F2-C4D4-0678-6E45-226246D4E610}"/>
                </a:ext>
              </a:extLst>
            </p:cNvPr>
            <p:cNvGrpSpPr/>
            <p:nvPr userDrawn="1"/>
          </p:nvGrpSpPr>
          <p:grpSpPr>
            <a:xfrm>
              <a:off x="5955277" y="4330919"/>
              <a:ext cx="579821" cy="456651"/>
              <a:chOff x="5527674" y="2836227"/>
              <a:chExt cx="437757" cy="344753"/>
            </a:xfrm>
          </p:grpSpPr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45D04C3E-8644-9095-D766-7A29D6C6B0A8}"/>
                  </a:ext>
                </a:extLst>
              </p:cNvPr>
              <p:cNvSpPr/>
              <p:nvPr/>
            </p:nvSpPr>
            <p:spPr>
              <a:xfrm>
                <a:off x="5672135" y="3055789"/>
                <a:ext cx="44468" cy="10965"/>
              </a:xfrm>
              <a:custGeom>
                <a:avLst/>
                <a:gdLst>
                  <a:gd name="connsiteX0" fmla="*/ 38921 w 44468"/>
                  <a:gd name="connsiteY0" fmla="*/ 10966 h 10965"/>
                  <a:gd name="connsiteX1" fmla="*/ 5548 w 44468"/>
                  <a:gd name="connsiteY1" fmla="*/ 10966 h 10965"/>
                  <a:gd name="connsiteX2" fmla="*/ 0 w 44468"/>
                  <a:gd name="connsiteY2" fmla="*/ 5483 h 10965"/>
                  <a:gd name="connsiteX3" fmla="*/ 5548 w 44468"/>
                  <a:gd name="connsiteY3" fmla="*/ 0 h 10965"/>
                  <a:gd name="connsiteX4" fmla="*/ 38921 w 44468"/>
                  <a:gd name="connsiteY4" fmla="*/ 0 h 10965"/>
                  <a:gd name="connsiteX5" fmla="*/ 44469 w 44468"/>
                  <a:gd name="connsiteY5" fmla="*/ 5483 h 10965"/>
                  <a:gd name="connsiteX6" fmla="*/ 38921 w 44468"/>
                  <a:gd name="connsiteY6" fmla="*/ 10966 h 1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468" h="10965">
                    <a:moveTo>
                      <a:pt x="38921" y="10966"/>
                    </a:moveTo>
                    <a:lnTo>
                      <a:pt x="5548" y="10966"/>
                    </a:lnTo>
                    <a:cubicBezTo>
                      <a:pt x="2484" y="10966"/>
                      <a:pt x="0" y="8511"/>
                      <a:pt x="0" y="5483"/>
                    </a:cubicBezTo>
                    <a:cubicBezTo>
                      <a:pt x="0" y="2455"/>
                      <a:pt x="2484" y="0"/>
                      <a:pt x="5548" y="0"/>
                    </a:cubicBezTo>
                    <a:lnTo>
                      <a:pt x="38921" y="0"/>
                    </a:lnTo>
                    <a:cubicBezTo>
                      <a:pt x="41985" y="0"/>
                      <a:pt x="44469" y="2455"/>
                      <a:pt x="44469" y="5483"/>
                    </a:cubicBezTo>
                    <a:cubicBezTo>
                      <a:pt x="44469" y="8511"/>
                      <a:pt x="41985" y="10966"/>
                      <a:pt x="38921" y="10966"/>
                    </a:cubicBezTo>
                    <a:close/>
                  </a:path>
                </a:pathLst>
              </a:custGeom>
              <a:solidFill>
                <a:srgbClr val="1F6896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5D4BB45B-1C55-75A6-88E4-EBE325AFD881}"/>
                  </a:ext>
                </a:extLst>
              </p:cNvPr>
              <p:cNvSpPr/>
              <p:nvPr/>
            </p:nvSpPr>
            <p:spPr>
              <a:xfrm>
                <a:off x="5602595" y="2906594"/>
                <a:ext cx="165318" cy="90203"/>
              </a:xfrm>
              <a:custGeom>
                <a:avLst/>
                <a:gdLst>
                  <a:gd name="connsiteX0" fmla="*/ 143809 w 165318"/>
                  <a:gd name="connsiteY0" fmla="*/ 391 h 90203"/>
                  <a:gd name="connsiteX1" fmla="*/ 122983 w 165318"/>
                  <a:gd name="connsiteY1" fmla="*/ 20993 h 90203"/>
                  <a:gd name="connsiteX2" fmla="*/ 125084 w 165318"/>
                  <a:gd name="connsiteY2" fmla="*/ 29758 h 90203"/>
                  <a:gd name="connsiteX3" fmla="*/ 104069 w 165318"/>
                  <a:gd name="connsiteY3" fmla="*/ 50526 h 90203"/>
                  <a:gd name="connsiteX4" fmla="*/ 95179 w 165318"/>
                  <a:gd name="connsiteY4" fmla="*/ 48449 h 90203"/>
                  <a:gd name="connsiteX5" fmla="*/ 86290 w 165318"/>
                  <a:gd name="connsiteY5" fmla="*/ 50526 h 90203"/>
                  <a:gd name="connsiteX6" fmla="*/ 65274 w 165318"/>
                  <a:gd name="connsiteY6" fmla="*/ 29758 h 90203"/>
                  <a:gd name="connsiteX7" fmla="*/ 67376 w 165318"/>
                  <a:gd name="connsiteY7" fmla="*/ 20973 h 90203"/>
                  <a:gd name="connsiteX8" fmla="*/ 46907 w 165318"/>
                  <a:gd name="connsiteY8" fmla="*/ 3 h 90203"/>
                  <a:gd name="connsiteX9" fmla="*/ 25688 w 165318"/>
                  <a:gd name="connsiteY9" fmla="*/ 20232 h 90203"/>
                  <a:gd name="connsiteX10" fmla="*/ 27846 w 165318"/>
                  <a:gd name="connsiteY10" fmla="*/ 29737 h 90203"/>
                  <a:gd name="connsiteX11" fmla="*/ 0 w 165318"/>
                  <a:gd name="connsiteY11" fmla="*/ 57317 h 90203"/>
                  <a:gd name="connsiteX12" fmla="*/ 9814 w 165318"/>
                  <a:gd name="connsiteY12" fmla="*/ 67016 h 90203"/>
                  <a:gd name="connsiteX13" fmla="*/ 37723 w 165318"/>
                  <a:gd name="connsiteY13" fmla="*/ 39456 h 90203"/>
                  <a:gd name="connsiteX14" fmla="*/ 55418 w 165318"/>
                  <a:gd name="connsiteY14" fmla="*/ 39456 h 90203"/>
                  <a:gd name="connsiteX15" fmla="*/ 76433 w 165318"/>
                  <a:gd name="connsiteY15" fmla="*/ 60225 h 90203"/>
                  <a:gd name="connsiteX16" fmla="*/ 74332 w 165318"/>
                  <a:gd name="connsiteY16" fmla="*/ 68947 h 90203"/>
                  <a:gd name="connsiteX17" fmla="*/ 94507 w 165318"/>
                  <a:gd name="connsiteY17" fmla="*/ 90193 h 90203"/>
                  <a:gd name="connsiteX18" fmla="*/ 116005 w 165318"/>
                  <a:gd name="connsiteY18" fmla="*/ 70256 h 90203"/>
                  <a:gd name="connsiteX19" fmla="*/ 116005 w 165318"/>
                  <a:gd name="connsiteY19" fmla="*/ 68947 h 90203"/>
                  <a:gd name="connsiteX20" fmla="*/ 113904 w 165318"/>
                  <a:gd name="connsiteY20" fmla="*/ 60204 h 90203"/>
                  <a:gd name="connsiteX21" fmla="*/ 134919 w 165318"/>
                  <a:gd name="connsiteY21" fmla="*/ 39436 h 90203"/>
                  <a:gd name="connsiteX22" fmla="*/ 143767 w 165318"/>
                  <a:gd name="connsiteY22" fmla="*/ 41512 h 90203"/>
                  <a:gd name="connsiteX23" fmla="*/ 165308 w 165318"/>
                  <a:gd name="connsiteY23" fmla="*/ 21533 h 90203"/>
                  <a:gd name="connsiteX24" fmla="*/ 145091 w 165318"/>
                  <a:gd name="connsiteY24" fmla="*/ 246 h 90203"/>
                  <a:gd name="connsiteX25" fmla="*/ 143767 w 165318"/>
                  <a:gd name="connsiteY25" fmla="*/ 246 h 90203"/>
                  <a:gd name="connsiteX26" fmla="*/ 39635 w 165318"/>
                  <a:gd name="connsiteY26" fmla="*/ 21014 h 90203"/>
                  <a:gd name="connsiteX27" fmla="*/ 46570 w 165318"/>
                  <a:gd name="connsiteY27" fmla="*/ 14119 h 90203"/>
                  <a:gd name="connsiteX28" fmla="*/ 53547 w 165318"/>
                  <a:gd name="connsiteY28" fmla="*/ 20973 h 90203"/>
                  <a:gd name="connsiteX29" fmla="*/ 46612 w 165318"/>
                  <a:gd name="connsiteY29" fmla="*/ 27868 h 90203"/>
                  <a:gd name="connsiteX30" fmla="*/ 46612 w 165318"/>
                  <a:gd name="connsiteY30" fmla="*/ 27868 h 90203"/>
                  <a:gd name="connsiteX31" fmla="*/ 39635 w 165318"/>
                  <a:gd name="connsiteY31" fmla="*/ 21014 h 90203"/>
                  <a:gd name="connsiteX32" fmla="*/ 95305 w 165318"/>
                  <a:gd name="connsiteY32" fmla="*/ 75905 h 90203"/>
                  <a:gd name="connsiteX33" fmla="*/ 88349 w 165318"/>
                  <a:gd name="connsiteY33" fmla="*/ 69030 h 90203"/>
                  <a:gd name="connsiteX34" fmla="*/ 95305 w 165318"/>
                  <a:gd name="connsiteY34" fmla="*/ 62156 h 90203"/>
                  <a:gd name="connsiteX35" fmla="*/ 102261 w 165318"/>
                  <a:gd name="connsiteY35" fmla="*/ 69030 h 90203"/>
                  <a:gd name="connsiteX36" fmla="*/ 95305 w 165318"/>
                  <a:gd name="connsiteY36" fmla="*/ 75905 h 90203"/>
                  <a:gd name="connsiteX37" fmla="*/ 143914 w 165318"/>
                  <a:gd name="connsiteY37" fmla="*/ 27847 h 90203"/>
                  <a:gd name="connsiteX38" fmla="*/ 136958 w 165318"/>
                  <a:gd name="connsiteY38" fmla="*/ 20973 h 90203"/>
                  <a:gd name="connsiteX39" fmla="*/ 143914 w 165318"/>
                  <a:gd name="connsiteY39" fmla="*/ 14098 h 90203"/>
                  <a:gd name="connsiteX40" fmla="*/ 150870 w 165318"/>
                  <a:gd name="connsiteY40" fmla="*/ 20973 h 90203"/>
                  <a:gd name="connsiteX41" fmla="*/ 150870 w 165318"/>
                  <a:gd name="connsiteY41" fmla="*/ 20973 h 90203"/>
                  <a:gd name="connsiteX42" fmla="*/ 143935 w 165318"/>
                  <a:gd name="connsiteY42" fmla="*/ 27826 h 90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165318" h="90203">
                    <a:moveTo>
                      <a:pt x="143809" y="391"/>
                    </a:moveTo>
                    <a:cubicBezTo>
                      <a:pt x="132308" y="414"/>
                      <a:pt x="122994" y="9628"/>
                      <a:pt x="122983" y="20993"/>
                    </a:cubicBezTo>
                    <a:cubicBezTo>
                      <a:pt x="123002" y="24034"/>
                      <a:pt x="123720" y="27031"/>
                      <a:pt x="125084" y="29758"/>
                    </a:cubicBezTo>
                    <a:lnTo>
                      <a:pt x="104069" y="50526"/>
                    </a:lnTo>
                    <a:cubicBezTo>
                      <a:pt x="101295" y="49198"/>
                      <a:pt x="98261" y="48489"/>
                      <a:pt x="95179" y="48449"/>
                    </a:cubicBezTo>
                    <a:cubicBezTo>
                      <a:pt x="92095" y="48468"/>
                      <a:pt x="89056" y="49178"/>
                      <a:pt x="86290" y="50526"/>
                    </a:cubicBezTo>
                    <a:lnTo>
                      <a:pt x="65274" y="29758"/>
                    </a:lnTo>
                    <a:cubicBezTo>
                      <a:pt x="66638" y="27024"/>
                      <a:pt x="67357" y="24020"/>
                      <a:pt x="67376" y="20973"/>
                    </a:cubicBezTo>
                    <a:cubicBezTo>
                      <a:pt x="67583" y="9596"/>
                      <a:pt x="58418" y="208"/>
                      <a:pt x="46907" y="3"/>
                    </a:cubicBezTo>
                    <a:cubicBezTo>
                      <a:pt x="35395" y="-201"/>
                      <a:pt x="25895" y="8855"/>
                      <a:pt x="25688" y="20232"/>
                    </a:cubicBezTo>
                    <a:cubicBezTo>
                      <a:pt x="25628" y="23525"/>
                      <a:pt x="26368" y="26784"/>
                      <a:pt x="27846" y="29737"/>
                    </a:cubicBezTo>
                    <a:lnTo>
                      <a:pt x="0" y="57317"/>
                    </a:lnTo>
                    <a:lnTo>
                      <a:pt x="9814" y="67016"/>
                    </a:lnTo>
                    <a:lnTo>
                      <a:pt x="37723" y="39456"/>
                    </a:lnTo>
                    <a:cubicBezTo>
                      <a:pt x="43280" y="42260"/>
                      <a:pt x="49861" y="42260"/>
                      <a:pt x="55418" y="39456"/>
                    </a:cubicBezTo>
                    <a:lnTo>
                      <a:pt x="76433" y="60225"/>
                    </a:lnTo>
                    <a:cubicBezTo>
                      <a:pt x="75080" y="62940"/>
                      <a:pt x="74362" y="65921"/>
                      <a:pt x="74332" y="68947"/>
                    </a:cubicBezTo>
                    <a:cubicBezTo>
                      <a:pt x="73966" y="80320"/>
                      <a:pt x="82999" y="89832"/>
                      <a:pt x="94507" y="90193"/>
                    </a:cubicBezTo>
                    <a:cubicBezTo>
                      <a:pt x="106014" y="90554"/>
                      <a:pt x="115640" y="81628"/>
                      <a:pt x="116005" y="70256"/>
                    </a:cubicBezTo>
                    <a:cubicBezTo>
                      <a:pt x="116005" y="69813"/>
                      <a:pt x="116005" y="69376"/>
                      <a:pt x="116005" y="68947"/>
                    </a:cubicBezTo>
                    <a:cubicBezTo>
                      <a:pt x="115966" y="65915"/>
                      <a:pt x="115248" y="62930"/>
                      <a:pt x="113904" y="60204"/>
                    </a:cubicBezTo>
                    <a:lnTo>
                      <a:pt x="134919" y="39436"/>
                    </a:lnTo>
                    <a:cubicBezTo>
                      <a:pt x="137674" y="40773"/>
                      <a:pt x="140698" y="41483"/>
                      <a:pt x="143767" y="41512"/>
                    </a:cubicBezTo>
                    <a:cubicBezTo>
                      <a:pt x="155298" y="41874"/>
                      <a:pt x="164942" y="32929"/>
                      <a:pt x="165308" y="21533"/>
                    </a:cubicBezTo>
                    <a:cubicBezTo>
                      <a:pt x="165673" y="10138"/>
                      <a:pt x="156622" y="607"/>
                      <a:pt x="145091" y="246"/>
                    </a:cubicBezTo>
                    <a:lnTo>
                      <a:pt x="143767" y="246"/>
                    </a:lnTo>
                    <a:close/>
                    <a:moveTo>
                      <a:pt x="39635" y="21014"/>
                    </a:moveTo>
                    <a:cubicBezTo>
                      <a:pt x="39624" y="17218"/>
                      <a:pt x="42729" y="14131"/>
                      <a:pt x="46570" y="14119"/>
                    </a:cubicBezTo>
                    <a:cubicBezTo>
                      <a:pt x="50412" y="14108"/>
                      <a:pt x="53536" y="17176"/>
                      <a:pt x="53547" y="20973"/>
                    </a:cubicBezTo>
                    <a:cubicBezTo>
                      <a:pt x="53559" y="24769"/>
                      <a:pt x="50454" y="27856"/>
                      <a:pt x="46612" y="27868"/>
                    </a:cubicBezTo>
                    <a:lnTo>
                      <a:pt x="46612" y="27868"/>
                    </a:lnTo>
                    <a:cubicBezTo>
                      <a:pt x="42775" y="27868"/>
                      <a:pt x="39658" y="24806"/>
                      <a:pt x="39635" y="21014"/>
                    </a:cubicBezTo>
                    <a:close/>
                    <a:moveTo>
                      <a:pt x="95305" y="75905"/>
                    </a:moveTo>
                    <a:cubicBezTo>
                      <a:pt x="91463" y="75905"/>
                      <a:pt x="88349" y="72827"/>
                      <a:pt x="88349" y="69030"/>
                    </a:cubicBezTo>
                    <a:cubicBezTo>
                      <a:pt x="88349" y="65234"/>
                      <a:pt x="91463" y="62156"/>
                      <a:pt x="95305" y="62156"/>
                    </a:cubicBezTo>
                    <a:cubicBezTo>
                      <a:pt x="99147" y="62156"/>
                      <a:pt x="102261" y="65234"/>
                      <a:pt x="102261" y="69030"/>
                    </a:cubicBezTo>
                    <a:cubicBezTo>
                      <a:pt x="102261" y="72827"/>
                      <a:pt x="99147" y="75905"/>
                      <a:pt x="95305" y="75905"/>
                    </a:cubicBezTo>
                    <a:close/>
                    <a:moveTo>
                      <a:pt x="143914" y="27847"/>
                    </a:moveTo>
                    <a:cubicBezTo>
                      <a:pt x="140072" y="27847"/>
                      <a:pt x="136958" y="24769"/>
                      <a:pt x="136958" y="20973"/>
                    </a:cubicBezTo>
                    <a:cubicBezTo>
                      <a:pt x="136958" y="17176"/>
                      <a:pt x="140072" y="14098"/>
                      <a:pt x="143914" y="14098"/>
                    </a:cubicBezTo>
                    <a:cubicBezTo>
                      <a:pt x="147756" y="14098"/>
                      <a:pt x="150870" y="17176"/>
                      <a:pt x="150870" y="20973"/>
                    </a:cubicBezTo>
                    <a:lnTo>
                      <a:pt x="150870" y="20973"/>
                    </a:lnTo>
                    <a:cubicBezTo>
                      <a:pt x="150870" y="24758"/>
                      <a:pt x="147765" y="27826"/>
                      <a:pt x="143935" y="27826"/>
                    </a:cubicBezTo>
                    <a:close/>
                  </a:path>
                </a:pathLst>
              </a:custGeom>
              <a:solidFill>
                <a:srgbClr val="BD5C7A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15070952-E717-49C0-887A-035CC2E7E276}"/>
                  </a:ext>
                </a:extLst>
              </p:cNvPr>
              <p:cNvSpPr/>
              <p:nvPr/>
            </p:nvSpPr>
            <p:spPr>
              <a:xfrm>
                <a:off x="5527674" y="2836227"/>
                <a:ext cx="333368" cy="318410"/>
              </a:xfrm>
              <a:custGeom>
                <a:avLst/>
                <a:gdLst>
                  <a:gd name="connsiteX0" fmla="*/ 238904 w 333368"/>
                  <a:gd name="connsiteY0" fmla="*/ 285522 h 318410"/>
                  <a:gd name="connsiteX1" fmla="*/ 227808 w 333368"/>
                  <a:gd name="connsiteY1" fmla="*/ 285522 h 318410"/>
                  <a:gd name="connsiteX2" fmla="*/ 200172 w 333368"/>
                  <a:gd name="connsiteY2" fmla="*/ 252583 h 318410"/>
                  <a:gd name="connsiteX3" fmla="*/ 224025 w 333368"/>
                  <a:gd name="connsiteY3" fmla="*/ 252583 h 318410"/>
                  <a:gd name="connsiteX4" fmla="*/ 219402 w 333368"/>
                  <a:gd name="connsiteY4" fmla="*/ 241597 h 318410"/>
                  <a:gd name="connsiteX5" fmla="*/ 22234 w 333368"/>
                  <a:gd name="connsiteY5" fmla="*/ 241597 h 318410"/>
                  <a:gd name="connsiteX6" fmla="*/ 11117 w 333368"/>
                  <a:gd name="connsiteY6" fmla="*/ 230611 h 318410"/>
                  <a:gd name="connsiteX7" fmla="*/ 11117 w 333368"/>
                  <a:gd name="connsiteY7" fmla="*/ 230527 h 318410"/>
                  <a:gd name="connsiteX8" fmla="*/ 11117 w 333368"/>
                  <a:gd name="connsiteY8" fmla="*/ 230527 h 318410"/>
                  <a:gd name="connsiteX9" fmla="*/ 11117 w 333368"/>
                  <a:gd name="connsiteY9" fmla="*/ 208658 h 318410"/>
                  <a:gd name="connsiteX10" fmla="*/ 214757 w 333368"/>
                  <a:gd name="connsiteY10" fmla="*/ 208658 h 318410"/>
                  <a:gd name="connsiteX11" fmla="*/ 215976 w 333368"/>
                  <a:gd name="connsiteY11" fmla="*/ 197672 h 318410"/>
                  <a:gd name="connsiteX12" fmla="*/ 33331 w 333368"/>
                  <a:gd name="connsiteY12" fmla="*/ 197672 h 318410"/>
                  <a:gd name="connsiteX13" fmla="*/ 33331 w 333368"/>
                  <a:gd name="connsiteY13" fmla="*/ 32980 h 318410"/>
                  <a:gd name="connsiteX14" fmla="*/ 300038 w 333368"/>
                  <a:gd name="connsiteY14" fmla="*/ 32980 h 318410"/>
                  <a:gd name="connsiteX15" fmla="*/ 300038 w 333368"/>
                  <a:gd name="connsiteY15" fmla="*/ 123675 h 318410"/>
                  <a:gd name="connsiteX16" fmla="*/ 305166 w 333368"/>
                  <a:gd name="connsiteY16" fmla="*/ 123529 h 318410"/>
                  <a:gd name="connsiteX17" fmla="*/ 311155 w 333368"/>
                  <a:gd name="connsiteY17" fmla="*/ 123737 h 318410"/>
                  <a:gd name="connsiteX18" fmla="*/ 311155 w 333368"/>
                  <a:gd name="connsiteY18" fmla="*/ 27456 h 318410"/>
                  <a:gd name="connsiteX19" fmla="*/ 305586 w 333368"/>
                  <a:gd name="connsiteY19" fmla="*/ 21973 h 318410"/>
                  <a:gd name="connsiteX20" fmla="*/ 27867 w 333368"/>
                  <a:gd name="connsiteY20" fmla="*/ 21973 h 318410"/>
                  <a:gd name="connsiteX21" fmla="*/ 22297 w 333368"/>
                  <a:gd name="connsiteY21" fmla="*/ 27456 h 318410"/>
                  <a:gd name="connsiteX22" fmla="*/ 22297 w 333368"/>
                  <a:gd name="connsiteY22" fmla="*/ 197755 h 318410"/>
                  <a:gd name="connsiteX23" fmla="*/ 11054 w 333368"/>
                  <a:gd name="connsiteY23" fmla="*/ 197755 h 318410"/>
                  <a:gd name="connsiteX24" fmla="*/ 11054 w 333368"/>
                  <a:gd name="connsiteY24" fmla="*/ 21973 h 318410"/>
                  <a:gd name="connsiteX25" fmla="*/ 22171 w 333368"/>
                  <a:gd name="connsiteY25" fmla="*/ 10986 h 318410"/>
                  <a:gd name="connsiteX26" fmla="*/ 311134 w 333368"/>
                  <a:gd name="connsiteY26" fmla="*/ 10986 h 318410"/>
                  <a:gd name="connsiteX27" fmla="*/ 322251 w 333368"/>
                  <a:gd name="connsiteY27" fmla="*/ 21973 h 318410"/>
                  <a:gd name="connsiteX28" fmla="*/ 322251 w 333368"/>
                  <a:gd name="connsiteY28" fmla="*/ 125087 h 318410"/>
                  <a:gd name="connsiteX29" fmla="*/ 333369 w 333368"/>
                  <a:gd name="connsiteY29" fmla="*/ 127932 h 318410"/>
                  <a:gd name="connsiteX30" fmla="*/ 333369 w 333368"/>
                  <a:gd name="connsiteY30" fmla="*/ 22014 h 318410"/>
                  <a:gd name="connsiteX31" fmla="*/ 311134 w 333368"/>
                  <a:gd name="connsiteY31" fmla="*/ 0 h 318410"/>
                  <a:gd name="connsiteX32" fmla="*/ 22234 w 333368"/>
                  <a:gd name="connsiteY32" fmla="*/ 0 h 318410"/>
                  <a:gd name="connsiteX33" fmla="*/ 0 w 333368"/>
                  <a:gd name="connsiteY33" fmla="*/ 21973 h 318410"/>
                  <a:gd name="connsiteX34" fmla="*/ 0 w 333368"/>
                  <a:gd name="connsiteY34" fmla="*/ 230527 h 318410"/>
                  <a:gd name="connsiteX35" fmla="*/ 22234 w 333368"/>
                  <a:gd name="connsiteY35" fmla="*/ 252500 h 318410"/>
                  <a:gd name="connsiteX36" fmla="*/ 133175 w 333368"/>
                  <a:gd name="connsiteY36" fmla="*/ 252500 h 318410"/>
                  <a:gd name="connsiteX37" fmla="*/ 105561 w 333368"/>
                  <a:gd name="connsiteY37" fmla="*/ 285439 h 318410"/>
                  <a:gd name="connsiteX38" fmla="*/ 94444 w 333368"/>
                  <a:gd name="connsiteY38" fmla="*/ 285439 h 318410"/>
                  <a:gd name="connsiteX39" fmla="*/ 78360 w 333368"/>
                  <a:gd name="connsiteY39" fmla="*/ 302503 h 318410"/>
                  <a:gd name="connsiteX40" fmla="*/ 94444 w 333368"/>
                  <a:gd name="connsiteY40" fmla="*/ 318398 h 318410"/>
                  <a:gd name="connsiteX41" fmla="*/ 238904 w 333368"/>
                  <a:gd name="connsiteY41" fmla="*/ 318398 h 318410"/>
                  <a:gd name="connsiteX42" fmla="*/ 256231 w 333368"/>
                  <a:gd name="connsiteY42" fmla="*/ 302567 h 318410"/>
                  <a:gd name="connsiteX43" fmla="*/ 240212 w 333368"/>
                  <a:gd name="connsiteY43" fmla="*/ 285443 h 318410"/>
                  <a:gd name="connsiteX44" fmla="*/ 240081 w 333368"/>
                  <a:gd name="connsiteY44" fmla="*/ 285439 h 318410"/>
                  <a:gd name="connsiteX45" fmla="*/ 144334 w 333368"/>
                  <a:gd name="connsiteY45" fmla="*/ 252583 h 318410"/>
                  <a:gd name="connsiteX46" fmla="*/ 189139 w 333368"/>
                  <a:gd name="connsiteY46" fmla="*/ 252583 h 318410"/>
                  <a:gd name="connsiteX47" fmla="*/ 200824 w 333368"/>
                  <a:gd name="connsiteY47" fmla="*/ 285522 h 318410"/>
                  <a:gd name="connsiteX48" fmla="*/ 132629 w 333368"/>
                  <a:gd name="connsiteY48" fmla="*/ 285522 h 318410"/>
                  <a:gd name="connsiteX49" fmla="*/ 144313 w 333368"/>
                  <a:gd name="connsiteY49" fmla="*/ 252583 h 318410"/>
                  <a:gd name="connsiteX50" fmla="*/ 238904 w 333368"/>
                  <a:gd name="connsiteY50" fmla="*/ 307495 h 318410"/>
                  <a:gd name="connsiteX51" fmla="*/ 94444 w 333368"/>
                  <a:gd name="connsiteY51" fmla="*/ 307495 h 318410"/>
                  <a:gd name="connsiteX52" fmla="*/ 89227 w 333368"/>
                  <a:gd name="connsiteY52" fmla="*/ 301663 h 318410"/>
                  <a:gd name="connsiteX53" fmla="*/ 94444 w 333368"/>
                  <a:gd name="connsiteY53" fmla="*/ 296508 h 318410"/>
                  <a:gd name="connsiteX54" fmla="*/ 238904 w 333368"/>
                  <a:gd name="connsiteY54" fmla="*/ 296508 h 318410"/>
                  <a:gd name="connsiteX55" fmla="*/ 244809 w 333368"/>
                  <a:gd name="connsiteY55" fmla="*/ 301659 h 318410"/>
                  <a:gd name="connsiteX56" fmla="*/ 239597 w 333368"/>
                  <a:gd name="connsiteY56" fmla="*/ 307495 h 318410"/>
                  <a:gd name="connsiteX57" fmla="*/ 238904 w 333368"/>
                  <a:gd name="connsiteY57" fmla="*/ 307495 h 31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333368" h="318410">
                    <a:moveTo>
                      <a:pt x="238904" y="285522"/>
                    </a:moveTo>
                    <a:lnTo>
                      <a:pt x="227808" y="285522"/>
                    </a:lnTo>
                    <a:cubicBezTo>
                      <a:pt x="210743" y="285522"/>
                      <a:pt x="201475" y="274452"/>
                      <a:pt x="200172" y="252583"/>
                    </a:cubicBezTo>
                    <a:lnTo>
                      <a:pt x="224025" y="252583"/>
                    </a:lnTo>
                    <a:cubicBezTo>
                      <a:pt x="222233" y="249029"/>
                      <a:pt x="220689" y="245358"/>
                      <a:pt x="219402" y="241597"/>
                    </a:cubicBezTo>
                    <a:lnTo>
                      <a:pt x="22234" y="241597"/>
                    </a:lnTo>
                    <a:cubicBezTo>
                      <a:pt x="16095" y="241597"/>
                      <a:pt x="11117" y="236678"/>
                      <a:pt x="11117" y="230611"/>
                    </a:cubicBezTo>
                    <a:cubicBezTo>
                      <a:pt x="11117" y="230583"/>
                      <a:pt x="11117" y="230555"/>
                      <a:pt x="11117" y="230527"/>
                    </a:cubicBezTo>
                    <a:lnTo>
                      <a:pt x="11117" y="230527"/>
                    </a:lnTo>
                    <a:lnTo>
                      <a:pt x="11117" y="208658"/>
                    </a:lnTo>
                    <a:lnTo>
                      <a:pt x="214757" y="208658"/>
                    </a:lnTo>
                    <a:cubicBezTo>
                      <a:pt x="214943" y="204976"/>
                      <a:pt x="215350" y="201307"/>
                      <a:pt x="215976" y="197672"/>
                    </a:cubicBezTo>
                    <a:lnTo>
                      <a:pt x="33331" y="197672"/>
                    </a:lnTo>
                    <a:lnTo>
                      <a:pt x="33331" y="32980"/>
                    </a:lnTo>
                    <a:lnTo>
                      <a:pt x="300038" y="32980"/>
                    </a:lnTo>
                    <a:lnTo>
                      <a:pt x="300038" y="123675"/>
                    </a:lnTo>
                    <a:cubicBezTo>
                      <a:pt x="301740" y="123675"/>
                      <a:pt x="303442" y="123529"/>
                      <a:pt x="305166" y="123529"/>
                    </a:cubicBezTo>
                    <a:cubicBezTo>
                      <a:pt x="307164" y="123500"/>
                      <a:pt x="309163" y="123569"/>
                      <a:pt x="311155" y="123737"/>
                    </a:cubicBezTo>
                    <a:lnTo>
                      <a:pt x="311155" y="27456"/>
                    </a:lnTo>
                    <a:cubicBezTo>
                      <a:pt x="311144" y="24424"/>
                      <a:pt x="308654" y="21973"/>
                      <a:pt x="305586" y="21973"/>
                    </a:cubicBezTo>
                    <a:lnTo>
                      <a:pt x="27867" y="21973"/>
                    </a:lnTo>
                    <a:cubicBezTo>
                      <a:pt x="24799" y="21973"/>
                      <a:pt x="22309" y="24424"/>
                      <a:pt x="22297" y="27456"/>
                    </a:cubicBezTo>
                    <a:lnTo>
                      <a:pt x="22297" y="197755"/>
                    </a:lnTo>
                    <a:lnTo>
                      <a:pt x="11054" y="197755"/>
                    </a:lnTo>
                    <a:lnTo>
                      <a:pt x="11054" y="21973"/>
                    </a:lnTo>
                    <a:cubicBezTo>
                      <a:pt x="11054" y="15905"/>
                      <a:pt x="16031" y="10986"/>
                      <a:pt x="22171" y="10986"/>
                    </a:cubicBezTo>
                    <a:lnTo>
                      <a:pt x="311134" y="10986"/>
                    </a:lnTo>
                    <a:cubicBezTo>
                      <a:pt x="317274" y="10986"/>
                      <a:pt x="322251" y="15905"/>
                      <a:pt x="322251" y="21973"/>
                    </a:cubicBezTo>
                    <a:lnTo>
                      <a:pt x="322251" y="125087"/>
                    </a:lnTo>
                    <a:cubicBezTo>
                      <a:pt x="326016" y="125796"/>
                      <a:pt x="329729" y="126746"/>
                      <a:pt x="333369" y="127932"/>
                    </a:cubicBezTo>
                    <a:lnTo>
                      <a:pt x="333369" y="22014"/>
                    </a:lnTo>
                    <a:cubicBezTo>
                      <a:pt x="333369" y="9872"/>
                      <a:pt x="323421" y="23"/>
                      <a:pt x="311134" y="0"/>
                    </a:cubicBezTo>
                    <a:lnTo>
                      <a:pt x="22234" y="0"/>
                    </a:lnTo>
                    <a:cubicBezTo>
                      <a:pt x="9964" y="23"/>
                      <a:pt x="23" y="9847"/>
                      <a:pt x="0" y="21973"/>
                    </a:cubicBezTo>
                    <a:lnTo>
                      <a:pt x="0" y="230527"/>
                    </a:lnTo>
                    <a:cubicBezTo>
                      <a:pt x="23" y="242653"/>
                      <a:pt x="9964" y="252477"/>
                      <a:pt x="22234" y="252500"/>
                    </a:cubicBezTo>
                    <a:lnTo>
                      <a:pt x="133175" y="252500"/>
                    </a:lnTo>
                    <a:cubicBezTo>
                      <a:pt x="131893" y="274369"/>
                      <a:pt x="122667" y="285439"/>
                      <a:pt x="105561" y="285439"/>
                    </a:cubicBezTo>
                    <a:lnTo>
                      <a:pt x="94444" y="285439"/>
                    </a:lnTo>
                    <a:cubicBezTo>
                      <a:pt x="85234" y="285762"/>
                      <a:pt x="78033" y="293402"/>
                      <a:pt x="78360" y="302503"/>
                    </a:cubicBezTo>
                    <a:cubicBezTo>
                      <a:pt x="78671" y="311151"/>
                      <a:pt x="85693" y="318091"/>
                      <a:pt x="94444" y="318398"/>
                    </a:cubicBezTo>
                    <a:lnTo>
                      <a:pt x="238904" y="318398"/>
                    </a:lnTo>
                    <a:cubicBezTo>
                      <a:pt x="248112" y="318755"/>
                      <a:pt x="255870" y="311667"/>
                      <a:pt x="256231" y="302567"/>
                    </a:cubicBezTo>
                    <a:cubicBezTo>
                      <a:pt x="256593" y="293467"/>
                      <a:pt x="249420" y="285800"/>
                      <a:pt x="240212" y="285443"/>
                    </a:cubicBezTo>
                    <a:cubicBezTo>
                      <a:pt x="240168" y="285442"/>
                      <a:pt x="240125" y="285440"/>
                      <a:pt x="240081" y="285439"/>
                    </a:cubicBezTo>
                    <a:close/>
                    <a:moveTo>
                      <a:pt x="144334" y="252583"/>
                    </a:moveTo>
                    <a:lnTo>
                      <a:pt x="189139" y="252583"/>
                    </a:lnTo>
                    <a:cubicBezTo>
                      <a:pt x="189116" y="264559"/>
                      <a:pt x="193239" y="276182"/>
                      <a:pt x="200824" y="285522"/>
                    </a:cubicBezTo>
                    <a:lnTo>
                      <a:pt x="132629" y="285522"/>
                    </a:lnTo>
                    <a:cubicBezTo>
                      <a:pt x="140196" y="276172"/>
                      <a:pt x="144317" y="264556"/>
                      <a:pt x="144313" y="252583"/>
                    </a:cubicBezTo>
                    <a:close/>
                    <a:moveTo>
                      <a:pt x="238904" y="307495"/>
                    </a:moveTo>
                    <a:lnTo>
                      <a:pt x="94444" y="307495"/>
                    </a:lnTo>
                    <a:cubicBezTo>
                      <a:pt x="91374" y="307308"/>
                      <a:pt x="89038" y="304697"/>
                      <a:pt x="89227" y="301663"/>
                    </a:cubicBezTo>
                    <a:cubicBezTo>
                      <a:pt x="89400" y="298890"/>
                      <a:pt x="91637" y="296679"/>
                      <a:pt x="94444" y="296508"/>
                    </a:cubicBezTo>
                    <a:lnTo>
                      <a:pt x="238904" y="296508"/>
                    </a:lnTo>
                    <a:cubicBezTo>
                      <a:pt x="241974" y="296319"/>
                      <a:pt x="244618" y="298625"/>
                      <a:pt x="244809" y="301659"/>
                    </a:cubicBezTo>
                    <a:cubicBezTo>
                      <a:pt x="245001" y="304692"/>
                      <a:pt x="242667" y="307305"/>
                      <a:pt x="239597" y="307495"/>
                    </a:cubicBezTo>
                    <a:cubicBezTo>
                      <a:pt x="239367" y="307515"/>
                      <a:pt x="239135" y="307515"/>
                      <a:pt x="238904" y="307495"/>
                    </a:cubicBezTo>
                    <a:close/>
                  </a:path>
                </a:pathLst>
              </a:custGeom>
              <a:solidFill>
                <a:srgbClr val="1F6896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4B76B6E3-6572-B7FD-135E-2304A82219DF}"/>
                  </a:ext>
                </a:extLst>
              </p:cNvPr>
              <p:cNvSpPr/>
              <p:nvPr/>
            </p:nvSpPr>
            <p:spPr>
              <a:xfrm>
                <a:off x="5756718" y="2974458"/>
                <a:ext cx="208713" cy="206522"/>
              </a:xfrm>
              <a:custGeom>
                <a:avLst/>
                <a:gdLst>
                  <a:gd name="connsiteX0" fmla="*/ 206692 w 208713"/>
                  <a:gd name="connsiteY0" fmla="*/ 175515 h 206522"/>
                  <a:gd name="connsiteX1" fmla="*/ 163105 w 208713"/>
                  <a:gd name="connsiteY1" fmla="*/ 132442 h 206522"/>
                  <a:gd name="connsiteX2" fmla="*/ 153270 w 208713"/>
                  <a:gd name="connsiteY2" fmla="*/ 132442 h 206522"/>
                  <a:gd name="connsiteX3" fmla="*/ 148500 w 208713"/>
                  <a:gd name="connsiteY3" fmla="*/ 137156 h 206522"/>
                  <a:gd name="connsiteX4" fmla="*/ 133789 w 208713"/>
                  <a:gd name="connsiteY4" fmla="*/ 122618 h 206522"/>
                  <a:gd name="connsiteX5" fmla="*/ 124078 w 208713"/>
                  <a:gd name="connsiteY5" fmla="*/ 17320 h 206522"/>
                  <a:gd name="connsiteX6" fmla="*/ 17526 w 208713"/>
                  <a:gd name="connsiteY6" fmla="*/ 26917 h 206522"/>
                  <a:gd name="connsiteX7" fmla="*/ 27237 w 208713"/>
                  <a:gd name="connsiteY7" fmla="*/ 132215 h 206522"/>
                  <a:gd name="connsiteX8" fmla="*/ 123954 w 208713"/>
                  <a:gd name="connsiteY8" fmla="*/ 132317 h 206522"/>
                  <a:gd name="connsiteX9" fmla="*/ 138664 w 208713"/>
                  <a:gd name="connsiteY9" fmla="*/ 146855 h 206522"/>
                  <a:gd name="connsiteX10" fmla="*/ 133873 w 208713"/>
                  <a:gd name="connsiteY10" fmla="*/ 151590 h 206522"/>
                  <a:gd name="connsiteX11" fmla="*/ 133866 w 208713"/>
                  <a:gd name="connsiteY11" fmla="*/ 161282 h 206522"/>
                  <a:gd name="connsiteX12" fmla="*/ 133873 w 208713"/>
                  <a:gd name="connsiteY12" fmla="*/ 161289 h 206522"/>
                  <a:gd name="connsiteX13" fmla="*/ 133873 w 208713"/>
                  <a:gd name="connsiteY13" fmla="*/ 161289 h 206522"/>
                  <a:gd name="connsiteX14" fmla="*/ 177480 w 208713"/>
                  <a:gd name="connsiteY14" fmla="*/ 204445 h 206522"/>
                  <a:gd name="connsiteX15" fmla="*/ 182377 w 208713"/>
                  <a:gd name="connsiteY15" fmla="*/ 206522 h 206522"/>
                  <a:gd name="connsiteX16" fmla="*/ 187294 w 208713"/>
                  <a:gd name="connsiteY16" fmla="*/ 204445 h 206522"/>
                  <a:gd name="connsiteX17" fmla="*/ 206671 w 208713"/>
                  <a:gd name="connsiteY17" fmla="*/ 185297 h 206522"/>
                  <a:gd name="connsiteX18" fmla="*/ 206707 w 208713"/>
                  <a:gd name="connsiteY18" fmla="*/ 175634 h 206522"/>
                  <a:gd name="connsiteX19" fmla="*/ 206671 w 208713"/>
                  <a:gd name="connsiteY19" fmla="*/ 175598 h 206522"/>
                  <a:gd name="connsiteX20" fmla="*/ 75786 w 208713"/>
                  <a:gd name="connsiteY20" fmla="*/ 135910 h 206522"/>
                  <a:gd name="connsiteX21" fmla="*/ 14232 w 208713"/>
                  <a:gd name="connsiteY21" fmla="*/ 75038 h 206522"/>
                  <a:gd name="connsiteX22" fmla="*/ 75828 w 208713"/>
                  <a:gd name="connsiteY22" fmla="*/ 14208 h 206522"/>
                  <a:gd name="connsiteX23" fmla="*/ 137383 w 208713"/>
                  <a:gd name="connsiteY23" fmla="*/ 75080 h 206522"/>
                  <a:gd name="connsiteX24" fmla="*/ 137383 w 208713"/>
                  <a:gd name="connsiteY24" fmla="*/ 75080 h 206522"/>
                  <a:gd name="connsiteX25" fmla="*/ 75786 w 208713"/>
                  <a:gd name="connsiteY25" fmla="*/ 135910 h 206522"/>
                  <a:gd name="connsiteX26" fmla="*/ 182398 w 208713"/>
                  <a:gd name="connsiteY26" fmla="*/ 189907 h 206522"/>
                  <a:gd name="connsiteX27" fmla="*/ 148626 w 208713"/>
                  <a:gd name="connsiteY27" fmla="*/ 156429 h 206522"/>
                  <a:gd name="connsiteX28" fmla="*/ 158188 w 208713"/>
                  <a:gd name="connsiteY28" fmla="*/ 147000 h 206522"/>
                  <a:gd name="connsiteX29" fmla="*/ 191960 w 208713"/>
                  <a:gd name="connsiteY29" fmla="*/ 180375 h 206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08713" h="206522">
                    <a:moveTo>
                      <a:pt x="206692" y="175515"/>
                    </a:moveTo>
                    <a:lnTo>
                      <a:pt x="163105" y="132442"/>
                    </a:lnTo>
                    <a:cubicBezTo>
                      <a:pt x="160389" y="129759"/>
                      <a:pt x="155987" y="129759"/>
                      <a:pt x="153270" y="132442"/>
                    </a:cubicBezTo>
                    <a:lnTo>
                      <a:pt x="148500" y="137156"/>
                    </a:lnTo>
                    <a:lnTo>
                      <a:pt x="133789" y="122618"/>
                    </a:lnTo>
                    <a:cubicBezTo>
                      <a:pt x="160531" y="90891"/>
                      <a:pt x="156183" y="43747"/>
                      <a:pt x="124078" y="17320"/>
                    </a:cubicBezTo>
                    <a:cubicBezTo>
                      <a:pt x="91973" y="-9107"/>
                      <a:pt x="44268" y="-4811"/>
                      <a:pt x="17526" y="26917"/>
                    </a:cubicBezTo>
                    <a:cubicBezTo>
                      <a:pt x="-9216" y="58644"/>
                      <a:pt x="-4868" y="105788"/>
                      <a:pt x="27237" y="132215"/>
                    </a:cubicBezTo>
                    <a:cubicBezTo>
                      <a:pt x="55242" y="155267"/>
                      <a:pt x="95899" y="155310"/>
                      <a:pt x="123954" y="132317"/>
                    </a:cubicBezTo>
                    <a:lnTo>
                      <a:pt x="138664" y="146855"/>
                    </a:lnTo>
                    <a:lnTo>
                      <a:pt x="133873" y="151590"/>
                    </a:lnTo>
                    <a:cubicBezTo>
                      <a:pt x="131163" y="154265"/>
                      <a:pt x="131160" y="158604"/>
                      <a:pt x="133866" y="161282"/>
                    </a:cubicBezTo>
                    <a:cubicBezTo>
                      <a:pt x="133869" y="161285"/>
                      <a:pt x="133871" y="161287"/>
                      <a:pt x="133873" y="161289"/>
                    </a:cubicBezTo>
                    <a:lnTo>
                      <a:pt x="133873" y="161289"/>
                    </a:lnTo>
                    <a:lnTo>
                      <a:pt x="177480" y="204445"/>
                    </a:lnTo>
                    <a:cubicBezTo>
                      <a:pt x="178767" y="205754"/>
                      <a:pt x="180530" y="206502"/>
                      <a:pt x="182377" y="206522"/>
                    </a:cubicBezTo>
                    <a:cubicBezTo>
                      <a:pt x="184229" y="206498"/>
                      <a:pt x="185997" y="205752"/>
                      <a:pt x="187294" y="204445"/>
                    </a:cubicBezTo>
                    <a:lnTo>
                      <a:pt x="206671" y="185297"/>
                    </a:lnTo>
                    <a:cubicBezTo>
                      <a:pt x="209381" y="182638"/>
                      <a:pt x="209397" y="178312"/>
                      <a:pt x="206707" y="175634"/>
                    </a:cubicBezTo>
                    <a:cubicBezTo>
                      <a:pt x="206695" y="175622"/>
                      <a:pt x="206683" y="175610"/>
                      <a:pt x="206671" y="175598"/>
                    </a:cubicBezTo>
                    <a:close/>
                    <a:moveTo>
                      <a:pt x="75786" y="135910"/>
                    </a:moveTo>
                    <a:cubicBezTo>
                      <a:pt x="41779" y="135899"/>
                      <a:pt x="14220" y="108645"/>
                      <a:pt x="14232" y="75038"/>
                    </a:cubicBezTo>
                    <a:cubicBezTo>
                      <a:pt x="14243" y="41431"/>
                      <a:pt x="41821" y="14197"/>
                      <a:pt x="75828" y="14208"/>
                    </a:cubicBezTo>
                    <a:cubicBezTo>
                      <a:pt x="109835" y="14220"/>
                      <a:pt x="137394" y="41473"/>
                      <a:pt x="137383" y="75080"/>
                    </a:cubicBezTo>
                    <a:lnTo>
                      <a:pt x="137383" y="75080"/>
                    </a:lnTo>
                    <a:cubicBezTo>
                      <a:pt x="137371" y="108687"/>
                      <a:pt x="109793" y="135921"/>
                      <a:pt x="75786" y="135910"/>
                    </a:cubicBezTo>
                    <a:close/>
                    <a:moveTo>
                      <a:pt x="182398" y="189907"/>
                    </a:moveTo>
                    <a:lnTo>
                      <a:pt x="148626" y="156429"/>
                    </a:lnTo>
                    <a:lnTo>
                      <a:pt x="158188" y="147000"/>
                    </a:lnTo>
                    <a:lnTo>
                      <a:pt x="191960" y="180375"/>
                    </a:lnTo>
                    <a:close/>
                  </a:path>
                </a:pathLst>
              </a:custGeom>
              <a:solidFill>
                <a:srgbClr val="1F6896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9FA307EE-3309-58BE-EE2E-FEE484073700}"/>
                  </a:ext>
                </a:extLst>
              </p:cNvPr>
              <p:cNvSpPr/>
              <p:nvPr/>
            </p:nvSpPr>
            <p:spPr>
              <a:xfrm>
                <a:off x="5833492" y="3002373"/>
                <a:ext cx="48524" cy="48078"/>
              </a:xfrm>
              <a:custGeom>
                <a:avLst/>
                <a:gdLst>
                  <a:gd name="connsiteX0" fmla="*/ 0 w 48524"/>
                  <a:gd name="connsiteY0" fmla="*/ 0 h 48078"/>
                  <a:gd name="connsiteX1" fmla="*/ 0 w 48524"/>
                  <a:gd name="connsiteY1" fmla="*/ 13728 h 48078"/>
                  <a:gd name="connsiteX2" fmla="*/ 34634 w 48524"/>
                  <a:gd name="connsiteY2" fmla="*/ 48078 h 48078"/>
                  <a:gd name="connsiteX3" fmla="*/ 48525 w 48524"/>
                  <a:gd name="connsiteY3" fmla="*/ 48078 h 48078"/>
                  <a:gd name="connsiteX4" fmla="*/ 0 w 48524"/>
                  <a:gd name="connsiteY4" fmla="*/ 0 h 48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24" h="48078">
                    <a:moveTo>
                      <a:pt x="0" y="0"/>
                    </a:moveTo>
                    <a:lnTo>
                      <a:pt x="0" y="13728"/>
                    </a:lnTo>
                    <a:cubicBezTo>
                      <a:pt x="19143" y="13808"/>
                      <a:pt x="34622" y="29160"/>
                      <a:pt x="34634" y="48078"/>
                    </a:cubicBezTo>
                    <a:lnTo>
                      <a:pt x="48525" y="48078"/>
                    </a:lnTo>
                    <a:cubicBezTo>
                      <a:pt x="48513" y="21579"/>
                      <a:pt x="26815" y="80"/>
                      <a:pt x="0" y="0"/>
                    </a:cubicBezTo>
                    <a:close/>
                  </a:path>
                </a:pathLst>
              </a:custGeom>
              <a:solidFill>
                <a:srgbClr val="1F6896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3E86C73-7D98-725B-7E46-B3CB22CF61D6}"/>
              </a:ext>
            </a:extLst>
          </p:cNvPr>
          <p:cNvGrpSpPr/>
          <p:nvPr userDrawn="1"/>
        </p:nvGrpSpPr>
        <p:grpSpPr>
          <a:xfrm>
            <a:off x="2321200" y="714040"/>
            <a:ext cx="1109662" cy="841468"/>
            <a:chOff x="6759891" y="4312978"/>
            <a:chExt cx="1109662" cy="841468"/>
          </a:xfrm>
        </p:grpSpPr>
        <p:sp>
          <p:nvSpPr>
            <p:cNvPr id="46" name="TextBox 10">
              <a:extLst>
                <a:ext uri="{FF2B5EF4-FFF2-40B4-BE49-F238E27FC236}">
                  <a16:creationId xmlns:a16="http://schemas.microsoft.com/office/drawing/2014/main" id="{92251394-9355-1E9F-F406-3D7E76F691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59891" y="4815892"/>
              <a:ext cx="110966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800" b="1" dirty="0">
                  <a:solidFill>
                    <a:srgbClr val="3B3838"/>
                  </a:solidFill>
                  <a:latin typeface="+mj-lt"/>
                </a:rPr>
                <a:t>Field Services &amp; Consulting</a:t>
              </a:r>
            </a:p>
          </p:txBody>
        </p:sp>
        <p:grpSp>
          <p:nvGrpSpPr>
            <p:cNvPr id="47" name="Graphic 329">
              <a:extLst>
                <a:ext uri="{FF2B5EF4-FFF2-40B4-BE49-F238E27FC236}">
                  <a16:creationId xmlns:a16="http://schemas.microsoft.com/office/drawing/2014/main" id="{17D44BF7-4DE8-5625-0ED8-D2503FBE4B8B}"/>
                </a:ext>
              </a:extLst>
            </p:cNvPr>
            <p:cNvGrpSpPr/>
            <p:nvPr userDrawn="1"/>
          </p:nvGrpSpPr>
          <p:grpSpPr>
            <a:xfrm>
              <a:off x="7062582" y="4312978"/>
              <a:ext cx="562748" cy="468065"/>
              <a:chOff x="6412938" y="4679128"/>
              <a:chExt cx="376570" cy="313211"/>
            </a:xfrm>
          </p:grpSpPr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9DAE7010-DF0F-CB63-6D86-C0563BE03D2D}"/>
                  </a:ext>
                </a:extLst>
              </p:cNvPr>
              <p:cNvSpPr/>
              <p:nvPr/>
            </p:nvSpPr>
            <p:spPr>
              <a:xfrm>
                <a:off x="6443238" y="4878101"/>
                <a:ext cx="300972" cy="114184"/>
              </a:xfrm>
              <a:custGeom>
                <a:avLst/>
                <a:gdLst>
                  <a:gd name="connsiteX0" fmla="*/ 192657 w 300972"/>
                  <a:gd name="connsiteY0" fmla="*/ 97336 h 114184"/>
                  <a:gd name="connsiteX1" fmla="*/ 153740 w 300972"/>
                  <a:gd name="connsiteY1" fmla="*/ 101718 h 114184"/>
                  <a:gd name="connsiteX2" fmla="*/ 85053 w 300972"/>
                  <a:gd name="connsiteY2" fmla="*/ 82276 h 114184"/>
                  <a:gd name="connsiteX3" fmla="*/ 62057 w 300972"/>
                  <a:gd name="connsiteY3" fmla="*/ 84834 h 114184"/>
                  <a:gd name="connsiteX4" fmla="*/ 56148 w 300972"/>
                  <a:gd name="connsiteY4" fmla="*/ 88018 h 114184"/>
                  <a:gd name="connsiteX5" fmla="*/ 57758 w 300972"/>
                  <a:gd name="connsiteY5" fmla="*/ 29978 h 114184"/>
                  <a:gd name="connsiteX6" fmla="*/ 120308 w 300972"/>
                  <a:gd name="connsiteY6" fmla="*/ 26597 h 114184"/>
                  <a:gd name="connsiteX7" fmla="*/ 124341 w 300972"/>
                  <a:gd name="connsiteY7" fmla="*/ 28618 h 114184"/>
                  <a:gd name="connsiteX8" fmla="*/ 147602 w 300972"/>
                  <a:gd name="connsiteY8" fmla="*/ 34700 h 114184"/>
                  <a:gd name="connsiteX9" fmla="*/ 188128 w 300972"/>
                  <a:gd name="connsiteY9" fmla="*/ 35844 h 114184"/>
                  <a:gd name="connsiteX10" fmla="*/ 211461 w 300972"/>
                  <a:gd name="connsiteY10" fmla="*/ 55519 h 114184"/>
                  <a:gd name="connsiteX11" fmla="*/ 151069 w 300972"/>
                  <a:gd name="connsiteY11" fmla="*/ 53855 h 114184"/>
                  <a:gd name="connsiteX12" fmla="*/ 145329 w 300972"/>
                  <a:gd name="connsiteY12" fmla="*/ 59355 h 114184"/>
                  <a:gd name="connsiteX13" fmla="*/ 150769 w 300972"/>
                  <a:gd name="connsiteY13" fmla="*/ 65159 h 114184"/>
                  <a:gd name="connsiteX14" fmla="*/ 217351 w 300972"/>
                  <a:gd name="connsiteY14" fmla="*/ 66948 h 114184"/>
                  <a:gd name="connsiteX15" fmla="*/ 217510 w 300972"/>
                  <a:gd name="connsiteY15" fmla="*/ 66948 h 114184"/>
                  <a:gd name="connsiteX16" fmla="*/ 223029 w 300972"/>
                  <a:gd name="connsiteY16" fmla="*/ 61439 h 114184"/>
                  <a:gd name="connsiteX17" fmla="*/ 223030 w 300972"/>
                  <a:gd name="connsiteY17" fmla="*/ 61421 h 114184"/>
                  <a:gd name="connsiteX18" fmla="*/ 222463 w 300972"/>
                  <a:gd name="connsiteY18" fmla="*/ 53981 h 114184"/>
                  <a:gd name="connsiteX19" fmla="*/ 267483 w 300972"/>
                  <a:gd name="connsiteY19" fmla="*/ 32518 h 114184"/>
                  <a:gd name="connsiteX20" fmla="*/ 267695 w 300972"/>
                  <a:gd name="connsiteY20" fmla="*/ 32518 h 114184"/>
                  <a:gd name="connsiteX21" fmla="*/ 287153 w 300972"/>
                  <a:gd name="connsiteY21" fmla="*/ 35254 h 114184"/>
                  <a:gd name="connsiteX22" fmla="*/ 11341 w 300972"/>
                  <a:gd name="connsiteY22" fmla="*/ 98821 h 114184"/>
                  <a:gd name="connsiteX23" fmla="*/ 13729 w 300972"/>
                  <a:gd name="connsiteY23" fmla="*/ 11681 h 114184"/>
                  <a:gd name="connsiteX24" fmla="*/ 46968 w 300972"/>
                  <a:gd name="connsiteY24" fmla="*/ 12575 h 114184"/>
                  <a:gd name="connsiteX25" fmla="*/ 44562 w 300972"/>
                  <a:gd name="connsiteY25" fmla="*/ 99840 h 114184"/>
                  <a:gd name="connsiteX26" fmla="*/ 262795 w 300972"/>
                  <a:gd name="connsiteY26" fmla="*/ 22662 h 114184"/>
                  <a:gd name="connsiteX27" fmla="*/ 218926 w 300972"/>
                  <a:gd name="connsiteY27" fmla="*/ 43607 h 114184"/>
                  <a:gd name="connsiteX28" fmla="*/ 188447 w 300972"/>
                  <a:gd name="connsiteY28" fmla="*/ 24612 h 114184"/>
                  <a:gd name="connsiteX29" fmla="*/ 147938 w 300972"/>
                  <a:gd name="connsiteY29" fmla="*/ 23485 h 114184"/>
                  <a:gd name="connsiteX30" fmla="*/ 129647 w 300972"/>
                  <a:gd name="connsiteY30" fmla="*/ 18674 h 114184"/>
                  <a:gd name="connsiteX31" fmla="*/ 125544 w 300972"/>
                  <a:gd name="connsiteY31" fmla="*/ 16510 h 114184"/>
                  <a:gd name="connsiteX32" fmla="*/ 58183 w 300972"/>
                  <a:gd name="connsiteY32" fmla="*/ 16510 h 114184"/>
                  <a:gd name="connsiteX33" fmla="*/ 58448 w 300972"/>
                  <a:gd name="connsiteY33" fmla="*/ 7066 h 114184"/>
                  <a:gd name="connsiteX34" fmla="*/ 52949 w 300972"/>
                  <a:gd name="connsiteY34" fmla="*/ 1253 h 114184"/>
                  <a:gd name="connsiteX35" fmla="*/ 52947 w 300972"/>
                  <a:gd name="connsiteY35" fmla="*/ 1253 h 114184"/>
                  <a:gd name="connsiteX36" fmla="*/ 8458 w 300972"/>
                  <a:gd name="connsiteY36" fmla="*/ 1 h 114184"/>
                  <a:gd name="connsiteX37" fmla="*/ 2709 w 300972"/>
                  <a:gd name="connsiteY37" fmla="*/ 5564 h 114184"/>
                  <a:gd name="connsiteX38" fmla="*/ 2 w 300972"/>
                  <a:gd name="connsiteY38" fmla="*/ 104061 h 114184"/>
                  <a:gd name="connsiteX39" fmla="*/ 5446 w 300972"/>
                  <a:gd name="connsiteY39" fmla="*/ 109892 h 114184"/>
                  <a:gd name="connsiteX40" fmla="*/ 5451 w 300972"/>
                  <a:gd name="connsiteY40" fmla="*/ 109892 h 114184"/>
                  <a:gd name="connsiteX41" fmla="*/ 5451 w 300972"/>
                  <a:gd name="connsiteY41" fmla="*/ 109892 h 114184"/>
                  <a:gd name="connsiteX42" fmla="*/ 49886 w 300972"/>
                  <a:gd name="connsiteY42" fmla="*/ 111126 h 114184"/>
                  <a:gd name="connsiteX43" fmla="*/ 50045 w 300972"/>
                  <a:gd name="connsiteY43" fmla="*/ 111126 h 114184"/>
                  <a:gd name="connsiteX44" fmla="*/ 55671 w 300972"/>
                  <a:gd name="connsiteY44" fmla="*/ 105564 h 114184"/>
                  <a:gd name="connsiteX45" fmla="*/ 55795 w 300972"/>
                  <a:gd name="connsiteY45" fmla="*/ 100842 h 114184"/>
                  <a:gd name="connsiteX46" fmla="*/ 67328 w 300972"/>
                  <a:gd name="connsiteY46" fmla="*/ 94600 h 114184"/>
                  <a:gd name="connsiteX47" fmla="*/ 82099 w 300972"/>
                  <a:gd name="connsiteY47" fmla="*/ 92954 h 114184"/>
                  <a:gd name="connsiteX48" fmla="*/ 151087 w 300972"/>
                  <a:gd name="connsiteY48" fmla="*/ 112629 h 114184"/>
                  <a:gd name="connsiteX49" fmla="*/ 151423 w 300972"/>
                  <a:gd name="connsiteY49" fmla="*/ 112629 h 114184"/>
                  <a:gd name="connsiteX50" fmla="*/ 197805 w 300972"/>
                  <a:gd name="connsiteY50" fmla="*/ 107263 h 114184"/>
                  <a:gd name="connsiteX51" fmla="*/ 198494 w 300972"/>
                  <a:gd name="connsiteY51" fmla="*/ 106869 h 114184"/>
                  <a:gd name="connsiteX52" fmla="*/ 298421 w 300972"/>
                  <a:gd name="connsiteY52" fmla="*/ 41532 h 114184"/>
                  <a:gd name="connsiteX53" fmla="*/ 300190 w 300972"/>
                  <a:gd name="connsiteY53" fmla="*/ 33966 h 114184"/>
                  <a:gd name="connsiteX54" fmla="*/ 262813 w 300972"/>
                  <a:gd name="connsiteY54" fmla="*/ 22484 h 114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00972" h="114184">
                    <a:moveTo>
                      <a:pt x="192657" y="97336"/>
                    </a:moveTo>
                    <a:cubicBezTo>
                      <a:pt x="180465" y="102904"/>
                      <a:pt x="166845" y="104437"/>
                      <a:pt x="153740" y="101718"/>
                    </a:cubicBezTo>
                    <a:lnTo>
                      <a:pt x="85053" y="82276"/>
                    </a:lnTo>
                    <a:cubicBezTo>
                      <a:pt x="77349" y="80084"/>
                      <a:pt x="69105" y="81001"/>
                      <a:pt x="62057" y="84834"/>
                    </a:cubicBezTo>
                    <a:lnTo>
                      <a:pt x="56148" y="88018"/>
                    </a:lnTo>
                    <a:lnTo>
                      <a:pt x="57758" y="29978"/>
                    </a:lnTo>
                    <a:cubicBezTo>
                      <a:pt x="76440" y="17408"/>
                      <a:pt x="100407" y="16113"/>
                      <a:pt x="120308" y="26597"/>
                    </a:cubicBezTo>
                    <a:lnTo>
                      <a:pt x="124341" y="28618"/>
                    </a:lnTo>
                    <a:cubicBezTo>
                      <a:pt x="131546" y="32382"/>
                      <a:pt x="139496" y="34460"/>
                      <a:pt x="147602" y="34700"/>
                    </a:cubicBezTo>
                    <a:lnTo>
                      <a:pt x="188128" y="35844"/>
                    </a:lnTo>
                    <a:cubicBezTo>
                      <a:pt x="199474" y="36147"/>
                      <a:pt x="209129" y="44288"/>
                      <a:pt x="211461" y="55519"/>
                    </a:cubicBezTo>
                    <a:lnTo>
                      <a:pt x="151069" y="53855"/>
                    </a:lnTo>
                    <a:cubicBezTo>
                      <a:pt x="147982" y="53772"/>
                      <a:pt x="145412" y="56234"/>
                      <a:pt x="145329" y="59355"/>
                    </a:cubicBezTo>
                    <a:cubicBezTo>
                      <a:pt x="145246" y="62477"/>
                      <a:pt x="147681" y="65075"/>
                      <a:pt x="150769" y="65159"/>
                    </a:cubicBezTo>
                    <a:lnTo>
                      <a:pt x="217351" y="66948"/>
                    </a:lnTo>
                    <a:lnTo>
                      <a:pt x="217510" y="66948"/>
                    </a:lnTo>
                    <a:cubicBezTo>
                      <a:pt x="220539" y="66968"/>
                      <a:pt x="223010" y="64501"/>
                      <a:pt x="223029" y="61439"/>
                    </a:cubicBezTo>
                    <a:cubicBezTo>
                      <a:pt x="223029" y="61433"/>
                      <a:pt x="223029" y="61427"/>
                      <a:pt x="223030" y="61421"/>
                    </a:cubicBezTo>
                    <a:cubicBezTo>
                      <a:pt x="223098" y="58928"/>
                      <a:pt x="222908" y="56434"/>
                      <a:pt x="222463" y="53981"/>
                    </a:cubicBezTo>
                    <a:lnTo>
                      <a:pt x="267483" y="32518"/>
                    </a:lnTo>
                    <a:lnTo>
                      <a:pt x="267695" y="32518"/>
                    </a:lnTo>
                    <a:cubicBezTo>
                      <a:pt x="274106" y="29208"/>
                      <a:pt x="281879" y="30301"/>
                      <a:pt x="287153" y="35254"/>
                    </a:cubicBezTo>
                    <a:close/>
                    <a:moveTo>
                      <a:pt x="11341" y="98821"/>
                    </a:moveTo>
                    <a:lnTo>
                      <a:pt x="13729" y="11681"/>
                    </a:lnTo>
                    <a:lnTo>
                      <a:pt x="46968" y="12575"/>
                    </a:lnTo>
                    <a:lnTo>
                      <a:pt x="44562" y="99840"/>
                    </a:lnTo>
                    <a:close/>
                    <a:moveTo>
                      <a:pt x="262795" y="22662"/>
                    </a:moveTo>
                    <a:lnTo>
                      <a:pt x="218926" y="43607"/>
                    </a:lnTo>
                    <a:cubicBezTo>
                      <a:pt x="212857" y="32220"/>
                      <a:pt x="201235" y="24977"/>
                      <a:pt x="188447" y="24612"/>
                    </a:cubicBezTo>
                    <a:lnTo>
                      <a:pt x="147938" y="23485"/>
                    </a:lnTo>
                    <a:cubicBezTo>
                      <a:pt x="141565" y="23266"/>
                      <a:pt x="135318" y="21623"/>
                      <a:pt x="129647" y="18674"/>
                    </a:cubicBezTo>
                    <a:lnTo>
                      <a:pt x="125544" y="16510"/>
                    </a:lnTo>
                    <a:cubicBezTo>
                      <a:pt x="104442" y="5367"/>
                      <a:pt x="79284" y="5367"/>
                      <a:pt x="58183" y="16510"/>
                    </a:cubicBezTo>
                    <a:lnTo>
                      <a:pt x="58448" y="7066"/>
                    </a:lnTo>
                    <a:cubicBezTo>
                      <a:pt x="58517" y="3926"/>
                      <a:pt x="56055" y="1323"/>
                      <a:pt x="52949" y="1253"/>
                    </a:cubicBezTo>
                    <a:cubicBezTo>
                      <a:pt x="52948" y="1253"/>
                      <a:pt x="52947" y="1253"/>
                      <a:pt x="52947" y="1253"/>
                    </a:cubicBezTo>
                    <a:lnTo>
                      <a:pt x="8458" y="1"/>
                    </a:lnTo>
                    <a:cubicBezTo>
                      <a:pt x="5355" y="-59"/>
                      <a:pt x="2786" y="2426"/>
                      <a:pt x="2709" y="5564"/>
                    </a:cubicBezTo>
                    <a:lnTo>
                      <a:pt x="2" y="104061"/>
                    </a:lnTo>
                    <a:cubicBezTo>
                      <a:pt x="-87" y="107191"/>
                      <a:pt x="2351" y="109802"/>
                      <a:pt x="5446" y="109892"/>
                    </a:cubicBezTo>
                    <a:cubicBezTo>
                      <a:pt x="5448" y="109892"/>
                      <a:pt x="5449" y="109892"/>
                      <a:pt x="5451" y="109892"/>
                    </a:cubicBezTo>
                    <a:lnTo>
                      <a:pt x="5451" y="109892"/>
                    </a:lnTo>
                    <a:lnTo>
                      <a:pt x="49886" y="111126"/>
                    </a:lnTo>
                    <a:lnTo>
                      <a:pt x="50045" y="111126"/>
                    </a:lnTo>
                    <a:cubicBezTo>
                      <a:pt x="53108" y="111136"/>
                      <a:pt x="55613" y="108660"/>
                      <a:pt x="55671" y="105564"/>
                    </a:cubicBezTo>
                    <a:lnTo>
                      <a:pt x="55795" y="100842"/>
                    </a:lnTo>
                    <a:lnTo>
                      <a:pt x="67328" y="94600"/>
                    </a:lnTo>
                    <a:cubicBezTo>
                      <a:pt x="71856" y="92141"/>
                      <a:pt x="77150" y="91552"/>
                      <a:pt x="82099" y="92954"/>
                    </a:cubicBezTo>
                    <a:lnTo>
                      <a:pt x="151087" y="112629"/>
                    </a:lnTo>
                    <a:lnTo>
                      <a:pt x="151423" y="112629"/>
                    </a:lnTo>
                    <a:cubicBezTo>
                      <a:pt x="167054" y="115883"/>
                      <a:pt x="183305" y="114003"/>
                      <a:pt x="197805" y="107263"/>
                    </a:cubicBezTo>
                    <a:cubicBezTo>
                      <a:pt x="198053" y="107167"/>
                      <a:pt x="198285" y="107035"/>
                      <a:pt x="198494" y="106869"/>
                    </a:cubicBezTo>
                    <a:lnTo>
                      <a:pt x="298421" y="41532"/>
                    </a:lnTo>
                    <a:cubicBezTo>
                      <a:pt x="300937" y="39909"/>
                      <a:pt x="301721" y="36557"/>
                      <a:pt x="300190" y="33966"/>
                    </a:cubicBezTo>
                    <a:cubicBezTo>
                      <a:pt x="292760" y="20665"/>
                      <a:pt x="276306" y="15610"/>
                      <a:pt x="262813" y="22484"/>
                    </a:cubicBezTo>
                    <a:close/>
                  </a:path>
                </a:pathLst>
              </a:custGeom>
              <a:solidFill>
                <a:srgbClr val="1F6999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D014231B-0C80-D356-02EB-B847F04B4D4F}"/>
                  </a:ext>
                </a:extLst>
              </p:cNvPr>
              <p:cNvSpPr/>
              <p:nvPr/>
            </p:nvSpPr>
            <p:spPr>
              <a:xfrm>
                <a:off x="6442445" y="4710051"/>
                <a:ext cx="136849" cy="100961"/>
              </a:xfrm>
              <a:custGeom>
                <a:avLst/>
                <a:gdLst>
                  <a:gd name="connsiteX0" fmla="*/ 41180 w 136849"/>
                  <a:gd name="connsiteY0" fmla="*/ 100961 h 100961"/>
                  <a:gd name="connsiteX1" fmla="*/ 40968 w 136849"/>
                  <a:gd name="connsiteY1" fmla="*/ 100961 h 100961"/>
                  <a:gd name="connsiteX2" fmla="*/ 35891 w 136849"/>
                  <a:gd name="connsiteY2" fmla="*/ 98618 h 100961"/>
                  <a:gd name="connsiteX3" fmla="*/ 1892 w 136849"/>
                  <a:gd name="connsiteY3" fmla="*/ 61290 h 100961"/>
                  <a:gd name="connsiteX4" fmla="*/ 2335 w 136849"/>
                  <a:gd name="connsiteY4" fmla="*/ 51006 h 100961"/>
                  <a:gd name="connsiteX5" fmla="*/ 12506 w 136849"/>
                  <a:gd name="connsiteY5" fmla="*/ 51453 h 100961"/>
                  <a:gd name="connsiteX6" fmla="*/ 41516 w 136849"/>
                  <a:gd name="connsiteY6" fmla="*/ 83308 h 100961"/>
                  <a:gd name="connsiteX7" fmla="*/ 124869 w 136849"/>
                  <a:gd name="connsiteY7" fmla="*/ 1838 h 100961"/>
                  <a:gd name="connsiteX8" fmla="*/ 135033 w 136849"/>
                  <a:gd name="connsiteY8" fmla="*/ 2445 h 100961"/>
                  <a:gd name="connsiteX9" fmla="*/ 134863 w 136849"/>
                  <a:gd name="connsiteY9" fmla="*/ 12301 h 100961"/>
                  <a:gd name="connsiteX10" fmla="*/ 46133 w 136849"/>
                  <a:gd name="connsiteY10" fmla="*/ 98922 h 100961"/>
                  <a:gd name="connsiteX11" fmla="*/ 41180 w 136849"/>
                  <a:gd name="connsiteY11" fmla="*/ 100961 h 100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6849" h="100961">
                    <a:moveTo>
                      <a:pt x="41180" y="100961"/>
                    </a:moveTo>
                    <a:lnTo>
                      <a:pt x="40968" y="100961"/>
                    </a:lnTo>
                    <a:cubicBezTo>
                      <a:pt x="39033" y="100904"/>
                      <a:pt x="37202" y="100059"/>
                      <a:pt x="35891" y="98618"/>
                    </a:cubicBezTo>
                    <a:lnTo>
                      <a:pt x="1892" y="61290"/>
                    </a:lnTo>
                    <a:cubicBezTo>
                      <a:pt x="-794" y="58327"/>
                      <a:pt x="-596" y="53722"/>
                      <a:pt x="2335" y="51006"/>
                    </a:cubicBezTo>
                    <a:cubicBezTo>
                      <a:pt x="5265" y="48290"/>
                      <a:pt x="9819" y="48490"/>
                      <a:pt x="12506" y="51453"/>
                    </a:cubicBezTo>
                    <a:lnTo>
                      <a:pt x="41516" y="83308"/>
                    </a:lnTo>
                    <a:lnTo>
                      <a:pt x="124869" y="1838"/>
                    </a:lnTo>
                    <a:cubicBezTo>
                      <a:pt x="127841" y="-833"/>
                      <a:pt x="132392" y="-561"/>
                      <a:pt x="135033" y="2445"/>
                    </a:cubicBezTo>
                    <a:cubicBezTo>
                      <a:pt x="137519" y="5275"/>
                      <a:pt x="137446" y="9560"/>
                      <a:pt x="134863" y="12301"/>
                    </a:cubicBezTo>
                    <a:lnTo>
                      <a:pt x="46133" y="98922"/>
                    </a:lnTo>
                    <a:cubicBezTo>
                      <a:pt x="44804" y="100223"/>
                      <a:pt x="43030" y="100954"/>
                      <a:pt x="41180" y="100961"/>
                    </a:cubicBezTo>
                  </a:path>
                </a:pathLst>
              </a:custGeom>
              <a:solidFill>
                <a:srgbClr val="BA5C7A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10524E6-2FD5-8A2D-AE7A-9C127BCE305A}"/>
                  </a:ext>
                </a:extLst>
              </p:cNvPr>
              <p:cNvSpPr/>
              <p:nvPr/>
            </p:nvSpPr>
            <p:spPr>
              <a:xfrm>
                <a:off x="6412941" y="4694241"/>
                <a:ext cx="160364" cy="162147"/>
              </a:xfrm>
              <a:custGeom>
                <a:avLst/>
                <a:gdLst>
                  <a:gd name="connsiteX0" fmla="*/ 80024 w 160364"/>
                  <a:gd name="connsiteY0" fmla="*/ 162147 h 162147"/>
                  <a:gd name="connsiteX1" fmla="*/ 2031 w 160364"/>
                  <a:gd name="connsiteY1" fmla="*/ 99153 h 162147"/>
                  <a:gd name="connsiteX2" fmla="*/ 62361 w 160364"/>
                  <a:gd name="connsiteY2" fmla="*/ 2037 h 162147"/>
                  <a:gd name="connsiteX3" fmla="*/ 128386 w 160364"/>
                  <a:gd name="connsiteY3" fmla="*/ 16252 h 162147"/>
                  <a:gd name="connsiteX4" fmla="*/ 129235 w 160364"/>
                  <a:gd name="connsiteY4" fmla="*/ 22369 h 162147"/>
                  <a:gd name="connsiteX5" fmla="*/ 123186 w 160364"/>
                  <a:gd name="connsiteY5" fmla="*/ 23228 h 162147"/>
                  <a:gd name="connsiteX6" fmla="*/ 22964 w 160364"/>
                  <a:gd name="connsiteY6" fmla="*/ 37540 h 162147"/>
                  <a:gd name="connsiteX7" fmla="*/ 37119 w 160364"/>
                  <a:gd name="connsiteY7" fmla="*/ 138876 h 162147"/>
                  <a:gd name="connsiteX8" fmla="*/ 137341 w 160364"/>
                  <a:gd name="connsiteY8" fmla="*/ 124563 h 162147"/>
                  <a:gd name="connsiteX9" fmla="*/ 149914 w 160364"/>
                  <a:gd name="connsiteY9" fmla="*/ 64884 h 162147"/>
                  <a:gd name="connsiteX10" fmla="*/ 153160 w 160364"/>
                  <a:gd name="connsiteY10" fmla="*/ 59652 h 162147"/>
                  <a:gd name="connsiteX11" fmla="*/ 158334 w 160364"/>
                  <a:gd name="connsiteY11" fmla="*/ 62934 h 162147"/>
                  <a:gd name="connsiteX12" fmla="*/ 98031 w 160364"/>
                  <a:gd name="connsiteY12" fmla="*/ 160073 h 162147"/>
                  <a:gd name="connsiteX13" fmla="*/ 79953 w 160364"/>
                  <a:gd name="connsiteY13" fmla="*/ 162147 h 162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0364" h="162147">
                    <a:moveTo>
                      <a:pt x="80024" y="162147"/>
                    </a:moveTo>
                    <a:cubicBezTo>
                      <a:pt x="42703" y="162039"/>
                      <a:pt x="10381" y="135933"/>
                      <a:pt x="2031" y="99153"/>
                    </a:cubicBezTo>
                    <a:cubicBezTo>
                      <a:pt x="-7832" y="55491"/>
                      <a:pt x="19178" y="12010"/>
                      <a:pt x="62361" y="2037"/>
                    </a:cubicBezTo>
                    <a:cubicBezTo>
                      <a:pt x="85366" y="-3276"/>
                      <a:pt x="109518" y="1924"/>
                      <a:pt x="128386" y="16252"/>
                    </a:cubicBezTo>
                    <a:cubicBezTo>
                      <a:pt x="130291" y="17704"/>
                      <a:pt x="130672" y="20443"/>
                      <a:pt x="129235" y="22369"/>
                    </a:cubicBezTo>
                    <a:cubicBezTo>
                      <a:pt x="127799" y="24295"/>
                      <a:pt x="125091" y="24680"/>
                      <a:pt x="123186" y="23228"/>
                    </a:cubicBezTo>
                    <a:cubicBezTo>
                      <a:pt x="91601" y="-803"/>
                      <a:pt x="46730" y="5605"/>
                      <a:pt x="22964" y="37540"/>
                    </a:cubicBezTo>
                    <a:cubicBezTo>
                      <a:pt x="-803" y="69476"/>
                      <a:pt x="5535" y="114845"/>
                      <a:pt x="37119" y="138876"/>
                    </a:cubicBezTo>
                    <a:cubicBezTo>
                      <a:pt x="68703" y="162907"/>
                      <a:pt x="113574" y="156499"/>
                      <a:pt x="137341" y="124563"/>
                    </a:cubicBezTo>
                    <a:cubicBezTo>
                      <a:pt x="150027" y="107517"/>
                      <a:pt x="154628" y="85679"/>
                      <a:pt x="149914" y="64884"/>
                    </a:cubicBezTo>
                    <a:cubicBezTo>
                      <a:pt x="149382" y="62533"/>
                      <a:pt x="150835" y="60191"/>
                      <a:pt x="153160" y="59652"/>
                    </a:cubicBezTo>
                    <a:cubicBezTo>
                      <a:pt x="155485" y="59114"/>
                      <a:pt x="157802" y="60583"/>
                      <a:pt x="158334" y="62934"/>
                    </a:cubicBezTo>
                    <a:cubicBezTo>
                      <a:pt x="168192" y="106592"/>
                      <a:pt x="141202" y="150070"/>
                      <a:pt x="98031" y="160073"/>
                    </a:cubicBezTo>
                    <a:cubicBezTo>
                      <a:pt x="92102" y="161451"/>
                      <a:pt x="86037" y="162147"/>
                      <a:pt x="79953" y="162147"/>
                    </a:cubicBezTo>
                  </a:path>
                </a:pathLst>
              </a:custGeom>
              <a:solidFill>
                <a:srgbClr val="1F6994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83" name="Freeform 282">
                <a:extLst>
                  <a:ext uri="{FF2B5EF4-FFF2-40B4-BE49-F238E27FC236}">
                    <a16:creationId xmlns:a16="http://schemas.microsoft.com/office/drawing/2014/main" id="{74742942-0105-42FE-A9F4-95FE6C3C0696}"/>
                  </a:ext>
                </a:extLst>
              </p:cNvPr>
              <p:cNvSpPr/>
              <p:nvPr/>
            </p:nvSpPr>
            <p:spPr>
              <a:xfrm>
                <a:off x="6672176" y="4752132"/>
                <a:ext cx="45500" cy="46002"/>
              </a:xfrm>
              <a:custGeom>
                <a:avLst/>
                <a:gdLst>
                  <a:gd name="connsiteX0" fmla="*/ 22766 w 45500"/>
                  <a:gd name="connsiteY0" fmla="*/ 7619 h 46002"/>
                  <a:gd name="connsiteX1" fmla="*/ 7571 w 45500"/>
                  <a:gd name="connsiteY1" fmla="*/ 22948 h 46002"/>
                  <a:gd name="connsiteX2" fmla="*/ 22731 w 45500"/>
                  <a:gd name="connsiteY2" fmla="*/ 38312 h 46002"/>
                  <a:gd name="connsiteX3" fmla="*/ 37926 w 45500"/>
                  <a:gd name="connsiteY3" fmla="*/ 22983 h 46002"/>
                  <a:gd name="connsiteX4" fmla="*/ 22766 w 45500"/>
                  <a:gd name="connsiteY4" fmla="*/ 7619 h 46002"/>
                  <a:gd name="connsiteX5" fmla="*/ 22766 w 45500"/>
                  <a:gd name="connsiteY5" fmla="*/ 46002 h 46002"/>
                  <a:gd name="connsiteX6" fmla="*/ 0 w 45500"/>
                  <a:gd name="connsiteY6" fmla="*/ 23019 h 46002"/>
                  <a:gd name="connsiteX7" fmla="*/ 22731 w 45500"/>
                  <a:gd name="connsiteY7" fmla="*/ 0 h 46002"/>
                  <a:gd name="connsiteX8" fmla="*/ 45497 w 45500"/>
                  <a:gd name="connsiteY8" fmla="*/ 22983 h 46002"/>
                  <a:gd name="connsiteX9" fmla="*/ 23580 w 45500"/>
                  <a:gd name="connsiteY9" fmla="*/ 46003 h 46002"/>
                  <a:gd name="connsiteX10" fmla="*/ 22766 w 45500"/>
                  <a:gd name="connsiteY10" fmla="*/ 46002 h 4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500" h="46002">
                    <a:moveTo>
                      <a:pt x="22766" y="7619"/>
                    </a:moveTo>
                    <a:cubicBezTo>
                      <a:pt x="14384" y="7610"/>
                      <a:pt x="7581" y="14472"/>
                      <a:pt x="7571" y="22948"/>
                    </a:cubicBezTo>
                    <a:cubicBezTo>
                      <a:pt x="7561" y="31423"/>
                      <a:pt x="14349" y="38302"/>
                      <a:pt x="22731" y="38312"/>
                    </a:cubicBezTo>
                    <a:cubicBezTo>
                      <a:pt x="31113" y="38321"/>
                      <a:pt x="37916" y="31459"/>
                      <a:pt x="37926" y="22983"/>
                    </a:cubicBezTo>
                    <a:cubicBezTo>
                      <a:pt x="37936" y="14508"/>
                      <a:pt x="31148" y="7629"/>
                      <a:pt x="22766" y="7619"/>
                    </a:cubicBezTo>
                    <a:moveTo>
                      <a:pt x="22766" y="46002"/>
                    </a:moveTo>
                    <a:cubicBezTo>
                      <a:pt x="10203" y="46012"/>
                      <a:pt x="10" y="35722"/>
                      <a:pt x="0" y="23019"/>
                    </a:cubicBezTo>
                    <a:cubicBezTo>
                      <a:pt x="-10" y="10316"/>
                      <a:pt x="10167" y="10"/>
                      <a:pt x="22731" y="0"/>
                    </a:cubicBezTo>
                    <a:cubicBezTo>
                      <a:pt x="35294" y="-10"/>
                      <a:pt x="45487" y="10280"/>
                      <a:pt x="45497" y="22983"/>
                    </a:cubicBezTo>
                    <a:cubicBezTo>
                      <a:pt x="45724" y="35456"/>
                      <a:pt x="35916" y="45758"/>
                      <a:pt x="23580" y="46003"/>
                    </a:cubicBezTo>
                    <a:lnTo>
                      <a:pt x="22766" y="46002"/>
                    </a:lnTo>
                    <a:close/>
                  </a:path>
                </a:pathLst>
              </a:custGeom>
              <a:solidFill>
                <a:srgbClr val="BD5C7A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84" name="Freeform 283">
                <a:extLst>
                  <a:ext uri="{FF2B5EF4-FFF2-40B4-BE49-F238E27FC236}">
                    <a16:creationId xmlns:a16="http://schemas.microsoft.com/office/drawing/2014/main" id="{F28E2DB1-418C-96CA-1D8E-F16173B018F7}"/>
                  </a:ext>
                </a:extLst>
              </p:cNvPr>
              <p:cNvSpPr/>
              <p:nvPr/>
            </p:nvSpPr>
            <p:spPr>
              <a:xfrm>
                <a:off x="6600198" y="4679128"/>
                <a:ext cx="189275" cy="191486"/>
              </a:xfrm>
              <a:custGeom>
                <a:avLst/>
                <a:gdLst>
                  <a:gd name="connsiteX0" fmla="*/ 98990 w 189275"/>
                  <a:gd name="connsiteY0" fmla="*/ 168175 h 191486"/>
                  <a:gd name="connsiteX1" fmla="*/ 98990 w 189275"/>
                  <a:gd name="connsiteY1" fmla="*/ 158194 h 191486"/>
                  <a:gd name="connsiteX2" fmla="*/ 94388 w 189275"/>
                  <a:gd name="connsiteY2" fmla="*/ 154101 h 191486"/>
                  <a:gd name="connsiteX3" fmla="*/ 90339 w 189275"/>
                  <a:gd name="connsiteY3" fmla="*/ 158194 h 191486"/>
                  <a:gd name="connsiteX4" fmla="*/ 90339 w 189275"/>
                  <a:gd name="connsiteY4" fmla="*/ 168175 h 191486"/>
                  <a:gd name="connsiteX5" fmla="*/ 23279 w 189275"/>
                  <a:gd name="connsiteY5" fmla="*/ 100352 h 191486"/>
                  <a:gd name="connsiteX6" fmla="*/ 33150 w 189275"/>
                  <a:gd name="connsiteY6" fmla="*/ 100352 h 191486"/>
                  <a:gd name="connsiteX7" fmla="*/ 37466 w 189275"/>
                  <a:gd name="connsiteY7" fmla="*/ 95987 h 191486"/>
                  <a:gd name="connsiteX8" fmla="*/ 33150 w 189275"/>
                  <a:gd name="connsiteY8" fmla="*/ 91623 h 191486"/>
                  <a:gd name="connsiteX9" fmla="*/ 23279 w 189275"/>
                  <a:gd name="connsiteY9" fmla="*/ 91623 h 191486"/>
                  <a:gd name="connsiteX10" fmla="*/ 90339 w 189275"/>
                  <a:gd name="connsiteY10" fmla="*/ 23836 h 191486"/>
                  <a:gd name="connsiteX11" fmla="*/ 90339 w 189275"/>
                  <a:gd name="connsiteY11" fmla="*/ 33816 h 191486"/>
                  <a:gd name="connsiteX12" fmla="*/ 94388 w 189275"/>
                  <a:gd name="connsiteY12" fmla="*/ 38469 h 191486"/>
                  <a:gd name="connsiteX13" fmla="*/ 98990 w 189275"/>
                  <a:gd name="connsiteY13" fmla="*/ 34376 h 191486"/>
                  <a:gd name="connsiteX14" fmla="*/ 98990 w 189275"/>
                  <a:gd name="connsiteY14" fmla="*/ 33816 h 191486"/>
                  <a:gd name="connsiteX15" fmla="*/ 98990 w 189275"/>
                  <a:gd name="connsiteY15" fmla="*/ 23836 h 191486"/>
                  <a:gd name="connsiteX16" fmla="*/ 166032 w 189275"/>
                  <a:gd name="connsiteY16" fmla="*/ 91659 h 191486"/>
                  <a:gd name="connsiteX17" fmla="*/ 156161 w 189275"/>
                  <a:gd name="connsiteY17" fmla="*/ 91659 h 191486"/>
                  <a:gd name="connsiteX18" fmla="*/ 151845 w 189275"/>
                  <a:gd name="connsiteY18" fmla="*/ 96023 h 191486"/>
                  <a:gd name="connsiteX19" fmla="*/ 156161 w 189275"/>
                  <a:gd name="connsiteY19" fmla="*/ 100387 h 191486"/>
                  <a:gd name="connsiteX20" fmla="*/ 166032 w 189275"/>
                  <a:gd name="connsiteY20" fmla="*/ 100387 h 191486"/>
                  <a:gd name="connsiteX21" fmla="*/ 98990 w 189275"/>
                  <a:gd name="connsiteY21" fmla="*/ 168211 h 191486"/>
                  <a:gd name="connsiteX22" fmla="*/ 184960 w 189275"/>
                  <a:gd name="connsiteY22" fmla="*/ 91659 h 191486"/>
                  <a:gd name="connsiteX23" fmla="*/ 174611 w 189275"/>
                  <a:gd name="connsiteY23" fmla="*/ 91659 h 191486"/>
                  <a:gd name="connsiteX24" fmla="*/ 98936 w 189275"/>
                  <a:gd name="connsiteY24" fmla="*/ 15107 h 191486"/>
                  <a:gd name="connsiteX25" fmla="*/ 98936 w 189275"/>
                  <a:gd name="connsiteY25" fmla="*/ 4662 h 191486"/>
                  <a:gd name="connsiteX26" fmla="*/ 94888 w 189275"/>
                  <a:gd name="connsiteY26" fmla="*/ 9 h 191486"/>
                  <a:gd name="connsiteX27" fmla="*/ 90286 w 189275"/>
                  <a:gd name="connsiteY27" fmla="*/ 4102 h 191486"/>
                  <a:gd name="connsiteX28" fmla="*/ 90286 w 189275"/>
                  <a:gd name="connsiteY28" fmla="*/ 4662 h 191486"/>
                  <a:gd name="connsiteX29" fmla="*/ 90286 w 189275"/>
                  <a:gd name="connsiteY29" fmla="*/ 15072 h 191486"/>
                  <a:gd name="connsiteX30" fmla="*/ 14647 w 189275"/>
                  <a:gd name="connsiteY30" fmla="*/ 91659 h 191486"/>
                  <a:gd name="connsiteX31" fmla="*/ 4316 w 189275"/>
                  <a:gd name="connsiteY31" fmla="*/ 91659 h 191486"/>
                  <a:gd name="connsiteX32" fmla="*/ 0 w 189275"/>
                  <a:gd name="connsiteY32" fmla="*/ 96023 h 191486"/>
                  <a:gd name="connsiteX33" fmla="*/ 4316 w 189275"/>
                  <a:gd name="connsiteY33" fmla="*/ 100387 h 191486"/>
                  <a:gd name="connsiteX34" fmla="*/ 14647 w 189275"/>
                  <a:gd name="connsiteY34" fmla="*/ 100387 h 191486"/>
                  <a:gd name="connsiteX35" fmla="*/ 90339 w 189275"/>
                  <a:gd name="connsiteY35" fmla="*/ 176939 h 191486"/>
                  <a:gd name="connsiteX36" fmla="*/ 90339 w 189275"/>
                  <a:gd name="connsiteY36" fmla="*/ 187384 h 191486"/>
                  <a:gd name="connsiteX37" fmla="*/ 94941 w 189275"/>
                  <a:gd name="connsiteY37" fmla="*/ 191478 h 191486"/>
                  <a:gd name="connsiteX38" fmla="*/ 98990 w 189275"/>
                  <a:gd name="connsiteY38" fmla="*/ 187384 h 191486"/>
                  <a:gd name="connsiteX39" fmla="*/ 98990 w 189275"/>
                  <a:gd name="connsiteY39" fmla="*/ 176939 h 191486"/>
                  <a:gd name="connsiteX40" fmla="*/ 174664 w 189275"/>
                  <a:gd name="connsiteY40" fmla="*/ 100387 h 191486"/>
                  <a:gd name="connsiteX41" fmla="*/ 184960 w 189275"/>
                  <a:gd name="connsiteY41" fmla="*/ 100387 h 191486"/>
                  <a:gd name="connsiteX42" fmla="*/ 189276 w 189275"/>
                  <a:gd name="connsiteY42" fmla="*/ 96023 h 191486"/>
                  <a:gd name="connsiteX43" fmla="*/ 184960 w 189275"/>
                  <a:gd name="connsiteY43" fmla="*/ 91659 h 191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89275" h="191486">
                    <a:moveTo>
                      <a:pt x="98990" y="168175"/>
                    </a:moveTo>
                    <a:lnTo>
                      <a:pt x="98990" y="158194"/>
                    </a:lnTo>
                    <a:cubicBezTo>
                      <a:pt x="98837" y="155779"/>
                      <a:pt x="96776" y="153947"/>
                      <a:pt x="94388" y="154101"/>
                    </a:cubicBezTo>
                    <a:cubicBezTo>
                      <a:pt x="92212" y="154242"/>
                      <a:pt x="90479" y="155995"/>
                      <a:pt x="90339" y="158194"/>
                    </a:cubicBezTo>
                    <a:lnTo>
                      <a:pt x="90339" y="168175"/>
                    </a:lnTo>
                    <a:cubicBezTo>
                      <a:pt x="54252" y="165939"/>
                      <a:pt x="25481" y="136840"/>
                      <a:pt x="23279" y="100352"/>
                    </a:cubicBezTo>
                    <a:lnTo>
                      <a:pt x="33150" y="100352"/>
                    </a:lnTo>
                    <a:cubicBezTo>
                      <a:pt x="35534" y="100352"/>
                      <a:pt x="37466" y="98398"/>
                      <a:pt x="37466" y="95987"/>
                    </a:cubicBezTo>
                    <a:cubicBezTo>
                      <a:pt x="37466" y="93577"/>
                      <a:pt x="35534" y="91623"/>
                      <a:pt x="33150" y="91623"/>
                    </a:cubicBezTo>
                    <a:lnTo>
                      <a:pt x="23279" y="91623"/>
                    </a:lnTo>
                    <a:cubicBezTo>
                      <a:pt x="25491" y="55145"/>
                      <a:pt x="54261" y="26062"/>
                      <a:pt x="90339" y="23836"/>
                    </a:cubicBezTo>
                    <a:lnTo>
                      <a:pt x="90339" y="33816"/>
                    </a:lnTo>
                    <a:cubicBezTo>
                      <a:pt x="90187" y="36231"/>
                      <a:pt x="91999" y="38314"/>
                      <a:pt x="94388" y="38469"/>
                    </a:cubicBezTo>
                    <a:cubicBezTo>
                      <a:pt x="96776" y="38623"/>
                      <a:pt x="98837" y="36791"/>
                      <a:pt x="98990" y="34376"/>
                    </a:cubicBezTo>
                    <a:cubicBezTo>
                      <a:pt x="99001" y="34189"/>
                      <a:pt x="99001" y="34002"/>
                      <a:pt x="98990" y="33816"/>
                    </a:cubicBezTo>
                    <a:lnTo>
                      <a:pt x="98990" y="23836"/>
                    </a:lnTo>
                    <a:cubicBezTo>
                      <a:pt x="135073" y="26073"/>
                      <a:pt x="163839" y="55173"/>
                      <a:pt x="166032" y="91659"/>
                    </a:cubicBezTo>
                    <a:lnTo>
                      <a:pt x="156161" y="91659"/>
                    </a:lnTo>
                    <a:cubicBezTo>
                      <a:pt x="153778" y="91659"/>
                      <a:pt x="151845" y="93613"/>
                      <a:pt x="151845" y="96023"/>
                    </a:cubicBezTo>
                    <a:cubicBezTo>
                      <a:pt x="151845" y="98433"/>
                      <a:pt x="153778" y="100387"/>
                      <a:pt x="156161" y="100387"/>
                    </a:cubicBezTo>
                    <a:lnTo>
                      <a:pt x="166032" y="100387"/>
                    </a:lnTo>
                    <a:cubicBezTo>
                      <a:pt x="163831" y="136870"/>
                      <a:pt x="135070" y="165966"/>
                      <a:pt x="98990" y="168211"/>
                    </a:cubicBezTo>
                    <a:moveTo>
                      <a:pt x="184960" y="91659"/>
                    </a:moveTo>
                    <a:lnTo>
                      <a:pt x="174611" y="91659"/>
                    </a:lnTo>
                    <a:cubicBezTo>
                      <a:pt x="172374" y="50368"/>
                      <a:pt x="139773" y="17389"/>
                      <a:pt x="98936" y="15107"/>
                    </a:cubicBezTo>
                    <a:lnTo>
                      <a:pt x="98936" y="4662"/>
                    </a:lnTo>
                    <a:cubicBezTo>
                      <a:pt x="99089" y="2247"/>
                      <a:pt x="97277" y="164"/>
                      <a:pt x="94888" y="9"/>
                    </a:cubicBezTo>
                    <a:cubicBezTo>
                      <a:pt x="92500" y="-145"/>
                      <a:pt x="90439" y="1687"/>
                      <a:pt x="90286" y="4102"/>
                    </a:cubicBezTo>
                    <a:cubicBezTo>
                      <a:pt x="90275" y="4289"/>
                      <a:pt x="90275" y="4476"/>
                      <a:pt x="90286" y="4662"/>
                    </a:cubicBezTo>
                    <a:lnTo>
                      <a:pt x="90286" y="15072"/>
                    </a:lnTo>
                    <a:cubicBezTo>
                      <a:pt x="49454" y="17380"/>
                      <a:pt x="16873" y="50370"/>
                      <a:pt x="14647" y="91659"/>
                    </a:cubicBezTo>
                    <a:lnTo>
                      <a:pt x="4316" y="91659"/>
                    </a:lnTo>
                    <a:cubicBezTo>
                      <a:pt x="1932" y="91659"/>
                      <a:pt x="0" y="93613"/>
                      <a:pt x="0" y="96023"/>
                    </a:cubicBezTo>
                    <a:cubicBezTo>
                      <a:pt x="0" y="98433"/>
                      <a:pt x="1932" y="100387"/>
                      <a:pt x="4316" y="100387"/>
                    </a:cubicBezTo>
                    <a:lnTo>
                      <a:pt x="14647" y="100387"/>
                    </a:lnTo>
                    <a:cubicBezTo>
                      <a:pt x="16877" y="141689"/>
                      <a:pt x="49493" y="174674"/>
                      <a:pt x="90339" y="176939"/>
                    </a:cubicBezTo>
                    <a:lnTo>
                      <a:pt x="90339" y="187384"/>
                    </a:lnTo>
                    <a:cubicBezTo>
                      <a:pt x="90492" y="189799"/>
                      <a:pt x="92553" y="191632"/>
                      <a:pt x="94941" y="191478"/>
                    </a:cubicBezTo>
                    <a:cubicBezTo>
                      <a:pt x="97117" y="191337"/>
                      <a:pt x="98850" y="189584"/>
                      <a:pt x="98990" y="187384"/>
                    </a:cubicBezTo>
                    <a:lnTo>
                      <a:pt x="98990" y="176939"/>
                    </a:lnTo>
                    <a:cubicBezTo>
                      <a:pt x="139830" y="174665"/>
                      <a:pt x="172435" y="141682"/>
                      <a:pt x="174664" y="100387"/>
                    </a:cubicBezTo>
                    <a:lnTo>
                      <a:pt x="184960" y="100387"/>
                    </a:lnTo>
                    <a:cubicBezTo>
                      <a:pt x="187343" y="100387"/>
                      <a:pt x="189276" y="98433"/>
                      <a:pt x="189276" y="96023"/>
                    </a:cubicBezTo>
                    <a:cubicBezTo>
                      <a:pt x="189276" y="93613"/>
                      <a:pt x="187343" y="91659"/>
                      <a:pt x="184960" y="91659"/>
                    </a:cubicBezTo>
                  </a:path>
                </a:pathLst>
              </a:custGeom>
              <a:solidFill>
                <a:srgbClr val="1F6996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85" name="Freeform 284">
                <a:extLst>
                  <a:ext uri="{FF2B5EF4-FFF2-40B4-BE49-F238E27FC236}">
                    <a16:creationId xmlns:a16="http://schemas.microsoft.com/office/drawing/2014/main" id="{FF543EF7-4695-8726-2437-1A1BA1AC1FCB}"/>
                  </a:ext>
                </a:extLst>
              </p:cNvPr>
              <p:cNvSpPr/>
              <p:nvPr/>
            </p:nvSpPr>
            <p:spPr>
              <a:xfrm>
                <a:off x="6412938" y="4679408"/>
                <a:ext cx="376570" cy="312931"/>
              </a:xfrm>
              <a:custGeom>
                <a:avLst/>
                <a:gdLst>
                  <a:gd name="connsiteX0" fmla="*/ 0 w 376570"/>
                  <a:gd name="connsiteY0" fmla="*/ 0 h 312931"/>
                  <a:gd name="connsiteX1" fmla="*/ 376571 w 376570"/>
                  <a:gd name="connsiteY1" fmla="*/ 0 h 312931"/>
                  <a:gd name="connsiteX2" fmla="*/ 376571 w 376570"/>
                  <a:gd name="connsiteY2" fmla="*/ 312932 h 312931"/>
                  <a:gd name="connsiteX3" fmla="*/ 0 w 376570"/>
                  <a:gd name="connsiteY3" fmla="*/ 312932 h 312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6570" h="312931">
                    <a:moveTo>
                      <a:pt x="0" y="0"/>
                    </a:moveTo>
                    <a:lnTo>
                      <a:pt x="376571" y="0"/>
                    </a:lnTo>
                    <a:lnTo>
                      <a:pt x="376571" y="312932"/>
                    </a:lnTo>
                    <a:lnTo>
                      <a:pt x="0" y="312932"/>
                    </a:lnTo>
                    <a:close/>
                  </a:path>
                </a:pathLst>
              </a:custGeom>
              <a:noFill/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274979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99;p25">
            <a:extLst>
              <a:ext uri="{FF2B5EF4-FFF2-40B4-BE49-F238E27FC236}">
                <a16:creationId xmlns:a16="http://schemas.microsoft.com/office/drawing/2014/main" id="{4BB85047-C144-2348-B737-4383EF08BDF5}"/>
              </a:ext>
            </a:extLst>
          </p:cNvPr>
          <p:cNvSpPr/>
          <p:nvPr userDrawn="1"/>
        </p:nvSpPr>
        <p:spPr>
          <a:xfrm flipH="1">
            <a:off x="3263900" y="0"/>
            <a:ext cx="5880100" cy="5715000"/>
          </a:xfrm>
          <a:prstGeom prst="rect">
            <a:avLst/>
          </a:prstGeom>
          <a:gradFill flip="none" rotWithShape="1">
            <a:gsLst>
              <a:gs pos="56000">
                <a:srgbClr val="5C97BA"/>
              </a:gs>
              <a:gs pos="0">
                <a:srgbClr val="9EC9DF"/>
              </a:gs>
              <a:gs pos="100000">
                <a:srgbClr val="1F6898"/>
              </a:gs>
            </a:gsLst>
            <a:lin ang="6600000" scaled="0"/>
            <a:tileRect/>
          </a:gradFill>
          <a:ln>
            <a:noFill/>
          </a:ln>
        </p:spPr>
        <p:txBody>
          <a:bodyPr spcFirstLastPara="1" lIns="76188" tIns="76188" rIns="76188" bIns="76188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170">
              <a:solidFill>
                <a:schemeClr val="lt1"/>
              </a:solidFill>
              <a:latin typeface="Avenir Next" panose="020B0503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62901B-0771-D748-823C-D4218455C670}"/>
              </a:ext>
            </a:extLst>
          </p:cNvPr>
          <p:cNvSpPr txBox="1"/>
          <p:nvPr userDrawn="1"/>
        </p:nvSpPr>
        <p:spPr>
          <a:xfrm>
            <a:off x="1114425" y="2471738"/>
            <a:ext cx="1966913" cy="273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>
                <a:latin typeface="+mj-lt"/>
              </a:rPr>
              <a:t>Ellab Icon Set - Whi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75AB180-43D4-7C44-A91B-4F838FC084B5}"/>
              </a:ext>
            </a:extLst>
          </p:cNvPr>
          <p:cNvSpPr txBox="1"/>
          <p:nvPr userDrawn="1"/>
        </p:nvSpPr>
        <p:spPr>
          <a:xfrm>
            <a:off x="1119188" y="2017713"/>
            <a:ext cx="1652587" cy="2714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>
                <a:latin typeface="+mj-lt"/>
              </a:rPr>
              <a:t>Ellab Slide Assets</a:t>
            </a:r>
          </a:p>
        </p:txBody>
      </p:sp>
      <p:grpSp>
        <p:nvGrpSpPr>
          <p:cNvPr id="5" name="Graphic 3">
            <a:extLst>
              <a:ext uri="{FF2B5EF4-FFF2-40B4-BE49-F238E27FC236}">
                <a16:creationId xmlns:a16="http://schemas.microsoft.com/office/drawing/2014/main" id="{C04C3937-A158-8046-9C99-1AB3720C7D5E}"/>
              </a:ext>
            </a:extLst>
          </p:cNvPr>
          <p:cNvGrpSpPr/>
          <p:nvPr userDrawn="1"/>
        </p:nvGrpSpPr>
        <p:grpSpPr>
          <a:xfrm>
            <a:off x="4012072" y="642147"/>
            <a:ext cx="311374" cy="304732"/>
            <a:chOff x="5211823" y="350131"/>
            <a:chExt cx="434711" cy="434711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F847509-D5CC-B342-8357-871EA65150BB}"/>
                </a:ext>
              </a:extLst>
            </p:cNvPr>
            <p:cNvSpPr/>
            <p:nvPr/>
          </p:nvSpPr>
          <p:spPr>
            <a:xfrm>
              <a:off x="5429383" y="558894"/>
              <a:ext cx="223799" cy="223748"/>
            </a:xfrm>
            <a:custGeom>
              <a:avLst/>
              <a:gdLst>
                <a:gd name="connsiteX0" fmla="*/ 223748 w 223799"/>
                <a:gd name="connsiteY0" fmla="*/ 111874 h 223748"/>
                <a:gd name="connsiteX1" fmla="*/ 111874 w 223799"/>
                <a:gd name="connsiteY1" fmla="*/ 223748 h 223748"/>
                <a:gd name="connsiteX2" fmla="*/ 0 w 223799"/>
                <a:gd name="connsiteY2" fmla="*/ 111874 h 223748"/>
                <a:gd name="connsiteX3" fmla="*/ 8745 w 223799"/>
                <a:gd name="connsiteY3" fmla="*/ 103129 h 223748"/>
                <a:gd name="connsiteX4" fmla="*/ 17491 w 223799"/>
                <a:gd name="connsiteY4" fmla="*/ 111874 h 223748"/>
                <a:gd name="connsiteX5" fmla="*/ 111874 w 223799"/>
                <a:gd name="connsiteY5" fmla="*/ 206309 h 223748"/>
                <a:gd name="connsiteX6" fmla="*/ 206309 w 223799"/>
                <a:gd name="connsiteY6" fmla="*/ 111925 h 223748"/>
                <a:gd name="connsiteX7" fmla="*/ 111925 w 223799"/>
                <a:gd name="connsiteY7" fmla="*/ 17491 h 223748"/>
                <a:gd name="connsiteX8" fmla="*/ 111925 w 223799"/>
                <a:gd name="connsiteY8" fmla="*/ 17491 h 223748"/>
                <a:gd name="connsiteX9" fmla="*/ 103180 w 223799"/>
                <a:gd name="connsiteY9" fmla="*/ 8745 h 223748"/>
                <a:gd name="connsiteX10" fmla="*/ 111925 w 223799"/>
                <a:gd name="connsiteY10" fmla="*/ 0 h 223748"/>
                <a:gd name="connsiteX11" fmla="*/ 111925 w 223799"/>
                <a:gd name="connsiteY11" fmla="*/ 0 h 223748"/>
                <a:gd name="connsiteX12" fmla="*/ 223799 w 223799"/>
                <a:gd name="connsiteY12" fmla="*/ 111670 h 223748"/>
                <a:gd name="connsiteX13" fmla="*/ 223799 w 223799"/>
                <a:gd name="connsiteY13" fmla="*/ 111721 h 223748"/>
                <a:gd name="connsiteX14" fmla="*/ 70116 w 223799"/>
                <a:gd name="connsiteY14" fmla="*/ 27003 h 223748"/>
                <a:gd name="connsiteX15" fmla="*/ 81419 w 223799"/>
                <a:gd name="connsiteY15" fmla="*/ 22324 h 223748"/>
                <a:gd name="connsiteX16" fmla="*/ 87070 w 223799"/>
                <a:gd name="connsiteY16" fmla="*/ 11322 h 223748"/>
                <a:gd name="connsiteX17" fmla="*/ 76067 w 223799"/>
                <a:gd name="connsiteY17" fmla="*/ 5672 h 223748"/>
                <a:gd name="connsiteX18" fmla="*/ 75486 w 223799"/>
                <a:gd name="connsiteY18" fmla="*/ 5881 h 223748"/>
                <a:gd name="connsiteX19" fmla="*/ 74719 w 223799"/>
                <a:gd name="connsiteY19" fmla="*/ 6188 h 223748"/>
                <a:gd name="connsiteX20" fmla="*/ 63417 w 223799"/>
                <a:gd name="connsiteY20" fmla="*/ 10868 h 223748"/>
                <a:gd name="connsiteX21" fmla="*/ 57765 w 223799"/>
                <a:gd name="connsiteY21" fmla="*/ 21870 h 223748"/>
                <a:gd name="connsiteX22" fmla="*/ 68769 w 223799"/>
                <a:gd name="connsiteY22" fmla="*/ 27520 h 223748"/>
                <a:gd name="connsiteX23" fmla="*/ 69349 w 223799"/>
                <a:gd name="connsiteY23" fmla="*/ 27310 h 223748"/>
                <a:gd name="connsiteX24" fmla="*/ 40709 w 223799"/>
                <a:gd name="connsiteY24" fmla="*/ 49506 h 223748"/>
                <a:gd name="connsiteX25" fmla="*/ 49352 w 223799"/>
                <a:gd name="connsiteY25" fmla="*/ 40863 h 223748"/>
                <a:gd name="connsiteX26" fmla="*/ 49723 w 223799"/>
                <a:gd name="connsiteY26" fmla="*/ 28448 h 223748"/>
                <a:gd name="connsiteX27" fmla="*/ 37308 w 223799"/>
                <a:gd name="connsiteY27" fmla="*/ 28077 h 223748"/>
                <a:gd name="connsiteX28" fmla="*/ 37002 w 223799"/>
                <a:gd name="connsiteY28" fmla="*/ 28384 h 223748"/>
                <a:gd name="connsiteX29" fmla="*/ 28358 w 223799"/>
                <a:gd name="connsiteY29" fmla="*/ 37053 h 223748"/>
                <a:gd name="connsiteX30" fmla="*/ 27624 w 223799"/>
                <a:gd name="connsiteY30" fmla="*/ 49399 h 223748"/>
                <a:gd name="connsiteX31" fmla="*/ 39970 w 223799"/>
                <a:gd name="connsiteY31" fmla="*/ 50132 h 223748"/>
                <a:gd name="connsiteX32" fmla="*/ 40070 w 223799"/>
                <a:gd name="connsiteY32" fmla="*/ 50043 h 223748"/>
                <a:gd name="connsiteX33" fmla="*/ 10919 w 223799"/>
                <a:gd name="connsiteY33" fmla="*/ 86150 h 223748"/>
                <a:gd name="connsiteX34" fmla="*/ 22324 w 223799"/>
                <a:gd name="connsiteY34" fmla="*/ 81419 h 223748"/>
                <a:gd name="connsiteX35" fmla="*/ 27003 w 223799"/>
                <a:gd name="connsiteY35" fmla="*/ 70091 h 223748"/>
                <a:gd name="connsiteX36" fmla="*/ 22273 w 223799"/>
                <a:gd name="connsiteY36" fmla="*/ 58686 h 223748"/>
                <a:gd name="connsiteX37" fmla="*/ 10868 w 223799"/>
                <a:gd name="connsiteY37" fmla="*/ 63417 h 223748"/>
                <a:gd name="connsiteX38" fmla="*/ 6188 w 223799"/>
                <a:gd name="connsiteY38" fmla="*/ 74719 h 223748"/>
                <a:gd name="connsiteX39" fmla="*/ 10915 w 223799"/>
                <a:gd name="connsiteY39" fmla="*/ 86147 h 223748"/>
                <a:gd name="connsiteX40" fmla="*/ 10919 w 223799"/>
                <a:gd name="connsiteY40" fmla="*/ 86150 h 223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23799" h="223748">
                  <a:moveTo>
                    <a:pt x="223748" y="111874"/>
                  </a:moveTo>
                  <a:cubicBezTo>
                    <a:pt x="223748" y="173659"/>
                    <a:pt x="173659" y="223748"/>
                    <a:pt x="111874" y="223748"/>
                  </a:cubicBezTo>
                  <a:cubicBezTo>
                    <a:pt x="50089" y="223748"/>
                    <a:pt x="0" y="173659"/>
                    <a:pt x="0" y="111874"/>
                  </a:cubicBezTo>
                  <a:cubicBezTo>
                    <a:pt x="0" y="107044"/>
                    <a:pt x="3915" y="103129"/>
                    <a:pt x="8745" y="103129"/>
                  </a:cubicBezTo>
                  <a:cubicBezTo>
                    <a:pt x="13575" y="103129"/>
                    <a:pt x="17491" y="107044"/>
                    <a:pt x="17491" y="111874"/>
                  </a:cubicBezTo>
                  <a:cubicBezTo>
                    <a:pt x="17477" y="164014"/>
                    <a:pt x="59734" y="206293"/>
                    <a:pt x="111874" y="206309"/>
                  </a:cubicBezTo>
                  <a:cubicBezTo>
                    <a:pt x="164014" y="206324"/>
                    <a:pt x="206293" y="164065"/>
                    <a:pt x="206309" y="111925"/>
                  </a:cubicBezTo>
                  <a:cubicBezTo>
                    <a:pt x="206324" y="59786"/>
                    <a:pt x="164065" y="17505"/>
                    <a:pt x="111925" y="17491"/>
                  </a:cubicBezTo>
                  <a:lnTo>
                    <a:pt x="111925" y="17491"/>
                  </a:lnTo>
                  <a:cubicBezTo>
                    <a:pt x="107095" y="17491"/>
                    <a:pt x="103180" y="13575"/>
                    <a:pt x="103180" y="8745"/>
                  </a:cubicBezTo>
                  <a:cubicBezTo>
                    <a:pt x="103180" y="3916"/>
                    <a:pt x="107095" y="0"/>
                    <a:pt x="111925" y="0"/>
                  </a:cubicBezTo>
                  <a:lnTo>
                    <a:pt x="111925" y="0"/>
                  </a:lnTo>
                  <a:cubicBezTo>
                    <a:pt x="173654" y="-56"/>
                    <a:pt x="223743" y="49941"/>
                    <a:pt x="223799" y="111670"/>
                  </a:cubicBezTo>
                  <a:cubicBezTo>
                    <a:pt x="223799" y="111688"/>
                    <a:pt x="223799" y="111703"/>
                    <a:pt x="223799" y="111721"/>
                  </a:cubicBezTo>
                  <a:close/>
                  <a:moveTo>
                    <a:pt x="70116" y="27003"/>
                  </a:moveTo>
                  <a:lnTo>
                    <a:pt x="81419" y="22324"/>
                  </a:lnTo>
                  <a:cubicBezTo>
                    <a:pt x="86017" y="20846"/>
                    <a:pt x="88546" y="15920"/>
                    <a:pt x="87070" y="11322"/>
                  </a:cubicBezTo>
                  <a:cubicBezTo>
                    <a:pt x="85592" y="6724"/>
                    <a:pt x="80664" y="4194"/>
                    <a:pt x="76067" y="5672"/>
                  </a:cubicBezTo>
                  <a:cubicBezTo>
                    <a:pt x="75870" y="5735"/>
                    <a:pt x="75678" y="5805"/>
                    <a:pt x="75486" y="5881"/>
                  </a:cubicBezTo>
                  <a:lnTo>
                    <a:pt x="74719" y="6188"/>
                  </a:lnTo>
                  <a:lnTo>
                    <a:pt x="63417" y="10868"/>
                  </a:lnTo>
                  <a:cubicBezTo>
                    <a:pt x="58819" y="12346"/>
                    <a:pt x="56290" y="17271"/>
                    <a:pt x="57765" y="21870"/>
                  </a:cubicBezTo>
                  <a:cubicBezTo>
                    <a:pt x="59243" y="26468"/>
                    <a:pt x="64171" y="28998"/>
                    <a:pt x="68769" y="27520"/>
                  </a:cubicBezTo>
                  <a:cubicBezTo>
                    <a:pt x="68966" y="27457"/>
                    <a:pt x="69157" y="27387"/>
                    <a:pt x="69349" y="27310"/>
                  </a:cubicBezTo>
                  <a:close/>
                  <a:moveTo>
                    <a:pt x="40709" y="49506"/>
                  </a:moveTo>
                  <a:lnTo>
                    <a:pt x="49352" y="40863"/>
                  </a:lnTo>
                  <a:cubicBezTo>
                    <a:pt x="52884" y="37537"/>
                    <a:pt x="53050" y="31979"/>
                    <a:pt x="49723" y="28448"/>
                  </a:cubicBezTo>
                  <a:cubicBezTo>
                    <a:pt x="46396" y="24917"/>
                    <a:pt x="40840" y="24751"/>
                    <a:pt x="37308" y="28077"/>
                  </a:cubicBezTo>
                  <a:lnTo>
                    <a:pt x="37002" y="28384"/>
                  </a:lnTo>
                  <a:lnTo>
                    <a:pt x="28358" y="37053"/>
                  </a:lnTo>
                  <a:cubicBezTo>
                    <a:pt x="24746" y="40259"/>
                    <a:pt x="24417" y="45787"/>
                    <a:pt x="27624" y="49399"/>
                  </a:cubicBezTo>
                  <a:cubicBezTo>
                    <a:pt x="30830" y="53012"/>
                    <a:pt x="36357" y="53339"/>
                    <a:pt x="39970" y="50132"/>
                  </a:cubicBezTo>
                  <a:cubicBezTo>
                    <a:pt x="40004" y="50104"/>
                    <a:pt x="40037" y="50074"/>
                    <a:pt x="40070" y="50043"/>
                  </a:cubicBezTo>
                  <a:close/>
                  <a:moveTo>
                    <a:pt x="10919" y="86150"/>
                  </a:moveTo>
                  <a:cubicBezTo>
                    <a:pt x="15375" y="87983"/>
                    <a:pt x="20474" y="85868"/>
                    <a:pt x="22324" y="81419"/>
                  </a:cubicBezTo>
                  <a:lnTo>
                    <a:pt x="27003" y="70091"/>
                  </a:lnTo>
                  <a:cubicBezTo>
                    <a:pt x="28846" y="65636"/>
                    <a:pt x="26728" y="60530"/>
                    <a:pt x="22273" y="58686"/>
                  </a:cubicBezTo>
                  <a:cubicBezTo>
                    <a:pt x="17817" y="56842"/>
                    <a:pt x="12711" y="58962"/>
                    <a:pt x="10868" y="63417"/>
                  </a:cubicBezTo>
                  <a:lnTo>
                    <a:pt x="6188" y="74719"/>
                  </a:lnTo>
                  <a:cubicBezTo>
                    <a:pt x="4338" y="79181"/>
                    <a:pt x="6454" y="84298"/>
                    <a:pt x="10915" y="86147"/>
                  </a:cubicBezTo>
                  <a:cubicBezTo>
                    <a:pt x="10916" y="86150"/>
                    <a:pt x="10918" y="86150"/>
                    <a:pt x="10919" y="86150"/>
                  </a:cubicBezTo>
                  <a:close/>
                </a:path>
              </a:pathLst>
            </a:custGeom>
            <a:grpFill/>
            <a:ln w="2521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4C6CC449-1F66-644C-B785-C7A21A940673}"/>
                </a:ext>
              </a:extLst>
            </p:cNvPr>
            <p:cNvSpPr/>
            <p:nvPr/>
          </p:nvSpPr>
          <p:spPr>
            <a:xfrm>
              <a:off x="5425470" y="350130"/>
              <a:ext cx="186184" cy="186209"/>
            </a:xfrm>
            <a:custGeom>
              <a:avLst/>
              <a:gdLst>
                <a:gd name="connsiteX0" fmla="*/ 175419 w 186184"/>
                <a:gd name="connsiteY0" fmla="*/ 186210 h 186209"/>
                <a:gd name="connsiteX1" fmla="*/ 10766 w 186184"/>
                <a:gd name="connsiteY1" fmla="*/ 186210 h 186209"/>
                <a:gd name="connsiteX2" fmla="*/ 0 w 186184"/>
                <a:gd name="connsiteY2" fmla="*/ 175495 h 186209"/>
                <a:gd name="connsiteX3" fmla="*/ 0 w 186184"/>
                <a:gd name="connsiteY3" fmla="*/ 175444 h 186209"/>
                <a:gd name="connsiteX4" fmla="*/ 0 w 186184"/>
                <a:gd name="connsiteY4" fmla="*/ 175444 h 186209"/>
                <a:gd name="connsiteX5" fmla="*/ 0 w 186184"/>
                <a:gd name="connsiteY5" fmla="*/ 10766 h 186209"/>
                <a:gd name="connsiteX6" fmla="*/ 10714 w 186184"/>
                <a:gd name="connsiteY6" fmla="*/ 0 h 186209"/>
                <a:gd name="connsiteX7" fmla="*/ 175419 w 186184"/>
                <a:gd name="connsiteY7" fmla="*/ 0 h 186209"/>
                <a:gd name="connsiteX8" fmla="*/ 186184 w 186184"/>
                <a:gd name="connsiteY8" fmla="*/ 10714 h 186209"/>
                <a:gd name="connsiteX9" fmla="*/ 186184 w 186184"/>
                <a:gd name="connsiteY9" fmla="*/ 10766 h 186209"/>
                <a:gd name="connsiteX10" fmla="*/ 186184 w 186184"/>
                <a:gd name="connsiteY10" fmla="*/ 175342 h 186209"/>
                <a:gd name="connsiteX11" fmla="*/ 175419 w 186184"/>
                <a:gd name="connsiteY11" fmla="*/ 186133 h 186209"/>
                <a:gd name="connsiteX12" fmla="*/ 21608 w 186184"/>
                <a:gd name="connsiteY12" fmla="*/ 164653 h 186209"/>
                <a:gd name="connsiteX13" fmla="*/ 164807 w 186184"/>
                <a:gd name="connsiteY13" fmla="*/ 164653 h 186209"/>
                <a:gd name="connsiteX14" fmla="*/ 164807 w 186184"/>
                <a:gd name="connsiteY14" fmla="*/ 21454 h 186209"/>
                <a:gd name="connsiteX15" fmla="*/ 21608 w 186184"/>
                <a:gd name="connsiteY15" fmla="*/ 21454 h 18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6184" h="186209">
                  <a:moveTo>
                    <a:pt x="175419" y="186210"/>
                  </a:moveTo>
                  <a:lnTo>
                    <a:pt x="10766" y="186210"/>
                  </a:lnTo>
                  <a:cubicBezTo>
                    <a:pt x="4834" y="186224"/>
                    <a:pt x="14" y="181427"/>
                    <a:pt x="0" y="175495"/>
                  </a:cubicBezTo>
                  <a:cubicBezTo>
                    <a:pt x="0" y="175478"/>
                    <a:pt x="0" y="175461"/>
                    <a:pt x="0" y="175444"/>
                  </a:cubicBezTo>
                  <a:lnTo>
                    <a:pt x="0" y="175444"/>
                  </a:lnTo>
                  <a:lnTo>
                    <a:pt x="0" y="10766"/>
                  </a:lnTo>
                  <a:cubicBezTo>
                    <a:pt x="-14" y="4834"/>
                    <a:pt x="4783" y="14"/>
                    <a:pt x="10714" y="0"/>
                  </a:cubicBezTo>
                  <a:lnTo>
                    <a:pt x="175419" y="0"/>
                  </a:lnTo>
                  <a:cubicBezTo>
                    <a:pt x="181351" y="-14"/>
                    <a:pt x="186169" y="4783"/>
                    <a:pt x="186184" y="10714"/>
                  </a:cubicBezTo>
                  <a:cubicBezTo>
                    <a:pt x="186184" y="10731"/>
                    <a:pt x="186184" y="10748"/>
                    <a:pt x="186184" y="10766"/>
                  </a:cubicBezTo>
                  <a:lnTo>
                    <a:pt x="186184" y="175342"/>
                  </a:lnTo>
                  <a:cubicBezTo>
                    <a:pt x="186184" y="181292"/>
                    <a:pt x="181369" y="186119"/>
                    <a:pt x="175419" y="186133"/>
                  </a:cubicBezTo>
                  <a:close/>
                  <a:moveTo>
                    <a:pt x="21608" y="164653"/>
                  </a:moveTo>
                  <a:lnTo>
                    <a:pt x="164807" y="164653"/>
                  </a:lnTo>
                  <a:lnTo>
                    <a:pt x="164807" y="21454"/>
                  </a:lnTo>
                  <a:lnTo>
                    <a:pt x="21608" y="21454"/>
                  </a:lnTo>
                  <a:close/>
                </a:path>
              </a:pathLst>
            </a:custGeom>
            <a:grpFill/>
            <a:ln w="2521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CD551861-8E87-9840-9A53-622E4E141781}"/>
                </a:ext>
              </a:extLst>
            </p:cNvPr>
            <p:cNvSpPr/>
            <p:nvPr/>
          </p:nvSpPr>
          <p:spPr>
            <a:xfrm>
              <a:off x="5211822" y="350130"/>
              <a:ext cx="186184" cy="186209"/>
            </a:xfrm>
            <a:custGeom>
              <a:avLst/>
              <a:gdLst>
                <a:gd name="connsiteX0" fmla="*/ 175419 w 186184"/>
                <a:gd name="connsiteY0" fmla="*/ 186210 h 186209"/>
                <a:gd name="connsiteX1" fmla="*/ 10766 w 186184"/>
                <a:gd name="connsiteY1" fmla="*/ 186210 h 186209"/>
                <a:gd name="connsiteX2" fmla="*/ 0 w 186184"/>
                <a:gd name="connsiteY2" fmla="*/ 175495 h 186209"/>
                <a:gd name="connsiteX3" fmla="*/ 0 w 186184"/>
                <a:gd name="connsiteY3" fmla="*/ 175444 h 186209"/>
                <a:gd name="connsiteX4" fmla="*/ 0 w 186184"/>
                <a:gd name="connsiteY4" fmla="*/ 175444 h 186209"/>
                <a:gd name="connsiteX5" fmla="*/ 0 w 186184"/>
                <a:gd name="connsiteY5" fmla="*/ 10766 h 186209"/>
                <a:gd name="connsiteX6" fmla="*/ 10714 w 186184"/>
                <a:gd name="connsiteY6" fmla="*/ 0 h 186209"/>
                <a:gd name="connsiteX7" fmla="*/ 175419 w 186184"/>
                <a:gd name="connsiteY7" fmla="*/ 0 h 186209"/>
                <a:gd name="connsiteX8" fmla="*/ 186184 w 186184"/>
                <a:gd name="connsiteY8" fmla="*/ 10714 h 186209"/>
                <a:gd name="connsiteX9" fmla="*/ 186184 w 186184"/>
                <a:gd name="connsiteY9" fmla="*/ 10766 h 186209"/>
                <a:gd name="connsiteX10" fmla="*/ 186184 w 186184"/>
                <a:gd name="connsiteY10" fmla="*/ 10766 h 186209"/>
                <a:gd name="connsiteX11" fmla="*/ 186184 w 186184"/>
                <a:gd name="connsiteY11" fmla="*/ 175342 h 186209"/>
                <a:gd name="connsiteX12" fmla="*/ 175419 w 186184"/>
                <a:gd name="connsiteY12" fmla="*/ 186133 h 186209"/>
                <a:gd name="connsiteX13" fmla="*/ 21557 w 186184"/>
                <a:gd name="connsiteY13" fmla="*/ 164653 h 186209"/>
                <a:gd name="connsiteX14" fmla="*/ 164756 w 186184"/>
                <a:gd name="connsiteY14" fmla="*/ 164653 h 186209"/>
                <a:gd name="connsiteX15" fmla="*/ 164756 w 186184"/>
                <a:gd name="connsiteY15" fmla="*/ 21454 h 186209"/>
                <a:gd name="connsiteX16" fmla="*/ 21557 w 186184"/>
                <a:gd name="connsiteY16" fmla="*/ 21454 h 18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6184" h="186209">
                  <a:moveTo>
                    <a:pt x="175419" y="186210"/>
                  </a:moveTo>
                  <a:lnTo>
                    <a:pt x="10766" y="186210"/>
                  </a:lnTo>
                  <a:cubicBezTo>
                    <a:pt x="4834" y="186224"/>
                    <a:pt x="14" y="181427"/>
                    <a:pt x="0" y="175495"/>
                  </a:cubicBezTo>
                  <a:cubicBezTo>
                    <a:pt x="0" y="175478"/>
                    <a:pt x="0" y="175461"/>
                    <a:pt x="0" y="175444"/>
                  </a:cubicBezTo>
                  <a:lnTo>
                    <a:pt x="0" y="175444"/>
                  </a:lnTo>
                  <a:lnTo>
                    <a:pt x="0" y="10766"/>
                  </a:lnTo>
                  <a:cubicBezTo>
                    <a:pt x="-14" y="4834"/>
                    <a:pt x="4783" y="14"/>
                    <a:pt x="10714" y="0"/>
                  </a:cubicBezTo>
                  <a:lnTo>
                    <a:pt x="175419" y="0"/>
                  </a:lnTo>
                  <a:cubicBezTo>
                    <a:pt x="181350" y="-14"/>
                    <a:pt x="186170" y="4783"/>
                    <a:pt x="186184" y="10714"/>
                  </a:cubicBezTo>
                  <a:cubicBezTo>
                    <a:pt x="186184" y="10731"/>
                    <a:pt x="186184" y="10748"/>
                    <a:pt x="186184" y="10766"/>
                  </a:cubicBezTo>
                  <a:lnTo>
                    <a:pt x="186184" y="10766"/>
                  </a:lnTo>
                  <a:lnTo>
                    <a:pt x="186184" y="175342"/>
                  </a:lnTo>
                  <a:cubicBezTo>
                    <a:pt x="186184" y="181292"/>
                    <a:pt x="181368" y="186119"/>
                    <a:pt x="175419" y="186133"/>
                  </a:cubicBezTo>
                  <a:close/>
                  <a:moveTo>
                    <a:pt x="21557" y="164653"/>
                  </a:moveTo>
                  <a:lnTo>
                    <a:pt x="164756" y="164653"/>
                  </a:lnTo>
                  <a:lnTo>
                    <a:pt x="164756" y="21454"/>
                  </a:lnTo>
                  <a:lnTo>
                    <a:pt x="21557" y="21454"/>
                  </a:lnTo>
                  <a:close/>
                </a:path>
              </a:pathLst>
            </a:custGeom>
            <a:grpFill/>
            <a:ln w="2521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532B34D8-4143-FC43-BC50-C6ED0BE858D3}"/>
                </a:ext>
              </a:extLst>
            </p:cNvPr>
            <p:cNvSpPr/>
            <p:nvPr/>
          </p:nvSpPr>
          <p:spPr>
            <a:xfrm>
              <a:off x="5211822" y="557897"/>
              <a:ext cx="186209" cy="186209"/>
            </a:xfrm>
            <a:custGeom>
              <a:avLst/>
              <a:gdLst>
                <a:gd name="connsiteX0" fmla="*/ 175419 w 186209"/>
                <a:gd name="connsiteY0" fmla="*/ 186210 h 186209"/>
                <a:gd name="connsiteX1" fmla="*/ 10766 w 186209"/>
                <a:gd name="connsiteY1" fmla="*/ 186210 h 186209"/>
                <a:gd name="connsiteX2" fmla="*/ 0 w 186209"/>
                <a:gd name="connsiteY2" fmla="*/ 175495 h 186209"/>
                <a:gd name="connsiteX3" fmla="*/ 0 w 186209"/>
                <a:gd name="connsiteY3" fmla="*/ 175444 h 186209"/>
                <a:gd name="connsiteX4" fmla="*/ 0 w 186209"/>
                <a:gd name="connsiteY4" fmla="*/ 175444 h 186209"/>
                <a:gd name="connsiteX5" fmla="*/ 0 w 186209"/>
                <a:gd name="connsiteY5" fmla="*/ 10765 h 186209"/>
                <a:gd name="connsiteX6" fmla="*/ 10714 w 186209"/>
                <a:gd name="connsiteY6" fmla="*/ 0 h 186209"/>
                <a:gd name="connsiteX7" fmla="*/ 175419 w 186209"/>
                <a:gd name="connsiteY7" fmla="*/ 0 h 186209"/>
                <a:gd name="connsiteX8" fmla="*/ 186210 w 186209"/>
                <a:gd name="connsiteY8" fmla="*/ 10791 h 186209"/>
                <a:gd name="connsiteX9" fmla="*/ 186210 w 186209"/>
                <a:gd name="connsiteY9" fmla="*/ 175419 h 186209"/>
                <a:gd name="connsiteX10" fmla="*/ 175419 w 186209"/>
                <a:gd name="connsiteY10" fmla="*/ 186210 h 186209"/>
                <a:gd name="connsiteX11" fmla="*/ 21557 w 186209"/>
                <a:gd name="connsiteY11" fmla="*/ 164653 h 186209"/>
                <a:gd name="connsiteX12" fmla="*/ 164756 w 186209"/>
                <a:gd name="connsiteY12" fmla="*/ 164653 h 186209"/>
                <a:gd name="connsiteX13" fmla="*/ 164756 w 186209"/>
                <a:gd name="connsiteY13" fmla="*/ 21454 h 186209"/>
                <a:gd name="connsiteX14" fmla="*/ 21557 w 186209"/>
                <a:gd name="connsiteY14" fmla="*/ 21454 h 18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6209" h="186209">
                  <a:moveTo>
                    <a:pt x="175419" y="186210"/>
                  </a:moveTo>
                  <a:lnTo>
                    <a:pt x="10766" y="186210"/>
                  </a:lnTo>
                  <a:cubicBezTo>
                    <a:pt x="4834" y="186225"/>
                    <a:pt x="14" y="181428"/>
                    <a:pt x="0" y="175495"/>
                  </a:cubicBezTo>
                  <a:cubicBezTo>
                    <a:pt x="0" y="175477"/>
                    <a:pt x="0" y="175462"/>
                    <a:pt x="0" y="175444"/>
                  </a:cubicBezTo>
                  <a:lnTo>
                    <a:pt x="0" y="175444"/>
                  </a:lnTo>
                  <a:lnTo>
                    <a:pt x="0" y="10765"/>
                  </a:lnTo>
                  <a:cubicBezTo>
                    <a:pt x="-14" y="4834"/>
                    <a:pt x="4783" y="14"/>
                    <a:pt x="10714" y="0"/>
                  </a:cubicBezTo>
                  <a:lnTo>
                    <a:pt x="175419" y="0"/>
                  </a:lnTo>
                  <a:cubicBezTo>
                    <a:pt x="181378" y="0"/>
                    <a:pt x="186210" y="4831"/>
                    <a:pt x="186210" y="10791"/>
                  </a:cubicBezTo>
                  <a:lnTo>
                    <a:pt x="186210" y="175419"/>
                  </a:lnTo>
                  <a:cubicBezTo>
                    <a:pt x="186196" y="181372"/>
                    <a:pt x="181373" y="186197"/>
                    <a:pt x="175419" y="186210"/>
                  </a:cubicBezTo>
                  <a:close/>
                  <a:moveTo>
                    <a:pt x="21557" y="164653"/>
                  </a:moveTo>
                  <a:lnTo>
                    <a:pt x="164756" y="164653"/>
                  </a:lnTo>
                  <a:lnTo>
                    <a:pt x="164756" y="21454"/>
                  </a:lnTo>
                  <a:lnTo>
                    <a:pt x="21557" y="21454"/>
                  </a:lnTo>
                  <a:close/>
                </a:path>
              </a:pathLst>
            </a:custGeom>
            <a:grpFill/>
            <a:ln w="2521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19F67F32-D41C-AC41-9ABF-F5B6ACC0F225}"/>
                </a:ext>
              </a:extLst>
            </p:cNvPr>
            <p:cNvSpPr/>
            <p:nvPr/>
          </p:nvSpPr>
          <p:spPr>
            <a:xfrm>
              <a:off x="5497555" y="627067"/>
              <a:ext cx="87428" cy="87952"/>
            </a:xfrm>
            <a:custGeom>
              <a:avLst/>
              <a:gdLst>
                <a:gd name="connsiteX0" fmla="*/ 43701 w 87428"/>
                <a:gd name="connsiteY0" fmla="*/ 0 h 87952"/>
                <a:gd name="connsiteX1" fmla="*/ 34981 w 87428"/>
                <a:gd name="connsiteY1" fmla="*/ 8745 h 87952"/>
                <a:gd name="connsiteX2" fmla="*/ 34981 w 87428"/>
                <a:gd name="connsiteY2" fmla="*/ 35033 h 87952"/>
                <a:gd name="connsiteX3" fmla="*/ 8745 w 87428"/>
                <a:gd name="connsiteY3" fmla="*/ 35033 h 87952"/>
                <a:gd name="connsiteX4" fmla="*/ 0 w 87428"/>
                <a:gd name="connsiteY4" fmla="*/ 43778 h 87952"/>
                <a:gd name="connsiteX5" fmla="*/ 8745 w 87428"/>
                <a:gd name="connsiteY5" fmla="*/ 52523 h 87952"/>
                <a:gd name="connsiteX6" fmla="*/ 34981 w 87428"/>
                <a:gd name="connsiteY6" fmla="*/ 52523 h 87952"/>
                <a:gd name="connsiteX7" fmla="*/ 34981 w 87428"/>
                <a:gd name="connsiteY7" fmla="*/ 78734 h 87952"/>
                <a:gd name="connsiteX8" fmla="*/ 43241 w 87428"/>
                <a:gd name="connsiteY8" fmla="*/ 87939 h 87952"/>
                <a:gd name="connsiteX9" fmla="*/ 52447 w 87428"/>
                <a:gd name="connsiteY9" fmla="*/ 79680 h 87952"/>
                <a:gd name="connsiteX10" fmla="*/ 52447 w 87428"/>
                <a:gd name="connsiteY10" fmla="*/ 78734 h 87952"/>
                <a:gd name="connsiteX11" fmla="*/ 52447 w 87428"/>
                <a:gd name="connsiteY11" fmla="*/ 52447 h 87952"/>
                <a:gd name="connsiteX12" fmla="*/ 78683 w 87428"/>
                <a:gd name="connsiteY12" fmla="*/ 52447 h 87952"/>
                <a:gd name="connsiteX13" fmla="*/ 87428 w 87428"/>
                <a:gd name="connsiteY13" fmla="*/ 43701 h 87952"/>
                <a:gd name="connsiteX14" fmla="*/ 78683 w 87428"/>
                <a:gd name="connsiteY14" fmla="*/ 34956 h 87952"/>
                <a:gd name="connsiteX15" fmla="*/ 52549 w 87428"/>
                <a:gd name="connsiteY15" fmla="*/ 34956 h 87952"/>
                <a:gd name="connsiteX16" fmla="*/ 52549 w 87428"/>
                <a:gd name="connsiteY16" fmla="*/ 8745 h 87952"/>
                <a:gd name="connsiteX17" fmla="*/ 43804 w 87428"/>
                <a:gd name="connsiteY17" fmla="*/ 0 h 8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7428" h="87952">
                  <a:moveTo>
                    <a:pt x="43701" y="0"/>
                  </a:moveTo>
                  <a:cubicBezTo>
                    <a:pt x="38886" y="28"/>
                    <a:pt x="34994" y="3930"/>
                    <a:pt x="34981" y="8745"/>
                  </a:cubicBezTo>
                  <a:lnTo>
                    <a:pt x="34981" y="35033"/>
                  </a:lnTo>
                  <a:lnTo>
                    <a:pt x="8745" y="35033"/>
                  </a:lnTo>
                  <a:cubicBezTo>
                    <a:pt x="3915" y="35033"/>
                    <a:pt x="0" y="38948"/>
                    <a:pt x="0" y="43778"/>
                  </a:cubicBezTo>
                  <a:cubicBezTo>
                    <a:pt x="0" y="48608"/>
                    <a:pt x="3915" y="52523"/>
                    <a:pt x="8745" y="52523"/>
                  </a:cubicBezTo>
                  <a:lnTo>
                    <a:pt x="34981" y="52523"/>
                  </a:lnTo>
                  <a:lnTo>
                    <a:pt x="34981" y="78734"/>
                  </a:lnTo>
                  <a:cubicBezTo>
                    <a:pt x="34721" y="83557"/>
                    <a:pt x="38418" y="87679"/>
                    <a:pt x="43241" y="87939"/>
                  </a:cubicBezTo>
                  <a:cubicBezTo>
                    <a:pt x="48064" y="88200"/>
                    <a:pt x="52186" y="84503"/>
                    <a:pt x="52447" y="79680"/>
                  </a:cubicBezTo>
                  <a:cubicBezTo>
                    <a:pt x="52472" y="79365"/>
                    <a:pt x="52472" y="79048"/>
                    <a:pt x="52447" y="78734"/>
                  </a:cubicBezTo>
                  <a:lnTo>
                    <a:pt x="52447" y="52447"/>
                  </a:lnTo>
                  <a:lnTo>
                    <a:pt x="78683" y="52447"/>
                  </a:lnTo>
                  <a:cubicBezTo>
                    <a:pt x="83513" y="52447"/>
                    <a:pt x="87428" y="48532"/>
                    <a:pt x="87428" y="43701"/>
                  </a:cubicBezTo>
                  <a:cubicBezTo>
                    <a:pt x="87428" y="38871"/>
                    <a:pt x="83513" y="34956"/>
                    <a:pt x="78683" y="34956"/>
                  </a:cubicBezTo>
                  <a:lnTo>
                    <a:pt x="52549" y="34956"/>
                  </a:lnTo>
                  <a:lnTo>
                    <a:pt x="52549" y="8745"/>
                  </a:lnTo>
                  <a:cubicBezTo>
                    <a:pt x="52549" y="3915"/>
                    <a:pt x="48634" y="0"/>
                    <a:pt x="43804" y="0"/>
                  </a:cubicBezTo>
                  <a:close/>
                </a:path>
              </a:pathLst>
            </a:custGeom>
            <a:grpFill/>
            <a:ln w="2521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1" name="Graphic 5">
            <a:extLst>
              <a:ext uri="{FF2B5EF4-FFF2-40B4-BE49-F238E27FC236}">
                <a16:creationId xmlns:a16="http://schemas.microsoft.com/office/drawing/2014/main" id="{29D2ADB5-0867-FC48-9780-59827E33A2AD}"/>
              </a:ext>
            </a:extLst>
          </p:cNvPr>
          <p:cNvGrpSpPr/>
          <p:nvPr userDrawn="1"/>
        </p:nvGrpSpPr>
        <p:grpSpPr>
          <a:xfrm>
            <a:off x="5627556" y="4573153"/>
            <a:ext cx="373977" cy="366000"/>
            <a:chOff x="7467207" y="5957845"/>
            <a:chExt cx="522111" cy="522111"/>
          </a:xfrm>
          <a:solidFill>
            <a:schemeClr val="bg1"/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4707D70F-8E2D-1541-895A-FC59125DDC7A}"/>
                </a:ext>
              </a:extLst>
            </p:cNvPr>
            <p:cNvSpPr/>
            <p:nvPr/>
          </p:nvSpPr>
          <p:spPr>
            <a:xfrm>
              <a:off x="7683453" y="6423893"/>
              <a:ext cx="95201" cy="46919"/>
            </a:xfrm>
            <a:custGeom>
              <a:avLst/>
              <a:gdLst>
                <a:gd name="connsiteX0" fmla="*/ 85110 w 95201"/>
                <a:gd name="connsiteY0" fmla="*/ 1 h 46919"/>
                <a:gd name="connsiteX1" fmla="*/ 10056 w 95201"/>
                <a:gd name="connsiteY1" fmla="*/ 1 h 46919"/>
                <a:gd name="connsiteX2" fmla="*/ 1 w 95201"/>
                <a:gd name="connsiteY2" fmla="*/ 9849 h 46919"/>
                <a:gd name="connsiteX3" fmla="*/ 495 w 95201"/>
                <a:gd name="connsiteY3" fmla="*/ 13054 h 46919"/>
                <a:gd name="connsiteX4" fmla="*/ 63446 w 95201"/>
                <a:gd name="connsiteY4" fmla="*/ 44312 h 46919"/>
                <a:gd name="connsiteX5" fmla="*/ 94704 w 95201"/>
                <a:gd name="connsiteY5" fmla="*/ 13054 h 46919"/>
                <a:gd name="connsiteX6" fmla="*/ 88347 w 95201"/>
                <a:gd name="connsiteY6" fmla="*/ 497 h 46919"/>
                <a:gd name="connsiteX7" fmla="*/ 85110 w 95201"/>
                <a:gd name="connsiteY7" fmla="*/ 1 h 4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01" h="46919">
                  <a:moveTo>
                    <a:pt x="85110" y="1"/>
                  </a:moveTo>
                  <a:lnTo>
                    <a:pt x="10056" y="1"/>
                  </a:lnTo>
                  <a:cubicBezTo>
                    <a:pt x="4560" y="-58"/>
                    <a:pt x="58" y="4354"/>
                    <a:pt x="1" y="9849"/>
                  </a:cubicBezTo>
                  <a:cubicBezTo>
                    <a:pt x="-11" y="10936"/>
                    <a:pt x="156" y="12019"/>
                    <a:pt x="495" y="13054"/>
                  </a:cubicBezTo>
                  <a:cubicBezTo>
                    <a:pt x="9247" y="39068"/>
                    <a:pt x="37432" y="53064"/>
                    <a:pt x="63446" y="44312"/>
                  </a:cubicBezTo>
                  <a:cubicBezTo>
                    <a:pt x="78181" y="39355"/>
                    <a:pt x="89747" y="27787"/>
                    <a:pt x="94704" y="13054"/>
                  </a:cubicBezTo>
                  <a:cubicBezTo>
                    <a:pt x="96416" y="7829"/>
                    <a:pt x="93570" y="2207"/>
                    <a:pt x="88347" y="497"/>
                  </a:cubicBezTo>
                  <a:cubicBezTo>
                    <a:pt x="87303" y="154"/>
                    <a:pt x="86209" y="-15"/>
                    <a:pt x="85110" y="1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BAE25FDE-B710-0949-8D61-2674766570CB}"/>
                </a:ext>
              </a:extLst>
            </p:cNvPr>
            <p:cNvSpPr/>
            <p:nvPr/>
          </p:nvSpPr>
          <p:spPr>
            <a:xfrm>
              <a:off x="7531074" y="6011981"/>
              <a:ext cx="404139" cy="398966"/>
            </a:xfrm>
            <a:custGeom>
              <a:avLst/>
              <a:gdLst>
                <a:gd name="connsiteX0" fmla="*/ 368962 w 404139"/>
                <a:gd name="connsiteY0" fmla="*/ 398958 h 398966"/>
                <a:gd name="connsiteX1" fmla="*/ 35203 w 404139"/>
                <a:gd name="connsiteY1" fmla="*/ 398958 h 398966"/>
                <a:gd name="connsiteX2" fmla="*/ 3485 w 404139"/>
                <a:gd name="connsiteY2" fmla="*/ 380260 h 398966"/>
                <a:gd name="connsiteX3" fmla="*/ 6128 w 404139"/>
                <a:gd name="connsiteY3" fmla="*/ 347628 h 398966"/>
                <a:gd name="connsiteX4" fmla="*/ 50344 w 404139"/>
                <a:gd name="connsiteY4" fmla="*/ 306218 h 398966"/>
                <a:gd name="connsiteX5" fmla="*/ 50344 w 404139"/>
                <a:gd name="connsiteY5" fmla="*/ 191778 h 398966"/>
                <a:gd name="connsiteX6" fmla="*/ 155517 w 404139"/>
                <a:gd name="connsiteY6" fmla="*/ 49209 h 398966"/>
                <a:gd name="connsiteX7" fmla="*/ 155517 w 404139"/>
                <a:gd name="connsiteY7" fmla="*/ 44151 h 398966"/>
                <a:gd name="connsiteX8" fmla="*/ 199668 w 404139"/>
                <a:gd name="connsiteY8" fmla="*/ 0 h 398966"/>
                <a:gd name="connsiteX9" fmla="*/ 243819 w 404139"/>
                <a:gd name="connsiteY9" fmla="*/ 44151 h 398966"/>
                <a:gd name="connsiteX10" fmla="*/ 243819 w 404139"/>
                <a:gd name="connsiteY10" fmla="*/ 49372 h 398966"/>
                <a:gd name="connsiteX11" fmla="*/ 348633 w 404139"/>
                <a:gd name="connsiteY11" fmla="*/ 191778 h 398966"/>
                <a:gd name="connsiteX12" fmla="*/ 348633 w 404139"/>
                <a:gd name="connsiteY12" fmla="*/ 306381 h 398966"/>
                <a:gd name="connsiteX13" fmla="*/ 395101 w 404139"/>
                <a:gd name="connsiteY13" fmla="*/ 344397 h 398966"/>
                <a:gd name="connsiteX14" fmla="*/ 396830 w 404139"/>
                <a:gd name="connsiteY14" fmla="*/ 346127 h 398966"/>
                <a:gd name="connsiteX15" fmla="*/ 401072 w 404139"/>
                <a:gd name="connsiteY15" fmla="*/ 379412 h 398966"/>
                <a:gd name="connsiteX16" fmla="*/ 368962 w 404139"/>
                <a:gd name="connsiteY16" fmla="*/ 398958 h 398966"/>
                <a:gd name="connsiteX17" fmla="*/ 69205 w 404139"/>
                <a:gd name="connsiteY17" fmla="*/ 321947 h 398966"/>
                <a:gd name="connsiteX18" fmla="*/ 24239 w 404139"/>
                <a:gd name="connsiteY18" fmla="*/ 363813 h 398966"/>
                <a:gd name="connsiteX19" fmla="*/ 25152 w 404139"/>
                <a:gd name="connsiteY19" fmla="*/ 369132 h 398966"/>
                <a:gd name="connsiteX20" fmla="*/ 34942 w 404139"/>
                <a:gd name="connsiteY20" fmla="*/ 374484 h 398966"/>
                <a:gd name="connsiteX21" fmla="*/ 368962 w 404139"/>
                <a:gd name="connsiteY21" fmla="*/ 374484 h 398966"/>
                <a:gd name="connsiteX22" fmla="*/ 378948 w 404139"/>
                <a:gd name="connsiteY22" fmla="*/ 368937 h 398966"/>
                <a:gd name="connsiteX23" fmla="*/ 378491 w 404139"/>
                <a:gd name="connsiteY23" fmla="*/ 362410 h 398966"/>
                <a:gd name="connsiteX24" fmla="*/ 328629 w 404139"/>
                <a:gd name="connsiteY24" fmla="*/ 321653 h 398966"/>
                <a:gd name="connsiteX25" fmla="*/ 324159 w 404139"/>
                <a:gd name="connsiteY25" fmla="*/ 312190 h 398966"/>
                <a:gd name="connsiteX26" fmla="*/ 324159 w 404139"/>
                <a:gd name="connsiteY26" fmla="*/ 191778 h 398966"/>
                <a:gd name="connsiteX27" fmla="*/ 228678 w 404139"/>
                <a:gd name="connsiteY27" fmla="*/ 70550 h 398966"/>
                <a:gd name="connsiteX28" fmla="*/ 219345 w 404139"/>
                <a:gd name="connsiteY28" fmla="*/ 58672 h 398966"/>
                <a:gd name="connsiteX29" fmla="*/ 219345 w 404139"/>
                <a:gd name="connsiteY29" fmla="*/ 44151 h 398966"/>
                <a:gd name="connsiteX30" fmla="*/ 199668 w 404139"/>
                <a:gd name="connsiteY30" fmla="*/ 24474 h 398966"/>
                <a:gd name="connsiteX31" fmla="*/ 179991 w 404139"/>
                <a:gd name="connsiteY31" fmla="*/ 44151 h 398966"/>
                <a:gd name="connsiteX32" fmla="*/ 179991 w 404139"/>
                <a:gd name="connsiteY32" fmla="*/ 58542 h 398966"/>
                <a:gd name="connsiteX33" fmla="*/ 170593 w 404139"/>
                <a:gd name="connsiteY33" fmla="*/ 70452 h 398966"/>
                <a:gd name="connsiteX34" fmla="*/ 74655 w 404139"/>
                <a:gd name="connsiteY34" fmla="*/ 191778 h 398966"/>
                <a:gd name="connsiteX35" fmla="*/ 74655 w 404139"/>
                <a:gd name="connsiteY35" fmla="*/ 311733 h 398966"/>
                <a:gd name="connsiteX36" fmla="*/ 69205 w 404139"/>
                <a:gd name="connsiteY36" fmla="*/ 321947 h 398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04139" h="398966">
                  <a:moveTo>
                    <a:pt x="368962" y="398958"/>
                  </a:moveTo>
                  <a:lnTo>
                    <a:pt x="35203" y="398958"/>
                  </a:lnTo>
                  <a:cubicBezTo>
                    <a:pt x="21952" y="399200"/>
                    <a:pt x="9691" y="391972"/>
                    <a:pt x="3485" y="380260"/>
                  </a:cubicBezTo>
                  <a:cubicBezTo>
                    <a:pt x="-1982" y="369779"/>
                    <a:pt x="-954" y="357091"/>
                    <a:pt x="6128" y="347628"/>
                  </a:cubicBezTo>
                  <a:lnTo>
                    <a:pt x="50344" y="306218"/>
                  </a:lnTo>
                  <a:lnTo>
                    <a:pt x="50344" y="191778"/>
                  </a:lnTo>
                  <a:cubicBezTo>
                    <a:pt x="50198" y="126286"/>
                    <a:pt x="92899" y="68401"/>
                    <a:pt x="155517" y="49209"/>
                  </a:cubicBezTo>
                  <a:lnTo>
                    <a:pt x="155517" y="44151"/>
                  </a:lnTo>
                  <a:cubicBezTo>
                    <a:pt x="155517" y="19767"/>
                    <a:pt x="175284" y="0"/>
                    <a:pt x="199668" y="0"/>
                  </a:cubicBezTo>
                  <a:cubicBezTo>
                    <a:pt x="224052" y="0"/>
                    <a:pt x="243819" y="19767"/>
                    <a:pt x="243819" y="44151"/>
                  </a:cubicBezTo>
                  <a:lnTo>
                    <a:pt x="243819" y="49372"/>
                  </a:lnTo>
                  <a:cubicBezTo>
                    <a:pt x="306211" y="68712"/>
                    <a:pt x="348711" y="126458"/>
                    <a:pt x="348633" y="191778"/>
                  </a:cubicBezTo>
                  <a:lnTo>
                    <a:pt x="348633" y="306381"/>
                  </a:lnTo>
                  <a:lnTo>
                    <a:pt x="395101" y="344397"/>
                  </a:lnTo>
                  <a:cubicBezTo>
                    <a:pt x="395747" y="344900"/>
                    <a:pt x="396327" y="345481"/>
                    <a:pt x="396830" y="346127"/>
                  </a:cubicBezTo>
                  <a:cubicBezTo>
                    <a:pt x="404707" y="355404"/>
                    <a:pt x="406372" y="368454"/>
                    <a:pt x="401072" y="379412"/>
                  </a:cubicBezTo>
                  <a:cubicBezTo>
                    <a:pt x="395094" y="391629"/>
                    <a:pt x="382560" y="399262"/>
                    <a:pt x="368962" y="398958"/>
                  </a:cubicBezTo>
                  <a:close/>
                  <a:moveTo>
                    <a:pt x="69205" y="321947"/>
                  </a:moveTo>
                  <a:lnTo>
                    <a:pt x="24239" y="363813"/>
                  </a:lnTo>
                  <a:cubicBezTo>
                    <a:pt x="24001" y="365638"/>
                    <a:pt x="24319" y="367491"/>
                    <a:pt x="25152" y="369132"/>
                  </a:cubicBezTo>
                  <a:cubicBezTo>
                    <a:pt x="27165" y="372598"/>
                    <a:pt x="30937" y="374660"/>
                    <a:pt x="34942" y="374484"/>
                  </a:cubicBezTo>
                  <a:lnTo>
                    <a:pt x="368962" y="374484"/>
                  </a:lnTo>
                  <a:cubicBezTo>
                    <a:pt x="373090" y="374748"/>
                    <a:pt x="376990" y="372578"/>
                    <a:pt x="378948" y="368937"/>
                  </a:cubicBezTo>
                  <a:cubicBezTo>
                    <a:pt x="380047" y="366852"/>
                    <a:pt x="379871" y="364323"/>
                    <a:pt x="378491" y="362410"/>
                  </a:cubicBezTo>
                  <a:lnTo>
                    <a:pt x="328629" y="321653"/>
                  </a:lnTo>
                  <a:cubicBezTo>
                    <a:pt x="325797" y="319326"/>
                    <a:pt x="324155" y="315854"/>
                    <a:pt x="324159" y="312190"/>
                  </a:cubicBezTo>
                  <a:lnTo>
                    <a:pt x="324159" y="191778"/>
                  </a:lnTo>
                  <a:cubicBezTo>
                    <a:pt x="324211" y="134145"/>
                    <a:pt x="284716" y="84003"/>
                    <a:pt x="228678" y="70550"/>
                  </a:cubicBezTo>
                  <a:cubicBezTo>
                    <a:pt x="223196" y="69223"/>
                    <a:pt x="219337" y="64312"/>
                    <a:pt x="219345" y="58672"/>
                  </a:cubicBezTo>
                  <a:lnTo>
                    <a:pt x="219345" y="44151"/>
                  </a:lnTo>
                  <a:cubicBezTo>
                    <a:pt x="219345" y="33284"/>
                    <a:pt x="210535" y="24474"/>
                    <a:pt x="199668" y="24474"/>
                  </a:cubicBezTo>
                  <a:cubicBezTo>
                    <a:pt x="188800" y="24474"/>
                    <a:pt x="179991" y="33284"/>
                    <a:pt x="179991" y="44151"/>
                  </a:cubicBezTo>
                  <a:lnTo>
                    <a:pt x="179991" y="58542"/>
                  </a:lnTo>
                  <a:cubicBezTo>
                    <a:pt x="179982" y="64205"/>
                    <a:pt x="176099" y="69127"/>
                    <a:pt x="170593" y="70452"/>
                  </a:cubicBezTo>
                  <a:cubicBezTo>
                    <a:pt x="114624" y="84186"/>
                    <a:pt x="75115" y="134151"/>
                    <a:pt x="74655" y="191778"/>
                  </a:cubicBezTo>
                  <a:lnTo>
                    <a:pt x="74655" y="311733"/>
                  </a:lnTo>
                  <a:cubicBezTo>
                    <a:pt x="74642" y="315831"/>
                    <a:pt x="72602" y="319656"/>
                    <a:pt x="69205" y="321947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4349D012-7D2A-5F41-BB53-B3C53C94C0B7}"/>
                </a:ext>
              </a:extLst>
            </p:cNvPr>
            <p:cNvSpPr/>
            <p:nvPr/>
          </p:nvSpPr>
          <p:spPr>
            <a:xfrm>
              <a:off x="7818729" y="5977037"/>
              <a:ext cx="149637" cy="149667"/>
            </a:xfrm>
            <a:custGeom>
              <a:avLst/>
              <a:gdLst>
                <a:gd name="connsiteX0" fmla="*/ 149541 w 149637"/>
                <a:gd name="connsiteY0" fmla="*/ 141944 h 149667"/>
                <a:gd name="connsiteX1" fmla="*/ 17864 w 149637"/>
                <a:gd name="connsiteY1" fmla="*/ 95 h 149667"/>
                <a:gd name="connsiteX2" fmla="*/ 7722 w 149637"/>
                <a:gd name="connsiteY2" fmla="*/ 93 h 149667"/>
                <a:gd name="connsiteX3" fmla="*/ 5 w 149637"/>
                <a:gd name="connsiteY3" fmla="*/ 8366 h 149667"/>
                <a:gd name="connsiteX4" fmla="*/ 8277 w 149637"/>
                <a:gd name="connsiteY4" fmla="*/ 16083 h 149667"/>
                <a:gd name="connsiteX5" fmla="*/ 133551 w 149637"/>
                <a:gd name="connsiteY5" fmla="*/ 132107 h 149667"/>
                <a:gd name="connsiteX6" fmla="*/ 133551 w 149637"/>
                <a:gd name="connsiteY6" fmla="*/ 141390 h 149667"/>
                <a:gd name="connsiteX7" fmla="*/ 135901 w 149637"/>
                <a:gd name="connsiteY7" fmla="*/ 147329 h 149667"/>
                <a:gd name="connsiteX8" fmla="*/ 147208 w 149637"/>
                <a:gd name="connsiteY8" fmla="*/ 147322 h 149667"/>
                <a:gd name="connsiteX9" fmla="*/ 149541 w 149637"/>
                <a:gd name="connsiteY9" fmla="*/ 141944 h 149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637" h="149667">
                  <a:moveTo>
                    <a:pt x="149541" y="141944"/>
                  </a:moveTo>
                  <a:cubicBezTo>
                    <a:pt x="152350" y="66412"/>
                    <a:pt x="93394" y="2904"/>
                    <a:pt x="17864" y="95"/>
                  </a:cubicBezTo>
                  <a:cubicBezTo>
                    <a:pt x="14484" y="-31"/>
                    <a:pt x="11103" y="-32"/>
                    <a:pt x="7722" y="93"/>
                  </a:cubicBezTo>
                  <a:cubicBezTo>
                    <a:pt x="3307" y="247"/>
                    <a:pt x="-148" y="3950"/>
                    <a:pt x="5" y="8366"/>
                  </a:cubicBezTo>
                  <a:cubicBezTo>
                    <a:pt x="158" y="12781"/>
                    <a:pt x="3862" y="16236"/>
                    <a:pt x="8277" y="16083"/>
                  </a:cubicBezTo>
                  <a:cubicBezTo>
                    <a:pt x="74912" y="13528"/>
                    <a:pt x="130996" y="65474"/>
                    <a:pt x="133551" y="132107"/>
                  </a:cubicBezTo>
                  <a:cubicBezTo>
                    <a:pt x="133672" y="135200"/>
                    <a:pt x="133672" y="138296"/>
                    <a:pt x="133551" y="141390"/>
                  </a:cubicBezTo>
                  <a:cubicBezTo>
                    <a:pt x="133496" y="143606"/>
                    <a:pt x="134344" y="145751"/>
                    <a:pt x="135901" y="147329"/>
                  </a:cubicBezTo>
                  <a:cubicBezTo>
                    <a:pt x="139023" y="150449"/>
                    <a:pt x="144088" y="150446"/>
                    <a:pt x="147208" y="147322"/>
                  </a:cubicBezTo>
                  <a:cubicBezTo>
                    <a:pt x="148637" y="145890"/>
                    <a:pt x="149472" y="143968"/>
                    <a:pt x="149541" y="141944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5B740371-3EE2-8049-9691-D4FDE9161969}"/>
                </a:ext>
              </a:extLst>
            </p:cNvPr>
            <p:cNvSpPr/>
            <p:nvPr/>
          </p:nvSpPr>
          <p:spPr>
            <a:xfrm>
              <a:off x="7815879" y="6021254"/>
              <a:ext cx="108207" cy="108234"/>
            </a:xfrm>
            <a:custGeom>
              <a:avLst/>
              <a:gdLst>
                <a:gd name="connsiteX0" fmla="*/ 108175 w 108207"/>
                <a:gd name="connsiteY0" fmla="*/ 100305 h 108234"/>
                <a:gd name="connsiteX1" fmla="*/ 12717 w 108207"/>
                <a:gd name="connsiteY1" fmla="*/ 30 h 108234"/>
                <a:gd name="connsiteX2" fmla="*/ 7995 w 108207"/>
                <a:gd name="connsiteY2" fmla="*/ 27 h 108234"/>
                <a:gd name="connsiteX3" fmla="*/ 0 w 108207"/>
                <a:gd name="connsiteY3" fmla="*/ 8022 h 108234"/>
                <a:gd name="connsiteX4" fmla="*/ 7995 w 108207"/>
                <a:gd name="connsiteY4" fmla="*/ 16017 h 108234"/>
                <a:gd name="connsiteX5" fmla="*/ 92218 w 108207"/>
                <a:gd name="connsiteY5" fmla="*/ 95740 h 108234"/>
                <a:gd name="connsiteX6" fmla="*/ 92218 w 108207"/>
                <a:gd name="connsiteY6" fmla="*/ 100240 h 108234"/>
                <a:gd name="connsiteX7" fmla="*/ 100213 w 108207"/>
                <a:gd name="connsiteY7" fmla="*/ 108235 h 108234"/>
                <a:gd name="connsiteX8" fmla="*/ 108208 w 108207"/>
                <a:gd name="connsiteY8" fmla="*/ 100240 h 10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207" h="108234">
                  <a:moveTo>
                    <a:pt x="108175" y="100305"/>
                  </a:moveTo>
                  <a:cubicBezTo>
                    <a:pt x="109506" y="46255"/>
                    <a:pt x="66768" y="1360"/>
                    <a:pt x="12717" y="30"/>
                  </a:cubicBezTo>
                  <a:cubicBezTo>
                    <a:pt x="11144" y="-9"/>
                    <a:pt x="9568" y="-10"/>
                    <a:pt x="7995" y="27"/>
                  </a:cubicBezTo>
                  <a:cubicBezTo>
                    <a:pt x="3580" y="27"/>
                    <a:pt x="0" y="3607"/>
                    <a:pt x="0" y="8022"/>
                  </a:cubicBezTo>
                  <a:cubicBezTo>
                    <a:pt x="0" y="12438"/>
                    <a:pt x="3580" y="16017"/>
                    <a:pt x="7995" y="16017"/>
                  </a:cubicBezTo>
                  <a:cubicBezTo>
                    <a:pt x="53268" y="14774"/>
                    <a:pt x="90975" y="50468"/>
                    <a:pt x="92218" y="95740"/>
                  </a:cubicBezTo>
                  <a:cubicBezTo>
                    <a:pt x="92260" y="97240"/>
                    <a:pt x="92260" y="98740"/>
                    <a:pt x="92218" y="100240"/>
                  </a:cubicBezTo>
                  <a:cubicBezTo>
                    <a:pt x="92218" y="104655"/>
                    <a:pt x="95798" y="108235"/>
                    <a:pt x="100213" y="108235"/>
                  </a:cubicBezTo>
                  <a:cubicBezTo>
                    <a:pt x="104628" y="108235"/>
                    <a:pt x="108208" y="104655"/>
                    <a:pt x="108208" y="100240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4F7269EA-550F-1A44-9EA8-89EC2E33D5F8}"/>
                </a:ext>
              </a:extLst>
            </p:cNvPr>
            <p:cNvSpPr/>
            <p:nvPr/>
          </p:nvSpPr>
          <p:spPr>
            <a:xfrm>
              <a:off x="7501500" y="5975694"/>
              <a:ext cx="149641" cy="149655"/>
            </a:xfrm>
            <a:custGeom>
              <a:avLst/>
              <a:gdLst>
                <a:gd name="connsiteX0" fmla="*/ 8357 w 149641"/>
                <a:gd name="connsiteY0" fmla="*/ 149650 h 149655"/>
                <a:gd name="connsiteX1" fmla="*/ 13741 w 149641"/>
                <a:gd name="connsiteY1" fmla="*/ 147301 h 149655"/>
                <a:gd name="connsiteX2" fmla="*/ 16090 w 149641"/>
                <a:gd name="connsiteY2" fmla="*/ 141362 h 149655"/>
                <a:gd name="connsiteX3" fmla="*/ 132116 w 149641"/>
                <a:gd name="connsiteY3" fmla="*/ 16088 h 149655"/>
                <a:gd name="connsiteX4" fmla="*/ 141365 w 149641"/>
                <a:gd name="connsiteY4" fmla="*/ 16088 h 149655"/>
                <a:gd name="connsiteX5" fmla="*/ 149637 w 149641"/>
                <a:gd name="connsiteY5" fmla="*/ 8370 h 149655"/>
                <a:gd name="connsiteX6" fmla="*/ 141919 w 149641"/>
                <a:gd name="connsiteY6" fmla="*/ 98 h 149655"/>
                <a:gd name="connsiteX7" fmla="*/ 96 w 149641"/>
                <a:gd name="connsiteY7" fmla="*/ 131669 h 149655"/>
                <a:gd name="connsiteX8" fmla="*/ 101 w 149641"/>
                <a:gd name="connsiteY8" fmla="*/ 142047 h 149655"/>
                <a:gd name="connsiteX9" fmla="*/ 8357 w 149641"/>
                <a:gd name="connsiteY9" fmla="*/ 149650 h 1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641" h="149655">
                  <a:moveTo>
                    <a:pt x="8357" y="149650"/>
                  </a:moveTo>
                  <a:cubicBezTo>
                    <a:pt x="10385" y="149582"/>
                    <a:pt x="12311" y="148741"/>
                    <a:pt x="13741" y="147301"/>
                  </a:cubicBezTo>
                  <a:cubicBezTo>
                    <a:pt x="15309" y="145729"/>
                    <a:pt x="16159" y="143580"/>
                    <a:pt x="16090" y="141362"/>
                  </a:cubicBezTo>
                  <a:cubicBezTo>
                    <a:pt x="13536" y="74729"/>
                    <a:pt x="65483" y="18642"/>
                    <a:pt x="132116" y="16088"/>
                  </a:cubicBezTo>
                  <a:cubicBezTo>
                    <a:pt x="135197" y="15969"/>
                    <a:pt x="138283" y="15969"/>
                    <a:pt x="141365" y="16088"/>
                  </a:cubicBezTo>
                  <a:cubicBezTo>
                    <a:pt x="145780" y="16241"/>
                    <a:pt x="149484" y="12786"/>
                    <a:pt x="149637" y="8370"/>
                  </a:cubicBezTo>
                  <a:cubicBezTo>
                    <a:pt x="149790" y="3955"/>
                    <a:pt x="146335" y="251"/>
                    <a:pt x="141919" y="98"/>
                  </a:cubicBezTo>
                  <a:cubicBezTo>
                    <a:pt x="66424" y="-2733"/>
                    <a:pt x="2927" y="56173"/>
                    <a:pt x="96" y="131669"/>
                  </a:cubicBezTo>
                  <a:cubicBezTo>
                    <a:pt x="-34" y="135127"/>
                    <a:pt x="-32" y="138589"/>
                    <a:pt x="101" y="142047"/>
                  </a:cubicBezTo>
                  <a:cubicBezTo>
                    <a:pt x="295" y="146420"/>
                    <a:pt x="3983" y="149816"/>
                    <a:pt x="8357" y="149650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EDD5098A-13DE-B945-87AC-2DCDFE065E64}"/>
                </a:ext>
              </a:extLst>
            </p:cNvPr>
            <p:cNvSpPr/>
            <p:nvPr/>
          </p:nvSpPr>
          <p:spPr>
            <a:xfrm>
              <a:off x="7545722" y="6019879"/>
              <a:ext cx="108879" cy="108303"/>
            </a:xfrm>
            <a:custGeom>
              <a:avLst/>
              <a:gdLst>
                <a:gd name="connsiteX0" fmla="*/ 8057 w 108879"/>
                <a:gd name="connsiteY0" fmla="*/ 108304 h 108303"/>
                <a:gd name="connsiteX1" fmla="*/ 16117 w 108879"/>
                <a:gd name="connsiteY1" fmla="*/ 100309 h 108303"/>
                <a:gd name="connsiteX2" fmla="*/ 16117 w 108879"/>
                <a:gd name="connsiteY2" fmla="*/ 100244 h 108303"/>
                <a:gd name="connsiteX3" fmla="*/ 95874 w 108879"/>
                <a:gd name="connsiteY3" fmla="*/ 16052 h 108303"/>
                <a:gd name="connsiteX4" fmla="*/ 100340 w 108879"/>
                <a:gd name="connsiteY4" fmla="*/ 16053 h 108303"/>
                <a:gd name="connsiteX5" fmla="*/ 108863 w 108879"/>
                <a:gd name="connsiteY5" fmla="*/ 8554 h 108303"/>
                <a:gd name="connsiteX6" fmla="*/ 101363 w 108879"/>
                <a:gd name="connsiteY6" fmla="*/ 31 h 108303"/>
                <a:gd name="connsiteX7" fmla="*/ 100340 w 108879"/>
                <a:gd name="connsiteY7" fmla="*/ 31 h 108303"/>
                <a:gd name="connsiteX8" fmla="*/ 30 w 108879"/>
                <a:gd name="connsiteY8" fmla="*/ 95452 h 108303"/>
                <a:gd name="connsiteX9" fmla="*/ 30 w 108879"/>
                <a:gd name="connsiteY9" fmla="*/ 100309 h 108303"/>
                <a:gd name="connsiteX10" fmla="*/ 8024 w 108879"/>
                <a:gd name="connsiteY10" fmla="*/ 108304 h 108303"/>
                <a:gd name="connsiteX11" fmla="*/ 8057 w 108879"/>
                <a:gd name="connsiteY11" fmla="*/ 108304 h 108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8879" h="108303">
                  <a:moveTo>
                    <a:pt x="8057" y="108304"/>
                  </a:moveTo>
                  <a:cubicBezTo>
                    <a:pt x="12490" y="108322"/>
                    <a:pt x="16099" y="104742"/>
                    <a:pt x="16117" y="100309"/>
                  </a:cubicBezTo>
                  <a:cubicBezTo>
                    <a:pt x="16117" y="100288"/>
                    <a:pt x="16117" y="100266"/>
                    <a:pt x="16117" y="100244"/>
                  </a:cubicBezTo>
                  <a:cubicBezTo>
                    <a:pt x="14893" y="54971"/>
                    <a:pt x="50601" y="17277"/>
                    <a:pt x="95874" y="16052"/>
                  </a:cubicBezTo>
                  <a:cubicBezTo>
                    <a:pt x="97363" y="16012"/>
                    <a:pt x="98852" y="16013"/>
                    <a:pt x="100340" y="16053"/>
                  </a:cubicBezTo>
                  <a:cubicBezTo>
                    <a:pt x="104765" y="16336"/>
                    <a:pt x="108580" y="12978"/>
                    <a:pt x="108863" y="8554"/>
                  </a:cubicBezTo>
                  <a:cubicBezTo>
                    <a:pt x="109145" y="4129"/>
                    <a:pt x="105788" y="314"/>
                    <a:pt x="101363" y="31"/>
                  </a:cubicBezTo>
                  <a:cubicBezTo>
                    <a:pt x="101023" y="9"/>
                    <a:pt x="100681" y="9"/>
                    <a:pt x="100340" y="31"/>
                  </a:cubicBezTo>
                  <a:cubicBezTo>
                    <a:pt x="46291" y="-1319"/>
                    <a:pt x="1381" y="41403"/>
                    <a:pt x="30" y="95452"/>
                  </a:cubicBezTo>
                  <a:cubicBezTo>
                    <a:pt x="-10" y="97071"/>
                    <a:pt x="-10" y="98690"/>
                    <a:pt x="30" y="100309"/>
                  </a:cubicBezTo>
                  <a:cubicBezTo>
                    <a:pt x="30" y="104725"/>
                    <a:pt x="3609" y="108304"/>
                    <a:pt x="8024" y="108304"/>
                  </a:cubicBezTo>
                  <a:cubicBezTo>
                    <a:pt x="8035" y="108304"/>
                    <a:pt x="8046" y="108304"/>
                    <a:pt x="8057" y="108304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8" name="Graphic 7">
            <a:extLst>
              <a:ext uri="{FF2B5EF4-FFF2-40B4-BE49-F238E27FC236}">
                <a16:creationId xmlns:a16="http://schemas.microsoft.com/office/drawing/2014/main" id="{68C4C31A-5BBA-FA45-A70F-4FA07EFD8CFA}"/>
              </a:ext>
            </a:extLst>
          </p:cNvPr>
          <p:cNvGrpSpPr/>
          <p:nvPr userDrawn="1"/>
        </p:nvGrpSpPr>
        <p:grpSpPr>
          <a:xfrm>
            <a:off x="6596261" y="1404225"/>
            <a:ext cx="306251" cy="299719"/>
            <a:chOff x="8819621" y="1437261"/>
            <a:chExt cx="427559" cy="427559"/>
          </a:xfrm>
          <a:solidFill>
            <a:schemeClr val="bg1"/>
          </a:solidFill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F10BCAF-2926-6A4D-82A5-34208008DD7B}"/>
                </a:ext>
              </a:extLst>
            </p:cNvPr>
            <p:cNvSpPr/>
            <p:nvPr/>
          </p:nvSpPr>
          <p:spPr>
            <a:xfrm>
              <a:off x="8881670" y="1750500"/>
              <a:ext cx="53909" cy="53900"/>
            </a:xfrm>
            <a:custGeom>
              <a:avLst/>
              <a:gdLst>
                <a:gd name="connsiteX0" fmla="*/ 52082 w 53909"/>
                <a:gd name="connsiteY0" fmla="*/ 1925 h 53900"/>
                <a:gd name="connsiteX1" fmla="*/ 43314 w 53909"/>
                <a:gd name="connsiteY1" fmla="*/ 1900 h 53900"/>
                <a:gd name="connsiteX2" fmla="*/ 43290 w 53909"/>
                <a:gd name="connsiteY2" fmla="*/ 1925 h 53900"/>
                <a:gd name="connsiteX3" fmla="*/ 26990 w 53909"/>
                <a:gd name="connsiteY3" fmla="*/ 18225 h 53900"/>
                <a:gd name="connsiteX4" fmla="*/ 10689 w 53909"/>
                <a:gd name="connsiteY4" fmla="*/ 1925 h 53900"/>
                <a:gd name="connsiteX5" fmla="*/ 1924 w 53909"/>
                <a:gd name="connsiteY5" fmla="*/ 1711 h 53900"/>
                <a:gd name="connsiteX6" fmla="*/ 1710 w 53909"/>
                <a:gd name="connsiteY6" fmla="*/ 10476 h 53900"/>
                <a:gd name="connsiteX7" fmla="*/ 1924 w 53909"/>
                <a:gd name="connsiteY7" fmla="*/ 10689 h 53900"/>
                <a:gd name="connsiteX8" fmla="*/ 18225 w 53909"/>
                <a:gd name="connsiteY8" fmla="*/ 26990 h 53900"/>
                <a:gd name="connsiteX9" fmla="*/ 1924 w 53909"/>
                <a:gd name="connsiteY9" fmla="*/ 43291 h 53900"/>
                <a:gd name="connsiteX10" fmla="*/ 1911 w 53909"/>
                <a:gd name="connsiteY10" fmla="*/ 52069 h 53900"/>
                <a:gd name="connsiteX11" fmla="*/ 10689 w 53909"/>
                <a:gd name="connsiteY11" fmla="*/ 52083 h 53900"/>
                <a:gd name="connsiteX12" fmla="*/ 26990 w 53909"/>
                <a:gd name="connsiteY12" fmla="*/ 35782 h 53900"/>
                <a:gd name="connsiteX13" fmla="*/ 43290 w 53909"/>
                <a:gd name="connsiteY13" fmla="*/ 52083 h 53900"/>
                <a:gd name="connsiteX14" fmla="*/ 52082 w 53909"/>
                <a:gd name="connsiteY14" fmla="*/ 52083 h 53900"/>
                <a:gd name="connsiteX15" fmla="*/ 52106 w 53909"/>
                <a:gd name="connsiteY15" fmla="*/ 43315 h 53900"/>
                <a:gd name="connsiteX16" fmla="*/ 52082 w 53909"/>
                <a:gd name="connsiteY16" fmla="*/ 43291 h 53900"/>
                <a:gd name="connsiteX17" fmla="*/ 35781 w 53909"/>
                <a:gd name="connsiteY17" fmla="*/ 26990 h 53900"/>
                <a:gd name="connsiteX18" fmla="*/ 52082 w 53909"/>
                <a:gd name="connsiteY18" fmla="*/ 10689 h 53900"/>
                <a:gd name="connsiteX19" fmla="*/ 52117 w 53909"/>
                <a:gd name="connsiteY19" fmla="*/ 1959 h 53900"/>
                <a:gd name="connsiteX20" fmla="*/ 52082 w 53909"/>
                <a:gd name="connsiteY20" fmla="*/ 1925 h 5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3909" h="53900">
                  <a:moveTo>
                    <a:pt x="52082" y="1925"/>
                  </a:moveTo>
                  <a:cubicBezTo>
                    <a:pt x="49668" y="-505"/>
                    <a:pt x="45742" y="-515"/>
                    <a:pt x="43314" y="1900"/>
                  </a:cubicBezTo>
                  <a:cubicBezTo>
                    <a:pt x="43306" y="1909"/>
                    <a:pt x="43298" y="1917"/>
                    <a:pt x="43290" y="1925"/>
                  </a:cubicBezTo>
                  <a:lnTo>
                    <a:pt x="26990" y="18225"/>
                  </a:lnTo>
                  <a:lnTo>
                    <a:pt x="10689" y="1925"/>
                  </a:lnTo>
                  <a:cubicBezTo>
                    <a:pt x="8328" y="-555"/>
                    <a:pt x="4403" y="-651"/>
                    <a:pt x="1924" y="1711"/>
                  </a:cubicBezTo>
                  <a:cubicBezTo>
                    <a:pt x="-555" y="4073"/>
                    <a:pt x="-651" y="7996"/>
                    <a:pt x="1710" y="10476"/>
                  </a:cubicBezTo>
                  <a:cubicBezTo>
                    <a:pt x="1780" y="10548"/>
                    <a:pt x="1851" y="10620"/>
                    <a:pt x="1924" y="10689"/>
                  </a:cubicBezTo>
                  <a:lnTo>
                    <a:pt x="18225" y="26990"/>
                  </a:lnTo>
                  <a:lnTo>
                    <a:pt x="1924" y="43291"/>
                  </a:lnTo>
                  <a:cubicBezTo>
                    <a:pt x="-504" y="45712"/>
                    <a:pt x="-510" y="49640"/>
                    <a:pt x="1911" y="52069"/>
                  </a:cubicBezTo>
                  <a:cubicBezTo>
                    <a:pt x="4331" y="54498"/>
                    <a:pt x="8261" y="54504"/>
                    <a:pt x="10689" y="52083"/>
                  </a:cubicBezTo>
                  <a:lnTo>
                    <a:pt x="26990" y="35782"/>
                  </a:lnTo>
                  <a:lnTo>
                    <a:pt x="43290" y="52083"/>
                  </a:lnTo>
                  <a:cubicBezTo>
                    <a:pt x="45720" y="54506"/>
                    <a:pt x="49652" y="54506"/>
                    <a:pt x="52082" y="52083"/>
                  </a:cubicBezTo>
                  <a:cubicBezTo>
                    <a:pt x="54510" y="49667"/>
                    <a:pt x="54521" y="45744"/>
                    <a:pt x="52106" y="43315"/>
                  </a:cubicBezTo>
                  <a:cubicBezTo>
                    <a:pt x="52098" y="43307"/>
                    <a:pt x="52090" y="43299"/>
                    <a:pt x="52082" y="43291"/>
                  </a:cubicBezTo>
                  <a:lnTo>
                    <a:pt x="35781" y="26990"/>
                  </a:lnTo>
                  <a:lnTo>
                    <a:pt x="52082" y="10689"/>
                  </a:lnTo>
                  <a:cubicBezTo>
                    <a:pt x="54502" y="8290"/>
                    <a:pt x="54518" y="4380"/>
                    <a:pt x="52117" y="1959"/>
                  </a:cubicBezTo>
                  <a:cubicBezTo>
                    <a:pt x="52106" y="1949"/>
                    <a:pt x="52094" y="1935"/>
                    <a:pt x="52082" y="1925"/>
                  </a:cubicBez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8CC09CE8-E71A-6F44-932E-85F9D36E21CB}"/>
                </a:ext>
              </a:extLst>
            </p:cNvPr>
            <p:cNvSpPr/>
            <p:nvPr/>
          </p:nvSpPr>
          <p:spPr>
            <a:xfrm>
              <a:off x="8844526" y="1442605"/>
              <a:ext cx="381275" cy="423871"/>
            </a:xfrm>
            <a:custGeom>
              <a:avLst/>
              <a:gdLst>
                <a:gd name="connsiteX0" fmla="*/ 350278 w 381275"/>
                <a:gd name="connsiteY0" fmla="*/ 28460 h 423871"/>
                <a:gd name="connsiteX1" fmla="*/ 323742 w 381275"/>
                <a:gd name="connsiteY1" fmla="*/ 28460 h 423871"/>
                <a:gd name="connsiteX2" fmla="*/ 323742 w 381275"/>
                <a:gd name="connsiteY2" fmla="*/ 18973 h 423871"/>
                <a:gd name="connsiteX3" fmla="*/ 304876 w 381275"/>
                <a:gd name="connsiteY3" fmla="*/ 0 h 423871"/>
                <a:gd name="connsiteX4" fmla="*/ 304850 w 381275"/>
                <a:gd name="connsiteY4" fmla="*/ 0 h 423871"/>
                <a:gd name="connsiteX5" fmla="*/ 302017 w 381275"/>
                <a:gd name="connsiteY5" fmla="*/ 0 h 423871"/>
                <a:gd name="connsiteX6" fmla="*/ 283124 w 381275"/>
                <a:gd name="connsiteY6" fmla="*/ 18893 h 423871"/>
                <a:gd name="connsiteX7" fmla="*/ 283124 w 381275"/>
                <a:gd name="connsiteY7" fmla="*/ 28380 h 423871"/>
                <a:gd name="connsiteX8" fmla="*/ 98232 w 381275"/>
                <a:gd name="connsiteY8" fmla="*/ 28380 h 423871"/>
                <a:gd name="connsiteX9" fmla="*/ 98232 w 381275"/>
                <a:gd name="connsiteY9" fmla="*/ 18973 h 423871"/>
                <a:gd name="connsiteX10" fmla="*/ 79366 w 381275"/>
                <a:gd name="connsiteY10" fmla="*/ 0 h 423871"/>
                <a:gd name="connsiteX11" fmla="*/ 79312 w 381275"/>
                <a:gd name="connsiteY11" fmla="*/ 0 h 423871"/>
                <a:gd name="connsiteX12" fmla="*/ 76640 w 381275"/>
                <a:gd name="connsiteY12" fmla="*/ 0 h 423871"/>
                <a:gd name="connsiteX13" fmla="*/ 57614 w 381275"/>
                <a:gd name="connsiteY13" fmla="*/ 18813 h 423871"/>
                <a:gd name="connsiteX14" fmla="*/ 57614 w 381275"/>
                <a:gd name="connsiteY14" fmla="*/ 18973 h 423871"/>
                <a:gd name="connsiteX15" fmla="*/ 57614 w 381275"/>
                <a:gd name="connsiteY15" fmla="*/ 28460 h 423871"/>
                <a:gd name="connsiteX16" fmla="*/ 31212 w 381275"/>
                <a:gd name="connsiteY16" fmla="*/ 28460 h 423871"/>
                <a:gd name="connsiteX17" fmla="*/ 0 w 381275"/>
                <a:gd name="connsiteY17" fmla="*/ 59511 h 423871"/>
                <a:gd name="connsiteX18" fmla="*/ 0 w 381275"/>
                <a:gd name="connsiteY18" fmla="*/ 59538 h 423871"/>
                <a:gd name="connsiteX19" fmla="*/ 0 w 381275"/>
                <a:gd name="connsiteY19" fmla="*/ 392820 h 423871"/>
                <a:gd name="connsiteX20" fmla="*/ 31025 w 381275"/>
                <a:gd name="connsiteY20" fmla="*/ 423872 h 423871"/>
                <a:gd name="connsiteX21" fmla="*/ 350331 w 381275"/>
                <a:gd name="connsiteY21" fmla="*/ 423872 h 423871"/>
                <a:gd name="connsiteX22" fmla="*/ 381276 w 381275"/>
                <a:gd name="connsiteY22" fmla="*/ 392820 h 423871"/>
                <a:gd name="connsiteX23" fmla="*/ 381276 w 381275"/>
                <a:gd name="connsiteY23" fmla="*/ 59538 h 423871"/>
                <a:gd name="connsiteX24" fmla="*/ 350278 w 381275"/>
                <a:gd name="connsiteY24" fmla="*/ 28460 h 423871"/>
                <a:gd name="connsiteX25" fmla="*/ 295550 w 381275"/>
                <a:gd name="connsiteY25" fmla="*/ 18973 h 423871"/>
                <a:gd name="connsiteX26" fmla="*/ 302017 w 381275"/>
                <a:gd name="connsiteY26" fmla="*/ 12506 h 423871"/>
                <a:gd name="connsiteX27" fmla="*/ 304850 w 381275"/>
                <a:gd name="connsiteY27" fmla="*/ 12506 h 423871"/>
                <a:gd name="connsiteX28" fmla="*/ 311316 w 381275"/>
                <a:gd name="connsiteY28" fmla="*/ 18973 h 423871"/>
                <a:gd name="connsiteX29" fmla="*/ 311316 w 381275"/>
                <a:gd name="connsiteY29" fmla="*/ 28460 h 423871"/>
                <a:gd name="connsiteX30" fmla="*/ 295550 w 381275"/>
                <a:gd name="connsiteY30" fmla="*/ 28460 h 423871"/>
                <a:gd name="connsiteX31" fmla="*/ 76640 w 381275"/>
                <a:gd name="connsiteY31" fmla="*/ 12506 h 423871"/>
                <a:gd name="connsiteX32" fmla="*/ 79312 w 381275"/>
                <a:gd name="connsiteY32" fmla="*/ 12506 h 423871"/>
                <a:gd name="connsiteX33" fmla="*/ 85806 w 381275"/>
                <a:gd name="connsiteY33" fmla="*/ 18946 h 423871"/>
                <a:gd name="connsiteX34" fmla="*/ 85806 w 381275"/>
                <a:gd name="connsiteY34" fmla="*/ 18973 h 423871"/>
                <a:gd name="connsiteX35" fmla="*/ 85806 w 381275"/>
                <a:gd name="connsiteY35" fmla="*/ 28460 h 423871"/>
                <a:gd name="connsiteX36" fmla="*/ 70040 w 381275"/>
                <a:gd name="connsiteY36" fmla="*/ 28460 h 423871"/>
                <a:gd name="connsiteX37" fmla="*/ 70040 w 381275"/>
                <a:gd name="connsiteY37" fmla="*/ 18973 h 423871"/>
                <a:gd name="connsiteX38" fmla="*/ 70040 w 381275"/>
                <a:gd name="connsiteY38" fmla="*/ 18973 h 423871"/>
                <a:gd name="connsiteX39" fmla="*/ 76505 w 381275"/>
                <a:gd name="connsiteY39" fmla="*/ 12505 h 423871"/>
                <a:gd name="connsiteX40" fmla="*/ 76640 w 381275"/>
                <a:gd name="connsiteY40" fmla="*/ 12506 h 423871"/>
                <a:gd name="connsiteX41" fmla="*/ 368930 w 381275"/>
                <a:gd name="connsiteY41" fmla="*/ 392820 h 423871"/>
                <a:gd name="connsiteX42" fmla="*/ 350224 w 381275"/>
                <a:gd name="connsiteY42" fmla="*/ 411526 h 423871"/>
                <a:gd name="connsiteX43" fmla="*/ 31025 w 381275"/>
                <a:gd name="connsiteY43" fmla="*/ 411526 h 423871"/>
                <a:gd name="connsiteX44" fmla="*/ 12319 w 381275"/>
                <a:gd name="connsiteY44" fmla="*/ 392820 h 423871"/>
                <a:gd name="connsiteX45" fmla="*/ 12319 w 381275"/>
                <a:gd name="connsiteY45" fmla="*/ 392820 h 423871"/>
                <a:gd name="connsiteX46" fmla="*/ 31025 w 381275"/>
                <a:gd name="connsiteY46" fmla="*/ 399073 h 423871"/>
                <a:gd name="connsiteX47" fmla="*/ 282723 w 381275"/>
                <a:gd name="connsiteY47" fmla="*/ 399073 h 423871"/>
                <a:gd name="connsiteX48" fmla="*/ 304689 w 381275"/>
                <a:gd name="connsiteY48" fmla="*/ 389961 h 423871"/>
                <a:gd name="connsiteX49" fmla="*/ 368823 w 381275"/>
                <a:gd name="connsiteY49" fmla="*/ 325827 h 423871"/>
                <a:gd name="connsiteX50" fmla="*/ 298436 w 381275"/>
                <a:gd name="connsiteY50" fmla="*/ 378711 h 423871"/>
                <a:gd name="connsiteX51" fmla="*/ 299184 w 381275"/>
                <a:gd name="connsiteY51" fmla="*/ 372458 h 423871"/>
                <a:gd name="connsiteX52" fmla="*/ 299184 w 381275"/>
                <a:gd name="connsiteY52" fmla="*/ 331011 h 423871"/>
                <a:gd name="connsiteX53" fmla="*/ 313347 w 381275"/>
                <a:gd name="connsiteY53" fmla="*/ 316848 h 423871"/>
                <a:gd name="connsiteX54" fmla="*/ 354794 w 381275"/>
                <a:gd name="connsiteY54" fmla="*/ 316848 h 423871"/>
                <a:gd name="connsiteX55" fmla="*/ 361047 w 381275"/>
                <a:gd name="connsiteY55" fmla="*/ 316100 h 423871"/>
                <a:gd name="connsiteX56" fmla="*/ 368957 w 381275"/>
                <a:gd name="connsiteY56" fmla="*/ 117178 h 423871"/>
                <a:gd name="connsiteX57" fmla="*/ 315859 w 381275"/>
                <a:gd name="connsiteY57" fmla="*/ 117178 h 423871"/>
                <a:gd name="connsiteX58" fmla="*/ 309660 w 381275"/>
                <a:gd name="connsiteY58" fmla="*/ 123378 h 423871"/>
                <a:gd name="connsiteX59" fmla="*/ 315859 w 381275"/>
                <a:gd name="connsiteY59" fmla="*/ 129577 h 423871"/>
                <a:gd name="connsiteX60" fmla="*/ 368930 w 381275"/>
                <a:gd name="connsiteY60" fmla="*/ 129577 h 423871"/>
                <a:gd name="connsiteX61" fmla="*/ 368930 w 381275"/>
                <a:gd name="connsiteY61" fmla="*/ 290259 h 423871"/>
                <a:gd name="connsiteX62" fmla="*/ 354767 w 381275"/>
                <a:gd name="connsiteY62" fmla="*/ 304422 h 423871"/>
                <a:gd name="connsiteX63" fmla="*/ 313321 w 381275"/>
                <a:gd name="connsiteY63" fmla="*/ 304422 h 423871"/>
                <a:gd name="connsiteX64" fmla="*/ 286758 w 381275"/>
                <a:gd name="connsiteY64" fmla="*/ 331011 h 423871"/>
                <a:gd name="connsiteX65" fmla="*/ 286758 w 381275"/>
                <a:gd name="connsiteY65" fmla="*/ 372458 h 423871"/>
                <a:gd name="connsiteX66" fmla="*/ 272569 w 381275"/>
                <a:gd name="connsiteY66" fmla="*/ 386621 h 423871"/>
                <a:gd name="connsiteX67" fmla="*/ 31212 w 381275"/>
                <a:gd name="connsiteY67" fmla="*/ 386621 h 423871"/>
                <a:gd name="connsiteX68" fmla="*/ 12506 w 381275"/>
                <a:gd name="connsiteY68" fmla="*/ 367915 h 423871"/>
                <a:gd name="connsiteX69" fmla="*/ 12506 w 381275"/>
                <a:gd name="connsiteY69" fmla="*/ 129577 h 423871"/>
                <a:gd name="connsiteX70" fmla="*/ 291007 w 381275"/>
                <a:gd name="connsiteY70" fmla="*/ 129577 h 423871"/>
                <a:gd name="connsiteX71" fmla="*/ 297207 w 381275"/>
                <a:gd name="connsiteY71" fmla="*/ 123378 h 423871"/>
                <a:gd name="connsiteX72" fmla="*/ 291007 w 381275"/>
                <a:gd name="connsiteY72" fmla="*/ 117178 h 423871"/>
                <a:gd name="connsiteX73" fmla="*/ 12506 w 381275"/>
                <a:gd name="connsiteY73" fmla="*/ 117178 h 423871"/>
                <a:gd name="connsiteX74" fmla="*/ 12506 w 381275"/>
                <a:gd name="connsiteY74" fmla="*/ 59538 h 423871"/>
                <a:gd name="connsiteX75" fmla="*/ 31212 w 381275"/>
                <a:gd name="connsiteY75" fmla="*/ 40832 h 423871"/>
                <a:gd name="connsiteX76" fmla="*/ 57747 w 381275"/>
                <a:gd name="connsiteY76" fmla="*/ 40832 h 423871"/>
                <a:gd name="connsiteX77" fmla="*/ 57747 w 381275"/>
                <a:gd name="connsiteY77" fmla="*/ 59084 h 423871"/>
                <a:gd name="connsiteX78" fmla="*/ 76640 w 381275"/>
                <a:gd name="connsiteY78" fmla="*/ 77976 h 423871"/>
                <a:gd name="connsiteX79" fmla="*/ 82445 w 381275"/>
                <a:gd name="connsiteY79" fmla="*/ 71356 h 423871"/>
                <a:gd name="connsiteX80" fmla="*/ 76640 w 381275"/>
                <a:gd name="connsiteY80" fmla="*/ 65550 h 423871"/>
                <a:gd name="connsiteX81" fmla="*/ 70173 w 381275"/>
                <a:gd name="connsiteY81" fmla="*/ 59084 h 423871"/>
                <a:gd name="connsiteX82" fmla="*/ 70173 w 381275"/>
                <a:gd name="connsiteY82" fmla="*/ 40859 h 423871"/>
                <a:gd name="connsiteX83" fmla="*/ 283258 w 381275"/>
                <a:gd name="connsiteY83" fmla="*/ 40859 h 423871"/>
                <a:gd name="connsiteX84" fmla="*/ 283258 w 381275"/>
                <a:gd name="connsiteY84" fmla="*/ 59110 h 423871"/>
                <a:gd name="connsiteX85" fmla="*/ 302151 w 381275"/>
                <a:gd name="connsiteY85" fmla="*/ 78003 h 423871"/>
                <a:gd name="connsiteX86" fmla="*/ 307955 w 381275"/>
                <a:gd name="connsiteY86" fmla="*/ 71382 h 423871"/>
                <a:gd name="connsiteX87" fmla="*/ 302151 w 381275"/>
                <a:gd name="connsiteY87" fmla="*/ 65577 h 423871"/>
                <a:gd name="connsiteX88" fmla="*/ 295684 w 381275"/>
                <a:gd name="connsiteY88" fmla="*/ 59110 h 423871"/>
                <a:gd name="connsiteX89" fmla="*/ 295684 w 381275"/>
                <a:gd name="connsiteY89" fmla="*/ 40859 h 423871"/>
                <a:gd name="connsiteX90" fmla="*/ 350278 w 381275"/>
                <a:gd name="connsiteY90" fmla="*/ 40859 h 423871"/>
                <a:gd name="connsiteX91" fmla="*/ 368983 w 381275"/>
                <a:gd name="connsiteY91" fmla="*/ 59565 h 42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81275" h="423871">
                  <a:moveTo>
                    <a:pt x="350278" y="28460"/>
                  </a:moveTo>
                  <a:lnTo>
                    <a:pt x="323742" y="28460"/>
                  </a:lnTo>
                  <a:lnTo>
                    <a:pt x="323742" y="18973"/>
                  </a:lnTo>
                  <a:cubicBezTo>
                    <a:pt x="323772" y="8524"/>
                    <a:pt x="315325" y="30"/>
                    <a:pt x="304876" y="0"/>
                  </a:cubicBezTo>
                  <a:cubicBezTo>
                    <a:pt x="304868" y="0"/>
                    <a:pt x="304858" y="0"/>
                    <a:pt x="304850" y="0"/>
                  </a:cubicBezTo>
                  <a:lnTo>
                    <a:pt x="302017" y="0"/>
                  </a:lnTo>
                  <a:cubicBezTo>
                    <a:pt x="291590" y="15"/>
                    <a:pt x="283140" y="8465"/>
                    <a:pt x="283124" y="18893"/>
                  </a:cubicBezTo>
                  <a:lnTo>
                    <a:pt x="283124" y="28380"/>
                  </a:lnTo>
                  <a:lnTo>
                    <a:pt x="98232" y="28380"/>
                  </a:lnTo>
                  <a:lnTo>
                    <a:pt x="98232" y="18973"/>
                  </a:lnTo>
                  <a:cubicBezTo>
                    <a:pt x="98261" y="8524"/>
                    <a:pt x="89815" y="30"/>
                    <a:pt x="79366" y="0"/>
                  </a:cubicBezTo>
                  <a:cubicBezTo>
                    <a:pt x="79348" y="0"/>
                    <a:pt x="79330" y="0"/>
                    <a:pt x="79312" y="0"/>
                  </a:cubicBezTo>
                  <a:lnTo>
                    <a:pt x="76640" y="0"/>
                  </a:lnTo>
                  <a:cubicBezTo>
                    <a:pt x="66191" y="-59"/>
                    <a:pt x="57673" y="8364"/>
                    <a:pt x="57614" y="18813"/>
                  </a:cubicBezTo>
                  <a:cubicBezTo>
                    <a:pt x="57614" y="18866"/>
                    <a:pt x="57613" y="18920"/>
                    <a:pt x="57614" y="18973"/>
                  </a:cubicBezTo>
                  <a:lnTo>
                    <a:pt x="57614" y="28460"/>
                  </a:lnTo>
                  <a:lnTo>
                    <a:pt x="31212" y="28460"/>
                  </a:lnTo>
                  <a:cubicBezTo>
                    <a:pt x="14018" y="28415"/>
                    <a:pt x="44" y="42317"/>
                    <a:pt x="0" y="59511"/>
                  </a:cubicBezTo>
                  <a:cubicBezTo>
                    <a:pt x="0" y="59520"/>
                    <a:pt x="0" y="59529"/>
                    <a:pt x="0" y="59538"/>
                  </a:cubicBezTo>
                  <a:lnTo>
                    <a:pt x="0" y="392820"/>
                  </a:lnTo>
                  <a:cubicBezTo>
                    <a:pt x="15" y="409952"/>
                    <a:pt x="13892" y="423842"/>
                    <a:pt x="31025" y="423872"/>
                  </a:cubicBezTo>
                  <a:lnTo>
                    <a:pt x="350331" y="423872"/>
                  </a:lnTo>
                  <a:cubicBezTo>
                    <a:pt x="367434" y="423797"/>
                    <a:pt x="381262" y="409923"/>
                    <a:pt x="381276" y="392820"/>
                  </a:cubicBezTo>
                  <a:lnTo>
                    <a:pt x="381276" y="59538"/>
                  </a:lnTo>
                  <a:cubicBezTo>
                    <a:pt x="381246" y="42417"/>
                    <a:pt x="367399" y="28533"/>
                    <a:pt x="350278" y="28460"/>
                  </a:cubicBezTo>
                  <a:close/>
                  <a:moveTo>
                    <a:pt x="295550" y="18973"/>
                  </a:moveTo>
                  <a:cubicBezTo>
                    <a:pt x="295550" y="15402"/>
                    <a:pt x="298444" y="12506"/>
                    <a:pt x="302017" y="12506"/>
                  </a:cubicBezTo>
                  <a:lnTo>
                    <a:pt x="304850" y="12506"/>
                  </a:lnTo>
                  <a:cubicBezTo>
                    <a:pt x="308422" y="12506"/>
                    <a:pt x="311316" y="15402"/>
                    <a:pt x="311316" y="18973"/>
                  </a:cubicBezTo>
                  <a:lnTo>
                    <a:pt x="311316" y="28460"/>
                  </a:lnTo>
                  <a:lnTo>
                    <a:pt x="295550" y="28460"/>
                  </a:lnTo>
                  <a:close/>
                  <a:moveTo>
                    <a:pt x="76640" y="12506"/>
                  </a:moveTo>
                  <a:lnTo>
                    <a:pt x="79312" y="12506"/>
                  </a:lnTo>
                  <a:cubicBezTo>
                    <a:pt x="82884" y="12492"/>
                    <a:pt x="85791" y="15375"/>
                    <a:pt x="85806" y="18946"/>
                  </a:cubicBezTo>
                  <a:cubicBezTo>
                    <a:pt x="85806" y="18955"/>
                    <a:pt x="85806" y="18964"/>
                    <a:pt x="85806" y="18973"/>
                  </a:cubicBezTo>
                  <a:lnTo>
                    <a:pt x="85806" y="28460"/>
                  </a:lnTo>
                  <a:lnTo>
                    <a:pt x="70040" y="28460"/>
                  </a:lnTo>
                  <a:lnTo>
                    <a:pt x="70040" y="18973"/>
                  </a:lnTo>
                  <a:lnTo>
                    <a:pt x="70040" y="18973"/>
                  </a:lnTo>
                  <a:cubicBezTo>
                    <a:pt x="70039" y="15402"/>
                    <a:pt x="72934" y="12506"/>
                    <a:pt x="76505" y="12505"/>
                  </a:cubicBezTo>
                  <a:cubicBezTo>
                    <a:pt x="76550" y="12505"/>
                    <a:pt x="76595" y="12505"/>
                    <a:pt x="76640" y="12506"/>
                  </a:cubicBezTo>
                  <a:close/>
                  <a:moveTo>
                    <a:pt x="368930" y="392820"/>
                  </a:moveTo>
                  <a:cubicBezTo>
                    <a:pt x="368930" y="403151"/>
                    <a:pt x="360555" y="411526"/>
                    <a:pt x="350224" y="411526"/>
                  </a:cubicBezTo>
                  <a:lnTo>
                    <a:pt x="31025" y="411526"/>
                  </a:lnTo>
                  <a:cubicBezTo>
                    <a:pt x="20694" y="411526"/>
                    <a:pt x="12319" y="403151"/>
                    <a:pt x="12319" y="392820"/>
                  </a:cubicBezTo>
                  <a:lnTo>
                    <a:pt x="12319" y="392820"/>
                  </a:lnTo>
                  <a:cubicBezTo>
                    <a:pt x="17704" y="396890"/>
                    <a:pt x="24274" y="399087"/>
                    <a:pt x="31025" y="399073"/>
                  </a:cubicBezTo>
                  <a:lnTo>
                    <a:pt x="282723" y="399073"/>
                  </a:lnTo>
                  <a:cubicBezTo>
                    <a:pt x="290967" y="399092"/>
                    <a:pt x="298877" y="395810"/>
                    <a:pt x="304689" y="389961"/>
                  </a:cubicBezTo>
                  <a:lnTo>
                    <a:pt x="368823" y="325827"/>
                  </a:lnTo>
                  <a:close/>
                  <a:moveTo>
                    <a:pt x="298436" y="378711"/>
                  </a:moveTo>
                  <a:cubicBezTo>
                    <a:pt x="298931" y="376664"/>
                    <a:pt x="299182" y="374563"/>
                    <a:pt x="299184" y="372458"/>
                  </a:cubicBezTo>
                  <a:lnTo>
                    <a:pt x="299184" y="331011"/>
                  </a:lnTo>
                  <a:cubicBezTo>
                    <a:pt x="299200" y="323195"/>
                    <a:pt x="305531" y="316864"/>
                    <a:pt x="313347" y="316848"/>
                  </a:cubicBezTo>
                  <a:lnTo>
                    <a:pt x="354794" y="316848"/>
                  </a:lnTo>
                  <a:cubicBezTo>
                    <a:pt x="356900" y="316846"/>
                    <a:pt x="359000" y="316594"/>
                    <a:pt x="361047" y="316100"/>
                  </a:cubicBezTo>
                  <a:close/>
                  <a:moveTo>
                    <a:pt x="368957" y="117178"/>
                  </a:moveTo>
                  <a:lnTo>
                    <a:pt x="315859" y="117178"/>
                  </a:lnTo>
                  <a:cubicBezTo>
                    <a:pt x="312436" y="117178"/>
                    <a:pt x="309660" y="119954"/>
                    <a:pt x="309660" y="123378"/>
                  </a:cubicBezTo>
                  <a:cubicBezTo>
                    <a:pt x="309660" y="126802"/>
                    <a:pt x="312436" y="129577"/>
                    <a:pt x="315859" y="129577"/>
                  </a:cubicBezTo>
                  <a:lnTo>
                    <a:pt x="368930" y="129577"/>
                  </a:lnTo>
                  <a:lnTo>
                    <a:pt x="368930" y="290259"/>
                  </a:lnTo>
                  <a:cubicBezTo>
                    <a:pt x="368930" y="298081"/>
                    <a:pt x="362589" y="304422"/>
                    <a:pt x="354767" y="304422"/>
                  </a:cubicBezTo>
                  <a:lnTo>
                    <a:pt x="313321" y="304422"/>
                  </a:lnTo>
                  <a:cubicBezTo>
                    <a:pt x="298677" y="304511"/>
                    <a:pt x="286831" y="316367"/>
                    <a:pt x="286758" y="331011"/>
                  </a:cubicBezTo>
                  <a:lnTo>
                    <a:pt x="286758" y="372458"/>
                  </a:lnTo>
                  <a:cubicBezTo>
                    <a:pt x="286742" y="380285"/>
                    <a:pt x="280396" y="386621"/>
                    <a:pt x="272569" y="386621"/>
                  </a:cubicBezTo>
                  <a:lnTo>
                    <a:pt x="31212" y="386621"/>
                  </a:lnTo>
                  <a:cubicBezTo>
                    <a:pt x="20881" y="386621"/>
                    <a:pt x="12506" y="378246"/>
                    <a:pt x="12506" y="367915"/>
                  </a:cubicBezTo>
                  <a:lnTo>
                    <a:pt x="12506" y="129577"/>
                  </a:lnTo>
                  <a:lnTo>
                    <a:pt x="291007" y="129577"/>
                  </a:lnTo>
                  <a:cubicBezTo>
                    <a:pt x="294431" y="129577"/>
                    <a:pt x="297207" y="126802"/>
                    <a:pt x="297207" y="123378"/>
                  </a:cubicBezTo>
                  <a:cubicBezTo>
                    <a:pt x="297207" y="119954"/>
                    <a:pt x="294431" y="117178"/>
                    <a:pt x="291007" y="117178"/>
                  </a:cubicBezTo>
                  <a:lnTo>
                    <a:pt x="12506" y="117178"/>
                  </a:lnTo>
                  <a:lnTo>
                    <a:pt x="12506" y="59538"/>
                  </a:lnTo>
                  <a:cubicBezTo>
                    <a:pt x="12506" y="49207"/>
                    <a:pt x="20881" y="40832"/>
                    <a:pt x="31212" y="40832"/>
                  </a:cubicBezTo>
                  <a:lnTo>
                    <a:pt x="57747" y="40832"/>
                  </a:lnTo>
                  <a:lnTo>
                    <a:pt x="57747" y="59084"/>
                  </a:lnTo>
                  <a:cubicBezTo>
                    <a:pt x="57762" y="69512"/>
                    <a:pt x="66212" y="77962"/>
                    <a:pt x="76640" y="77976"/>
                  </a:cubicBezTo>
                  <a:cubicBezTo>
                    <a:pt x="80071" y="77751"/>
                    <a:pt x="82670" y="74787"/>
                    <a:pt x="82445" y="71356"/>
                  </a:cubicBezTo>
                  <a:cubicBezTo>
                    <a:pt x="82241" y="68238"/>
                    <a:pt x="79757" y="65755"/>
                    <a:pt x="76640" y="65550"/>
                  </a:cubicBezTo>
                  <a:cubicBezTo>
                    <a:pt x="73068" y="65550"/>
                    <a:pt x="70173" y="62655"/>
                    <a:pt x="70173" y="59084"/>
                  </a:cubicBezTo>
                  <a:lnTo>
                    <a:pt x="70173" y="40859"/>
                  </a:lnTo>
                  <a:lnTo>
                    <a:pt x="283258" y="40859"/>
                  </a:lnTo>
                  <a:lnTo>
                    <a:pt x="283258" y="59110"/>
                  </a:lnTo>
                  <a:cubicBezTo>
                    <a:pt x="283274" y="69539"/>
                    <a:pt x="291724" y="77988"/>
                    <a:pt x="302151" y="78003"/>
                  </a:cubicBezTo>
                  <a:cubicBezTo>
                    <a:pt x="305582" y="77778"/>
                    <a:pt x="308182" y="74814"/>
                    <a:pt x="307955" y="71382"/>
                  </a:cubicBezTo>
                  <a:cubicBezTo>
                    <a:pt x="307752" y="68265"/>
                    <a:pt x="305269" y="65782"/>
                    <a:pt x="302151" y="65577"/>
                  </a:cubicBezTo>
                  <a:cubicBezTo>
                    <a:pt x="298578" y="65577"/>
                    <a:pt x="295684" y="62682"/>
                    <a:pt x="295684" y="59110"/>
                  </a:cubicBezTo>
                  <a:lnTo>
                    <a:pt x="295684" y="40859"/>
                  </a:lnTo>
                  <a:lnTo>
                    <a:pt x="350278" y="40859"/>
                  </a:lnTo>
                  <a:cubicBezTo>
                    <a:pt x="360609" y="40859"/>
                    <a:pt x="368983" y="49234"/>
                    <a:pt x="368983" y="59565"/>
                  </a:cubicBez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6E7047E0-64BF-AC4D-B0A4-E1AD1DC33E1A}"/>
                </a:ext>
              </a:extLst>
            </p:cNvPr>
            <p:cNvSpPr/>
            <p:nvPr/>
          </p:nvSpPr>
          <p:spPr>
            <a:xfrm>
              <a:off x="9134945" y="1597007"/>
              <a:ext cx="53792" cy="53818"/>
            </a:xfrm>
            <a:custGeom>
              <a:avLst/>
              <a:gdLst>
                <a:gd name="connsiteX0" fmla="*/ 0 w 53792"/>
                <a:gd name="connsiteY0" fmla="*/ 12132 h 53818"/>
                <a:gd name="connsiteX1" fmla="*/ 0 w 53792"/>
                <a:gd name="connsiteY1" fmla="*/ 41687 h 53818"/>
                <a:gd name="connsiteX2" fmla="*/ 12105 w 53792"/>
                <a:gd name="connsiteY2" fmla="*/ 53819 h 53818"/>
                <a:gd name="connsiteX3" fmla="*/ 41687 w 53792"/>
                <a:gd name="connsiteY3" fmla="*/ 53819 h 53818"/>
                <a:gd name="connsiteX4" fmla="*/ 53792 w 53792"/>
                <a:gd name="connsiteY4" fmla="*/ 41687 h 53818"/>
                <a:gd name="connsiteX5" fmla="*/ 53792 w 53792"/>
                <a:gd name="connsiteY5" fmla="*/ 12132 h 53818"/>
                <a:gd name="connsiteX6" fmla="*/ 41687 w 53792"/>
                <a:gd name="connsiteY6" fmla="*/ 0 h 53818"/>
                <a:gd name="connsiteX7" fmla="*/ 11998 w 53792"/>
                <a:gd name="connsiteY7" fmla="*/ 0 h 53818"/>
                <a:gd name="connsiteX8" fmla="*/ 0 w 53792"/>
                <a:gd name="connsiteY8" fmla="*/ 12132 h 53818"/>
                <a:gd name="connsiteX9" fmla="*/ 12426 w 53792"/>
                <a:gd name="connsiteY9" fmla="*/ 12426 h 53818"/>
                <a:gd name="connsiteX10" fmla="*/ 41393 w 53792"/>
                <a:gd name="connsiteY10" fmla="*/ 12426 h 53818"/>
                <a:gd name="connsiteX11" fmla="*/ 41393 w 53792"/>
                <a:gd name="connsiteY11" fmla="*/ 41393 h 53818"/>
                <a:gd name="connsiteX12" fmla="*/ 12319 w 53792"/>
                <a:gd name="connsiteY12" fmla="*/ 41393 h 5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792" h="53818">
                  <a:moveTo>
                    <a:pt x="0" y="12132"/>
                  </a:moveTo>
                  <a:lnTo>
                    <a:pt x="0" y="41687"/>
                  </a:lnTo>
                  <a:cubicBezTo>
                    <a:pt x="0" y="48377"/>
                    <a:pt x="5417" y="53804"/>
                    <a:pt x="12105" y="53819"/>
                  </a:cubicBezTo>
                  <a:lnTo>
                    <a:pt x="41687" y="53819"/>
                  </a:lnTo>
                  <a:cubicBezTo>
                    <a:pt x="48376" y="53804"/>
                    <a:pt x="53792" y="48377"/>
                    <a:pt x="53792" y="41687"/>
                  </a:cubicBezTo>
                  <a:lnTo>
                    <a:pt x="53792" y="12132"/>
                  </a:lnTo>
                  <a:cubicBezTo>
                    <a:pt x="53792" y="5442"/>
                    <a:pt x="48376" y="15"/>
                    <a:pt x="41687" y="0"/>
                  </a:cubicBezTo>
                  <a:lnTo>
                    <a:pt x="11998" y="0"/>
                  </a:lnTo>
                  <a:cubicBezTo>
                    <a:pt x="5350" y="73"/>
                    <a:pt x="0" y="5483"/>
                    <a:pt x="0" y="12132"/>
                  </a:cubicBezTo>
                  <a:close/>
                  <a:moveTo>
                    <a:pt x="12426" y="12426"/>
                  </a:moveTo>
                  <a:lnTo>
                    <a:pt x="41393" y="12426"/>
                  </a:lnTo>
                  <a:lnTo>
                    <a:pt x="41393" y="41393"/>
                  </a:lnTo>
                  <a:lnTo>
                    <a:pt x="12319" y="41393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5A3AC4C0-744F-7747-8088-AD1E6DA259E9}"/>
                </a:ext>
              </a:extLst>
            </p:cNvPr>
            <p:cNvSpPr/>
            <p:nvPr/>
          </p:nvSpPr>
          <p:spPr>
            <a:xfrm>
              <a:off x="8881777" y="1673808"/>
              <a:ext cx="53792" cy="53792"/>
            </a:xfrm>
            <a:custGeom>
              <a:avLst/>
              <a:gdLst>
                <a:gd name="connsiteX0" fmla="*/ 41660 w 53792"/>
                <a:gd name="connsiteY0" fmla="*/ 0 h 53792"/>
                <a:gd name="connsiteX1" fmla="*/ 12105 w 53792"/>
                <a:gd name="connsiteY1" fmla="*/ 0 h 53792"/>
                <a:gd name="connsiteX2" fmla="*/ 0 w 53792"/>
                <a:gd name="connsiteY2" fmla="*/ 12105 h 53792"/>
                <a:gd name="connsiteX3" fmla="*/ 0 w 53792"/>
                <a:gd name="connsiteY3" fmla="*/ 12132 h 53792"/>
                <a:gd name="connsiteX4" fmla="*/ 0 w 53792"/>
                <a:gd name="connsiteY4" fmla="*/ 41687 h 53792"/>
                <a:gd name="connsiteX5" fmla="*/ 12105 w 53792"/>
                <a:gd name="connsiteY5" fmla="*/ 53792 h 53792"/>
                <a:gd name="connsiteX6" fmla="*/ 41660 w 53792"/>
                <a:gd name="connsiteY6" fmla="*/ 53792 h 53792"/>
                <a:gd name="connsiteX7" fmla="*/ 53792 w 53792"/>
                <a:gd name="connsiteY7" fmla="*/ 41687 h 53792"/>
                <a:gd name="connsiteX8" fmla="*/ 53792 w 53792"/>
                <a:gd name="connsiteY8" fmla="*/ 12132 h 53792"/>
                <a:gd name="connsiteX9" fmla="*/ 41660 w 53792"/>
                <a:gd name="connsiteY9" fmla="*/ 0 h 53792"/>
                <a:gd name="connsiteX10" fmla="*/ 41366 w 53792"/>
                <a:gd name="connsiteY10" fmla="*/ 41366 h 53792"/>
                <a:gd name="connsiteX11" fmla="*/ 12399 w 53792"/>
                <a:gd name="connsiteY11" fmla="*/ 41366 h 53792"/>
                <a:gd name="connsiteX12" fmla="*/ 12399 w 53792"/>
                <a:gd name="connsiteY12" fmla="*/ 12426 h 53792"/>
                <a:gd name="connsiteX13" fmla="*/ 41366 w 53792"/>
                <a:gd name="connsiteY13" fmla="*/ 12426 h 53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3792" h="53792">
                  <a:moveTo>
                    <a:pt x="41660" y="0"/>
                  </a:moveTo>
                  <a:lnTo>
                    <a:pt x="12105" y="0"/>
                  </a:lnTo>
                  <a:cubicBezTo>
                    <a:pt x="5420" y="0"/>
                    <a:pt x="0" y="5420"/>
                    <a:pt x="0" y="12105"/>
                  </a:cubicBezTo>
                  <a:cubicBezTo>
                    <a:pt x="0" y="12114"/>
                    <a:pt x="0" y="12123"/>
                    <a:pt x="0" y="12132"/>
                  </a:cubicBezTo>
                  <a:lnTo>
                    <a:pt x="0" y="41687"/>
                  </a:lnTo>
                  <a:cubicBezTo>
                    <a:pt x="0" y="48373"/>
                    <a:pt x="5420" y="53792"/>
                    <a:pt x="12105" y="53792"/>
                  </a:cubicBezTo>
                  <a:lnTo>
                    <a:pt x="41660" y="53792"/>
                  </a:lnTo>
                  <a:cubicBezTo>
                    <a:pt x="48350" y="53792"/>
                    <a:pt x="53778" y="48376"/>
                    <a:pt x="53792" y="41687"/>
                  </a:cubicBezTo>
                  <a:lnTo>
                    <a:pt x="53792" y="12132"/>
                  </a:lnTo>
                  <a:cubicBezTo>
                    <a:pt x="53792" y="5432"/>
                    <a:pt x="48361" y="0"/>
                    <a:pt x="41660" y="0"/>
                  </a:cubicBezTo>
                  <a:close/>
                  <a:moveTo>
                    <a:pt x="41366" y="41366"/>
                  </a:moveTo>
                  <a:lnTo>
                    <a:pt x="12399" y="41366"/>
                  </a:lnTo>
                  <a:lnTo>
                    <a:pt x="12399" y="12426"/>
                  </a:lnTo>
                  <a:lnTo>
                    <a:pt x="41366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E44DADF4-709E-B64D-9982-3959F24E4B1D}"/>
                </a:ext>
              </a:extLst>
            </p:cNvPr>
            <p:cNvSpPr/>
            <p:nvPr/>
          </p:nvSpPr>
          <p:spPr>
            <a:xfrm>
              <a:off x="9134838" y="1675651"/>
              <a:ext cx="53792" cy="53792"/>
            </a:xfrm>
            <a:custGeom>
              <a:avLst/>
              <a:gdLst>
                <a:gd name="connsiteX0" fmla="*/ 41687 w 53792"/>
                <a:gd name="connsiteY0" fmla="*/ 0 h 53792"/>
                <a:gd name="connsiteX1" fmla="*/ 12105 w 53792"/>
                <a:gd name="connsiteY1" fmla="*/ 0 h 53792"/>
                <a:gd name="connsiteX2" fmla="*/ 0 w 53792"/>
                <a:gd name="connsiteY2" fmla="*/ 12105 h 53792"/>
                <a:gd name="connsiteX3" fmla="*/ 0 w 53792"/>
                <a:gd name="connsiteY3" fmla="*/ 41687 h 53792"/>
                <a:gd name="connsiteX4" fmla="*/ 12105 w 53792"/>
                <a:gd name="connsiteY4" fmla="*/ 53792 h 53792"/>
                <a:gd name="connsiteX5" fmla="*/ 41687 w 53792"/>
                <a:gd name="connsiteY5" fmla="*/ 53792 h 53792"/>
                <a:gd name="connsiteX6" fmla="*/ 53792 w 53792"/>
                <a:gd name="connsiteY6" fmla="*/ 41687 h 53792"/>
                <a:gd name="connsiteX7" fmla="*/ 53792 w 53792"/>
                <a:gd name="connsiteY7" fmla="*/ 12105 h 53792"/>
                <a:gd name="connsiteX8" fmla="*/ 41687 w 53792"/>
                <a:gd name="connsiteY8" fmla="*/ 0 h 53792"/>
                <a:gd name="connsiteX9" fmla="*/ 41393 w 53792"/>
                <a:gd name="connsiteY9" fmla="*/ 41393 h 53792"/>
                <a:gd name="connsiteX10" fmla="*/ 12426 w 53792"/>
                <a:gd name="connsiteY10" fmla="*/ 41393 h 53792"/>
                <a:gd name="connsiteX11" fmla="*/ 12426 w 53792"/>
                <a:gd name="connsiteY11" fmla="*/ 12426 h 53792"/>
                <a:gd name="connsiteX12" fmla="*/ 41393 w 53792"/>
                <a:gd name="connsiteY12" fmla="*/ 12426 h 53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792" h="53792">
                  <a:moveTo>
                    <a:pt x="41687" y="0"/>
                  </a:moveTo>
                  <a:lnTo>
                    <a:pt x="12105" y="0"/>
                  </a:lnTo>
                  <a:cubicBezTo>
                    <a:pt x="5419" y="0"/>
                    <a:pt x="0" y="5420"/>
                    <a:pt x="0" y="12105"/>
                  </a:cubicBezTo>
                  <a:lnTo>
                    <a:pt x="0" y="41687"/>
                  </a:lnTo>
                  <a:cubicBezTo>
                    <a:pt x="0" y="48373"/>
                    <a:pt x="5419" y="53792"/>
                    <a:pt x="12105" y="53792"/>
                  </a:cubicBezTo>
                  <a:lnTo>
                    <a:pt x="41687" y="53792"/>
                  </a:lnTo>
                  <a:cubicBezTo>
                    <a:pt x="48373" y="53792"/>
                    <a:pt x="53792" y="48373"/>
                    <a:pt x="53792" y="41687"/>
                  </a:cubicBezTo>
                  <a:lnTo>
                    <a:pt x="53792" y="12105"/>
                  </a:lnTo>
                  <a:cubicBezTo>
                    <a:pt x="53792" y="5420"/>
                    <a:pt x="48373" y="0"/>
                    <a:pt x="41687" y="0"/>
                  </a:cubicBezTo>
                  <a:close/>
                  <a:moveTo>
                    <a:pt x="41393" y="41393"/>
                  </a:moveTo>
                  <a:lnTo>
                    <a:pt x="12426" y="41393"/>
                  </a:lnTo>
                  <a:lnTo>
                    <a:pt x="12426" y="12426"/>
                  </a:lnTo>
                  <a:lnTo>
                    <a:pt x="41393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A435BC1-CA74-3B40-8417-2DEECE2C8BB7}"/>
                </a:ext>
              </a:extLst>
            </p:cNvPr>
            <p:cNvSpPr/>
            <p:nvPr/>
          </p:nvSpPr>
          <p:spPr>
            <a:xfrm>
              <a:off x="8966113" y="1597007"/>
              <a:ext cx="53925" cy="53819"/>
            </a:xfrm>
            <a:custGeom>
              <a:avLst/>
              <a:gdLst>
                <a:gd name="connsiteX0" fmla="*/ 41687 w 53925"/>
                <a:gd name="connsiteY0" fmla="*/ 0 h 53819"/>
                <a:gd name="connsiteX1" fmla="*/ 12132 w 53925"/>
                <a:gd name="connsiteY1" fmla="*/ 0 h 53819"/>
                <a:gd name="connsiteX2" fmla="*/ 0 w 53925"/>
                <a:gd name="connsiteY2" fmla="*/ 12132 h 53819"/>
                <a:gd name="connsiteX3" fmla="*/ 0 w 53925"/>
                <a:gd name="connsiteY3" fmla="*/ 41687 h 53819"/>
                <a:gd name="connsiteX4" fmla="*/ 12132 w 53925"/>
                <a:gd name="connsiteY4" fmla="*/ 53819 h 53819"/>
                <a:gd name="connsiteX5" fmla="*/ 41687 w 53925"/>
                <a:gd name="connsiteY5" fmla="*/ 53819 h 53819"/>
                <a:gd name="connsiteX6" fmla="*/ 53926 w 53925"/>
                <a:gd name="connsiteY6" fmla="*/ 41741 h 53819"/>
                <a:gd name="connsiteX7" fmla="*/ 53926 w 53925"/>
                <a:gd name="connsiteY7" fmla="*/ 41687 h 53819"/>
                <a:gd name="connsiteX8" fmla="*/ 53926 w 53925"/>
                <a:gd name="connsiteY8" fmla="*/ 12132 h 53819"/>
                <a:gd name="connsiteX9" fmla="*/ 41741 w 53925"/>
                <a:gd name="connsiteY9" fmla="*/ 0 h 53819"/>
                <a:gd name="connsiteX10" fmla="*/ 41687 w 53925"/>
                <a:gd name="connsiteY10" fmla="*/ 0 h 53819"/>
                <a:gd name="connsiteX11" fmla="*/ 41393 w 53925"/>
                <a:gd name="connsiteY11" fmla="*/ 41393 h 53819"/>
                <a:gd name="connsiteX12" fmla="*/ 12426 w 53925"/>
                <a:gd name="connsiteY12" fmla="*/ 41393 h 53819"/>
                <a:gd name="connsiteX13" fmla="*/ 12426 w 53925"/>
                <a:gd name="connsiteY13" fmla="*/ 12426 h 53819"/>
                <a:gd name="connsiteX14" fmla="*/ 41393 w 53925"/>
                <a:gd name="connsiteY14" fmla="*/ 12426 h 53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3925" h="53819">
                  <a:moveTo>
                    <a:pt x="41687" y="0"/>
                  </a:moveTo>
                  <a:lnTo>
                    <a:pt x="12132" y="0"/>
                  </a:lnTo>
                  <a:cubicBezTo>
                    <a:pt x="5438" y="15"/>
                    <a:pt x="15" y="5438"/>
                    <a:pt x="0" y="12132"/>
                  </a:cubicBezTo>
                  <a:lnTo>
                    <a:pt x="0" y="41687"/>
                  </a:lnTo>
                  <a:cubicBezTo>
                    <a:pt x="15" y="48382"/>
                    <a:pt x="5438" y="53805"/>
                    <a:pt x="12132" y="53819"/>
                  </a:cubicBezTo>
                  <a:lnTo>
                    <a:pt x="41687" y="53819"/>
                  </a:lnTo>
                  <a:cubicBezTo>
                    <a:pt x="48402" y="53864"/>
                    <a:pt x="53881" y="48456"/>
                    <a:pt x="53926" y="41741"/>
                  </a:cubicBezTo>
                  <a:cubicBezTo>
                    <a:pt x="53926" y="41723"/>
                    <a:pt x="53926" y="41705"/>
                    <a:pt x="53926" y="41687"/>
                  </a:cubicBezTo>
                  <a:lnTo>
                    <a:pt x="53926" y="12132"/>
                  </a:lnTo>
                  <a:cubicBezTo>
                    <a:pt x="53911" y="5417"/>
                    <a:pt x="48456" y="-15"/>
                    <a:pt x="41741" y="0"/>
                  </a:cubicBezTo>
                  <a:cubicBezTo>
                    <a:pt x="41723" y="0"/>
                    <a:pt x="41705" y="0"/>
                    <a:pt x="41687" y="0"/>
                  </a:cubicBezTo>
                  <a:close/>
                  <a:moveTo>
                    <a:pt x="41393" y="41393"/>
                  </a:moveTo>
                  <a:lnTo>
                    <a:pt x="12426" y="41393"/>
                  </a:lnTo>
                  <a:lnTo>
                    <a:pt x="12426" y="12426"/>
                  </a:lnTo>
                  <a:lnTo>
                    <a:pt x="41393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C52D4B83-5A7F-0846-BE9C-57E956DCBE62}"/>
                </a:ext>
              </a:extLst>
            </p:cNvPr>
            <p:cNvSpPr/>
            <p:nvPr/>
          </p:nvSpPr>
          <p:spPr>
            <a:xfrm>
              <a:off x="9050476" y="1597007"/>
              <a:ext cx="53818" cy="53818"/>
            </a:xfrm>
            <a:custGeom>
              <a:avLst/>
              <a:gdLst>
                <a:gd name="connsiteX0" fmla="*/ 41714 w 53818"/>
                <a:gd name="connsiteY0" fmla="*/ 0 h 53818"/>
                <a:gd name="connsiteX1" fmla="*/ 12132 w 53818"/>
                <a:gd name="connsiteY1" fmla="*/ 0 h 53818"/>
                <a:gd name="connsiteX2" fmla="*/ 0 w 53818"/>
                <a:gd name="connsiteY2" fmla="*/ 12132 h 53818"/>
                <a:gd name="connsiteX3" fmla="*/ 0 w 53818"/>
                <a:gd name="connsiteY3" fmla="*/ 41687 h 53818"/>
                <a:gd name="connsiteX4" fmla="*/ 12132 w 53818"/>
                <a:gd name="connsiteY4" fmla="*/ 53819 h 53818"/>
                <a:gd name="connsiteX5" fmla="*/ 41714 w 53818"/>
                <a:gd name="connsiteY5" fmla="*/ 53819 h 53818"/>
                <a:gd name="connsiteX6" fmla="*/ 53819 w 53818"/>
                <a:gd name="connsiteY6" fmla="*/ 41687 h 53818"/>
                <a:gd name="connsiteX7" fmla="*/ 53819 w 53818"/>
                <a:gd name="connsiteY7" fmla="*/ 12132 h 53818"/>
                <a:gd name="connsiteX8" fmla="*/ 41714 w 53818"/>
                <a:gd name="connsiteY8" fmla="*/ 0 h 53818"/>
                <a:gd name="connsiteX9" fmla="*/ 41420 w 53818"/>
                <a:gd name="connsiteY9" fmla="*/ 41393 h 53818"/>
                <a:gd name="connsiteX10" fmla="*/ 12319 w 53818"/>
                <a:gd name="connsiteY10" fmla="*/ 41393 h 53818"/>
                <a:gd name="connsiteX11" fmla="*/ 12319 w 53818"/>
                <a:gd name="connsiteY11" fmla="*/ 12426 h 53818"/>
                <a:gd name="connsiteX12" fmla="*/ 41286 w 53818"/>
                <a:gd name="connsiteY12" fmla="*/ 12426 h 5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" h="53818">
                  <a:moveTo>
                    <a:pt x="41714" y="0"/>
                  </a:moveTo>
                  <a:lnTo>
                    <a:pt x="12132" y="0"/>
                  </a:lnTo>
                  <a:cubicBezTo>
                    <a:pt x="5438" y="15"/>
                    <a:pt x="15" y="5438"/>
                    <a:pt x="0" y="12132"/>
                  </a:cubicBezTo>
                  <a:lnTo>
                    <a:pt x="0" y="41687"/>
                  </a:lnTo>
                  <a:cubicBezTo>
                    <a:pt x="15" y="48381"/>
                    <a:pt x="5438" y="53804"/>
                    <a:pt x="12132" y="53819"/>
                  </a:cubicBezTo>
                  <a:lnTo>
                    <a:pt x="41714" y="53819"/>
                  </a:lnTo>
                  <a:cubicBezTo>
                    <a:pt x="48402" y="53804"/>
                    <a:pt x="53819" y="48377"/>
                    <a:pt x="53819" y="41687"/>
                  </a:cubicBezTo>
                  <a:lnTo>
                    <a:pt x="53819" y="12132"/>
                  </a:lnTo>
                  <a:cubicBezTo>
                    <a:pt x="53819" y="5442"/>
                    <a:pt x="48402" y="15"/>
                    <a:pt x="41714" y="0"/>
                  </a:cubicBezTo>
                  <a:close/>
                  <a:moveTo>
                    <a:pt x="41420" y="41393"/>
                  </a:moveTo>
                  <a:lnTo>
                    <a:pt x="12319" y="41393"/>
                  </a:lnTo>
                  <a:lnTo>
                    <a:pt x="12319" y="12426"/>
                  </a:lnTo>
                  <a:lnTo>
                    <a:pt x="41286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22925B91-3AE5-F341-A408-9152D37683B2}"/>
                </a:ext>
              </a:extLst>
            </p:cNvPr>
            <p:cNvSpPr/>
            <p:nvPr/>
          </p:nvSpPr>
          <p:spPr>
            <a:xfrm>
              <a:off x="9048196" y="1680985"/>
              <a:ext cx="56083" cy="46855"/>
            </a:xfrm>
            <a:custGeom>
              <a:avLst/>
              <a:gdLst>
                <a:gd name="connsiteX0" fmla="*/ 20157 w 56083"/>
                <a:gd name="connsiteY0" fmla="*/ 46855 h 46855"/>
                <a:gd name="connsiteX1" fmla="*/ 20638 w 56083"/>
                <a:gd name="connsiteY1" fmla="*/ 46855 h 46855"/>
                <a:gd name="connsiteX2" fmla="*/ 27533 w 56083"/>
                <a:gd name="connsiteY2" fmla="*/ 43381 h 46855"/>
                <a:gd name="connsiteX3" fmla="*/ 54683 w 56083"/>
                <a:gd name="connsiteY3" fmla="*/ 10139 h 46855"/>
                <a:gd name="connsiteX4" fmla="*/ 53801 w 56083"/>
                <a:gd name="connsiteY4" fmla="*/ 1400 h 46855"/>
                <a:gd name="connsiteX5" fmla="*/ 45063 w 56083"/>
                <a:gd name="connsiteY5" fmla="*/ 2282 h 46855"/>
                <a:gd name="connsiteX6" fmla="*/ 19943 w 56083"/>
                <a:gd name="connsiteY6" fmla="*/ 33013 h 46855"/>
                <a:gd name="connsiteX7" fmla="*/ 10377 w 56083"/>
                <a:gd name="connsiteY7" fmla="*/ 23500 h 46855"/>
                <a:gd name="connsiteX8" fmla="*/ 1585 w 56083"/>
                <a:gd name="connsiteY8" fmla="*/ 23992 h 46855"/>
                <a:gd name="connsiteX9" fmla="*/ 1585 w 56083"/>
                <a:gd name="connsiteY9" fmla="*/ 32292 h 46855"/>
                <a:gd name="connsiteX10" fmla="*/ 13423 w 56083"/>
                <a:gd name="connsiteY10" fmla="*/ 44103 h 46855"/>
                <a:gd name="connsiteX11" fmla="*/ 20157 w 56083"/>
                <a:gd name="connsiteY11" fmla="*/ 46855 h 46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083" h="46855">
                  <a:moveTo>
                    <a:pt x="20157" y="46855"/>
                  </a:moveTo>
                  <a:lnTo>
                    <a:pt x="20638" y="46855"/>
                  </a:lnTo>
                  <a:cubicBezTo>
                    <a:pt x="23323" y="46722"/>
                    <a:pt x="25827" y="45458"/>
                    <a:pt x="27533" y="43381"/>
                  </a:cubicBezTo>
                  <a:lnTo>
                    <a:pt x="54683" y="10139"/>
                  </a:lnTo>
                  <a:cubicBezTo>
                    <a:pt x="56852" y="7482"/>
                    <a:pt x="56457" y="3570"/>
                    <a:pt x="53801" y="1400"/>
                  </a:cubicBezTo>
                  <a:cubicBezTo>
                    <a:pt x="51145" y="-769"/>
                    <a:pt x="47232" y="-374"/>
                    <a:pt x="45063" y="2282"/>
                  </a:cubicBezTo>
                  <a:lnTo>
                    <a:pt x="19943" y="33013"/>
                  </a:lnTo>
                  <a:lnTo>
                    <a:pt x="10377" y="23500"/>
                  </a:lnTo>
                  <a:cubicBezTo>
                    <a:pt x="7814" y="21208"/>
                    <a:pt x="3877" y="21427"/>
                    <a:pt x="1585" y="23992"/>
                  </a:cubicBezTo>
                  <a:cubicBezTo>
                    <a:pt x="-528" y="26354"/>
                    <a:pt x="-528" y="29929"/>
                    <a:pt x="1585" y="32292"/>
                  </a:cubicBezTo>
                  <a:lnTo>
                    <a:pt x="13423" y="44103"/>
                  </a:lnTo>
                  <a:cubicBezTo>
                    <a:pt x="15216" y="45875"/>
                    <a:pt x="17637" y="46863"/>
                    <a:pt x="20157" y="46855"/>
                  </a:cubicBez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7800F620-6E42-6E4B-93CF-FAD2FF2F5D62}"/>
                </a:ext>
              </a:extLst>
            </p:cNvPr>
            <p:cNvSpPr/>
            <p:nvPr/>
          </p:nvSpPr>
          <p:spPr>
            <a:xfrm>
              <a:off x="8881777" y="1597007"/>
              <a:ext cx="53792" cy="53818"/>
            </a:xfrm>
            <a:custGeom>
              <a:avLst/>
              <a:gdLst>
                <a:gd name="connsiteX0" fmla="*/ 41660 w 53792"/>
                <a:gd name="connsiteY0" fmla="*/ 0 h 53818"/>
                <a:gd name="connsiteX1" fmla="*/ 12105 w 53792"/>
                <a:gd name="connsiteY1" fmla="*/ 0 h 53818"/>
                <a:gd name="connsiteX2" fmla="*/ 0 w 53792"/>
                <a:gd name="connsiteY2" fmla="*/ 12132 h 53818"/>
                <a:gd name="connsiteX3" fmla="*/ 0 w 53792"/>
                <a:gd name="connsiteY3" fmla="*/ 41687 h 53818"/>
                <a:gd name="connsiteX4" fmla="*/ 12105 w 53792"/>
                <a:gd name="connsiteY4" fmla="*/ 53819 h 53818"/>
                <a:gd name="connsiteX5" fmla="*/ 41660 w 53792"/>
                <a:gd name="connsiteY5" fmla="*/ 53819 h 53818"/>
                <a:gd name="connsiteX6" fmla="*/ 53792 w 53792"/>
                <a:gd name="connsiteY6" fmla="*/ 41687 h 53818"/>
                <a:gd name="connsiteX7" fmla="*/ 53792 w 53792"/>
                <a:gd name="connsiteY7" fmla="*/ 12132 h 53818"/>
                <a:gd name="connsiteX8" fmla="*/ 41660 w 53792"/>
                <a:gd name="connsiteY8" fmla="*/ 0 h 53818"/>
                <a:gd name="connsiteX9" fmla="*/ 41366 w 53792"/>
                <a:gd name="connsiteY9" fmla="*/ 41393 h 53818"/>
                <a:gd name="connsiteX10" fmla="*/ 12399 w 53792"/>
                <a:gd name="connsiteY10" fmla="*/ 41393 h 53818"/>
                <a:gd name="connsiteX11" fmla="*/ 12399 w 53792"/>
                <a:gd name="connsiteY11" fmla="*/ 12426 h 53818"/>
                <a:gd name="connsiteX12" fmla="*/ 41366 w 53792"/>
                <a:gd name="connsiteY12" fmla="*/ 12426 h 5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792" h="53818">
                  <a:moveTo>
                    <a:pt x="41660" y="0"/>
                  </a:moveTo>
                  <a:lnTo>
                    <a:pt x="12105" y="0"/>
                  </a:lnTo>
                  <a:cubicBezTo>
                    <a:pt x="5415" y="15"/>
                    <a:pt x="0" y="5442"/>
                    <a:pt x="0" y="12132"/>
                  </a:cubicBezTo>
                  <a:lnTo>
                    <a:pt x="0" y="41687"/>
                  </a:lnTo>
                  <a:cubicBezTo>
                    <a:pt x="0" y="48377"/>
                    <a:pt x="5415" y="53804"/>
                    <a:pt x="12105" y="53819"/>
                  </a:cubicBezTo>
                  <a:lnTo>
                    <a:pt x="41660" y="53819"/>
                  </a:lnTo>
                  <a:cubicBezTo>
                    <a:pt x="48355" y="53804"/>
                    <a:pt x="53778" y="48381"/>
                    <a:pt x="53792" y="41687"/>
                  </a:cubicBezTo>
                  <a:lnTo>
                    <a:pt x="53792" y="12132"/>
                  </a:lnTo>
                  <a:cubicBezTo>
                    <a:pt x="53778" y="5438"/>
                    <a:pt x="48355" y="15"/>
                    <a:pt x="41660" y="0"/>
                  </a:cubicBezTo>
                  <a:close/>
                  <a:moveTo>
                    <a:pt x="41366" y="41393"/>
                  </a:moveTo>
                  <a:lnTo>
                    <a:pt x="12399" y="41393"/>
                  </a:lnTo>
                  <a:lnTo>
                    <a:pt x="12399" y="12426"/>
                  </a:lnTo>
                  <a:lnTo>
                    <a:pt x="41366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0EBFBB83-7C52-2342-884F-AA3ED1D5D900}"/>
                </a:ext>
              </a:extLst>
            </p:cNvPr>
            <p:cNvSpPr/>
            <p:nvPr/>
          </p:nvSpPr>
          <p:spPr>
            <a:xfrm>
              <a:off x="8966113" y="1673808"/>
              <a:ext cx="53818" cy="53792"/>
            </a:xfrm>
            <a:custGeom>
              <a:avLst/>
              <a:gdLst>
                <a:gd name="connsiteX0" fmla="*/ 41687 w 53818"/>
                <a:gd name="connsiteY0" fmla="*/ 0 h 53792"/>
                <a:gd name="connsiteX1" fmla="*/ 12132 w 53818"/>
                <a:gd name="connsiteY1" fmla="*/ 0 h 53792"/>
                <a:gd name="connsiteX2" fmla="*/ 0 w 53818"/>
                <a:gd name="connsiteY2" fmla="*/ 12132 h 53792"/>
                <a:gd name="connsiteX3" fmla="*/ 0 w 53818"/>
                <a:gd name="connsiteY3" fmla="*/ 41687 h 53792"/>
                <a:gd name="connsiteX4" fmla="*/ 12132 w 53818"/>
                <a:gd name="connsiteY4" fmla="*/ 53792 h 53792"/>
                <a:gd name="connsiteX5" fmla="*/ 41687 w 53818"/>
                <a:gd name="connsiteY5" fmla="*/ 53792 h 53792"/>
                <a:gd name="connsiteX6" fmla="*/ 53819 w 53818"/>
                <a:gd name="connsiteY6" fmla="*/ 41687 h 53792"/>
                <a:gd name="connsiteX7" fmla="*/ 53819 w 53818"/>
                <a:gd name="connsiteY7" fmla="*/ 12132 h 53792"/>
                <a:gd name="connsiteX8" fmla="*/ 41687 w 53818"/>
                <a:gd name="connsiteY8" fmla="*/ 0 h 53792"/>
                <a:gd name="connsiteX9" fmla="*/ 41393 w 53818"/>
                <a:gd name="connsiteY9" fmla="*/ 41366 h 53792"/>
                <a:gd name="connsiteX10" fmla="*/ 12426 w 53818"/>
                <a:gd name="connsiteY10" fmla="*/ 41366 h 53792"/>
                <a:gd name="connsiteX11" fmla="*/ 12426 w 53818"/>
                <a:gd name="connsiteY11" fmla="*/ 12426 h 53792"/>
                <a:gd name="connsiteX12" fmla="*/ 41393 w 53818"/>
                <a:gd name="connsiteY12" fmla="*/ 12426 h 53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" h="53792">
                  <a:moveTo>
                    <a:pt x="41687" y="0"/>
                  </a:moveTo>
                  <a:lnTo>
                    <a:pt x="12132" y="0"/>
                  </a:lnTo>
                  <a:cubicBezTo>
                    <a:pt x="5432" y="0"/>
                    <a:pt x="0" y="5432"/>
                    <a:pt x="0" y="12132"/>
                  </a:cubicBezTo>
                  <a:lnTo>
                    <a:pt x="0" y="41687"/>
                  </a:lnTo>
                  <a:cubicBezTo>
                    <a:pt x="15" y="48376"/>
                    <a:pt x="5442" y="53792"/>
                    <a:pt x="12132" y="53792"/>
                  </a:cubicBezTo>
                  <a:lnTo>
                    <a:pt x="41687" y="53792"/>
                  </a:lnTo>
                  <a:cubicBezTo>
                    <a:pt x="48377" y="53792"/>
                    <a:pt x="53804" y="48376"/>
                    <a:pt x="53819" y="41687"/>
                  </a:cubicBezTo>
                  <a:lnTo>
                    <a:pt x="53819" y="12132"/>
                  </a:lnTo>
                  <a:cubicBezTo>
                    <a:pt x="53819" y="5432"/>
                    <a:pt x="48387" y="0"/>
                    <a:pt x="41687" y="0"/>
                  </a:cubicBezTo>
                  <a:close/>
                  <a:moveTo>
                    <a:pt x="41393" y="41366"/>
                  </a:moveTo>
                  <a:lnTo>
                    <a:pt x="12426" y="41366"/>
                  </a:lnTo>
                  <a:lnTo>
                    <a:pt x="12426" y="12426"/>
                  </a:lnTo>
                  <a:lnTo>
                    <a:pt x="41393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BEC65C16-67B1-3D4C-B906-ADD6D081D8EB}"/>
                </a:ext>
              </a:extLst>
            </p:cNvPr>
            <p:cNvSpPr/>
            <p:nvPr/>
          </p:nvSpPr>
          <p:spPr>
            <a:xfrm>
              <a:off x="8966113" y="1750581"/>
              <a:ext cx="53818" cy="53818"/>
            </a:xfrm>
            <a:custGeom>
              <a:avLst/>
              <a:gdLst>
                <a:gd name="connsiteX0" fmla="*/ 41687 w 53818"/>
                <a:gd name="connsiteY0" fmla="*/ 0 h 53818"/>
                <a:gd name="connsiteX1" fmla="*/ 12132 w 53818"/>
                <a:gd name="connsiteY1" fmla="*/ 0 h 53818"/>
                <a:gd name="connsiteX2" fmla="*/ 0 w 53818"/>
                <a:gd name="connsiteY2" fmla="*/ 12132 h 53818"/>
                <a:gd name="connsiteX3" fmla="*/ 0 w 53818"/>
                <a:gd name="connsiteY3" fmla="*/ 41687 h 53818"/>
                <a:gd name="connsiteX4" fmla="*/ 12132 w 53818"/>
                <a:gd name="connsiteY4" fmla="*/ 53819 h 53818"/>
                <a:gd name="connsiteX5" fmla="*/ 41687 w 53818"/>
                <a:gd name="connsiteY5" fmla="*/ 53819 h 53818"/>
                <a:gd name="connsiteX6" fmla="*/ 53819 w 53818"/>
                <a:gd name="connsiteY6" fmla="*/ 41687 h 53818"/>
                <a:gd name="connsiteX7" fmla="*/ 53819 w 53818"/>
                <a:gd name="connsiteY7" fmla="*/ 12132 h 53818"/>
                <a:gd name="connsiteX8" fmla="*/ 41687 w 53818"/>
                <a:gd name="connsiteY8" fmla="*/ 0 h 53818"/>
                <a:gd name="connsiteX9" fmla="*/ 41393 w 53818"/>
                <a:gd name="connsiteY9" fmla="*/ 41393 h 53818"/>
                <a:gd name="connsiteX10" fmla="*/ 12426 w 53818"/>
                <a:gd name="connsiteY10" fmla="*/ 41393 h 53818"/>
                <a:gd name="connsiteX11" fmla="*/ 12426 w 53818"/>
                <a:gd name="connsiteY11" fmla="*/ 12426 h 53818"/>
                <a:gd name="connsiteX12" fmla="*/ 41393 w 53818"/>
                <a:gd name="connsiteY12" fmla="*/ 12426 h 5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" h="53818">
                  <a:moveTo>
                    <a:pt x="41687" y="0"/>
                  </a:moveTo>
                  <a:lnTo>
                    <a:pt x="12132" y="0"/>
                  </a:lnTo>
                  <a:cubicBezTo>
                    <a:pt x="5438" y="16"/>
                    <a:pt x="15" y="5438"/>
                    <a:pt x="0" y="12132"/>
                  </a:cubicBezTo>
                  <a:lnTo>
                    <a:pt x="0" y="41687"/>
                  </a:lnTo>
                  <a:cubicBezTo>
                    <a:pt x="15" y="48381"/>
                    <a:pt x="5438" y="53806"/>
                    <a:pt x="12132" y="53819"/>
                  </a:cubicBezTo>
                  <a:lnTo>
                    <a:pt x="41687" y="53819"/>
                  </a:lnTo>
                  <a:cubicBezTo>
                    <a:pt x="48381" y="53806"/>
                    <a:pt x="53804" y="48381"/>
                    <a:pt x="53819" y="41687"/>
                  </a:cubicBezTo>
                  <a:lnTo>
                    <a:pt x="53819" y="12132"/>
                  </a:lnTo>
                  <a:cubicBezTo>
                    <a:pt x="53804" y="5438"/>
                    <a:pt x="48381" y="13"/>
                    <a:pt x="41687" y="0"/>
                  </a:cubicBezTo>
                  <a:close/>
                  <a:moveTo>
                    <a:pt x="41393" y="41393"/>
                  </a:moveTo>
                  <a:lnTo>
                    <a:pt x="12426" y="41393"/>
                  </a:lnTo>
                  <a:lnTo>
                    <a:pt x="12426" y="12426"/>
                  </a:lnTo>
                  <a:lnTo>
                    <a:pt x="41393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3A077CA9-BC67-D144-A253-41AB88C884E7}"/>
                </a:ext>
              </a:extLst>
            </p:cNvPr>
            <p:cNvSpPr/>
            <p:nvPr/>
          </p:nvSpPr>
          <p:spPr>
            <a:xfrm>
              <a:off x="9050476" y="1750581"/>
              <a:ext cx="53818" cy="53818"/>
            </a:xfrm>
            <a:custGeom>
              <a:avLst/>
              <a:gdLst>
                <a:gd name="connsiteX0" fmla="*/ 41714 w 53818"/>
                <a:gd name="connsiteY0" fmla="*/ 0 h 53818"/>
                <a:gd name="connsiteX1" fmla="*/ 12132 w 53818"/>
                <a:gd name="connsiteY1" fmla="*/ 0 h 53818"/>
                <a:gd name="connsiteX2" fmla="*/ 0 w 53818"/>
                <a:gd name="connsiteY2" fmla="*/ 12132 h 53818"/>
                <a:gd name="connsiteX3" fmla="*/ 0 w 53818"/>
                <a:gd name="connsiteY3" fmla="*/ 41687 h 53818"/>
                <a:gd name="connsiteX4" fmla="*/ 12132 w 53818"/>
                <a:gd name="connsiteY4" fmla="*/ 53819 h 53818"/>
                <a:gd name="connsiteX5" fmla="*/ 41714 w 53818"/>
                <a:gd name="connsiteY5" fmla="*/ 53819 h 53818"/>
                <a:gd name="connsiteX6" fmla="*/ 53819 w 53818"/>
                <a:gd name="connsiteY6" fmla="*/ 41687 h 53818"/>
                <a:gd name="connsiteX7" fmla="*/ 53819 w 53818"/>
                <a:gd name="connsiteY7" fmla="*/ 12132 h 53818"/>
                <a:gd name="connsiteX8" fmla="*/ 41714 w 53818"/>
                <a:gd name="connsiteY8" fmla="*/ 0 h 53818"/>
                <a:gd name="connsiteX9" fmla="*/ 41420 w 53818"/>
                <a:gd name="connsiteY9" fmla="*/ 41393 h 53818"/>
                <a:gd name="connsiteX10" fmla="*/ 12319 w 53818"/>
                <a:gd name="connsiteY10" fmla="*/ 41393 h 53818"/>
                <a:gd name="connsiteX11" fmla="*/ 12319 w 53818"/>
                <a:gd name="connsiteY11" fmla="*/ 12426 h 53818"/>
                <a:gd name="connsiteX12" fmla="*/ 41286 w 53818"/>
                <a:gd name="connsiteY12" fmla="*/ 12426 h 5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" h="53818">
                  <a:moveTo>
                    <a:pt x="41714" y="0"/>
                  </a:moveTo>
                  <a:lnTo>
                    <a:pt x="12132" y="0"/>
                  </a:lnTo>
                  <a:cubicBezTo>
                    <a:pt x="5438" y="16"/>
                    <a:pt x="15" y="5438"/>
                    <a:pt x="0" y="12132"/>
                  </a:cubicBezTo>
                  <a:lnTo>
                    <a:pt x="0" y="41687"/>
                  </a:lnTo>
                  <a:cubicBezTo>
                    <a:pt x="15" y="48381"/>
                    <a:pt x="5438" y="53806"/>
                    <a:pt x="12132" y="53819"/>
                  </a:cubicBezTo>
                  <a:lnTo>
                    <a:pt x="41714" y="53819"/>
                  </a:lnTo>
                  <a:cubicBezTo>
                    <a:pt x="48402" y="53803"/>
                    <a:pt x="53819" y="48376"/>
                    <a:pt x="53819" y="41687"/>
                  </a:cubicBezTo>
                  <a:lnTo>
                    <a:pt x="53819" y="12132"/>
                  </a:lnTo>
                  <a:cubicBezTo>
                    <a:pt x="53819" y="5443"/>
                    <a:pt x="48402" y="16"/>
                    <a:pt x="41714" y="0"/>
                  </a:cubicBezTo>
                  <a:close/>
                  <a:moveTo>
                    <a:pt x="41420" y="41393"/>
                  </a:moveTo>
                  <a:lnTo>
                    <a:pt x="12319" y="41393"/>
                  </a:lnTo>
                  <a:lnTo>
                    <a:pt x="12319" y="12426"/>
                  </a:lnTo>
                  <a:lnTo>
                    <a:pt x="41286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1" name="Graphic 9">
            <a:extLst>
              <a:ext uri="{FF2B5EF4-FFF2-40B4-BE49-F238E27FC236}">
                <a16:creationId xmlns:a16="http://schemas.microsoft.com/office/drawing/2014/main" id="{C4D7DA14-089B-3244-AB2B-6DAA2AE4106C}"/>
              </a:ext>
            </a:extLst>
          </p:cNvPr>
          <p:cNvGrpSpPr/>
          <p:nvPr userDrawn="1"/>
        </p:nvGrpSpPr>
        <p:grpSpPr>
          <a:xfrm>
            <a:off x="7368946" y="3870093"/>
            <a:ext cx="499804" cy="489143"/>
            <a:chOff x="9898371" y="4954906"/>
            <a:chExt cx="697779" cy="697779"/>
          </a:xfrm>
          <a:solidFill>
            <a:schemeClr val="bg1"/>
          </a:solidFill>
        </p:grpSpPr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4B6E55C4-5204-7C4C-9D57-C82B93173A07}"/>
                </a:ext>
              </a:extLst>
            </p:cNvPr>
            <p:cNvSpPr/>
            <p:nvPr/>
          </p:nvSpPr>
          <p:spPr>
            <a:xfrm>
              <a:off x="9902980" y="5085715"/>
              <a:ext cx="683936" cy="420349"/>
            </a:xfrm>
            <a:custGeom>
              <a:avLst/>
              <a:gdLst>
                <a:gd name="connsiteX0" fmla="*/ 579780 w 683936"/>
                <a:gd name="connsiteY0" fmla="*/ 420348 h 420349"/>
                <a:gd name="connsiteX1" fmla="*/ 104418 w 683936"/>
                <a:gd name="connsiteY1" fmla="*/ 420348 h 420349"/>
                <a:gd name="connsiteX2" fmla="*/ 1 w 683936"/>
                <a:gd name="connsiteY2" fmla="*/ 316829 h 420349"/>
                <a:gd name="connsiteX3" fmla="*/ 94955 w 683936"/>
                <a:gd name="connsiteY3" fmla="*/ 212803 h 420349"/>
                <a:gd name="connsiteX4" fmla="*/ 243754 w 683936"/>
                <a:gd name="connsiteY4" fmla="*/ 83148 h 420349"/>
                <a:gd name="connsiteX5" fmla="*/ 279256 w 683936"/>
                <a:gd name="connsiteY5" fmla="*/ 90299 h 420349"/>
                <a:gd name="connsiteX6" fmla="*/ 506888 w 683936"/>
                <a:gd name="connsiteY6" fmla="*/ 19338 h 420349"/>
                <a:gd name="connsiteX7" fmla="*/ 591206 w 683936"/>
                <a:gd name="connsiteY7" fmla="*/ 213021 h 420349"/>
                <a:gd name="connsiteX8" fmla="*/ 683318 w 683936"/>
                <a:gd name="connsiteY8" fmla="*/ 327631 h 420349"/>
                <a:gd name="connsiteX9" fmla="*/ 579780 w 683936"/>
                <a:gd name="connsiteY9" fmla="*/ 420348 h 420349"/>
                <a:gd name="connsiteX10" fmla="*/ 234031 w 683936"/>
                <a:gd name="connsiteY10" fmla="*/ 102336 h 420349"/>
                <a:gd name="connsiteX11" fmla="*/ 114231 w 683936"/>
                <a:gd name="connsiteY11" fmla="*/ 222136 h 420349"/>
                <a:gd name="connsiteX12" fmla="*/ 104462 w 683936"/>
                <a:gd name="connsiteY12" fmla="*/ 231905 h 420349"/>
                <a:gd name="connsiteX13" fmla="*/ 18090 w 683936"/>
                <a:gd name="connsiteY13" fmla="*/ 314439 h 420349"/>
                <a:gd name="connsiteX14" fmla="*/ 100623 w 683936"/>
                <a:gd name="connsiteY14" fmla="*/ 400811 h 420349"/>
                <a:gd name="connsiteX15" fmla="*/ 104462 w 683936"/>
                <a:gd name="connsiteY15" fmla="*/ 400811 h 420349"/>
                <a:gd name="connsiteX16" fmla="*/ 579780 w 683936"/>
                <a:gd name="connsiteY16" fmla="*/ 400811 h 420349"/>
                <a:gd name="connsiteX17" fmla="*/ 666152 w 683936"/>
                <a:gd name="connsiteY17" fmla="*/ 318276 h 420349"/>
                <a:gd name="connsiteX18" fmla="*/ 583618 w 683936"/>
                <a:gd name="connsiteY18" fmla="*/ 231905 h 420349"/>
                <a:gd name="connsiteX19" fmla="*/ 579780 w 683936"/>
                <a:gd name="connsiteY19" fmla="*/ 231905 h 420349"/>
                <a:gd name="connsiteX20" fmla="*/ 578167 w 683936"/>
                <a:gd name="connsiteY20" fmla="*/ 231905 h 420349"/>
                <a:gd name="connsiteX21" fmla="*/ 568402 w 683936"/>
                <a:gd name="connsiteY21" fmla="*/ 222043 h 420349"/>
                <a:gd name="connsiteX22" fmla="*/ 568965 w 683936"/>
                <a:gd name="connsiteY22" fmla="*/ 218821 h 420349"/>
                <a:gd name="connsiteX23" fmla="*/ 577687 w 683936"/>
                <a:gd name="connsiteY23" fmla="*/ 169017 h 420349"/>
                <a:gd name="connsiteX24" fmla="*/ 428713 w 683936"/>
                <a:gd name="connsiteY24" fmla="*/ 19691 h 420349"/>
                <a:gd name="connsiteX25" fmla="*/ 292949 w 683936"/>
                <a:gd name="connsiteY25" fmla="*/ 106697 h 420349"/>
                <a:gd name="connsiteX26" fmla="*/ 280302 w 683936"/>
                <a:gd name="connsiteY26" fmla="*/ 111581 h 420349"/>
                <a:gd name="connsiteX27" fmla="*/ 234031 w 683936"/>
                <a:gd name="connsiteY27" fmla="*/ 102336 h 420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683936" h="420349">
                  <a:moveTo>
                    <a:pt x="579780" y="420348"/>
                  </a:moveTo>
                  <a:lnTo>
                    <a:pt x="104418" y="420348"/>
                  </a:lnTo>
                  <a:cubicBezTo>
                    <a:pt x="46998" y="420597"/>
                    <a:pt x="249" y="374251"/>
                    <a:pt x="1" y="316829"/>
                  </a:cubicBezTo>
                  <a:cubicBezTo>
                    <a:pt x="-233" y="262731"/>
                    <a:pt x="41059" y="217493"/>
                    <a:pt x="94955" y="212803"/>
                  </a:cubicBezTo>
                  <a:cubicBezTo>
                    <a:pt x="100242" y="135910"/>
                    <a:pt x="166861" y="77862"/>
                    <a:pt x="243754" y="83148"/>
                  </a:cubicBezTo>
                  <a:cubicBezTo>
                    <a:pt x="255849" y="83980"/>
                    <a:pt x="267783" y="86384"/>
                    <a:pt x="279256" y="90299"/>
                  </a:cubicBezTo>
                  <a:cubicBezTo>
                    <a:pt x="322520" y="7844"/>
                    <a:pt x="424434" y="-23926"/>
                    <a:pt x="506888" y="19338"/>
                  </a:cubicBezTo>
                  <a:cubicBezTo>
                    <a:pt x="576967" y="56108"/>
                    <a:pt x="612039" y="136672"/>
                    <a:pt x="591206" y="213021"/>
                  </a:cubicBezTo>
                  <a:cubicBezTo>
                    <a:pt x="648289" y="219234"/>
                    <a:pt x="689528" y="270546"/>
                    <a:pt x="683318" y="327631"/>
                  </a:cubicBezTo>
                  <a:cubicBezTo>
                    <a:pt x="677565" y="380453"/>
                    <a:pt x="632916" y="420440"/>
                    <a:pt x="579780" y="420348"/>
                  </a:cubicBezTo>
                  <a:close/>
                  <a:moveTo>
                    <a:pt x="234031" y="102336"/>
                  </a:moveTo>
                  <a:cubicBezTo>
                    <a:pt x="167897" y="102408"/>
                    <a:pt x="114303" y="156002"/>
                    <a:pt x="114231" y="222136"/>
                  </a:cubicBezTo>
                  <a:cubicBezTo>
                    <a:pt x="114231" y="227531"/>
                    <a:pt x="109857" y="231905"/>
                    <a:pt x="104462" y="231905"/>
                  </a:cubicBezTo>
                  <a:cubicBezTo>
                    <a:pt x="57820" y="230845"/>
                    <a:pt x="19150" y="267796"/>
                    <a:pt x="18090" y="314439"/>
                  </a:cubicBezTo>
                  <a:cubicBezTo>
                    <a:pt x="17030" y="361081"/>
                    <a:pt x="53981" y="399751"/>
                    <a:pt x="100623" y="400811"/>
                  </a:cubicBezTo>
                  <a:cubicBezTo>
                    <a:pt x="101903" y="400841"/>
                    <a:pt x="103182" y="400841"/>
                    <a:pt x="104462" y="400811"/>
                  </a:cubicBezTo>
                  <a:lnTo>
                    <a:pt x="579780" y="400811"/>
                  </a:lnTo>
                  <a:cubicBezTo>
                    <a:pt x="626422" y="401870"/>
                    <a:pt x="665092" y="364919"/>
                    <a:pt x="666152" y="318276"/>
                  </a:cubicBezTo>
                  <a:cubicBezTo>
                    <a:pt x="667212" y="271635"/>
                    <a:pt x="630260" y="232964"/>
                    <a:pt x="583618" y="231905"/>
                  </a:cubicBezTo>
                  <a:cubicBezTo>
                    <a:pt x="582340" y="231875"/>
                    <a:pt x="581058" y="231875"/>
                    <a:pt x="579780" y="231905"/>
                  </a:cubicBezTo>
                  <a:lnTo>
                    <a:pt x="578167" y="231905"/>
                  </a:lnTo>
                  <a:cubicBezTo>
                    <a:pt x="572746" y="231877"/>
                    <a:pt x="568376" y="227462"/>
                    <a:pt x="568402" y="222043"/>
                  </a:cubicBezTo>
                  <a:cubicBezTo>
                    <a:pt x="568411" y="220945"/>
                    <a:pt x="568598" y="219856"/>
                    <a:pt x="568965" y="218821"/>
                  </a:cubicBezTo>
                  <a:cubicBezTo>
                    <a:pt x="574621" y="202820"/>
                    <a:pt x="577569" y="185988"/>
                    <a:pt x="577687" y="169017"/>
                  </a:cubicBezTo>
                  <a:cubicBezTo>
                    <a:pt x="577783" y="86644"/>
                    <a:pt x="511088" y="19788"/>
                    <a:pt x="428713" y="19691"/>
                  </a:cubicBezTo>
                  <a:cubicBezTo>
                    <a:pt x="370330" y="19622"/>
                    <a:pt x="317275" y="53623"/>
                    <a:pt x="292949" y="106697"/>
                  </a:cubicBezTo>
                  <a:cubicBezTo>
                    <a:pt x="290717" y="111444"/>
                    <a:pt x="285146" y="113595"/>
                    <a:pt x="280302" y="111581"/>
                  </a:cubicBezTo>
                  <a:cubicBezTo>
                    <a:pt x="265652" y="105435"/>
                    <a:pt x="249918" y="102291"/>
                    <a:pt x="234031" y="102336"/>
                  </a:cubicBezTo>
                  <a:close/>
                </a:path>
              </a:pathLst>
            </a:custGeom>
            <a:grpFill/>
            <a:ln w="4345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BB792D5E-7115-1A40-AFFA-7C49BA677599}"/>
                </a:ext>
              </a:extLst>
            </p:cNvPr>
            <p:cNvSpPr/>
            <p:nvPr/>
          </p:nvSpPr>
          <p:spPr>
            <a:xfrm>
              <a:off x="10093182" y="5284428"/>
              <a:ext cx="112211" cy="129636"/>
            </a:xfrm>
            <a:custGeom>
              <a:avLst/>
              <a:gdLst>
                <a:gd name="connsiteX0" fmla="*/ 112212 w 112211"/>
                <a:gd name="connsiteY0" fmla="*/ 107287 h 129636"/>
                <a:gd name="connsiteX1" fmla="*/ 93197 w 112211"/>
                <a:gd name="connsiteY1" fmla="*/ 123423 h 129636"/>
                <a:gd name="connsiteX2" fmla="*/ 65155 w 112211"/>
                <a:gd name="connsiteY2" fmla="*/ 129616 h 129636"/>
                <a:gd name="connsiteX3" fmla="*/ 38989 w 112211"/>
                <a:gd name="connsiteY3" fmla="*/ 124819 h 129636"/>
                <a:gd name="connsiteX4" fmla="*/ 18448 w 112211"/>
                <a:gd name="connsiteY4" fmla="*/ 111386 h 129636"/>
                <a:gd name="connsiteX5" fmla="*/ 4928 w 112211"/>
                <a:gd name="connsiteY5" fmla="*/ 90846 h 129636"/>
                <a:gd name="connsiteX6" fmla="*/ 4928 w 112211"/>
                <a:gd name="connsiteY6" fmla="*/ 38207 h 129636"/>
                <a:gd name="connsiteX7" fmla="*/ 18884 w 112211"/>
                <a:gd name="connsiteY7" fmla="*/ 17797 h 129636"/>
                <a:gd name="connsiteX8" fmla="*/ 39686 w 112211"/>
                <a:gd name="connsiteY8" fmla="*/ 4713 h 129636"/>
                <a:gd name="connsiteX9" fmla="*/ 65853 w 112211"/>
                <a:gd name="connsiteY9" fmla="*/ 3 h 129636"/>
                <a:gd name="connsiteX10" fmla="*/ 78544 w 112211"/>
                <a:gd name="connsiteY10" fmla="*/ 1225 h 129636"/>
                <a:gd name="connsiteX11" fmla="*/ 90929 w 112211"/>
                <a:gd name="connsiteY11" fmla="*/ 4888 h 129636"/>
                <a:gd name="connsiteX12" fmla="*/ 101745 w 112211"/>
                <a:gd name="connsiteY12" fmla="*/ 10906 h 129636"/>
                <a:gd name="connsiteX13" fmla="*/ 110118 w 112211"/>
                <a:gd name="connsiteY13" fmla="*/ 19149 h 129636"/>
                <a:gd name="connsiteX14" fmla="*/ 96512 w 112211"/>
                <a:gd name="connsiteY14" fmla="*/ 29615 h 129636"/>
                <a:gd name="connsiteX15" fmla="*/ 83690 w 112211"/>
                <a:gd name="connsiteY15" fmla="*/ 19367 h 129636"/>
                <a:gd name="connsiteX16" fmla="*/ 65853 w 112211"/>
                <a:gd name="connsiteY16" fmla="*/ 15006 h 129636"/>
                <a:gd name="connsiteX17" fmla="*/ 46402 w 112211"/>
                <a:gd name="connsiteY17" fmla="*/ 18931 h 129636"/>
                <a:gd name="connsiteX18" fmla="*/ 31662 w 112211"/>
                <a:gd name="connsiteY18" fmla="*/ 29659 h 129636"/>
                <a:gd name="connsiteX19" fmla="*/ 22285 w 112211"/>
                <a:gd name="connsiteY19" fmla="*/ 45446 h 129636"/>
                <a:gd name="connsiteX20" fmla="*/ 18971 w 112211"/>
                <a:gd name="connsiteY20" fmla="*/ 64504 h 129636"/>
                <a:gd name="connsiteX21" fmla="*/ 22198 w 112211"/>
                <a:gd name="connsiteY21" fmla="*/ 84042 h 129636"/>
                <a:gd name="connsiteX22" fmla="*/ 31400 w 112211"/>
                <a:gd name="connsiteY22" fmla="*/ 99786 h 129636"/>
                <a:gd name="connsiteX23" fmla="*/ 46054 w 112211"/>
                <a:gd name="connsiteY23" fmla="*/ 110340 h 129636"/>
                <a:gd name="connsiteX24" fmla="*/ 65330 w 112211"/>
                <a:gd name="connsiteY24" fmla="*/ 114177 h 129636"/>
                <a:gd name="connsiteX25" fmla="*/ 84301 w 112211"/>
                <a:gd name="connsiteY25" fmla="*/ 109816 h 129636"/>
                <a:gd name="connsiteX26" fmla="*/ 98431 w 112211"/>
                <a:gd name="connsiteY26" fmla="*/ 97605 h 129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2211" h="129636">
                  <a:moveTo>
                    <a:pt x="112212" y="107287"/>
                  </a:moveTo>
                  <a:cubicBezTo>
                    <a:pt x="107170" y="114029"/>
                    <a:pt x="100670" y="119546"/>
                    <a:pt x="93197" y="123423"/>
                  </a:cubicBezTo>
                  <a:cubicBezTo>
                    <a:pt x="84495" y="127745"/>
                    <a:pt x="74868" y="129869"/>
                    <a:pt x="65155" y="129616"/>
                  </a:cubicBezTo>
                  <a:cubicBezTo>
                    <a:pt x="56206" y="129712"/>
                    <a:pt x="47322" y="128081"/>
                    <a:pt x="38989" y="124819"/>
                  </a:cubicBezTo>
                  <a:cubicBezTo>
                    <a:pt x="31297" y="121788"/>
                    <a:pt x="24307" y="117217"/>
                    <a:pt x="18448" y="111386"/>
                  </a:cubicBezTo>
                  <a:cubicBezTo>
                    <a:pt x="12618" y="105508"/>
                    <a:pt x="8022" y="98525"/>
                    <a:pt x="4928" y="90846"/>
                  </a:cubicBezTo>
                  <a:cubicBezTo>
                    <a:pt x="-1643" y="73914"/>
                    <a:pt x="-1643" y="55138"/>
                    <a:pt x="4928" y="38207"/>
                  </a:cubicBezTo>
                  <a:cubicBezTo>
                    <a:pt x="8104" y="30504"/>
                    <a:pt x="12858" y="23551"/>
                    <a:pt x="18884" y="17797"/>
                  </a:cubicBezTo>
                  <a:cubicBezTo>
                    <a:pt x="24882" y="12099"/>
                    <a:pt x="31953" y="7652"/>
                    <a:pt x="39686" y="4713"/>
                  </a:cubicBezTo>
                  <a:cubicBezTo>
                    <a:pt x="48035" y="1514"/>
                    <a:pt x="56912" y="-84"/>
                    <a:pt x="65853" y="3"/>
                  </a:cubicBezTo>
                  <a:cubicBezTo>
                    <a:pt x="70113" y="3"/>
                    <a:pt x="74362" y="412"/>
                    <a:pt x="78544" y="1225"/>
                  </a:cubicBezTo>
                  <a:cubicBezTo>
                    <a:pt x="82793" y="1993"/>
                    <a:pt x="86946" y="3222"/>
                    <a:pt x="90929" y="4888"/>
                  </a:cubicBezTo>
                  <a:cubicBezTo>
                    <a:pt x="94770" y="6438"/>
                    <a:pt x="98403" y="8460"/>
                    <a:pt x="101745" y="10906"/>
                  </a:cubicBezTo>
                  <a:cubicBezTo>
                    <a:pt x="104931" y="13221"/>
                    <a:pt x="107754" y="15999"/>
                    <a:pt x="110118" y="19149"/>
                  </a:cubicBezTo>
                  <a:lnTo>
                    <a:pt x="96512" y="29615"/>
                  </a:lnTo>
                  <a:cubicBezTo>
                    <a:pt x="93142" y="25200"/>
                    <a:pt x="88739" y="21680"/>
                    <a:pt x="83690" y="19367"/>
                  </a:cubicBezTo>
                  <a:cubicBezTo>
                    <a:pt x="78163" y="16549"/>
                    <a:pt x="72056" y="15056"/>
                    <a:pt x="65853" y="15006"/>
                  </a:cubicBezTo>
                  <a:cubicBezTo>
                    <a:pt x="59162" y="14896"/>
                    <a:pt x="52527" y="16235"/>
                    <a:pt x="46402" y="18931"/>
                  </a:cubicBezTo>
                  <a:cubicBezTo>
                    <a:pt x="40798" y="21446"/>
                    <a:pt x="35779" y="25100"/>
                    <a:pt x="31662" y="29659"/>
                  </a:cubicBezTo>
                  <a:cubicBezTo>
                    <a:pt x="27556" y="34274"/>
                    <a:pt x="24373" y="39633"/>
                    <a:pt x="22285" y="45446"/>
                  </a:cubicBezTo>
                  <a:cubicBezTo>
                    <a:pt x="20047" y="51549"/>
                    <a:pt x="18924" y="58005"/>
                    <a:pt x="18971" y="64504"/>
                  </a:cubicBezTo>
                  <a:cubicBezTo>
                    <a:pt x="18903" y="71155"/>
                    <a:pt x="19995" y="77767"/>
                    <a:pt x="22198" y="84042"/>
                  </a:cubicBezTo>
                  <a:cubicBezTo>
                    <a:pt x="24212" y="89839"/>
                    <a:pt x="27337" y="95187"/>
                    <a:pt x="31400" y="99786"/>
                  </a:cubicBezTo>
                  <a:cubicBezTo>
                    <a:pt x="35463" y="104323"/>
                    <a:pt x="40463" y="107924"/>
                    <a:pt x="46054" y="110340"/>
                  </a:cubicBezTo>
                  <a:cubicBezTo>
                    <a:pt x="52133" y="112974"/>
                    <a:pt x="58705" y="114282"/>
                    <a:pt x="65330" y="114177"/>
                  </a:cubicBezTo>
                  <a:cubicBezTo>
                    <a:pt x="71905" y="114212"/>
                    <a:pt x="78399" y="112717"/>
                    <a:pt x="84301" y="109816"/>
                  </a:cubicBezTo>
                  <a:cubicBezTo>
                    <a:pt x="89995" y="107047"/>
                    <a:pt x="94867" y="102839"/>
                    <a:pt x="98431" y="97605"/>
                  </a:cubicBezTo>
                  <a:close/>
                </a:path>
              </a:pathLst>
            </a:custGeom>
            <a:grpFill/>
            <a:ln w="4345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C0E7AD32-07BF-564E-B69F-AA65C730DAF6}"/>
                </a:ext>
              </a:extLst>
            </p:cNvPr>
            <p:cNvSpPr/>
            <p:nvPr/>
          </p:nvSpPr>
          <p:spPr>
            <a:xfrm>
              <a:off x="10223187" y="5284319"/>
              <a:ext cx="130840" cy="129661"/>
            </a:xfrm>
            <a:custGeom>
              <a:avLst/>
              <a:gdLst>
                <a:gd name="connsiteX0" fmla="*/ 130833 w 130840"/>
                <a:gd name="connsiteY0" fmla="*/ 64701 h 129661"/>
                <a:gd name="connsiteX1" fmla="*/ 125862 w 130840"/>
                <a:gd name="connsiteY1" fmla="*/ 90868 h 129661"/>
                <a:gd name="connsiteX2" fmla="*/ 112168 w 130840"/>
                <a:gd name="connsiteY2" fmla="*/ 111408 h 129661"/>
                <a:gd name="connsiteX3" fmla="*/ 91453 w 130840"/>
                <a:gd name="connsiteY3" fmla="*/ 124841 h 129661"/>
                <a:gd name="connsiteX4" fmla="*/ 39119 w 130840"/>
                <a:gd name="connsiteY4" fmla="*/ 124841 h 129661"/>
                <a:gd name="connsiteX5" fmla="*/ 4884 w 130840"/>
                <a:gd name="connsiteY5" fmla="*/ 90868 h 129661"/>
                <a:gd name="connsiteX6" fmla="*/ 4884 w 130840"/>
                <a:gd name="connsiteY6" fmla="*/ 38229 h 129661"/>
                <a:gd name="connsiteX7" fmla="*/ 18491 w 130840"/>
                <a:gd name="connsiteY7" fmla="*/ 17819 h 129661"/>
                <a:gd name="connsiteX8" fmla="*/ 39119 w 130840"/>
                <a:gd name="connsiteY8" fmla="*/ 4736 h 129661"/>
                <a:gd name="connsiteX9" fmla="*/ 91453 w 130840"/>
                <a:gd name="connsiteY9" fmla="*/ 4736 h 129661"/>
                <a:gd name="connsiteX10" fmla="*/ 112168 w 130840"/>
                <a:gd name="connsiteY10" fmla="*/ 17819 h 129661"/>
                <a:gd name="connsiteX11" fmla="*/ 125862 w 130840"/>
                <a:gd name="connsiteY11" fmla="*/ 38229 h 129661"/>
                <a:gd name="connsiteX12" fmla="*/ 130833 w 130840"/>
                <a:gd name="connsiteY12" fmla="*/ 64701 h 129661"/>
                <a:gd name="connsiteX13" fmla="*/ 112168 w 130840"/>
                <a:gd name="connsiteY13" fmla="*/ 64701 h 129661"/>
                <a:gd name="connsiteX14" fmla="*/ 108897 w 130840"/>
                <a:gd name="connsiteY14" fmla="*/ 45643 h 129661"/>
                <a:gd name="connsiteX15" fmla="*/ 99477 w 130840"/>
                <a:gd name="connsiteY15" fmla="*/ 29856 h 129661"/>
                <a:gd name="connsiteX16" fmla="*/ 84736 w 130840"/>
                <a:gd name="connsiteY16" fmla="*/ 19127 h 129661"/>
                <a:gd name="connsiteX17" fmla="*/ 46053 w 130840"/>
                <a:gd name="connsiteY17" fmla="*/ 19127 h 129661"/>
                <a:gd name="connsiteX18" fmla="*/ 31400 w 130840"/>
                <a:gd name="connsiteY18" fmla="*/ 29856 h 129661"/>
                <a:gd name="connsiteX19" fmla="*/ 22111 w 130840"/>
                <a:gd name="connsiteY19" fmla="*/ 45643 h 129661"/>
                <a:gd name="connsiteX20" fmla="*/ 18796 w 130840"/>
                <a:gd name="connsiteY20" fmla="*/ 64701 h 129661"/>
                <a:gd name="connsiteX21" fmla="*/ 22111 w 130840"/>
                <a:gd name="connsiteY21" fmla="*/ 84064 h 129661"/>
                <a:gd name="connsiteX22" fmla="*/ 31487 w 130840"/>
                <a:gd name="connsiteY22" fmla="*/ 99808 h 129661"/>
                <a:gd name="connsiteX23" fmla="*/ 46141 w 130840"/>
                <a:gd name="connsiteY23" fmla="*/ 110362 h 129661"/>
                <a:gd name="connsiteX24" fmla="*/ 65329 w 130840"/>
                <a:gd name="connsiteY24" fmla="*/ 114200 h 129661"/>
                <a:gd name="connsiteX25" fmla="*/ 84649 w 130840"/>
                <a:gd name="connsiteY25" fmla="*/ 110362 h 129661"/>
                <a:gd name="connsiteX26" fmla="*/ 99477 w 130840"/>
                <a:gd name="connsiteY26" fmla="*/ 99808 h 129661"/>
                <a:gd name="connsiteX27" fmla="*/ 108897 w 130840"/>
                <a:gd name="connsiteY27" fmla="*/ 84064 h 129661"/>
                <a:gd name="connsiteX28" fmla="*/ 112168 w 130840"/>
                <a:gd name="connsiteY28" fmla="*/ 64701 h 12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0840" h="129661">
                  <a:moveTo>
                    <a:pt x="130833" y="64701"/>
                  </a:moveTo>
                  <a:cubicBezTo>
                    <a:pt x="130925" y="73667"/>
                    <a:pt x="129237" y="82561"/>
                    <a:pt x="125862" y="90868"/>
                  </a:cubicBezTo>
                  <a:cubicBezTo>
                    <a:pt x="122722" y="98564"/>
                    <a:pt x="118064" y="105550"/>
                    <a:pt x="112168" y="111408"/>
                  </a:cubicBezTo>
                  <a:cubicBezTo>
                    <a:pt x="106249" y="117248"/>
                    <a:pt x="99201" y="121823"/>
                    <a:pt x="91453" y="124841"/>
                  </a:cubicBezTo>
                  <a:cubicBezTo>
                    <a:pt x="74601" y="131269"/>
                    <a:pt x="55971" y="131269"/>
                    <a:pt x="39119" y="124841"/>
                  </a:cubicBezTo>
                  <a:cubicBezTo>
                    <a:pt x="23505" y="118731"/>
                    <a:pt x="11115" y="106434"/>
                    <a:pt x="4884" y="90868"/>
                  </a:cubicBezTo>
                  <a:cubicBezTo>
                    <a:pt x="-1628" y="73926"/>
                    <a:pt x="-1628" y="55171"/>
                    <a:pt x="4884" y="38229"/>
                  </a:cubicBezTo>
                  <a:cubicBezTo>
                    <a:pt x="7946" y="30550"/>
                    <a:pt x="12581" y="23598"/>
                    <a:pt x="18491" y="17819"/>
                  </a:cubicBezTo>
                  <a:cubicBezTo>
                    <a:pt x="24432" y="12133"/>
                    <a:pt x="31444" y="7686"/>
                    <a:pt x="39119" y="4736"/>
                  </a:cubicBezTo>
                  <a:cubicBezTo>
                    <a:pt x="55992" y="-1579"/>
                    <a:pt x="74579" y="-1579"/>
                    <a:pt x="91453" y="4736"/>
                  </a:cubicBezTo>
                  <a:cubicBezTo>
                    <a:pt x="99165" y="7664"/>
                    <a:pt x="106210" y="12113"/>
                    <a:pt x="112168" y="17819"/>
                  </a:cubicBezTo>
                  <a:cubicBezTo>
                    <a:pt x="118090" y="23605"/>
                    <a:pt x="122752" y="30554"/>
                    <a:pt x="125862" y="38229"/>
                  </a:cubicBezTo>
                  <a:cubicBezTo>
                    <a:pt x="129272" y="46632"/>
                    <a:pt x="130960" y="55633"/>
                    <a:pt x="130833" y="64701"/>
                  </a:cubicBezTo>
                  <a:close/>
                  <a:moveTo>
                    <a:pt x="112168" y="64701"/>
                  </a:moveTo>
                  <a:cubicBezTo>
                    <a:pt x="112207" y="58205"/>
                    <a:pt x="111100" y="51754"/>
                    <a:pt x="108897" y="45643"/>
                  </a:cubicBezTo>
                  <a:cubicBezTo>
                    <a:pt x="106777" y="39835"/>
                    <a:pt x="103581" y="34479"/>
                    <a:pt x="99477" y="29856"/>
                  </a:cubicBezTo>
                  <a:cubicBezTo>
                    <a:pt x="95369" y="25287"/>
                    <a:pt x="90347" y="21632"/>
                    <a:pt x="84736" y="19127"/>
                  </a:cubicBezTo>
                  <a:cubicBezTo>
                    <a:pt x="72373" y="13895"/>
                    <a:pt x="58417" y="13895"/>
                    <a:pt x="46053" y="19127"/>
                  </a:cubicBezTo>
                  <a:cubicBezTo>
                    <a:pt x="40463" y="21623"/>
                    <a:pt x="35468" y="25280"/>
                    <a:pt x="31400" y="29856"/>
                  </a:cubicBezTo>
                  <a:cubicBezTo>
                    <a:pt x="27337" y="34486"/>
                    <a:pt x="24185" y="39842"/>
                    <a:pt x="22111" y="45643"/>
                  </a:cubicBezTo>
                  <a:cubicBezTo>
                    <a:pt x="19872" y="51745"/>
                    <a:pt x="18750" y="58201"/>
                    <a:pt x="18796" y="64701"/>
                  </a:cubicBezTo>
                  <a:cubicBezTo>
                    <a:pt x="18747" y="71301"/>
                    <a:pt x="19869" y="77857"/>
                    <a:pt x="22111" y="84064"/>
                  </a:cubicBezTo>
                  <a:cubicBezTo>
                    <a:pt x="24168" y="89879"/>
                    <a:pt x="27355" y="95229"/>
                    <a:pt x="31487" y="99808"/>
                  </a:cubicBezTo>
                  <a:cubicBezTo>
                    <a:pt x="35577" y="104316"/>
                    <a:pt x="40569" y="107911"/>
                    <a:pt x="46141" y="110362"/>
                  </a:cubicBezTo>
                  <a:cubicBezTo>
                    <a:pt x="52189" y="113000"/>
                    <a:pt x="58732" y="114309"/>
                    <a:pt x="65329" y="114200"/>
                  </a:cubicBezTo>
                  <a:cubicBezTo>
                    <a:pt x="71968" y="114296"/>
                    <a:pt x="78551" y="112987"/>
                    <a:pt x="84649" y="110362"/>
                  </a:cubicBezTo>
                  <a:cubicBezTo>
                    <a:pt x="90292" y="107950"/>
                    <a:pt x="95349" y="104349"/>
                    <a:pt x="99477" y="99808"/>
                  </a:cubicBezTo>
                  <a:cubicBezTo>
                    <a:pt x="103608" y="95220"/>
                    <a:pt x="106807" y="89873"/>
                    <a:pt x="108897" y="84064"/>
                  </a:cubicBezTo>
                  <a:cubicBezTo>
                    <a:pt x="111105" y="77849"/>
                    <a:pt x="112211" y="71297"/>
                    <a:pt x="112168" y="64701"/>
                  </a:cubicBezTo>
                  <a:close/>
                </a:path>
              </a:pathLst>
            </a:custGeom>
            <a:grpFill/>
            <a:ln w="4345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65AAF6F3-4CC2-704F-B1E4-70D689304C4F}"/>
                </a:ext>
              </a:extLst>
            </p:cNvPr>
            <p:cNvSpPr/>
            <p:nvPr/>
          </p:nvSpPr>
          <p:spPr>
            <a:xfrm>
              <a:off x="10378573" y="5348802"/>
              <a:ext cx="56214" cy="88225"/>
            </a:xfrm>
            <a:custGeom>
              <a:avLst/>
              <a:gdLst>
                <a:gd name="connsiteX0" fmla="*/ 56215 w 56214"/>
                <a:gd name="connsiteY0" fmla="*/ 88226 h 88225"/>
                <a:gd name="connsiteX1" fmla="*/ 0 w 56214"/>
                <a:gd name="connsiteY1" fmla="*/ 88226 h 88225"/>
                <a:gd name="connsiteX2" fmla="*/ 0 w 56214"/>
                <a:gd name="connsiteY2" fmla="*/ 77105 h 88225"/>
                <a:gd name="connsiteX3" fmla="*/ 34409 w 56214"/>
                <a:gd name="connsiteY3" fmla="*/ 42957 h 88225"/>
                <a:gd name="connsiteX4" fmla="*/ 41125 w 56214"/>
                <a:gd name="connsiteY4" fmla="*/ 34540 h 88225"/>
                <a:gd name="connsiteX5" fmla="*/ 43916 w 56214"/>
                <a:gd name="connsiteY5" fmla="*/ 24640 h 88225"/>
                <a:gd name="connsiteX6" fmla="*/ 42695 w 56214"/>
                <a:gd name="connsiteY6" fmla="*/ 18491 h 88225"/>
                <a:gd name="connsiteX7" fmla="*/ 39425 w 56214"/>
                <a:gd name="connsiteY7" fmla="*/ 13781 h 88225"/>
                <a:gd name="connsiteX8" fmla="*/ 34540 w 56214"/>
                <a:gd name="connsiteY8" fmla="*/ 10816 h 88225"/>
                <a:gd name="connsiteX9" fmla="*/ 28565 w 56214"/>
                <a:gd name="connsiteY9" fmla="*/ 9769 h 88225"/>
                <a:gd name="connsiteX10" fmla="*/ 17706 w 56214"/>
                <a:gd name="connsiteY10" fmla="*/ 14130 h 88225"/>
                <a:gd name="connsiteX11" fmla="*/ 12342 w 56214"/>
                <a:gd name="connsiteY11" fmla="*/ 24902 h 88225"/>
                <a:gd name="connsiteX12" fmla="*/ 741 w 56214"/>
                <a:gd name="connsiteY12" fmla="*/ 22940 h 88225"/>
                <a:gd name="connsiteX13" fmla="*/ 3881 w 56214"/>
                <a:gd name="connsiteY13" fmla="*/ 13869 h 88225"/>
                <a:gd name="connsiteX14" fmla="*/ 9900 w 56214"/>
                <a:gd name="connsiteY14" fmla="*/ 6542 h 88225"/>
                <a:gd name="connsiteX15" fmla="*/ 18360 w 56214"/>
                <a:gd name="connsiteY15" fmla="*/ 1745 h 88225"/>
                <a:gd name="connsiteX16" fmla="*/ 28696 w 56214"/>
                <a:gd name="connsiteY16" fmla="*/ 0 h 88225"/>
                <a:gd name="connsiteX17" fmla="*/ 38988 w 56214"/>
                <a:gd name="connsiteY17" fmla="*/ 1614 h 88225"/>
                <a:gd name="connsiteX18" fmla="*/ 47711 w 56214"/>
                <a:gd name="connsiteY18" fmla="*/ 6237 h 88225"/>
                <a:gd name="connsiteX19" fmla="*/ 53773 w 56214"/>
                <a:gd name="connsiteY19" fmla="*/ 13912 h 88225"/>
                <a:gd name="connsiteX20" fmla="*/ 55997 w 56214"/>
                <a:gd name="connsiteY20" fmla="*/ 24553 h 88225"/>
                <a:gd name="connsiteX21" fmla="*/ 54907 w 56214"/>
                <a:gd name="connsiteY21" fmla="*/ 32229 h 88225"/>
                <a:gd name="connsiteX22" fmla="*/ 51941 w 56214"/>
                <a:gd name="connsiteY22" fmla="*/ 38945 h 88225"/>
                <a:gd name="connsiteX23" fmla="*/ 47580 w 56214"/>
                <a:gd name="connsiteY23" fmla="*/ 44963 h 88225"/>
                <a:gd name="connsiteX24" fmla="*/ 42172 w 56214"/>
                <a:gd name="connsiteY24" fmla="*/ 50633 h 88225"/>
                <a:gd name="connsiteX25" fmla="*/ 14130 w 56214"/>
                <a:gd name="connsiteY25" fmla="*/ 77977 h 88225"/>
                <a:gd name="connsiteX26" fmla="*/ 56215 w 56214"/>
                <a:gd name="connsiteY26" fmla="*/ 77977 h 88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6214" h="88225">
                  <a:moveTo>
                    <a:pt x="56215" y="88226"/>
                  </a:moveTo>
                  <a:lnTo>
                    <a:pt x="0" y="88226"/>
                  </a:lnTo>
                  <a:lnTo>
                    <a:pt x="0" y="77105"/>
                  </a:lnTo>
                  <a:lnTo>
                    <a:pt x="34409" y="42957"/>
                  </a:lnTo>
                  <a:cubicBezTo>
                    <a:pt x="36921" y="40382"/>
                    <a:pt x="39172" y="37562"/>
                    <a:pt x="41125" y="34540"/>
                  </a:cubicBezTo>
                  <a:cubicBezTo>
                    <a:pt x="43001" y="31583"/>
                    <a:pt x="43969" y="28142"/>
                    <a:pt x="43916" y="24640"/>
                  </a:cubicBezTo>
                  <a:cubicBezTo>
                    <a:pt x="43956" y="22527"/>
                    <a:pt x="43537" y="20430"/>
                    <a:pt x="42695" y="18491"/>
                  </a:cubicBezTo>
                  <a:cubicBezTo>
                    <a:pt x="41945" y="16711"/>
                    <a:pt x="40833" y="15106"/>
                    <a:pt x="39425" y="13781"/>
                  </a:cubicBezTo>
                  <a:cubicBezTo>
                    <a:pt x="38003" y="12488"/>
                    <a:pt x="36346" y="11481"/>
                    <a:pt x="34540" y="10816"/>
                  </a:cubicBezTo>
                  <a:cubicBezTo>
                    <a:pt x="32626" y="10113"/>
                    <a:pt x="30602" y="9758"/>
                    <a:pt x="28565" y="9769"/>
                  </a:cubicBezTo>
                  <a:cubicBezTo>
                    <a:pt x="24496" y="9657"/>
                    <a:pt x="20567" y="11236"/>
                    <a:pt x="17706" y="14130"/>
                  </a:cubicBezTo>
                  <a:cubicBezTo>
                    <a:pt x="14806" y="17049"/>
                    <a:pt x="12922" y="20828"/>
                    <a:pt x="12342" y="24902"/>
                  </a:cubicBezTo>
                  <a:lnTo>
                    <a:pt x="741" y="22940"/>
                  </a:lnTo>
                  <a:cubicBezTo>
                    <a:pt x="1204" y="19745"/>
                    <a:pt x="2272" y="16666"/>
                    <a:pt x="3881" y="13869"/>
                  </a:cubicBezTo>
                  <a:cubicBezTo>
                    <a:pt x="5438" y="11091"/>
                    <a:pt x="7479" y="8610"/>
                    <a:pt x="9900" y="6542"/>
                  </a:cubicBezTo>
                  <a:cubicBezTo>
                    <a:pt x="12412" y="4450"/>
                    <a:pt x="15277" y="2825"/>
                    <a:pt x="18360" y="1745"/>
                  </a:cubicBezTo>
                  <a:cubicBezTo>
                    <a:pt x="21683" y="580"/>
                    <a:pt x="25177" y="-10"/>
                    <a:pt x="28696" y="0"/>
                  </a:cubicBezTo>
                  <a:cubicBezTo>
                    <a:pt x="32189" y="1"/>
                    <a:pt x="35661" y="545"/>
                    <a:pt x="38988" y="1614"/>
                  </a:cubicBezTo>
                  <a:cubicBezTo>
                    <a:pt x="42155" y="2605"/>
                    <a:pt x="45111" y="4172"/>
                    <a:pt x="47711" y="6237"/>
                  </a:cubicBezTo>
                  <a:cubicBezTo>
                    <a:pt x="50271" y="8319"/>
                    <a:pt x="52342" y="10939"/>
                    <a:pt x="53773" y="13912"/>
                  </a:cubicBezTo>
                  <a:cubicBezTo>
                    <a:pt x="55308" y="17245"/>
                    <a:pt x="56071" y="20884"/>
                    <a:pt x="55997" y="24553"/>
                  </a:cubicBezTo>
                  <a:cubicBezTo>
                    <a:pt x="56027" y="27152"/>
                    <a:pt x="55657" y="29741"/>
                    <a:pt x="54907" y="32229"/>
                  </a:cubicBezTo>
                  <a:cubicBezTo>
                    <a:pt x="54183" y="34575"/>
                    <a:pt x="53184" y="36828"/>
                    <a:pt x="51941" y="38945"/>
                  </a:cubicBezTo>
                  <a:cubicBezTo>
                    <a:pt x="50672" y="41078"/>
                    <a:pt x="49211" y="43092"/>
                    <a:pt x="47580" y="44963"/>
                  </a:cubicBezTo>
                  <a:cubicBezTo>
                    <a:pt x="45835" y="46882"/>
                    <a:pt x="44047" y="48757"/>
                    <a:pt x="42172" y="50633"/>
                  </a:cubicBezTo>
                  <a:lnTo>
                    <a:pt x="14130" y="77977"/>
                  </a:lnTo>
                  <a:lnTo>
                    <a:pt x="56215" y="77977"/>
                  </a:lnTo>
                  <a:close/>
                </a:path>
              </a:pathLst>
            </a:custGeom>
            <a:grpFill/>
            <a:ln w="4345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6" name="Graphic 11">
            <a:extLst>
              <a:ext uri="{FF2B5EF4-FFF2-40B4-BE49-F238E27FC236}">
                <a16:creationId xmlns:a16="http://schemas.microsoft.com/office/drawing/2014/main" id="{993183FB-EE8B-294D-94D5-994E3456995E}"/>
              </a:ext>
            </a:extLst>
          </p:cNvPr>
          <p:cNvGrpSpPr/>
          <p:nvPr userDrawn="1"/>
        </p:nvGrpSpPr>
        <p:grpSpPr>
          <a:xfrm>
            <a:off x="6561895" y="2035554"/>
            <a:ext cx="343910" cy="336574"/>
            <a:chOff x="8771643" y="2337874"/>
            <a:chExt cx="480134" cy="480134"/>
          </a:xfrm>
          <a:solidFill>
            <a:schemeClr val="bg1"/>
          </a:solidFill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B83E4778-CF68-D94B-847D-D2D96B3C79FC}"/>
                </a:ext>
              </a:extLst>
            </p:cNvPr>
            <p:cNvSpPr/>
            <p:nvPr/>
          </p:nvSpPr>
          <p:spPr>
            <a:xfrm>
              <a:off x="8914482" y="2652031"/>
              <a:ext cx="90085" cy="6781"/>
            </a:xfrm>
            <a:custGeom>
              <a:avLst/>
              <a:gdLst>
                <a:gd name="connsiteX0" fmla="*/ 0 w 90085"/>
                <a:gd name="connsiteY0" fmla="*/ 0 h 6781"/>
                <a:gd name="connsiteX1" fmla="*/ 90085 w 90085"/>
                <a:gd name="connsiteY1" fmla="*/ 0 h 6781"/>
                <a:gd name="connsiteX2" fmla="*/ 90085 w 90085"/>
                <a:gd name="connsiteY2" fmla="*/ 6782 h 6781"/>
                <a:gd name="connsiteX3" fmla="*/ 0 w 90085"/>
                <a:gd name="connsiteY3" fmla="*/ 6782 h 6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85" h="6781">
                  <a:moveTo>
                    <a:pt x="0" y="0"/>
                  </a:moveTo>
                  <a:lnTo>
                    <a:pt x="90085" y="0"/>
                  </a:lnTo>
                  <a:lnTo>
                    <a:pt x="90085" y="6782"/>
                  </a:lnTo>
                  <a:lnTo>
                    <a:pt x="0" y="678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61AEB774-908B-9942-8B23-0696C3B9B232}"/>
                </a:ext>
              </a:extLst>
            </p:cNvPr>
            <p:cNvSpPr/>
            <p:nvPr/>
          </p:nvSpPr>
          <p:spPr>
            <a:xfrm>
              <a:off x="8910971" y="2622803"/>
              <a:ext cx="100258" cy="185781"/>
            </a:xfrm>
            <a:custGeom>
              <a:avLst/>
              <a:gdLst>
                <a:gd name="connsiteX0" fmla="*/ 85254 w 100258"/>
                <a:gd name="connsiteY0" fmla="*/ 185782 h 185781"/>
                <a:gd name="connsiteX1" fmla="*/ 15004 w 100258"/>
                <a:gd name="connsiteY1" fmla="*/ 185782 h 185781"/>
                <a:gd name="connsiteX2" fmla="*/ 0 w 100258"/>
                <a:gd name="connsiteY2" fmla="*/ 170778 h 185781"/>
                <a:gd name="connsiteX3" fmla="*/ 0 w 100258"/>
                <a:gd name="connsiteY3" fmla="*/ 15004 h 185781"/>
                <a:gd name="connsiteX4" fmla="*/ 15004 w 100258"/>
                <a:gd name="connsiteY4" fmla="*/ 0 h 185781"/>
                <a:gd name="connsiteX5" fmla="*/ 85254 w 100258"/>
                <a:gd name="connsiteY5" fmla="*/ 0 h 185781"/>
                <a:gd name="connsiteX6" fmla="*/ 100258 w 100258"/>
                <a:gd name="connsiteY6" fmla="*/ 15004 h 185781"/>
                <a:gd name="connsiteX7" fmla="*/ 100258 w 100258"/>
                <a:gd name="connsiteY7" fmla="*/ 170748 h 185781"/>
                <a:gd name="connsiteX8" fmla="*/ 85284 w 100258"/>
                <a:gd name="connsiteY8" fmla="*/ 185782 h 185781"/>
                <a:gd name="connsiteX9" fmla="*/ 85254 w 100258"/>
                <a:gd name="connsiteY9" fmla="*/ 185782 h 185781"/>
                <a:gd name="connsiteX10" fmla="*/ 15004 w 100258"/>
                <a:gd name="connsiteY10" fmla="*/ 7052 h 185781"/>
                <a:gd name="connsiteX11" fmla="*/ 7052 w 100258"/>
                <a:gd name="connsiteY11" fmla="*/ 15004 h 185781"/>
                <a:gd name="connsiteX12" fmla="*/ 7052 w 100258"/>
                <a:gd name="connsiteY12" fmla="*/ 170748 h 185781"/>
                <a:gd name="connsiteX13" fmla="*/ 15004 w 100258"/>
                <a:gd name="connsiteY13" fmla="*/ 178670 h 185781"/>
                <a:gd name="connsiteX14" fmla="*/ 85254 w 100258"/>
                <a:gd name="connsiteY14" fmla="*/ 178670 h 185781"/>
                <a:gd name="connsiteX15" fmla="*/ 93206 w 100258"/>
                <a:gd name="connsiteY15" fmla="*/ 170748 h 185781"/>
                <a:gd name="connsiteX16" fmla="*/ 93206 w 100258"/>
                <a:gd name="connsiteY16" fmla="*/ 15004 h 185781"/>
                <a:gd name="connsiteX17" fmla="*/ 85254 w 100258"/>
                <a:gd name="connsiteY17" fmla="*/ 7052 h 185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0258" h="185781">
                  <a:moveTo>
                    <a:pt x="85254" y="185782"/>
                  </a:moveTo>
                  <a:lnTo>
                    <a:pt x="15004" y="185782"/>
                  </a:lnTo>
                  <a:cubicBezTo>
                    <a:pt x="6718" y="185782"/>
                    <a:pt x="0" y="179063"/>
                    <a:pt x="0" y="170778"/>
                  </a:cubicBezTo>
                  <a:lnTo>
                    <a:pt x="0" y="15004"/>
                  </a:lnTo>
                  <a:cubicBezTo>
                    <a:pt x="0" y="6718"/>
                    <a:pt x="6718" y="0"/>
                    <a:pt x="15004" y="0"/>
                  </a:cubicBezTo>
                  <a:lnTo>
                    <a:pt x="85254" y="0"/>
                  </a:lnTo>
                  <a:cubicBezTo>
                    <a:pt x="93540" y="0"/>
                    <a:pt x="100258" y="6718"/>
                    <a:pt x="100258" y="15004"/>
                  </a:cubicBezTo>
                  <a:lnTo>
                    <a:pt x="100258" y="170748"/>
                  </a:lnTo>
                  <a:cubicBezTo>
                    <a:pt x="100274" y="179033"/>
                    <a:pt x="93570" y="185764"/>
                    <a:pt x="85284" y="185782"/>
                  </a:cubicBezTo>
                  <a:cubicBezTo>
                    <a:pt x="85274" y="185782"/>
                    <a:pt x="85264" y="185782"/>
                    <a:pt x="85254" y="185782"/>
                  </a:cubicBezTo>
                  <a:close/>
                  <a:moveTo>
                    <a:pt x="15004" y="7052"/>
                  </a:moveTo>
                  <a:cubicBezTo>
                    <a:pt x="10612" y="7052"/>
                    <a:pt x="7052" y="10612"/>
                    <a:pt x="7052" y="15004"/>
                  </a:cubicBezTo>
                  <a:lnTo>
                    <a:pt x="7052" y="170748"/>
                  </a:lnTo>
                  <a:cubicBezTo>
                    <a:pt x="7068" y="175129"/>
                    <a:pt x="10624" y="178670"/>
                    <a:pt x="15004" y="178670"/>
                  </a:cubicBezTo>
                  <a:lnTo>
                    <a:pt x="85254" y="178670"/>
                  </a:lnTo>
                  <a:cubicBezTo>
                    <a:pt x="89634" y="178670"/>
                    <a:pt x="93190" y="175129"/>
                    <a:pt x="93206" y="170748"/>
                  </a:cubicBezTo>
                  <a:lnTo>
                    <a:pt x="93206" y="15004"/>
                  </a:lnTo>
                  <a:cubicBezTo>
                    <a:pt x="93206" y="10612"/>
                    <a:pt x="89646" y="7052"/>
                    <a:pt x="85254" y="705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4661CBC2-DED7-4F43-A230-E000272E3CB8}"/>
                </a:ext>
              </a:extLst>
            </p:cNvPr>
            <p:cNvSpPr/>
            <p:nvPr/>
          </p:nvSpPr>
          <p:spPr>
            <a:xfrm>
              <a:off x="9043368" y="2652031"/>
              <a:ext cx="90085" cy="6781"/>
            </a:xfrm>
            <a:custGeom>
              <a:avLst/>
              <a:gdLst>
                <a:gd name="connsiteX0" fmla="*/ 0 w 90085"/>
                <a:gd name="connsiteY0" fmla="*/ 0 h 6781"/>
                <a:gd name="connsiteX1" fmla="*/ 90085 w 90085"/>
                <a:gd name="connsiteY1" fmla="*/ 0 h 6781"/>
                <a:gd name="connsiteX2" fmla="*/ 90085 w 90085"/>
                <a:gd name="connsiteY2" fmla="*/ 6782 h 6781"/>
                <a:gd name="connsiteX3" fmla="*/ 0 w 90085"/>
                <a:gd name="connsiteY3" fmla="*/ 6782 h 6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85" h="6781">
                  <a:moveTo>
                    <a:pt x="0" y="0"/>
                  </a:moveTo>
                  <a:lnTo>
                    <a:pt x="90085" y="0"/>
                  </a:lnTo>
                  <a:lnTo>
                    <a:pt x="90085" y="6782"/>
                  </a:lnTo>
                  <a:lnTo>
                    <a:pt x="0" y="678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D042CED1-5119-2A48-B94F-76D3E4CC2E4D}"/>
                </a:ext>
              </a:extLst>
            </p:cNvPr>
            <p:cNvSpPr/>
            <p:nvPr/>
          </p:nvSpPr>
          <p:spPr>
            <a:xfrm>
              <a:off x="9039857" y="2622803"/>
              <a:ext cx="100258" cy="185781"/>
            </a:xfrm>
            <a:custGeom>
              <a:avLst/>
              <a:gdLst>
                <a:gd name="connsiteX0" fmla="*/ 85254 w 100258"/>
                <a:gd name="connsiteY0" fmla="*/ 185782 h 185781"/>
                <a:gd name="connsiteX1" fmla="*/ 15004 w 100258"/>
                <a:gd name="connsiteY1" fmla="*/ 185782 h 185781"/>
                <a:gd name="connsiteX2" fmla="*/ 0 w 100258"/>
                <a:gd name="connsiteY2" fmla="*/ 170778 h 185781"/>
                <a:gd name="connsiteX3" fmla="*/ 0 w 100258"/>
                <a:gd name="connsiteY3" fmla="*/ 15004 h 185781"/>
                <a:gd name="connsiteX4" fmla="*/ 15004 w 100258"/>
                <a:gd name="connsiteY4" fmla="*/ 0 h 185781"/>
                <a:gd name="connsiteX5" fmla="*/ 85254 w 100258"/>
                <a:gd name="connsiteY5" fmla="*/ 0 h 185781"/>
                <a:gd name="connsiteX6" fmla="*/ 100258 w 100258"/>
                <a:gd name="connsiteY6" fmla="*/ 15004 h 185781"/>
                <a:gd name="connsiteX7" fmla="*/ 100258 w 100258"/>
                <a:gd name="connsiteY7" fmla="*/ 170748 h 185781"/>
                <a:gd name="connsiteX8" fmla="*/ 85284 w 100258"/>
                <a:gd name="connsiteY8" fmla="*/ 185782 h 185781"/>
                <a:gd name="connsiteX9" fmla="*/ 85254 w 100258"/>
                <a:gd name="connsiteY9" fmla="*/ 185782 h 185781"/>
                <a:gd name="connsiteX10" fmla="*/ 15004 w 100258"/>
                <a:gd name="connsiteY10" fmla="*/ 7052 h 185781"/>
                <a:gd name="connsiteX11" fmla="*/ 7052 w 100258"/>
                <a:gd name="connsiteY11" fmla="*/ 15004 h 185781"/>
                <a:gd name="connsiteX12" fmla="*/ 7052 w 100258"/>
                <a:gd name="connsiteY12" fmla="*/ 170748 h 185781"/>
                <a:gd name="connsiteX13" fmla="*/ 15004 w 100258"/>
                <a:gd name="connsiteY13" fmla="*/ 178670 h 185781"/>
                <a:gd name="connsiteX14" fmla="*/ 85254 w 100258"/>
                <a:gd name="connsiteY14" fmla="*/ 178670 h 185781"/>
                <a:gd name="connsiteX15" fmla="*/ 93206 w 100258"/>
                <a:gd name="connsiteY15" fmla="*/ 170748 h 185781"/>
                <a:gd name="connsiteX16" fmla="*/ 93206 w 100258"/>
                <a:gd name="connsiteY16" fmla="*/ 15004 h 185781"/>
                <a:gd name="connsiteX17" fmla="*/ 85254 w 100258"/>
                <a:gd name="connsiteY17" fmla="*/ 7052 h 185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0258" h="185781">
                  <a:moveTo>
                    <a:pt x="85254" y="185782"/>
                  </a:moveTo>
                  <a:lnTo>
                    <a:pt x="15004" y="185782"/>
                  </a:lnTo>
                  <a:cubicBezTo>
                    <a:pt x="6718" y="185782"/>
                    <a:pt x="0" y="179063"/>
                    <a:pt x="0" y="170778"/>
                  </a:cubicBezTo>
                  <a:lnTo>
                    <a:pt x="0" y="15004"/>
                  </a:lnTo>
                  <a:cubicBezTo>
                    <a:pt x="0" y="6718"/>
                    <a:pt x="6718" y="0"/>
                    <a:pt x="15004" y="0"/>
                  </a:cubicBezTo>
                  <a:lnTo>
                    <a:pt x="85254" y="0"/>
                  </a:lnTo>
                  <a:cubicBezTo>
                    <a:pt x="93539" y="0"/>
                    <a:pt x="100258" y="6718"/>
                    <a:pt x="100258" y="15004"/>
                  </a:cubicBezTo>
                  <a:lnTo>
                    <a:pt x="100258" y="170748"/>
                  </a:lnTo>
                  <a:cubicBezTo>
                    <a:pt x="100276" y="179033"/>
                    <a:pt x="93569" y="185764"/>
                    <a:pt x="85284" y="185782"/>
                  </a:cubicBezTo>
                  <a:cubicBezTo>
                    <a:pt x="85275" y="185782"/>
                    <a:pt x="85263" y="185782"/>
                    <a:pt x="85254" y="185782"/>
                  </a:cubicBezTo>
                  <a:close/>
                  <a:moveTo>
                    <a:pt x="15004" y="7052"/>
                  </a:moveTo>
                  <a:cubicBezTo>
                    <a:pt x="10612" y="7052"/>
                    <a:pt x="7052" y="10612"/>
                    <a:pt x="7052" y="15004"/>
                  </a:cubicBezTo>
                  <a:lnTo>
                    <a:pt x="7052" y="170748"/>
                  </a:lnTo>
                  <a:cubicBezTo>
                    <a:pt x="7068" y="175129"/>
                    <a:pt x="10624" y="178670"/>
                    <a:pt x="15004" y="178670"/>
                  </a:cubicBezTo>
                  <a:lnTo>
                    <a:pt x="85254" y="178670"/>
                  </a:lnTo>
                  <a:cubicBezTo>
                    <a:pt x="89635" y="178670"/>
                    <a:pt x="93188" y="175129"/>
                    <a:pt x="93206" y="170748"/>
                  </a:cubicBezTo>
                  <a:lnTo>
                    <a:pt x="93206" y="15004"/>
                  </a:lnTo>
                  <a:cubicBezTo>
                    <a:pt x="93206" y="10612"/>
                    <a:pt x="89647" y="7052"/>
                    <a:pt x="85254" y="705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397F1C1-BCE3-9D4D-8EFA-999F5851C368}"/>
                </a:ext>
              </a:extLst>
            </p:cNvPr>
            <p:cNvSpPr/>
            <p:nvPr/>
          </p:nvSpPr>
          <p:spPr>
            <a:xfrm>
              <a:off x="8937379" y="2607409"/>
              <a:ext cx="47323" cy="20915"/>
            </a:xfrm>
            <a:custGeom>
              <a:avLst/>
              <a:gdLst>
                <a:gd name="connsiteX0" fmla="*/ 43902 w 47323"/>
                <a:gd name="connsiteY0" fmla="*/ 20916 h 20915"/>
                <a:gd name="connsiteX1" fmla="*/ 3541 w 47323"/>
                <a:gd name="connsiteY1" fmla="*/ 20916 h 20915"/>
                <a:gd name="connsiteX2" fmla="*/ 0 w 47323"/>
                <a:gd name="connsiteY2" fmla="*/ 17375 h 20915"/>
                <a:gd name="connsiteX3" fmla="*/ 0 w 47323"/>
                <a:gd name="connsiteY3" fmla="*/ 3541 h 20915"/>
                <a:gd name="connsiteX4" fmla="*/ 3541 w 47323"/>
                <a:gd name="connsiteY4" fmla="*/ 0 h 20915"/>
                <a:gd name="connsiteX5" fmla="*/ 43902 w 47323"/>
                <a:gd name="connsiteY5" fmla="*/ 0 h 20915"/>
                <a:gd name="connsiteX6" fmla="*/ 47323 w 47323"/>
                <a:gd name="connsiteY6" fmla="*/ 3541 h 20915"/>
                <a:gd name="connsiteX7" fmla="*/ 47323 w 47323"/>
                <a:gd name="connsiteY7" fmla="*/ 17495 h 20915"/>
                <a:gd name="connsiteX8" fmla="*/ 43902 w 47323"/>
                <a:gd name="connsiteY8" fmla="*/ 20916 h 20915"/>
                <a:gd name="connsiteX9" fmla="*/ 7082 w 47323"/>
                <a:gd name="connsiteY9" fmla="*/ 13834 h 20915"/>
                <a:gd name="connsiteX10" fmla="*/ 40361 w 47323"/>
                <a:gd name="connsiteY10" fmla="*/ 13834 h 20915"/>
                <a:gd name="connsiteX11" fmla="*/ 40361 w 47323"/>
                <a:gd name="connsiteY11" fmla="*/ 6962 h 20915"/>
                <a:gd name="connsiteX12" fmla="*/ 7082 w 47323"/>
                <a:gd name="connsiteY12" fmla="*/ 6962 h 20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323" h="20915">
                  <a:moveTo>
                    <a:pt x="43902" y="20916"/>
                  </a:moveTo>
                  <a:lnTo>
                    <a:pt x="3541" y="20916"/>
                  </a:lnTo>
                  <a:cubicBezTo>
                    <a:pt x="1585" y="20916"/>
                    <a:pt x="0" y="19330"/>
                    <a:pt x="0" y="17375"/>
                  </a:cubicBezTo>
                  <a:lnTo>
                    <a:pt x="0" y="3541"/>
                  </a:lnTo>
                  <a:cubicBezTo>
                    <a:pt x="0" y="1585"/>
                    <a:pt x="1585" y="0"/>
                    <a:pt x="3541" y="0"/>
                  </a:cubicBezTo>
                  <a:lnTo>
                    <a:pt x="43902" y="0"/>
                  </a:lnTo>
                  <a:cubicBezTo>
                    <a:pt x="45811" y="65"/>
                    <a:pt x="47324" y="1631"/>
                    <a:pt x="47323" y="3541"/>
                  </a:cubicBezTo>
                  <a:lnTo>
                    <a:pt x="47323" y="17495"/>
                  </a:lnTo>
                  <a:cubicBezTo>
                    <a:pt x="47261" y="19358"/>
                    <a:pt x="45765" y="20854"/>
                    <a:pt x="43902" y="20916"/>
                  </a:cubicBezTo>
                  <a:close/>
                  <a:moveTo>
                    <a:pt x="7082" y="13834"/>
                  </a:moveTo>
                  <a:lnTo>
                    <a:pt x="40361" y="13834"/>
                  </a:lnTo>
                  <a:lnTo>
                    <a:pt x="40361" y="6962"/>
                  </a:lnTo>
                  <a:lnTo>
                    <a:pt x="7082" y="696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74EE43B-D529-AD42-A101-7C76BD2A6F5B}"/>
                </a:ext>
              </a:extLst>
            </p:cNvPr>
            <p:cNvSpPr/>
            <p:nvPr/>
          </p:nvSpPr>
          <p:spPr>
            <a:xfrm>
              <a:off x="8952623" y="2464359"/>
              <a:ext cx="16894" cy="148481"/>
            </a:xfrm>
            <a:custGeom>
              <a:avLst/>
              <a:gdLst>
                <a:gd name="connsiteX0" fmla="*/ 13384 w 16894"/>
                <a:gd name="connsiteY0" fmla="*/ 148481 h 148481"/>
                <a:gd name="connsiteX1" fmla="*/ 3541 w 16894"/>
                <a:gd name="connsiteY1" fmla="*/ 148481 h 148481"/>
                <a:gd name="connsiteX2" fmla="*/ 0 w 16894"/>
                <a:gd name="connsiteY2" fmla="*/ 144940 h 148481"/>
                <a:gd name="connsiteX3" fmla="*/ 0 w 16894"/>
                <a:gd name="connsiteY3" fmla="*/ 7862 h 148481"/>
                <a:gd name="connsiteX4" fmla="*/ 7892 w 16894"/>
                <a:gd name="connsiteY4" fmla="*/ 0 h 148481"/>
                <a:gd name="connsiteX5" fmla="*/ 16895 w 16894"/>
                <a:gd name="connsiteY5" fmla="*/ 9003 h 148481"/>
                <a:gd name="connsiteX6" fmla="*/ 16895 w 16894"/>
                <a:gd name="connsiteY6" fmla="*/ 144940 h 148481"/>
                <a:gd name="connsiteX7" fmla="*/ 13384 w 16894"/>
                <a:gd name="connsiteY7" fmla="*/ 148481 h 148481"/>
                <a:gd name="connsiteX8" fmla="*/ 7082 w 16894"/>
                <a:gd name="connsiteY8" fmla="*/ 141399 h 148481"/>
                <a:gd name="connsiteX9" fmla="*/ 9843 w 16894"/>
                <a:gd name="connsiteY9" fmla="*/ 141399 h 148481"/>
                <a:gd name="connsiteX10" fmla="*/ 9843 w 16894"/>
                <a:gd name="connsiteY10" fmla="*/ 9063 h 148481"/>
                <a:gd name="connsiteX11" fmla="*/ 7892 w 16894"/>
                <a:gd name="connsiteY11" fmla="*/ 7082 h 148481"/>
                <a:gd name="connsiteX12" fmla="*/ 7082 w 16894"/>
                <a:gd name="connsiteY12" fmla="*/ 7862 h 148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894" h="148481">
                  <a:moveTo>
                    <a:pt x="13384" y="148481"/>
                  </a:moveTo>
                  <a:lnTo>
                    <a:pt x="3541" y="148481"/>
                  </a:lnTo>
                  <a:cubicBezTo>
                    <a:pt x="1585" y="148481"/>
                    <a:pt x="0" y="146896"/>
                    <a:pt x="0" y="144940"/>
                  </a:cubicBezTo>
                  <a:lnTo>
                    <a:pt x="0" y="7862"/>
                  </a:lnTo>
                  <a:cubicBezTo>
                    <a:pt x="16" y="3515"/>
                    <a:pt x="3545" y="0"/>
                    <a:pt x="7892" y="0"/>
                  </a:cubicBezTo>
                  <a:cubicBezTo>
                    <a:pt x="12864" y="0"/>
                    <a:pt x="16895" y="4030"/>
                    <a:pt x="16895" y="9003"/>
                  </a:cubicBezTo>
                  <a:lnTo>
                    <a:pt x="16895" y="144940"/>
                  </a:lnTo>
                  <a:cubicBezTo>
                    <a:pt x="16895" y="146884"/>
                    <a:pt x="15328" y="148465"/>
                    <a:pt x="13384" y="148481"/>
                  </a:cubicBezTo>
                  <a:close/>
                  <a:moveTo>
                    <a:pt x="7082" y="141399"/>
                  </a:moveTo>
                  <a:lnTo>
                    <a:pt x="9843" y="141399"/>
                  </a:lnTo>
                  <a:lnTo>
                    <a:pt x="9843" y="9063"/>
                  </a:lnTo>
                  <a:cubicBezTo>
                    <a:pt x="9843" y="7980"/>
                    <a:pt x="8974" y="7098"/>
                    <a:pt x="7892" y="7082"/>
                  </a:cubicBezTo>
                  <a:cubicBezTo>
                    <a:pt x="7456" y="7082"/>
                    <a:pt x="7098" y="7426"/>
                    <a:pt x="7082" y="786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945FECA6-28EA-D341-B574-66CB7A7F8C52}"/>
                </a:ext>
              </a:extLst>
            </p:cNvPr>
            <p:cNvSpPr/>
            <p:nvPr/>
          </p:nvSpPr>
          <p:spPr>
            <a:xfrm>
              <a:off x="8785596" y="2652031"/>
              <a:ext cx="90085" cy="6781"/>
            </a:xfrm>
            <a:custGeom>
              <a:avLst/>
              <a:gdLst>
                <a:gd name="connsiteX0" fmla="*/ 0 w 90085"/>
                <a:gd name="connsiteY0" fmla="*/ 0 h 6781"/>
                <a:gd name="connsiteX1" fmla="*/ 90085 w 90085"/>
                <a:gd name="connsiteY1" fmla="*/ 0 h 6781"/>
                <a:gd name="connsiteX2" fmla="*/ 90085 w 90085"/>
                <a:gd name="connsiteY2" fmla="*/ 6782 h 6781"/>
                <a:gd name="connsiteX3" fmla="*/ 0 w 90085"/>
                <a:gd name="connsiteY3" fmla="*/ 6782 h 6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85" h="6781">
                  <a:moveTo>
                    <a:pt x="0" y="0"/>
                  </a:moveTo>
                  <a:lnTo>
                    <a:pt x="90085" y="0"/>
                  </a:lnTo>
                  <a:lnTo>
                    <a:pt x="90085" y="6782"/>
                  </a:lnTo>
                  <a:lnTo>
                    <a:pt x="0" y="678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93C3B643-A774-FD4D-84E6-003473E0462E}"/>
                </a:ext>
              </a:extLst>
            </p:cNvPr>
            <p:cNvSpPr/>
            <p:nvPr/>
          </p:nvSpPr>
          <p:spPr>
            <a:xfrm>
              <a:off x="8782085" y="2622803"/>
              <a:ext cx="100228" cy="185781"/>
            </a:xfrm>
            <a:custGeom>
              <a:avLst/>
              <a:gdLst>
                <a:gd name="connsiteX0" fmla="*/ 85224 w 100228"/>
                <a:gd name="connsiteY0" fmla="*/ 185782 h 185781"/>
                <a:gd name="connsiteX1" fmla="*/ 15004 w 100228"/>
                <a:gd name="connsiteY1" fmla="*/ 185782 h 185781"/>
                <a:gd name="connsiteX2" fmla="*/ 0 w 100228"/>
                <a:gd name="connsiteY2" fmla="*/ 170778 h 185781"/>
                <a:gd name="connsiteX3" fmla="*/ 0 w 100228"/>
                <a:gd name="connsiteY3" fmla="*/ 15004 h 185781"/>
                <a:gd name="connsiteX4" fmla="*/ 15004 w 100228"/>
                <a:gd name="connsiteY4" fmla="*/ 0 h 185781"/>
                <a:gd name="connsiteX5" fmla="*/ 85224 w 100228"/>
                <a:gd name="connsiteY5" fmla="*/ 0 h 185781"/>
                <a:gd name="connsiteX6" fmla="*/ 100228 w 100228"/>
                <a:gd name="connsiteY6" fmla="*/ 15004 h 185781"/>
                <a:gd name="connsiteX7" fmla="*/ 100228 w 100228"/>
                <a:gd name="connsiteY7" fmla="*/ 170748 h 185781"/>
                <a:gd name="connsiteX8" fmla="*/ 85254 w 100228"/>
                <a:gd name="connsiteY8" fmla="*/ 185782 h 185781"/>
                <a:gd name="connsiteX9" fmla="*/ 85224 w 100228"/>
                <a:gd name="connsiteY9" fmla="*/ 185782 h 185781"/>
                <a:gd name="connsiteX10" fmla="*/ 15004 w 100228"/>
                <a:gd name="connsiteY10" fmla="*/ 7052 h 185781"/>
                <a:gd name="connsiteX11" fmla="*/ 7052 w 100228"/>
                <a:gd name="connsiteY11" fmla="*/ 15004 h 185781"/>
                <a:gd name="connsiteX12" fmla="*/ 7052 w 100228"/>
                <a:gd name="connsiteY12" fmla="*/ 170748 h 185781"/>
                <a:gd name="connsiteX13" fmla="*/ 15004 w 100228"/>
                <a:gd name="connsiteY13" fmla="*/ 178670 h 185781"/>
                <a:gd name="connsiteX14" fmla="*/ 85224 w 100228"/>
                <a:gd name="connsiteY14" fmla="*/ 178670 h 185781"/>
                <a:gd name="connsiteX15" fmla="*/ 93176 w 100228"/>
                <a:gd name="connsiteY15" fmla="*/ 170748 h 185781"/>
                <a:gd name="connsiteX16" fmla="*/ 93176 w 100228"/>
                <a:gd name="connsiteY16" fmla="*/ 15004 h 185781"/>
                <a:gd name="connsiteX17" fmla="*/ 85224 w 100228"/>
                <a:gd name="connsiteY17" fmla="*/ 7052 h 185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0228" h="185781">
                  <a:moveTo>
                    <a:pt x="85224" y="185782"/>
                  </a:moveTo>
                  <a:lnTo>
                    <a:pt x="15004" y="185782"/>
                  </a:lnTo>
                  <a:cubicBezTo>
                    <a:pt x="6718" y="185782"/>
                    <a:pt x="0" y="179063"/>
                    <a:pt x="0" y="170778"/>
                  </a:cubicBezTo>
                  <a:lnTo>
                    <a:pt x="0" y="15004"/>
                  </a:lnTo>
                  <a:cubicBezTo>
                    <a:pt x="0" y="6718"/>
                    <a:pt x="6718" y="0"/>
                    <a:pt x="15004" y="0"/>
                  </a:cubicBezTo>
                  <a:lnTo>
                    <a:pt x="85224" y="0"/>
                  </a:lnTo>
                  <a:cubicBezTo>
                    <a:pt x="93510" y="0"/>
                    <a:pt x="100228" y="6718"/>
                    <a:pt x="100228" y="15004"/>
                  </a:cubicBezTo>
                  <a:lnTo>
                    <a:pt x="100228" y="170748"/>
                  </a:lnTo>
                  <a:cubicBezTo>
                    <a:pt x="100244" y="179033"/>
                    <a:pt x="93540" y="185764"/>
                    <a:pt x="85254" y="185782"/>
                  </a:cubicBezTo>
                  <a:cubicBezTo>
                    <a:pt x="85244" y="185782"/>
                    <a:pt x="85234" y="185782"/>
                    <a:pt x="85224" y="185782"/>
                  </a:cubicBezTo>
                  <a:close/>
                  <a:moveTo>
                    <a:pt x="15004" y="7052"/>
                  </a:moveTo>
                  <a:cubicBezTo>
                    <a:pt x="10612" y="7052"/>
                    <a:pt x="7052" y="10612"/>
                    <a:pt x="7052" y="15004"/>
                  </a:cubicBezTo>
                  <a:lnTo>
                    <a:pt x="7052" y="170748"/>
                  </a:lnTo>
                  <a:cubicBezTo>
                    <a:pt x="7069" y="175129"/>
                    <a:pt x="10624" y="178670"/>
                    <a:pt x="15004" y="178670"/>
                  </a:cubicBezTo>
                  <a:lnTo>
                    <a:pt x="85224" y="178670"/>
                  </a:lnTo>
                  <a:cubicBezTo>
                    <a:pt x="89604" y="178670"/>
                    <a:pt x="93160" y="175129"/>
                    <a:pt x="93176" y="170748"/>
                  </a:cubicBezTo>
                  <a:lnTo>
                    <a:pt x="93176" y="15004"/>
                  </a:lnTo>
                  <a:cubicBezTo>
                    <a:pt x="93176" y="10612"/>
                    <a:pt x="89616" y="7052"/>
                    <a:pt x="85224" y="705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5C7F0360-3E4F-F34E-8E77-A77BB442DC70}"/>
                </a:ext>
              </a:extLst>
            </p:cNvPr>
            <p:cNvSpPr/>
            <p:nvPr/>
          </p:nvSpPr>
          <p:spPr>
            <a:xfrm>
              <a:off x="8800331" y="2580071"/>
              <a:ext cx="63737" cy="48253"/>
            </a:xfrm>
            <a:custGeom>
              <a:avLst/>
              <a:gdLst>
                <a:gd name="connsiteX0" fmla="*/ 60197 w 63737"/>
                <a:gd name="connsiteY0" fmla="*/ 48253 h 48253"/>
                <a:gd name="connsiteX1" fmla="*/ 3541 w 63737"/>
                <a:gd name="connsiteY1" fmla="*/ 48253 h 48253"/>
                <a:gd name="connsiteX2" fmla="*/ 0 w 63737"/>
                <a:gd name="connsiteY2" fmla="*/ 44712 h 48253"/>
                <a:gd name="connsiteX3" fmla="*/ 0 w 63737"/>
                <a:gd name="connsiteY3" fmla="*/ 3541 h 48253"/>
                <a:gd name="connsiteX4" fmla="*/ 3541 w 63737"/>
                <a:gd name="connsiteY4" fmla="*/ 0 h 48253"/>
                <a:gd name="connsiteX5" fmla="*/ 60197 w 63737"/>
                <a:gd name="connsiteY5" fmla="*/ 0 h 48253"/>
                <a:gd name="connsiteX6" fmla="*/ 63738 w 63737"/>
                <a:gd name="connsiteY6" fmla="*/ 3541 h 48253"/>
                <a:gd name="connsiteX7" fmla="*/ 63738 w 63737"/>
                <a:gd name="connsiteY7" fmla="*/ 44712 h 48253"/>
                <a:gd name="connsiteX8" fmla="*/ 60257 w 63737"/>
                <a:gd name="connsiteY8" fmla="*/ 48253 h 48253"/>
                <a:gd name="connsiteX9" fmla="*/ 60197 w 63737"/>
                <a:gd name="connsiteY9" fmla="*/ 48253 h 48253"/>
                <a:gd name="connsiteX10" fmla="*/ 7082 w 63737"/>
                <a:gd name="connsiteY10" fmla="*/ 41171 h 48253"/>
                <a:gd name="connsiteX11" fmla="*/ 56656 w 63737"/>
                <a:gd name="connsiteY11" fmla="*/ 41171 h 48253"/>
                <a:gd name="connsiteX12" fmla="*/ 56656 w 63737"/>
                <a:gd name="connsiteY12" fmla="*/ 7082 h 48253"/>
                <a:gd name="connsiteX13" fmla="*/ 7082 w 63737"/>
                <a:gd name="connsiteY13" fmla="*/ 7082 h 4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737" h="48253">
                  <a:moveTo>
                    <a:pt x="60197" y="48253"/>
                  </a:moveTo>
                  <a:lnTo>
                    <a:pt x="3541" y="48253"/>
                  </a:lnTo>
                  <a:cubicBezTo>
                    <a:pt x="1585" y="48253"/>
                    <a:pt x="0" y="46668"/>
                    <a:pt x="0" y="44712"/>
                  </a:cubicBezTo>
                  <a:lnTo>
                    <a:pt x="0" y="3541"/>
                  </a:lnTo>
                  <a:cubicBezTo>
                    <a:pt x="0" y="1585"/>
                    <a:pt x="1585" y="0"/>
                    <a:pt x="3541" y="0"/>
                  </a:cubicBezTo>
                  <a:lnTo>
                    <a:pt x="60197" y="0"/>
                  </a:lnTo>
                  <a:cubicBezTo>
                    <a:pt x="62152" y="0"/>
                    <a:pt x="63738" y="1585"/>
                    <a:pt x="63738" y="3541"/>
                  </a:cubicBezTo>
                  <a:lnTo>
                    <a:pt x="63738" y="44712"/>
                  </a:lnTo>
                  <a:cubicBezTo>
                    <a:pt x="63754" y="46652"/>
                    <a:pt x="62196" y="48237"/>
                    <a:pt x="60257" y="48253"/>
                  </a:cubicBezTo>
                  <a:cubicBezTo>
                    <a:pt x="60237" y="48254"/>
                    <a:pt x="60217" y="48254"/>
                    <a:pt x="60197" y="48253"/>
                  </a:cubicBezTo>
                  <a:close/>
                  <a:moveTo>
                    <a:pt x="7082" y="41171"/>
                  </a:moveTo>
                  <a:lnTo>
                    <a:pt x="56656" y="41171"/>
                  </a:lnTo>
                  <a:lnTo>
                    <a:pt x="56656" y="7082"/>
                  </a:lnTo>
                  <a:lnTo>
                    <a:pt x="7082" y="708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B863E7DE-4277-3D49-A507-7E066AD4D345}"/>
                </a:ext>
              </a:extLst>
            </p:cNvPr>
            <p:cNvSpPr/>
            <p:nvPr/>
          </p:nvSpPr>
          <p:spPr>
            <a:xfrm>
              <a:off x="9053421" y="2602697"/>
              <a:ext cx="72860" cy="27157"/>
            </a:xfrm>
            <a:custGeom>
              <a:avLst/>
              <a:gdLst>
                <a:gd name="connsiteX0" fmla="*/ 69559 w 72860"/>
                <a:gd name="connsiteY0" fmla="*/ 27158 h 27157"/>
                <a:gd name="connsiteX1" fmla="*/ 3541 w 72860"/>
                <a:gd name="connsiteY1" fmla="*/ 27158 h 27157"/>
                <a:gd name="connsiteX2" fmla="*/ 0 w 72860"/>
                <a:gd name="connsiteY2" fmla="*/ 23617 h 27157"/>
                <a:gd name="connsiteX3" fmla="*/ 0 w 72860"/>
                <a:gd name="connsiteY3" fmla="*/ 9003 h 27157"/>
                <a:gd name="connsiteX4" fmla="*/ 9002 w 72860"/>
                <a:gd name="connsiteY4" fmla="*/ 0 h 27157"/>
                <a:gd name="connsiteX5" fmla="*/ 63858 w 72860"/>
                <a:gd name="connsiteY5" fmla="*/ 0 h 27157"/>
                <a:gd name="connsiteX6" fmla="*/ 72860 w 72860"/>
                <a:gd name="connsiteY6" fmla="*/ 9003 h 27157"/>
                <a:gd name="connsiteX7" fmla="*/ 72860 w 72860"/>
                <a:gd name="connsiteY7" fmla="*/ 23617 h 27157"/>
                <a:gd name="connsiteX8" fmla="*/ 69559 w 72860"/>
                <a:gd name="connsiteY8" fmla="*/ 27158 h 27157"/>
                <a:gd name="connsiteX9" fmla="*/ 7082 w 72860"/>
                <a:gd name="connsiteY9" fmla="*/ 20076 h 27157"/>
                <a:gd name="connsiteX10" fmla="*/ 66018 w 72860"/>
                <a:gd name="connsiteY10" fmla="*/ 20076 h 27157"/>
                <a:gd name="connsiteX11" fmla="*/ 66018 w 72860"/>
                <a:gd name="connsiteY11" fmla="*/ 9003 h 27157"/>
                <a:gd name="connsiteX12" fmla="*/ 63978 w 72860"/>
                <a:gd name="connsiteY12" fmla="*/ 6962 h 27157"/>
                <a:gd name="connsiteX13" fmla="*/ 9123 w 72860"/>
                <a:gd name="connsiteY13" fmla="*/ 6962 h 27157"/>
                <a:gd name="connsiteX14" fmla="*/ 7082 w 72860"/>
                <a:gd name="connsiteY14" fmla="*/ 8942 h 27157"/>
                <a:gd name="connsiteX15" fmla="*/ 7082 w 72860"/>
                <a:gd name="connsiteY15" fmla="*/ 9003 h 27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2860" h="27157">
                  <a:moveTo>
                    <a:pt x="69559" y="27158"/>
                  </a:moveTo>
                  <a:lnTo>
                    <a:pt x="3541" y="27158"/>
                  </a:lnTo>
                  <a:cubicBezTo>
                    <a:pt x="1585" y="27158"/>
                    <a:pt x="0" y="25572"/>
                    <a:pt x="0" y="23617"/>
                  </a:cubicBezTo>
                  <a:lnTo>
                    <a:pt x="0" y="9003"/>
                  </a:lnTo>
                  <a:cubicBezTo>
                    <a:pt x="0" y="4030"/>
                    <a:pt x="4030" y="0"/>
                    <a:pt x="9002" y="0"/>
                  </a:cubicBezTo>
                  <a:lnTo>
                    <a:pt x="63858" y="0"/>
                  </a:lnTo>
                  <a:cubicBezTo>
                    <a:pt x="68830" y="0"/>
                    <a:pt x="72860" y="4030"/>
                    <a:pt x="72860" y="9003"/>
                  </a:cubicBezTo>
                  <a:lnTo>
                    <a:pt x="72860" y="23617"/>
                  </a:lnTo>
                  <a:cubicBezTo>
                    <a:pt x="72863" y="25482"/>
                    <a:pt x="71420" y="27031"/>
                    <a:pt x="69559" y="27158"/>
                  </a:cubicBezTo>
                  <a:close/>
                  <a:moveTo>
                    <a:pt x="7082" y="20076"/>
                  </a:moveTo>
                  <a:lnTo>
                    <a:pt x="66018" y="20076"/>
                  </a:lnTo>
                  <a:lnTo>
                    <a:pt x="66018" y="9003"/>
                  </a:lnTo>
                  <a:cubicBezTo>
                    <a:pt x="66018" y="7875"/>
                    <a:pt x="65106" y="6962"/>
                    <a:pt x="63978" y="6962"/>
                  </a:cubicBezTo>
                  <a:lnTo>
                    <a:pt x="9123" y="6962"/>
                  </a:lnTo>
                  <a:cubicBezTo>
                    <a:pt x="8012" y="6945"/>
                    <a:pt x="7099" y="7832"/>
                    <a:pt x="7082" y="8942"/>
                  </a:cubicBezTo>
                  <a:cubicBezTo>
                    <a:pt x="7082" y="8962"/>
                    <a:pt x="7082" y="8982"/>
                    <a:pt x="7082" y="9003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0BBFDA46-32BA-884E-A1EA-DD69C7FD5316}"/>
                </a:ext>
              </a:extLst>
            </p:cNvPr>
            <p:cNvSpPr/>
            <p:nvPr/>
          </p:nvSpPr>
          <p:spPr>
            <a:xfrm>
              <a:off x="9064307" y="2528217"/>
              <a:ext cx="51225" cy="36430"/>
            </a:xfrm>
            <a:custGeom>
              <a:avLst/>
              <a:gdLst>
                <a:gd name="connsiteX0" fmla="*/ 47690 w 51225"/>
                <a:gd name="connsiteY0" fmla="*/ 36430 h 36430"/>
                <a:gd name="connsiteX1" fmla="*/ 3578 w 51225"/>
                <a:gd name="connsiteY1" fmla="*/ 36430 h 36430"/>
                <a:gd name="connsiteX2" fmla="*/ 0 w 51225"/>
                <a:gd name="connsiteY2" fmla="*/ 32866 h 36430"/>
                <a:gd name="connsiteX3" fmla="*/ 187 w 51225"/>
                <a:gd name="connsiteY3" fmla="*/ 31719 h 36430"/>
                <a:gd name="connsiteX4" fmla="*/ 9520 w 51225"/>
                <a:gd name="connsiteY4" fmla="*/ 2461 h 36430"/>
                <a:gd name="connsiteX5" fmla="*/ 12910 w 51225"/>
                <a:gd name="connsiteY5" fmla="*/ 0 h 36430"/>
                <a:gd name="connsiteX6" fmla="*/ 37247 w 51225"/>
                <a:gd name="connsiteY6" fmla="*/ 0 h 36430"/>
                <a:gd name="connsiteX7" fmla="*/ 40578 w 51225"/>
                <a:gd name="connsiteY7" fmla="*/ 2341 h 36430"/>
                <a:gd name="connsiteX8" fmla="*/ 51021 w 51225"/>
                <a:gd name="connsiteY8" fmla="*/ 31599 h 36430"/>
                <a:gd name="connsiteX9" fmla="*/ 50571 w 51225"/>
                <a:gd name="connsiteY9" fmla="*/ 34840 h 36430"/>
                <a:gd name="connsiteX10" fmla="*/ 47690 w 51225"/>
                <a:gd name="connsiteY10" fmla="*/ 36430 h 36430"/>
                <a:gd name="connsiteX11" fmla="*/ 8409 w 51225"/>
                <a:gd name="connsiteY11" fmla="*/ 29348 h 36430"/>
                <a:gd name="connsiteX12" fmla="*/ 42649 w 51225"/>
                <a:gd name="connsiteY12" fmla="*/ 29348 h 36430"/>
                <a:gd name="connsiteX13" fmla="*/ 34757 w 51225"/>
                <a:gd name="connsiteY13" fmla="*/ 7172 h 36430"/>
                <a:gd name="connsiteX14" fmla="*/ 15491 w 51225"/>
                <a:gd name="connsiteY14" fmla="*/ 7172 h 3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1225" h="36430">
                  <a:moveTo>
                    <a:pt x="47690" y="36430"/>
                  </a:moveTo>
                  <a:lnTo>
                    <a:pt x="3578" y="36430"/>
                  </a:lnTo>
                  <a:cubicBezTo>
                    <a:pt x="1606" y="36434"/>
                    <a:pt x="4" y="34838"/>
                    <a:pt x="0" y="32866"/>
                  </a:cubicBezTo>
                  <a:cubicBezTo>
                    <a:pt x="-1" y="32476"/>
                    <a:pt x="62" y="32089"/>
                    <a:pt x="187" y="31719"/>
                  </a:cubicBezTo>
                  <a:lnTo>
                    <a:pt x="9520" y="2461"/>
                  </a:lnTo>
                  <a:cubicBezTo>
                    <a:pt x="10000" y="994"/>
                    <a:pt x="11368" y="1"/>
                    <a:pt x="12910" y="0"/>
                  </a:cubicBezTo>
                  <a:lnTo>
                    <a:pt x="37247" y="0"/>
                  </a:lnTo>
                  <a:cubicBezTo>
                    <a:pt x="38739" y="0"/>
                    <a:pt x="40071" y="936"/>
                    <a:pt x="40578" y="2341"/>
                  </a:cubicBezTo>
                  <a:lnTo>
                    <a:pt x="51021" y="31599"/>
                  </a:lnTo>
                  <a:cubicBezTo>
                    <a:pt x="51408" y="32688"/>
                    <a:pt x="51240" y="33898"/>
                    <a:pt x="50571" y="34840"/>
                  </a:cubicBezTo>
                  <a:cubicBezTo>
                    <a:pt x="49938" y="35819"/>
                    <a:pt x="48858" y="36416"/>
                    <a:pt x="47690" y="36430"/>
                  </a:cubicBezTo>
                  <a:close/>
                  <a:moveTo>
                    <a:pt x="8409" y="29348"/>
                  </a:moveTo>
                  <a:lnTo>
                    <a:pt x="42649" y="29348"/>
                  </a:lnTo>
                  <a:lnTo>
                    <a:pt x="34757" y="7172"/>
                  </a:lnTo>
                  <a:lnTo>
                    <a:pt x="15491" y="717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8E9265F1-150E-AC4C-8F75-D01358714DFB}"/>
                </a:ext>
              </a:extLst>
            </p:cNvPr>
            <p:cNvSpPr/>
            <p:nvPr/>
          </p:nvSpPr>
          <p:spPr>
            <a:xfrm>
              <a:off x="9063924" y="2557565"/>
              <a:ext cx="52094" cy="52094"/>
            </a:xfrm>
            <a:custGeom>
              <a:avLst/>
              <a:gdLst>
                <a:gd name="connsiteX0" fmla="*/ 48554 w 52094"/>
                <a:gd name="connsiteY0" fmla="*/ 52095 h 52094"/>
                <a:gd name="connsiteX1" fmla="*/ 3541 w 52094"/>
                <a:gd name="connsiteY1" fmla="*/ 52095 h 52094"/>
                <a:gd name="connsiteX2" fmla="*/ 0 w 52094"/>
                <a:gd name="connsiteY2" fmla="*/ 48554 h 52094"/>
                <a:gd name="connsiteX3" fmla="*/ 0 w 52094"/>
                <a:gd name="connsiteY3" fmla="*/ 3541 h 52094"/>
                <a:gd name="connsiteX4" fmla="*/ 3541 w 52094"/>
                <a:gd name="connsiteY4" fmla="*/ 0 h 52094"/>
                <a:gd name="connsiteX5" fmla="*/ 48554 w 52094"/>
                <a:gd name="connsiteY5" fmla="*/ 0 h 52094"/>
                <a:gd name="connsiteX6" fmla="*/ 52095 w 52094"/>
                <a:gd name="connsiteY6" fmla="*/ 3541 h 52094"/>
                <a:gd name="connsiteX7" fmla="*/ 52095 w 52094"/>
                <a:gd name="connsiteY7" fmla="*/ 48554 h 52094"/>
                <a:gd name="connsiteX8" fmla="*/ 48554 w 52094"/>
                <a:gd name="connsiteY8" fmla="*/ 52095 h 52094"/>
                <a:gd name="connsiteX9" fmla="*/ 7082 w 52094"/>
                <a:gd name="connsiteY9" fmla="*/ 45013 h 52094"/>
                <a:gd name="connsiteX10" fmla="*/ 45013 w 52094"/>
                <a:gd name="connsiteY10" fmla="*/ 45013 h 52094"/>
                <a:gd name="connsiteX11" fmla="*/ 45013 w 52094"/>
                <a:gd name="connsiteY11" fmla="*/ 7082 h 52094"/>
                <a:gd name="connsiteX12" fmla="*/ 7082 w 52094"/>
                <a:gd name="connsiteY12" fmla="*/ 7082 h 52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094" h="52094">
                  <a:moveTo>
                    <a:pt x="48554" y="52095"/>
                  </a:moveTo>
                  <a:lnTo>
                    <a:pt x="3541" y="52095"/>
                  </a:lnTo>
                  <a:cubicBezTo>
                    <a:pt x="1585" y="52095"/>
                    <a:pt x="0" y="50509"/>
                    <a:pt x="0" y="48554"/>
                  </a:cubicBezTo>
                  <a:lnTo>
                    <a:pt x="0" y="3541"/>
                  </a:lnTo>
                  <a:cubicBezTo>
                    <a:pt x="0" y="1585"/>
                    <a:pt x="1585" y="0"/>
                    <a:pt x="3541" y="0"/>
                  </a:cubicBezTo>
                  <a:lnTo>
                    <a:pt x="48554" y="0"/>
                  </a:lnTo>
                  <a:cubicBezTo>
                    <a:pt x="50510" y="0"/>
                    <a:pt x="52095" y="1585"/>
                    <a:pt x="52095" y="3541"/>
                  </a:cubicBezTo>
                  <a:lnTo>
                    <a:pt x="52095" y="48554"/>
                  </a:lnTo>
                  <a:cubicBezTo>
                    <a:pt x="52095" y="50509"/>
                    <a:pt x="50510" y="52095"/>
                    <a:pt x="48554" y="52095"/>
                  </a:cubicBezTo>
                  <a:close/>
                  <a:moveTo>
                    <a:pt x="7082" y="45013"/>
                  </a:moveTo>
                  <a:lnTo>
                    <a:pt x="45013" y="45013"/>
                  </a:lnTo>
                  <a:lnTo>
                    <a:pt x="45013" y="7082"/>
                  </a:lnTo>
                  <a:lnTo>
                    <a:pt x="7082" y="708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D6AC6E77-9B37-0E40-946B-A76D3F57C45F}"/>
                </a:ext>
              </a:extLst>
            </p:cNvPr>
            <p:cNvSpPr/>
            <p:nvPr/>
          </p:nvSpPr>
          <p:spPr>
            <a:xfrm>
              <a:off x="9073107" y="2516873"/>
              <a:ext cx="32379" cy="18515"/>
            </a:xfrm>
            <a:custGeom>
              <a:avLst/>
              <a:gdLst>
                <a:gd name="connsiteX0" fmla="*/ 28838 w 32379"/>
                <a:gd name="connsiteY0" fmla="*/ 18515 h 18515"/>
                <a:gd name="connsiteX1" fmla="*/ 3571 w 32379"/>
                <a:gd name="connsiteY1" fmla="*/ 18515 h 18515"/>
                <a:gd name="connsiteX2" fmla="*/ 0 w 32379"/>
                <a:gd name="connsiteY2" fmla="*/ 15004 h 18515"/>
                <a:gd name="connsiteX3" fmla="*/ 0 w 32379"/>
                <a:gd name="connsiteY3" fmla="*/ 14974 h 18515"/>
                <a:gd name="connsiteX4" fmla="*/ 0 w 32379"/>
                <a:gd name="connsiteY4" fmla="*/ 3541 h 18515"/>
                <a:gd name="connsiteX5" fmla="*/ 3541 w 32379"/>
                <a:gd name="connsiteY5" fmla="*/ 0 h 18515"/>
                <a:gd name="connsiteX6" fmla="*/ 3571 w 32379"/>
                <a:gd name="connsiteY6" fmla="*/ 0 h 18515"/>
                <a:gd name="connsiteX7" fmla="*/ 28838 w 32379"/>
                <a:gd name="connsiteY7" fmla="*/ 0 h 18515"/>
                <a:gd name="connsiteX8" fmla="*/ 32379 w 32379"/>
                <a:gd name="connsiteY8" fmla="*/ 3541 h 18515"/>
                <a:gd name="connsiteX9" fmla="*/ 32379 w 32379"/>
                <a:gd name="connsiteY9" fmla="*/ 14974 h 18515"/>
                <a:gd name="connsiteX10" fmla="*/ 28838 w 32379"/>
                <a:gd name="connsiteY10" fmla="*/ 18515 h 18515"/>
                <a:gd name="connsiteX11" fmla="*/ 7112 w 32379"/>
                <a:gd name="connsiteY11" fmla="*/ 11433 h 18515"/>
                <a:gd name="connsiteX12" fmla="*/ 25297 w 32379"/>
                <a:gd name="connsiteY12" fmla="*/ 11433 h 18515"/>
                <a:gd name="connsiteX13" fmla="*/ 25297 w 32379"/>
                <a:gd name="connsiteY13" fmla="*/ 7052 h 18515"/>
                <a:gd name="connsiteX14" fmla="*/ 7112 w 32379"/>
                <a:gd name="connsiteY14" fmla="*/ 7052 h 18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379" h="18515">
                  <a:moveTo>
                    <a:pt x="28838" y="18515"/>
                  </a:moveTo>
                  <a:lnTo>
                    <a:pt x="3571" y="18515"/>
                  </a:lnTo>
                  <a:cubicBezTo>
                    <a:pt x="1614" y="18532"/>
                    <a:pt x="18" y="16960"/>
                    <a:pt x="0" y="15004"/>
                  </a:cubicBezTo>
                  <a:cubicBezTo>
                    <a:pt x="0" y="14994"/>
                    <a:pt x="0" y="14984"/>
                    <a:pt x="0" y="14974"/>
                  </a:cubicBezTo>
                  <a:lnTo>
                    <a:pt x="0" y="3541"/>
                  </a:lnTo>
                  <a:cubicBezTo>
                    <a:pt x="0" y="1585"/>
                    <a:pt x="1584" y="0"/>
                    <a:pt x="3541" y="0"/>
                  </a:cubicBezTo>
                  <a:cubicBezTo>
                    <a:pt x="3550" y="0"/>
                    <a:pt x="3562" y="0"/>
                    <a:pt x="3571" y="0"/>
                  </a:cubicBezTo>
                  <a:lnTo>
                    <a:pt x="28838" y="0"/>
                  </a:lnTo>
                  <a:cubicBezTo>
                    <a:pt x="30795" y="0"/>
                    <a:pt x="32379" y="1585"/>
                    <a:pt x="32379" y="3541"/>
                  </a:cubicBezTo>
                  <a:lnTo>
                    <a:pt x="32379" y="14974"/>
                  </a:lnTo>
                  <a:cubicBezTo>
                    <a:pt x="32379" y="16930"/>
                    <a:pt x="30795" y="18515"/>
                    <a:pt x="28838" y="18515"/>
                  </a:cubicBezTo>
                  <a:close/>
                  <a:moveTo>
                    <a:pt x="7112" y="11433"/>
                  </a:moveTo>
                  <a:lnTo>
                    <a:pt x="25297" y="11433"/>
                  </a:lnTo>
                  <a:lnTo>
                    <a:pt x="25297" y="7052"/>
                  </a:lnTo>
                  <a:lnTo>
                    <a:pt x="7112" y="705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DC49A630-2305-FB43-82B4-96C1EC3A901D}"/>
                </a:ext>
              </a:extLst>
            </p:cNvPr>
            <p:cNvSpPr/>
            <p:nvPr/>
          </p:nvSpPr>
          <p:spPr>
            <a:xfrm>
              <a:off x="9085360" y="2368718"/>
              <a:ext cx="159904" cy="171681"/>
            </a:xfrm>
            <a:custGeom>
              <a:avLst/>
              <a:gdLst>
                <a:gd name="connsiteX0" fmla="*/ 159845 w 159904"/>
                <a:gd name="connsiteY0" fmla="*/ 168921 h 171681"/>
                <a:gd name="connsiteX1" fmla="*/ 159275 w 159904"/>
                <a:gd name="connsiteY1" fmla="*/ 153917 h 171681"/>
                <a:gd name="connsiteX2" fmla="*/ 159275 w 159904"/>
                <a:gd name="connsiteY2" fmla="*/ 105243 h 171681"/>
                <a:gd name="connsiteX3" fmla="*/ 157564 w 159904"/>
                <a:gd name="connsiteY3" fmla="*/ 61911 h 171681"/>
                <a:gd name="connsiteX4" fmla="*/ 76983 w 159904"/>
                <a:gd name="connsiteY4" fmla="*/ 664 h 171681"/>
                <a:gd name="connsiteX5" fmla="*/ 47163 w 159904"/>
                <a:gd name="connsiteY5" fmla="*/ 11887 h 171681"/>
                <a:gd name="connsiteX6" fmla="*/ 43653 w 159904"/>
                <a:gd name="connsiteY6" fmla="*/ 13778 h 171681"/>
                <a:gd name="connsiteX7" fmla="*/ 320 w 159904"/>
                <a:gd name="connsiteY7" fmla="*/ 86488 h 171681"/>
                <a:gd name="connsiteX8" fmla="*/ 1491 w 159904"/>
                <a:gd name="connsiteY8" fmla="*/ 111695 h 171681"/>
                <a:gd name="connsiteX9" fmla="*/ 1161 w 159904"/>
                <a:gd name="connsiteY9" fmla="*/ 153197 h 171681"/>
                <a:gd name="connsiteX10" fmla="*/ 6082 w 159904"/>
                <a:gd name="connsiteY10" fmla="*/ 153467 h 171681"/>
                <a:gd name="connsiteX11" fmla="*/ 6082 w 159904"/>
                <a:gd name="connsiteY11" fmla="*/ 123608 h 171681"/>
                <a:gd name="connsiteX12" fmla="*/ 7372 w 159904"/>
                <a:gd name="connsiteY12" fmla="*/ 125199 h 171681"/>
                <a:gd name="connsiteX13" fmla="*/ 101986 w 159904"/>
                <a:gd name="connsiteY13" fmla="*/ 160917 h 171681"/>
                <a:gd name="connsiteX14" fmla="*/ 120474 w 159904"/>
                <a:gd name="connsiteY14" fmla="*/ 148815 h 171681"/>
                <a:gd name="connsiteX15" fmla="*/ 123475 w 159904"/>
                <a:gd name="connsiteY15" fmla="*/ 146655 h 171681"/>
                <a:gd name="connsiteX16" fmla="*/ 152253 w 159904"/>
                <a:gd name="connsiteY16" fmla="*/ 114846 h 171681"/>
                <a:gd name="connsiteX17" fmla="*/ 153903 w 159904"/>
                <a:gd name="connsiteY17" fmla="*/ 112385 h 171681"/>
                <a:gd name="connsiteX18" fmla="*/ 153903 w 159904"/>
                <a:gd name="connsiteY18" fmla="*/ 171682 h 171681"/>
                <a:gd name="connsiteX19" fmla="*/ 159905 w 159904"/>
                <a:gd name="connsiteY19" fmla="*/ 171682 h 171681"/>
                <a:gd name="connsiteX20" fmla="*/ 159845 w 159904"/>
                <a:gd name="connsiteY20" fmla="*/ 168921 h 171681"/>
                <a:gd name="connsiteX21" fmla="*/ 147391 w 159904"/>
                <a:gd name="connsiteY21" fmla="*/ 44926 h 171681"/>
                <a:gd name="connsiteX22" fmla="*/ 143220 w 159904"/>
                <a:gd name="connsiteY22" fmla="*/ 39465 h 171681"/>
                <a:gd name="connsiteX23" fmla="*/ 103129 w 159904"/>
                <a:gd name="connsiteY23" fmla="*/ 14828 h 171681"/>
                <a:gd name="connsiteX24" fmla="*/ 89205 w 159904"/>
                <a:gd name="connsiteY24" fmla="*/ 10447 h 171681"/>
                <a:gd name="connsiteX25" fmla="*/ 69040 w 159904"/>
                <a:gd name="connsiteY25" fmla="*/ 7596 h 171681"/>
                <a:gd name="connsiteX26" fmla="*/ 147391 w 159904"/>
                <a:gd name="connsiteY26" fmla="*/ 44926 h 171681"/>
                <a:gd name="connsiteX27" fmla="*/ 88395 w 159904"/>
                <a:gd name="connsiteY27" fmla="*/ 138072 h 171681"/>
                <a:gd name="connsiteX28" fmla="*/ 35970 w 159904"/>
                <a:gd name="connsiteY28" fmla="*/ 114456 h 171681"/>
                <a:gd name="connsiteX29" fmla="*/ 28588 w 159904"/>
                <a:gd name="connsiteY29" fmla="*/ 104433 h 171681"/>
                <a:gd name="connsiteX30" fmla="*/ 24057 w 159904"/>
                <a:gd name="connsiteY30" fmla="*/ 65692 h 171681"/>
                <a:gd name="connsiteX31" fmla="*/ 32819 w 159904"/>
                <a:gd name="connsiteY31" fmla="*/ 47267 h 171681"/>
                <a:gd name="connsiteX32" fmla="*/ 57696 w 159904"/>
                <a:gd name="connsiteY32" fmla="*/ 30853 h 171681"/>
                <a:gd name="connsiteX33" fmla="*/ 137159 w 159904"/>
                <a:gd name="connsiteY33" fmla="*/ 80606 h 171681"/>
                <a:gd name="connsiteX34" fmla="*/ 136648 w 159904"/>
                <a:gd name="connsiteY34" fmla="*/ 92430 h 171681"/>
                <a:gd name="connsiteX35" fmla="*/ 111561 w 159904"/>
                <a:gd name="connsiteY35" fmla="*/ 132401 h 171681"/>
                <a:gd name="connsiteX36" fmla="*/ 100698 w 159904"/>
                <a:gd name="connsiteY36" fmla="*/ 136392 h 171681"/>
                <a:gd name="connsiteX37" fmla="*/ 88395 w 159904"/>
                <a:gd name="connsiteY37" fmla="*/ 138072 h 171681"/>
                <a:gd name="connsiteX38" fmla="*/ 90105 w 159904"/>
                <a:gd name="connsiteY38" fmla="*/ 143204 h 171681"/>
                <a:gd name="connsiteX39" fmla="*/ 66789 w 159904"/>
                <a:gd name="connsiteY39" fmla="*/ 146025 h 171681"/>
                <a:gd name="connsiteX40" fmla="*/ 52415 w 159904"/>
                <a:gd name="connsiteY40" fmla="*/ 141133 h 171681"/>
                <a:gd name="connsiteX41" fmla="*/ 28018 w 159904"/>
                <a:gd name="connsiteY41" fmla="*/ 114126 h 171681"/>
                <a:gd name="connsiteX42" fmla="*/ 27148 w 159904"/>
                <a:gd name="connsiteY42" fmla="*/ 112295 h 171681"/>
                <a:gd name="connsiteX43" fmla="*/ 90226 w 159904"/>
                <a:gd name="connsiteY43" fmla="*/ 143204 h 171681"/>
                <a:gd name="connsiteX44" fmla="*/ 57576 w 159904"/>
                <a:gd name="connsiteY44" fmla="*/ 25511 h 171681"/>
                <a:gd name="connsiteX45" fmla="*/ 83474 w 159904"/>
                <a:gd name="connsiteY45" fmla="*/ 18429 h 171681"/>
                <a:gd name="connsiteX46" fmla="*/ 97007 w 159904"/>
                <a:gd name="connsiteY46" fmla="*/ 18879 h 171681"/>
                <a:gd name="connsiteX47" fmla="*/ 100578 w 159904"/>
                <a:gd name="connsiteY47" fmla="*/ 19869 h 171681"/>
                <a:gd name="connsiteX48" fmla="*/ 134668 w 159904"/>
                <a:gd name="connsiteY48" fmla="*/ 58610 h 171681"/>
                <a:gd name="connsiteX49" fmla="*/ 134668 w 159904"/>
                <a:gd name="connsiteY49" fmla="*/ 59781 h 171681"/>
                <a:gd name="connsiteX50" fmla="*/ 57576 w 159904"/>
                <a:gd name="connsiteY50" fmla="*/ 25511 h 171681"/>
                <a:gd name="connsiteX51" fmla="*/ 30299 w 159904"/>
                <a:gd name="connsiteY51" fmla="*/ 36344 h 171681"/>
                <a:gd name="connsiteX52" fmla="*/ 36601 w 159904"/>
                <a:gd name="connsiteY52" fmla="*/ 27792 h 171681"/>
                <a:gd name="connsiteX53" fmla="*/ 64388 w 159904"/>
                <a:gd name="connsiteY53" fmla="*/ 13568 h 171681"/>
                <a:gd name="connsiteX54" fmla="*/ 77832 w 159904"/>
                <a:gd name="connsiteY54" fmla="*/ 13568 h 171681"/>
                <a:gd name="connsiteX55" fmla="*/ 63668 w 159904"/>
                <a:gd name="connsiteY55" fmla="*/ 17499 h 171681"/>
                <a:gd name="connsiteX56" fmla="*/ 42452 w 159904"/>
                <a:gd name="connsiteY56" fmla="*/ 29502 h 171681"/>
                <a:gd name="connsiteX57" fmla="*/ 29429 w 159904"/>
                <a:gd name="connsiteY57" fmla="*/ 38325 h 171681"/>
                <a:gd name="connsiteX58" fmla="*/ 30299 w 159904"/>
                <a:gd name="connsiteY58" fmla="*/ 36344 h 171681"/>
                <a:gd name="connsiteX59" fmla="*/ 28108 w 159904"/>
                <a:gd name="connsiteY59" fmla="*/ 29172 h 171681"/>
                <a:gd name="connsiteX60" fmla="*/ 19106 w 159904"/>
                <a:gd name="connsiteY60" fmla="*/ 47957 h 171681"/>
                <a:gd name="connsiteX61" fmla="*/ 18836 w 159904"/>
                <a:gd name="connsiteY61" fmla="*/ 48407 h 171681"/>
                <a:gd name="connsiteX62" fmla="*/ 6142 w 159904"/>
                <a:gd name="connsiteY62" fmla="*/ 68543 h 171681"/>
                <a:gd name="connsiteX63" fmla="*/ 28108 w 159904"/>
                <a:gd name="connsiteY63" fmla="*/ 29172 h 171681"/>
                <a:gd name="connsiteX64" fmla="*/ 6502 w 159904"/>
                <a:gd name="connsiteY64" fmla="*/ 92790 h 171681"/>
                <a:gd name="connsiteX65" fmla="*/ 8063 w 159904"/>
                <a:gd name="connsiteY65" fmla="*/ 79916 h 171681"/>
                <a:gd name="connsiteX66" fmla="*/ 15595 w 159904"/>
                <a:gd name="connsiteY66" fmla="*/ 61911 h 171681"/>
                <a:gd name="connsiteX67" fmla="*/ 17395 w 159904"/>
                <a:gd name="connsiteY67" fmla="*/ 96871 h 171681"/>
                <a:gd name="connsiteX68" fmla="*/ 37771 w 159904"/>
                <a:gd name="connsiteY68" fmla="*/ 135882 h 171681"/>
                <a:gd name="connsiteX69" fmla="*/ 39001 w 159904"/>
                <a:gd name="connsiteY69" fmla="*/ 137172 h 171681"/>
                <a:gd name="connsiteX70" fmla="*/ 38761 w 159904"/>
                <a:gd name="connsiteY70" fmla="*/ 137502 h 171681"/>
                <a:gd name="connsiteX71" fmla="*/ 34560 w 159904"/>
                <a:gd name="connsiteY71" fmla="*/ 134922 h 171681"/>
                <a:gd name="connsiteX72" fmla="*/ 17305 w 159904"/>
                <a:gd name="connsiteY72" fmla="*/ 118507 h 171681"/>
                <a:gd name="connsiteX73" fmla="*/ 6502 w 159904"/>
                <a:gd name="connsiteY73" fmla="*/ 92850 h 171681"/>
                <a:gd name="connsiteX74" fmla="*/ 9293 w 159904"/>
                <a:gd name="connsiteY74" fmla="*/ 115266 h 171681"/>
                <a:gd name="connsiteX75" fmla="*/ 15115 w 159904"/>
                <a:gd name="connsiteY75" fmla="*/ 123518 h 171681"/>
                <a:gd name="connsiteX76" fmla="*/ 55866 w 159904"/>
                <a:gd name="connsiteY76" fmla="*/ 149446 h 171681"/>
                <a:gd name="connsiteX77" fmla="*/ 70030 w 159904"/>
                <a:gd name="connsiteY77" fmla="*/ 153947 h 171681"/>
                <a:gd name="connsiteX78" fmla="*/ 102649 w 159904"/>
                <a:gd name="connsiteY78" fmla="*/ 154667 h 171681"/>
                <a:gd name="connsiteX79" fmla="*/ 13725 w 159904"/>
                <a:gd name="connsiteY79" fmla="*/ 126216 h 171681"/>
                <a:gd name="connsiteX80" fmla="*/ 9293 w 159904"/>
                <a:gd name="connsiteY80" fmla="*/ 115326 h 171681"/>
                <a:gd name="connsiteX81" fmla="*/ 113662 w 159904"/>
                <a:gd name="connsiteY81" fmla="*/ 146205 h 171681"/>
                <a:gd name="connsiteX82" fmla="*/ 81913 w 159904"/>
                <a:gd name="connsiteY82" fmla="*/ 150856 h 171681"/>
                <a:gd name="connsiteX83" fmla="*/ 107090 w 159904"/>
                <a:gd name="connsiteY83" fmla="*/ 141854 h 171681"/>
                <a:gd name="connsiteX84" fmla="*/ 130527 w 159904"/>
                <a:gd name="connsiteY84" fmla="*/ 128740 h 171681"/>
                <a:gd name="connsiteX85" fmla="*/ 113662 w 159904"/>
                <a:gd name="connsiteY85" fmla="*/ 146205 h 171681"/>
                <a:gd name="connsiteX86" fmla="*/ 129416 w 159904"/>
                <a:gd name="connsiteY86" fmla="*/ 122198 h 171681"/>
                <a:gd name="connsiteX87" fmla="*/ 137969 w 159904"/>
                <a:gd name="connsiteY87" fmla="*/ 107194 h 171681"/>
                <a:gd name="connsiteX88" fmla="*/ 129416 w 159904"/>
                <a:gd name="connsiteY88" fmla="*/ 122198 h 171681"/>
                <a:gd name="connsiteX89" fmla="*/ 135598 w 159904"/>
                <a:gd name="connsiteY89" fmla="*/ 130900 h 171681"/>
                <a:gd name="connsiteX90" fmla="*/ 151803 w 159904"/>
                <a:gd name="connsiteY90" fmla="*/ 102032 h 171681"/>
                <a:gd name="connsiteX91" fmla="*/ 135598 w 159904"/>
                <a:gd name="connsiteY91" fmla="*/ 130810 h 171681"/>
                <a:gd name="connsiteX92" fmla="*/ 151413 w 159904"/>
                <a:gd name="connsiteY92" fmla="*/ 86788 h 171681"/>
                <a:gd name="connsiteX93" fmla="*/ 144331 w 159904"/>
                <a:gd name="connsiteY93" fmla="*/ 104643 h 171681"/>
                <a:gd name="connsiteX94" fmla="*/ 143070 w 159904"/>
                <a:gd name="connsiteY94" fmla="*/ 83277 h 171681"/>
                <a:gd name="connsiteX95" fmla="*/ 141480 w 159904"/>
                <a:gd name="connsiteY95" fmla="*/ 65032 h 171681"/>
                <a:gd name="connsiteX96" fmla="*/ 121734 w 159904"/>
                <a:gd name="connsiteY96" fmla="*/ 28632 h 171681"/>
                <a:gd name="connsiteX97" fmla="*/ 120504 w 159904"/>
                <a:gd name="connsiteY97" fmla="*/ 27072 h 171681"/>
                <a:gd name="connsiteX98" fmla="*/ 140159 w 159904"/>
                <a:gd name="connsiteY98" fmla="*/ 43726 h 171681"/>
                <a:gd name="connsiteX99" fmla="*/ 151773 w 159904"/>
                <a:gd name="connsiteY99" fmla="*/ 66322 h 171681"/>
                <a:gd name="connsiteX100" fmla="*/ 151413 w 159904"/>
                <a:gd name="connsiteY100" fmla="*/ 86788 h 17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159904" h="171681">
                  <a:moveTo>
                    <a:pt x="159845" y="168921"/>
                  </a:moveTo>
                  <a:cubicBezTo>
                    <a:pt x="159635" y="163910"/>
                    <a:pt x="159305" y="158898"/>
                    <a:pt x="159275" y="153917"/>
                  </a:cubicBezTo>
                  <a:cubicBezTo>
                    <a:pt x="159275" y="137682"/>
                    <a:pt x="159275" y="121448"/>
                    <a:pt x="159275" y="105243"/>
                  </a:cubicBezTo>
                  <a:cubicBezTo>
                    <a:pt x="159758" y="90777"/>
                    <a:pt x="159185" y="76295"/>
                    <a:pt x="157564" y="61911"/>
                  </a:cubicBezTo>
                  <a:cubicBezTo>
                    <a:pt x="152226" y="22746"/>
                    <a:pt x="116147" y="-4675"/>
                    <a:pt x="76983" y="664"/>
                  </a:cubicBezTo>
                  <a:cubicBezTo>
                    <a:pt x="66327" y="2117"/>
                    <a:pt x="56133" y="5953"/>
                    <a:pt x="47163" y="11887"/>
                  </a:cubicBezTo>
                  <a:cubicBezTo>
                    <a:pt x="46059" y="12634"/>
                    <a:pt x="44883" y="13267"/>
                    <a:pt x="43653" y="13778"/>
                  </a:cubicBezTo>
                  <a:cubicBezTo>
                    <a:pt x="14907" y="25984"/>
                    <a:pt x="-2620" y="55399"/>
                    <a:pt x="320" y="86488"/>
                  </a:cubicBezTo>
                  <a:cubicBezTo>
                    <a:pt x="1071" y="94860"/>
                    <a:pt x="1461" y="103293"/>
                    <a:pt x="1491" y="111695"/>
                  </a:cubicBezTo>
                  <a:cubicBezTo>
                    <a:pt x="1491" y="126939"/>
                    <a:pt x="1281" y="137952"/>
                    <a:pt x="1161" y="153197"/>
                  </a:cubicBezTo>
                  <a:cubicBezTo>
                    <a:pt x="2736" y="152424"/>
                    <a:pt x="4600" y="152526"/>
                    <a:pt x="6082" y="153467"/>
                  </a:cubicBezTo>
                  <a:lnTo>
                    <a:pt x="6082" y="123608"/>
                  </a:lnTo>
                  <a:cubicBezTo>
                    <a:pt x="6676" y="123980"/>
                    <a:pt x="7132" y="124540"/>
                    <a:pt x="7372" y="125199"/>
                  </a:cubicBezTo>
                  <a:cubicBezTo>
                    <a:pt x="23637" y="161189"/>
                    <a:pt x="65997" y="177180"/>
                    <a:pt x="101986" y="160917"/>
                  </a:cubicBezTo>
                  <a:cubicBezTo>
                    <a:pt x="108738" y="157865"/>
                    <a:pt x="114976" y="153783"/>
                    <a:pt x="120474" y="148815"/>
                  </a:cubicBezTo>
                  <a:cubicBezTo>
                    <a:pt x="121404" y="148003"/>
                    <a:pt x="122409" y="147280"/>
                    <a:pt x="123475" y="146655"/>
                  </a:cubicBezTo>
                  <a:cubicBezTo>
                    <a:pt x="136249" y="139436"/>
                    <a:pt x="146344" y="128277"/>
                    <a:pt x="152253" y="114846"/>
                  </a:cubicBezTo>
                  <a:cubicBezTo>
                    <a:pt x="152739" y="113985"/>
                    <a:pt x="153291" y="113163"/>
                    <a:pt x="153903" y="112385"/>
                  </a:cubicBezTo>
                  <a:lnTo>
                    <a:pt x="153903" y="171682"/>
                  </a:lnTo>
                  <a:lnTo>
                    <a:pt x="159905" y="171682"/>
                  </a:lnTo>
                  <a:cubicBezTo>
                    <a:pt x="159845" y="170662"/>
                    <a:pt x="159875" y="169791"/>
                    <a:pt x="159845" y="168921"/>
                  </a:cubicBezTo>
                  <a:close/>
                  <a:moveTo>
                    <a:pt x="147391" y="44926"/>
                  </a:moveTo>
                  <a:cubicBezTo>
                    <a:pt x="145771" y="42796"/>
                    <a:pt x="144541" y="41085"/>
                    <a:pt x="143220" y="39465"/>
                  </a:cubicBezTo>
                  <a:cubicBezTo>
                    <a:pt x="132993" y="26995"/>
                    <a:pt x="118874" y="18320"/>
                    <a:pt x="103129" y="14828"/>
                  </a:cubicBezTo>
                  <a:cubicBezTo>
                    <a:pt x="98418" y="13718"/>
                    <a:pt x="93947" y="11377"/>
                    <a:pt x="89205" y="10447"/>
                  </a:cubicBezTo>
                  <a:cubicBezTo>
                    <a:pt x="82213" y="9036"/>
                    <a:pt x="75071" y="8406"/>
                    <a:pt x="69040" y="7596"/>
                  </a:cubicBezTo>
                  <a:cubicBezTo>
                    <a:pt x="100842" y="-1600"/>
                    <a:pt x="134497" y="14436"/>
                    <a:pt x="147391" y="44926"/>
                  </a:cubicBezTo>
                  <a:close/>
                  <a:moveTo>
                    <a:pt x="88395" y="138072"/>
                  </a:moveTo>
                  <a:cubicBezTo>
                    <a:pt x="68265" y="138453"/>
                    <a:pt x="49024" y="129785"/>
                    <a:pt x="35970" y="114456"/>
                  </a:cubicBezTo>
                  <a:cubicBezTo>
                    <a:pt x="33195" y="111359"/>
                    <a:pt x="30722" y="108003"/>
                    <a:pt x="28588" y="104433"/>
                  </a:cubicBezTo>
                  <a:cubicBezTo>
                    <a:pt x="21047" y="92959"/>
                    <a:pt x="19367" y="78597"/>
                    <a:pt x="24057" y="65692"/>
                  </a:cubicBezTo>
                  <a:cubicBezTo>
                    <a:pt x="26545" y="59353"/>
                    <a:pt x="29471" y="53196"/>
                    <a:pt x="32819" y="47267"/>
                  </a:cubicBezTo>
                  <a:cubicBezTo>
                    <a:pt x="38176" y="38290"/>
                    <a:pt x="47335" y="32247"/>
                    <a:pt x="57696" y="30853"/>
                  </a:cubicBezTo>
                  <a:cubicBezTo>
                    <a:pt x="93355" y="22786"/>
                    <a:pt x="128840" y="45005"/>
                    <a:pt x="137159" y="80606"/>
                  </a:cubicBezTo>
                  <a:cubicBezTo>
                    <a:pt x="137753" y="84544"/>
                    <a:pt x="137579" y="88558"/>
                    <a:pt x="136648" y="92430"/>
                  </a:cubicBezTo>
                  <a:cubicBezTo>
                    <a:pt x="133810" y="108512"/>
                    <a:pt x="124810" y="122851"/>
                    <a:pt x="111561" y="132401"/>
                  </a:cubicBezTo>
                  <a:cubicBezTo>
                    <a:pt x="108240" y="134435"/>
                    <a:pt x="104549" y="135791"/>
                    <a:pt x="100698" y="136392"/>
                  </a:cubicBezTo>
                  <a:cubicBezTo>
                    <a:pt x="96629" y="137158"/>
                    <a:pt x="92521" y="137719"/>
                    <a:pt x="88395" y="138072"/>
                  </a:cubicBezTo>
                  <a:close/>
                  <a:moveTo>
                    <a:pt x="90105" y="143204"/>
                  </a:moveTo>
                  <a:cubicBezTo>
                    <a:pt x="82567" y="145546"/>
                    <a:pt x="74669" y="146502"/>
                    <a:pt x="66789" y="146025"/>
                  </a:cubicBezTo>
                  <a:cubicBezTo>
                    <a:pt x="61640" y="145751"/>
                    <a:pt x="56664" y="144058"/>
                    <a:pt x="52415" y="141133"/>
                  </a:cubicBezTo>
                  <a:cubicBezTo>
                    <a:pt x="41951" y="134550"/>
                    <a:pt x="33507" y="125204"/>
                    <a:pt x="28018" y="114126"/>
                  </a:cubicBezTo>
                  <a:lnTo>
                    <a:pt x="27148" y="112295"/>
                  </a:lnTo>
                  <a:cubicBezTo>
                    <a:pt x="41597" y="132600"/>
                    <a:pt x="65328" y="144228"/>
                    <a:pt x="90226" y="143204"/>
                  </a:cubicBezTo>
                  <a:close/>
                  <a:moveTo>
                    <a:pt x="57576" y="25511"/>
                  </a:moveTo>
                  <a:cubicBezTo>
                    <a:pt x="65595" y="21301"/>
                    <a:pt x="74429" y="18884"/>
                    <a:pt x="83474" y="18429"/>
                  </a:cubicBezTo>
                  <a:cubicBezTo>
                    <a:pt x="87975" y="18219"/>
                    <a:pt x="92476" y="18639"/>
                    <a:pt x="97007" y="18879"/>
                  </a:cubicBezTo>
                  <a:cubicBezTo>
                    <a:pt x="98250" y="18982"/>
                    <a:pt x="99462" y="19318"/>
                    <a:pt x="100578" y="19869"/>
                  </a:cubicBezTo>
                  <a:cubicBezTo>
                    <a:pt x="116726" y="27623"/>
                    <a:pt x="129032" y="41607"/>
                    <a:pt x="134668" y="58610"/>
                  </a:cubicBezTo>
                  <a:cubicBezTo>
                    <a:pt x="134692" y="59000"/>
                    <a:pt x="134692" y="59391"/>
                    <a:pt x="134668" y="59781"/>
                  </a:cubicBezTo>
                  <a:cubicBezTo>
                    <a:pt x="118850" y="33150"/>
                    <a:pt x="87942" y="19410"/>
                    <a:pt x="57576" y="25511"/>
                  </a:cubicBezTo>
                  <a:close/>
                  <a:moveTo>
                    <a:pt x="30299" y="36344"/>
                  </a:moveTo>
                  <a:cubicBezTo>
                    <a:pt x="32300" y="33463"/>
                    <a:pt x="34401" y="30612"/>
                    <a:pt x="36601" y="27792"/>
                  </a:cubicBezTo>
                  <a:cubicBezTo>
                    <a:pt x="43151" y="18992"/>
                    <a:pt x="53420" y="13736"/>
                    <a:pt x="64388" y="13568"/>
                  </a:cubicBezTo>
                  <a:cubicBezTo>
                    <a:pt x="68770" y="13298"/>
                    <a:pt x="73211" y="13568"/>
                    <a:pt x="77832" y="13568"/>
                  </a:cubicBezTo>
                  <a:cubicBezTo>
                    <a:pt x="73001" y="14888"/>
                    <a:pt x="68259" y="15968"/>
                    <a:pt x="63668" y="17499"/>
                  </a:cubicBezTo>
                  <a:cubicBezTo>
                    <a:pt x="55956" y="20247"/>
                    <a:pt x="48778" y="24308"/>
                    <a:pt x="42452" y="29502"/>
                  </a:cubicBezTo>
                  <a:cubicBezTo>
                    <a:pt x="38344" y="32774"/>
                    <a:pt x="33990" y="35723"/>
                    <a:pt x="29429" y="38325"/>
                  </a:cubicBezTo>
                  <a:cubicBezTo>
                    <a:pt x="29669" y="37644"/>
                    <a:pt x="29960" y="36982"/>
                    <a:pt x="30299" y="36344"/>
                  </a:cubicBezTo>
                  <a:close/>
                  <a:moveTo>
                    <a:pt x="28108" y="29172"/>
                  </a:moveTo>
                  <a:lnTo>
                    <a:pt x="19106" y="47957"/>
                  </a:lnTo>
                  <a:lnTo>
                    <a:pt x="18836" y="48407"/>
                  </a:lnTo>
                  <a:cubicBezTo>
                    <a:pt x="13650" y="54469"/>
                    <a:pt x="9374" y="61252"/>
                    <a:pt x="6142" y="68543"/>
                  </a:cubicBezTo>
                  <a:cubicBezTo>
                    <a:pt x="8534" y="53220"/>
                    <a:pt x="16327" y="39256"/>
                    <a:pt x="28108" y="29172"/>
                  </a:cubicBezTo>
                  <a:close/>
                  <a:moveTo>
                    <a:pt x="6502" y="92790"/>
                  </a:moveTo>
                  <a:cubicBezTo>
                    <a:pt x="6439" y="88448"/>
                    <a:pt x="6964" y="84117"/>
                    <a:pt x="8063" y="79916"/>
                  </a:cubicBezTo>
                  <a:cubicBezTo>
                    <a:pt x="9419" y="73495"/>
                    <a:pt x="11976" y="67387"/>
                    <a:pt x="15595" y="61911"/>
                  </a:cubicBezTo>
                  <a:cubicBezTo>
                    <a:pt x="14763" y="73594"/>
                    <a:pt x="15370" y="85335"/>
                    <a:pt x="17395" y="96871"/>
                  </a:cubicBezTo>
                  <a:cubicBezTo>
                    <a:pt x="19646" y="111783"/>
                    <a:pt x="26818" y="125515"/>
                    <a:pt x="37771" y="135882"/>
                  </a:cubicBezTo>
                  <a:lnTo>
                    <a:pt x="39001" y="137172"/>
                  </a:lnTo>
                  <a:lnTo>
                    <a:pt x="38761" y="137502"/>
                  </a:lnTo>
                  <a:cubicBezTo>
                    <a:pt x="37351" y="136632"/>
                    <a:pt x="35760" y="135852"/>
                    <a:pt x="34560" y="134922"/>
                  </a:cubicBezTo>
                  <a:cubicBezTo>
                    <a:pt x="27802" y="130615"/>
                    <a:pt x="21944" y="125041"/>
                    <a:pt x="17305" y="118507"/>
                  </a:cubicBezTo>
                  <a:cubicBezTo>
                    <a:pt x="11583" y="111012"/>
                    <a:pt x="7862" y="102182"/>
                    <a:pt x="6502" y="92850"/>
                  </a:cubicBezTo>
                  <a:close/>
                  <a:moveTo>
                    <a:pt x="9293" y="115266"/>
                  </a:moveTo>
                  <a:cubicBezTo>
                    <a:pt x="11243" y="118057"/>
                    <a:pt x="13044" y="120908"/>
                    <a:pt x="15115" y="123518"/>
                  </a:cubicBezTo>
                  <a:cubicBezTo>
                    <a:pt x="25293" y="136611"/>
                    <a:pt x="39694" y="145772"/>
                    <a:pt x="55866" y="149446"/>
                  </a:cubicBezTo>
                  <a:cubicBezTo>
                    <a:pt x="60667" y="150586"/>
                    <a:pt x="65259" y="152687"/>
                    <a:pt x="70030" y="153947"/>
                  </a:cubicBezTo>
                  <a:cubicBezTo>
                    <a:pt x="80698" y="156725"/>
                    <a:pt x="91867" y="156971"/>
                    <a:pt x="102649" y="154667"/>
                  </a:cubicBezTo>
                  <a:cubicBezTo>
                    <a:pt x="70237" y="171366"/>
                    <a:pt x="30425" y="158628"/>
                    <a:pt x="13725" y="126216"/>
                  </a:cubicBezTo>
                  <a:cubicBezTo>
                    <a:pt x="11928" y="122725"/>
                    <a:pt x="10442" y="119080"/>
                    <a:pt x="9293" y="115326"/>
                  </a:cubicBezTo>
                  <a:close/>
                  <a:moveTo>
                    <a:pt x="113662" y="146205"/>
                  </a:moveTo>
                  <a:cubicBezTo>
                    <a:pt x="103615" y="150311"/>
                    <a:pt x="92716" y="151907"/>
                    <a:pt x="81913" y="150856"/>
                  </a:cubicBezTo>
                  <a:cubicBezTo>
                    <a:pt x="90748" y="149281"/>
                    <a:pt x="99258" y="146238"/>
                    <a:pt x="107090" y="141854"/>
                  </a:cubicBezTo>
                  <a:cubicBezTo>
                    <a:pt x="114772" y="137502"/>
                    <a:pt x="122485" y="133241"/>
                    <a:pt x="130527" y="128740"/>
                  </a:cubicBezTo>
                  <a:cubicBezTo>
                    <a:pt x="125755" y="135522"/>
                    <a:pt x="121974" y="142784"/>
                    <a:pt x="113662" y="146205"/>
                  </a:cubicBezTo>
                  <a:close/>
                  <a:moveTo>
                    <a:pt x="129416" y="122198"/>
                  </a:moveTo>
                  <a:lnTo>
                    <a:pt x="137969" y="107194"/>
                  </a:lnTo>
                  <a:cubicBezTo>
                    <a:pt x="138071" y="113381"/>
                    <a:pt x="134791" y="119132"/>
                    <a:pt x="129416" y="122198"/>
                  </a:cubicBezTo>
                  <a:close/>
                  <a:moveTo>
                    <a:pt x="135598" y="130900"/>
                  </a:moveTo>
                  <a:cubicBezTo>
                    <a:pt x="139901" y="120701"/>
                    <a:pt x="145336" y="111018"/>
                    <a:pt x="151803" y="102032"/>
                  </a:cubicBezTo>
                  <a:cubicBezTo>
                    <a:pt x="149030" y="112885"/>
                    <a:pt x="143439" y="122812"/>
                    <a:pt x="135598" y="130810"/>
                  </a:cubicBezTo>
                  <a:close/>
                  <a:moveTo>
                    <a:pt x="151413" y="86788"/>
                  </a:moveTo>
                  <a:cubicBezTo>
                    <a:pt x="150026" y="93082"/>
                    <a:pt x="147635" y="99110"/>
                    <a:pt x="144331" y="104643"/>
                  </a:cubicBezTo>
                  <a:cubicBezTo>
                    <a:pt x="143941" y="97741"/>
                    <a:pt x="143550" y="90509"/>
                    <a:pt x="143070" y="83277"/>
                  </a:cubicBezTo>
                  <a:cubicBezTo>
                    <a:pt x="142902" y="77169"/>
                    <a:pt x="142371" y="71077"/>
                    <a:pt x="141480" y="65032"/>
                  </a:cubicBezTo>
                  <a:cubicBezTo>
                    <a:pt x="138794" y="51158"/>
                    <a:pt x="131898" y="38449"/>
                    <a:pt x="121734" y="28632"/>
                  </a:cubicBezTo>
                  <a:cubicBezTo>
                    <a:pt x="121245" y="28181"/>
                    <a:pt x="120828" y="27654"/>
                    <a:pt x="120504" y="27072"/>
                  </a:cubicBezTo>
                  <a:cubicBezTo>
                    <a:pt x="128141" y="31198"/>
                    <a:pt x="134836" y="36870"/>
                    <a:pt x="140159" y="43726"/>
                  </a:cubicBezTo>
                  <a:cubicBezTo>
                    <a:pt x="145360" y="50497"/>
                    <a:pt x="149294" y="58152"/>
                    <a:pt x="151773" y="66322"/>
                  </a:cubicBezTo>
                  <a:cubicBezTo>
                    <a:pt x="153531" y="73048"/>
                    <a:pt x="153408" y="80128"/>
                    <a:pt x="151413" y="86788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51" name="Graphic 13">
            <a:extLst>
              <a:ext uri="{FF2B5EF4-FFF2-40B4-BE49-F238E27FC236}">
                <a16:creationId xmlns:a16="http://schemas.microsoft.com/office/drawing/2014/main" id="{10B7A61D-428E-C747-9A66-3C1B3F172FCB}"/>
              </a:ext>
            </a:extLst>
          </p:cNvPr>
          <p:cNvGrpSpPr/>
          <p:nvPr userDrawn="1"/>
        </p:nvGrpSpPr>
        <p:grpSpPr>
          <a:xfrm>
            <a:off x="6597382" y="642127"/>
            <a:ext cx="283752" cy="297872"/>
            <a:chOff x="8821187" y="350103"/>
            <a:chExt cx="396147" cy="424925"/>
          </a:xfrm>
          <a:solidFill>
            <a:schemeClr val="bg1"/>
          </a:solidFill>
        </p:grpSpPr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29779140-AA8E-1D4A-8126-3A90E06D8536}"/>
                </a:ext>
              </a:extLst>
            </p:cNvPr>
            <p:cNvSpPr/>
            <p:nvPr/>
          </p:nvSpPr>
          <p:spPr>
            <a:xfrm>
              <a:off x="8836929" y="468028"/>
              <a:ext cx="348742" cy="307000"/>
            </a:xfrm>
            <a:custGeom>
              <a:avLst/>
              <a:gdLst>
                <a:gd name="connsiteX0" fmla="*/ 331651 w 348742"/>
                <a:gd name="connsiteY0" fmla="*/ 51756 h 307000"/>
                <a:gd name="connsiteX1" fmla="*/ 322986 w 348742"/>
                <a:gd name="connsiteY1" fmla="*/ 56009 h 307000"/>
                <a:gd name="connsiteX2" fmla="*/ 339030 w 348742"/>
                <a:gd name="connsiteY2" fmla="*/ 128673 h 307000"/>
                <a:gd name="connsiteX3" fmla="*/ 339030 w 348742"/>
                <a:gd name="connsiteY3" fmla="*/ 130345 h 307000"/>
                <a:gd name="connsiteX4" fmla="*/ 332024 w 348742"/>
                <a:gd name="connsiteY4" fmla="*/ 131086 h 307000"/>
                <a:gd name="connsiteX5" fmla="*/ 330997 w 348742"/>
                <a:gd name="connsiteY5" fmla="*/ 131086 h 307000"/>
                <a:gd name="connsiteX6" fmla="*/ 327750 w 348742"/>
                <a:gd name="connsiteY6" fmla="*/ 131230 h 307000"/>
                <a:gd name="connsiteX7" fmla="*/ 309791 w 348742"/>
                <a:gd name="connsiteY7" fmla="*/ 143846 h 307000"/>
                <a:gd name="connsiteX8" fmla="*/ 308974 w 348742"/>
                <a:gd name="connsiteY8" fmla="*/ 145757 h 307000"/>
                <a:gd name="connsiteX9" fmla="*/ 290921 w 348742"/>
                <a:gd name="connsiteY9" fmla="*/ 157705 h 307000"/>
                <a:gd name="connsiteX10" fmla="*/ 277119 w 348742"/>
                <a:gd name="connsiteY10" fmla="*/ 157705 h 307000"/>
                <a:gd name="connsiteX11" fmla="*/ 268781 w 348742"/>
                <a:gd name="connsiteY11" fmla="*/ 149987 h 307000"/>
                <a:gd name="connsiteX12" fmla="*/ 268221 w 348742"/>
                <a:gd name="connsiteY12" fmla="*/ 144348 h 307000"/>
                <a:gd name="connsiteX13" fmla="*/ 258879 w 348742"/>
                <a:gd name="connsiteY13" fmla="*/ 128792 h 307000"/>
                <a:gd name="connsiteX14" fmla="*/ 254372 w 348742"/>
                <a:gd name="connsiteY14" fmla="*/ 120286 h 307000"/>
                <a:gd name="connsiteX15" fmla="*/ 254372 w 348742"/>
                <a:gd name="connsiteY15" fmla="*/ 114647 h 307000"/>
                <a:gd name="connsiteX16" fmla="*/ 258693 w 348742"/>
                <a:gd name="connsiteY16" fmla="*/ 104826 h 307000"/>
                <a:gd name="connsiteX17" fmla="*/ 282257 w 348742"/>
                <a:gd name="connsiteY17" fmla="*/ 83536 h 307000"/>
                <a:gd name="connsiteX18" fmla="*/ 288492 w 348742"/>
                <a:gd name="connsiteY18" fmla="*/ 61003 h 307000"/>
                <a:gd name="connsiteX19" fmla="*/ 270416 w 348742"/>
                <a:gd name="connsiteY19" fmla="*/ 45424 h 307000"/>
                <a:gd name="connsiteX20" fmla="*/ 268081 w 348742"/>
                <a:gd name="connsiteY20" fmla="*/ 45137 h 307000"/>
                <a:gd name="connsiteX21" fmla="*/ 259487 w 348742"/>
                <a:gd name="connsiteY21" fmla="*/ 40358 h 307000"/>
                <a:gd name="connsiteX22" fmla="*/ 258482 w 348742"/>
                <a:gd name="connsiteY22" fmla="*/ 30275 h 307000"/>
                <a:gd name="connsiteX23" fmla="*/ 272938 w 348742"/>
                <a:gd name="connsiteY23" fmla="*/ 4970 h 307000"/>
                <a:gd name="connsiteX24" fmla="*/ 264648 w 348742"/>
                <a:gd name="connsiteY24" fmla="*/ 0 h 307000"/>
                <a:gd name="connsiteX25" fmla="*/ 250145 w 348742"/>
                <a:gd name="connsiteY25" fmla="*/ 25472 h 307000"/>
                <a:gd name="connsiteX26" fmla="*/ 252247 w 348742"/>
                <a:gd name="connsiteY26" fmla="*/ 46977 h 307000"/>
                <a:gd name="connsiteX27" fmla="*/ 266890 w 348742"/>
                <a:gd name="connsiteY27" fmla="*/ 54910 h 307000"/>
                <a:gd name="connsiteX28" fmla="*/ 269225 w 348742"/>
                <a:gd name="connsiteY28" fmla="*/ 55221 h 307000"/>
                <a:gd name="connsiteX29" fmla="*/ 279291 w 348742"/>
                <a:gd name="connsiteY29" fmla="*/ 63870 h 307000"/>
                <a:gd name="connsiteX30" fmla="*/ 275881 w 348742"/>
                <a:gd name="connsiteY30" fmla="*/ 76176 h 307000"/>
                <a:gd name="connsiteX31" fmla="*/ 252317 w 348742"/>
                <a:gd name="connsiteY31" fmla="*/ 97466 h 307000"/>
                <a:gd name="connsiteX32" fmla="*/ 244750 w 348742"/>
                <a:gd name="connsiteY32" fmla="*/ 114671 h 307000"/>
                <a:gd name="connsiteX33" fmla="*/ 244750 w 348742"/>
                <a:gd name="connsiteY33" fmla="*/ 120310 h 307000"/>
                <a:gd name="connsiteX34" fmla="*/ 253671 w 348742"/>
                <a:gd name="connsiteY34" fmla="*/ 137036 h 307000"/>
                <a:gd name="connsiteX35" fmla="*/ 258622 w 348742"/>
                <a:gd name="connsiteY35" fmla="*/ 145280 h 307000"/>
                <a:gd name="connsiteX36" fmla="*/ 259160 w 348742"/>
                <a:gd name="connsiteY36" fmla="*/ 150943 h 307000"/>
                <a:gd name="connsiteX37" fmla="*/ 277072 w 348742"/>
                <a:gd name="connsiteY37" fmla="*/ 167526 h 307000"/>
                <a:gd name="connsiteX38" fmla="*/ 290758 w 348742"/>
                <a:gd name="connsiteY38" fmla="*/ 167526 h 307000"/>
                <a:gd name="connsiteX39" fmla="*/ 317615 w 348742"/>
                <a:gd name="connsiteY39" fmla="*/ 149581 h 307000"/>
                <a:gd name="connsiteX40" fmla="*/ 318432 w 348742"/>
                <a:gd name="connsiteY40" fmla="*/ 147645 h 307000"/>
                <a:gd name="connsiteX41" fmla="*/ 328031 w 348742"/>
                <a:gd name="connsiteY41" fmla="*/ 140907 h 307000"/>
                <a:gd name="connsiteX42" fmla="*/ 331277 w 348742"/>
                <a:gd name="connsiteY42" fmla="*/ 140763 h 307000"/>
                <a:gd name="connsiteX43" fmla="*/ 332842 w 348742"/>
                <a:gd name="connsiteY43" fmla="*/ 140763 h 307000"/>
                <a:gd name="connsiteX44" fmla="*/ 338587 w 348742"/>
                <a:gd name="connsiteY44" fmla="*/ 140166 h 307000"/>
                <a:gd name="connsiteX45" fmla="*/ 162775 w 348742"/>
                <a:gd name="connsiteY45" fmla="*/ 296624 h 307000"/>
                <a:gd name="connsiteX46" fmla="*/ 9857 w 348742"/>
                <a:gd name="connsiteY46" fmla="*/ 116742 h 307000"/>
                <a:gd name="connsiteX47" fmla="*/ 13125 w 348742"/>
                <a:gd name="connsiteY47" fmla="*/ 93094 h 307000"/>
                <a:gd name="connsiteX48" fmla="*/ 22116 w 348742"/>
                <a:gd name="connsiteY48" fmla="*/ 91278 h 307000"/>
                <a:gd name="connsiteX49" fmla="*/ 42714 w 348742"/>
                <a:gd name="connsiteY49" fmla="*/ 100836 h 307000"/>
                <a:gd name="connsiteX50" fmla="*/ 49720 w 348742"/>
                <a:gd name="connsiteY50" fmla="*/ 109915 h 307000"/>
                <a:gd name="connsiteX51" fmla="*/ 62799 w 348742"/>
                <a:gd name="connsiteY51" fmla="*/ 122532 h 307000"/>
                <a:gd name="connsiteX52" fmla="*/ 75153 w 348742"/>
                <a:gd name="connsiteY52" fmla="*/ 129700 h 307000"/>
                <a:gd name="connsiteX53" fmla="*/ 76671 w 348742"/>
                <a:gd name="connsiteY53" fmla="*/ 130130 h 307000"/>
                <a:gd name="connsiteX54" fmla="*/ 88511 w 348742"/>
                <a:gd name="connsiteY54" fmla="*/ 142078 h 307000"/>
                <a:gd name="connsiteX55" fmla="*/ 95518 w 348742"/>
                <a:gd name="connsiteY55" fmla="*/ 167980 h 307000"/>
                <a:gd name="connsiteX56" fmla="*/ 101310 w 348742"/>
                <a:gd name="connsiteY56" fmla="*/ 179927 h 307000"/>
                <a:gd name="connsiteX57" fmla="*/ 122562 w 348742"/>
                <a:gd name="connsiteY57" fmla="*/ 208457 h 307000"/>
                <a:gd name="connsiteX58" fmla="*/ 125878 w 348742"/>
                <a:gd name="connsiteY58" fmla="*/ 216247 h 307000"/>
                <a:gd name="connsiteX59" fmla="*/ 131670 w 348742"/>
                <a:gd name="connsiteY59" fmla="*/ 251898 h 307000"/>
                <a:gd name="connsiteX60" fmla="*/ 148332 w 348742"/>
                <a:gd name="connsiteY60" fmla="*/ 264134 h 307000"/>
                <a:gd name="connsiteX61" fmla="*/ 148345 w 348742"/>
                <a:gd name="connsiteY61" fmla="*/ 264132 h 307000"/>
                <a:gd name="connsiteX62" fmla="*/ 151638 w 348742"/>
                <a:gd name="connsiteY62" fmla="*/ 263152 h 307000"/>
                <a:gd name="connsiteX63" fmla="*/ 163315 w 348742"/>
                <a:gd name="connsiteY63" fmla="*/ 246904 h 307000"/>
                <a:gd name="connsiteX64" fmla="*/ 169293 w 348742"/>
                <a:gd name="connsiteY64" fmla="*/ 232376 h 307000"/>
                <a:gd name="connsiteX65" fmla="*/ 175435 w 348742"/>
                <a:gd name="connsiteY65" fmla="*/ 224777 h 307000"/>
                <a:gd name="connsiteX66" fmla="*/ 179662 w 348742"/>
                <a:gd name="connsiteY66" fmla="*/ 216844 h 307000"/>
                <a:gd name="connsiteX67" fmla="*/ 185991 w 348742"/>
                <a:gd name="connsiteY67" fmla="*/ 195817 h 307000"/>
                <a:gd name="connsiteX68" fmla="*/ 193254 w 348742"/>
                <a:gd name="connsiteY68" fmla="*/ 185112 h 307000"/>
                <a:gd name="connsiteX69" fmla="*/ 212265 w 348742"/>
                <a:gd name="connsiteY69" fmla="*/ 170178 h 307000"/>
                <a:gd name="connsiteX70" fmla="*/ 215231 w 348742"/>
                <a:gd name="connsiteY70" fmla="*/ 147167 h 307000"/>
                <a:gd name="connsiteX71" fmla="*/ 214717 w 348742"/>
                <a:gd name="connsiteY71" fmla="*/ 146522 h 307000"/>
                <a:gd name="connsiteX72" fmla="*/ 207547 w 348742"/>
                <a:gd name="connsiteY72" fmla="*/ 138016 h 307000"/>
                <a:gd name="connsiteX73" fmla="*/ 205585 w 348742"/>
                <a:gd name="connsiteY73" fmla="*/ 150847 h 307000"/>
                <a:gd name="connsiteX74" fmla="*/ 207407 w 348742"/>
                <a:gd name="connsiteY74" fmla="*/ 153021 h 307000"/>
                <a:gd name="connsiteX75" fmla="*/ 208902 w 348742"/>
                <a:gd name="connsiteY75" fmla="*/ 157968 h 307000"/>
                <a:gd name="connsiteX76" fmla="*/ 206426 w 348742"/>
                <a:gd name="connsiteY76" fmla="*/ 162508 h 307000"/>
                <a:gd name="connsiteX77" fmla="*/ 187463 w 348742"/>
                <a:gd name="connsiteY77" fmla="*/ 177442 h 307000"/>
                <a:gd name="connsiteX78" fmla="*/ 176837 w 348742"/>
                <a:gd name="connsiteY78" fmla="*/ 193045 h 307000"/>
                <a:gd name="connsiteX79" fmla="*/ 170508 w 348742"/>
                <a:gd name="connsiteY79" fmla="*/ 214072 h 307000"/>
                <a:gd name="connsiteX80" fmla="*/ 168172 w 348742"/>
                <a:gd name="connsiteY80" fmla="*/ 218612 h 307000"/>
                <a:gd name="connsiteX81" fmla="*/ 162007 w 348742"/>
                <a:gd name="connsiteY81" fmla="*/ 226211 h 307000"/>
                <a:gd name="connsiteX82" fmla="*/ 153856 w 348742"/>
                <a:gd name="connsiteY82" fmla="*/ 245996 h 307000"/>
                <a:gd name="connsiteX83" fmla="*/ 147924 w 348742"/>
                <a:gd name="connsiteY83" fmla="*/ 254215 h 307000"/>
                <a:gd name="connsiteX84" fmla="*/ 141457 w 348742"/>
                <a:gd name="connsiteY84" fmla="*/ 251470 h 307000"/>
                <a:gd name="connsiteX85" fmla="*/ 141455 w 348742"/>
                <a:gd name="connsiteY85" fmla="*/ 251467 h 307000"/>
                <a:gd name="connsiteX86" fmla="*/ 141152 w 348742"/>
                <a:gd name="connsiteY86" fmla="*/ 250392 h 307000"/>
                <a:gd name="connsiteX87" fmla="*/ 135360 w 348742"/>
                <a:gd name="connsiteY87" fmla="*/ 214765 h 307000"/>
                <a:gd name="connsiteX88" fmla="*/ 130222 w 348742"/>
                <a:gd name="connsiteY88" fmla="*/ 202627 h 307000"/>
                <a:gd name="connsiteX89" fmla="*/ 109203 w 348742"/>
                <a:gd name="connsiteY89" fmla="*/ 173953 h 307000"/>
                <a:gd name="connsiteX90" fmla="*/ 105046 w 348742"/>
                <a:gd name="connsiteY90" fmla="*/ 165351 h 307000"/>
                <a:gd name="connsiteX91" fmla="*/ 98040 w 348742"/>
                <a:gd name="connsiteY91" fmla="*/ 139449 h 307000"/>
                <a:gd name="connsiteX92" fmla="*/ 79357 w 348742"/>
                <a:gd name="connsiteY92" fmla="*/ 120501 h 307000"/>
                <a:gd name="connsiteX93" fmla="*/ 77699 w 348742"/>
                <a:gd name="connsiteY93" fmla="*/ 120166 h 307000"/>
                <a:gd name="connsiteX94" fmla="*/ 69408 w 348742"/>
                <a:gd name="connsiteY94" fmla="*/ 115387 h 307000"/>
                <a:gd name="connsiteX95" fmla="*/ 56306 w 348742"/>
                <a:gd name="connsiteY95" fmla="*/ 102771 h 307000"/>
                <a:gd name="connsiteX96" fmla="*/ 50982 w 348742"/>
                <a:gd name="connsiteY96" fmla="*/ 95913 h 307000"/>
                <a:gd name="connsiteX97" fmla="*/ 20224 w 348742"/>
                <a:gd name="connsiteY97" fmla="*/ 81576 h 307000"/>
                <a:gd name="connsiteX98" fmla="*/ 15553 w 348742"/>
                <a:gd name="connsiteY98" fmla="*/ 82508 h 307000"/>
                <a:gd name="connsiteX99" fmla="*/ 35685 w 348742"/>
                <a:gd name="connsiteY99" fmla="*/ 37108 h 307000"/>
                <a:gd name="connsiteX100" fmla="*/ 29192 w 348742"/>
                <a:gd name="connsiteY100" fmla="*/ 29797 h 307000"/>
                <a:gd name="connsiteX101" fmla="*/ 77828 w 348742"/>
                <a:gd name="connsiteY101" fmla="*/ 277133 h 307000"/>
                <a:gd name="connsiteX102" fmla="*/ 319567 w 348742"/>
                <a:gd name="connsiteY102" fmla="*/ 227372 h 307000"/>
                <a:gd name="connsiteX103" fmla="*/ 331744 w 348742"/>
                <a:gd name="connsiteY103" fmla="*/ 51756 h 30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348742" h="307000">
                  <a:moveTo>
                    <a:pt x="331651" y="51756"/>
                  </a:moveTo>
                  <a:lnTo>
                    <a:pt x="322986" y="56009"/>
                  </a:lnTo>
                  <a:cubicBezTo>
                    <a:pt x="333612" y="78686"/>
                    <a:pt x="339098" y="103525"/>
                    <a:pt x="339030" y="128673"/>
                  </a:cubicBezTo>
                  <a:lnTo>
                    <a:pt x="339030" y="130345"/>
                  </a:lnTo>
                  <a:lnTo>
                    <a:pt x="332024" y="131086"/>
                  </a:lnTo>
                  <a:lnTo>
                    <a:pt x="330997" y="131086"/>
                  </a:lnTo>
                  <a:lnTo>
                    <a:pt x="327750" y="131230"/>
                  </a:lnTo>
                  <a:cubicBezTo>
                    <a:pt x="319894" y="131564"/>
                    <a:pt x="312918" y="136465"/>
                    <a:pt x="309791" y="143846"/>
                  </a:cubicBezTo>
                  <a:lnTo>
                    <a:pt x="308974" y="145757"/>
                  </a:lnTo>
                  <a:cubicBezTo>
                    <a:pt x="305800" y="153048"/>
                    <a:pt x="298721" y="157733"/>
                    <a:pt x="290921" y="157705"/>
                  </a:cubicBezTo>
                  <a:lnTo>
                    <a:pt x="277119" y="157705"/>
                  </a:lnTo>
                  <a:cubicBezTo>
                    <a:pt x="272808" y="157724"/>
                    <a:pt x="269193" y="154379"/>
                    <a:pt x="268781" y="149987"/>
                  </a:cubicBezTo>
                  <a:lnTo>
                    <a:pt x="268221" y="144348"/>
                  </a:lnTo>
                  <a:cubicBezTo>
                    <a:pt x="267607" y="137970"/>
                    <a:pt x="264164" y="132233"/>
                    <a:pt x="258879" y="128792"/>
                  </a:cubicBezTo>
                  <a:cubicBezTo>
                    <a:pt x="256051" y="126933"/>
                    <a:pt x="254351" y="123724"/>
                    <a:pt x="254372" y="120286"/>
                  </a:cubicBezTo>
                  <a:lnTo>
                    <a:pt x="254372" y="114647"/>
                  </a:lnTo>
                  <a:cubicBezTo>
                    <a:pt x="254370" y="110891"/>
                    <a:pt x="255941" y="107314"/>
                    <a:pt x="258693" y="104826"/>
                  </a:cubicBezTo>
                  <a:lnTo>
                    <a:pt x="282257" y="83536"/>
                  </a:lnTo>
                  <a:cubicBezTo>
                    <a:pt x="288469" y="77923"/>
                    <a:pt x="290907" y="69115"/>
                    <a:pt x="288492" y="61003"/>
                  </a:cubicBezTo>
                  <a:cubicBezTo>
                    <a:pt x="286007" y="52610"/>
                    <a:pt x="278922" y="46503"/>
                    <a:pt x="270416" y="45424"/>
                  </a:cubicBezTo>
                  <a:lnTo>
                    <a:pt x="268081" y="45137"/>
                  </a:lnTo>
                  <a:cubicBezTo>
                    <a:pt x="264739" y="44677"/>
                    <a:pt x="261682" y="42976"/>
                    <a:pt x="259487" y="40358"/>
                  </a:cubicBezTo>
                  <a:cubicBezTo>
                    <a:pt x="257095" y="37555"/>
                    <a:pt x="256693" y="33513"/>
                    <a:pt x="258482" y="30275"/>
                  </a:cubicBezTo>
                  <a:lnTo>
                    <a:pt x="272938" y="4970"/>
                  </a:lnTo>
                  <a:lnTo>
                    <a:pt x="264648" y="0"/>
                  </a:lnTo>
                  <a:lnTo>
                    <a:pt x="250145" y="25472"/>
                  </a:lnTo>
                  <a:cubicBezTo>
                    <a:pt x="246313" y="32370"/>
                    <a:pt x="247153" y="40992"/>
                    <a:pt x="252247" y="46977"/>
                  </a:cubicBezTo>
                  <a:cubicBezTo>
                    <a:pt x="256007" y="51374"/>
                    <a:pt x="261222" y="54199"/>
                    <a:pt x="266890" y="54910"/>
                  </a:cubicBezTo>
                  <a:lnTo>
                    <a:pt x="269225" y="55221"/>
                  </a:lnTo>
                  <a:cubicBezTo>
                    <a:pt x="273957" y="55813"/>
                    <a:pt x="277904" y="59204"/>
                    <a:pt x="279291" y="63870"/>
                  </a:cubicBezTo>
                  <a:cubicBezTo>
                    <a:pt x="280578" y="68302"/>
                    <a:pt x="279249" y="73095"/>
                    <a:pt x="275881" y="76176"/>
                  </a:cubicBezTo>
                  <a:lnTo>
                    <a:pt x="252317" y="97466"/>
                  </a:lnTo>
                  <a:cubicBezTo>
                    <a:pt x="247506" y="101829"/>
                    <a:pt x="244750" y="108092"/>
                    <a:pt x="244750" y="114671"/>
                  </a:cubicBezTo>
                  <a:lnTo>
                    <a:pt x="244750" y="120310"/>
                  </a:lnTo>
                  <a:cubicBezTo>
                    <a:pt x="244748" y="127074"/>
                    <a:pt x="248111" y="133378"/>
                    <a:pt x="253671" y="137036"/>
                  </a:cubicBezTo>
                  <a:cubicBezTo>
                    <a:pt x="256467" y="138866"/>
                    <a:pt x="258288" y="141903"/>
                    <a:pt x="258622" y="145280"/>
                  </a:cubicBezTo>
                  <a:lnTo>
                    <a:pt x="259160" y="150943"/>
                  </a:lnTo>
                  <a:cubicBezTo>
                    <a:pt x="260073" y="160362"/>
                    <a:pt x="267822" y="167535"/>
                    <a:pt x="277072" y="167526"/>
                  </a:cubicBezTo>
                  <a:lnTo>
                    <a:pt x="290758" y="167526"/>
                  </a:lnTo>
                  <a:cubicBezTo>
                    <a:pt x="302393" y="167506"/>
                    <a:pt x="312921" y="160472"/>
                    <a:pt x="317615" y="149581"/>
                  </a:cubicBezTo>
                  <a:lnTo>
                    <a:pt x="318432" y="147645"/>
                  </a:lnTo>
                  <a:cubicBezTo>
                    <a:pt x="320109" y="143705"/>
                    <a:pt x="323834" y="141088"/>
                    <a:pt x="328031" y="140907"/>
                  </a:cubicBezTo>
                  <a:lnTo>
                    <a:pt x="331277" y="140763"/>
                  </a:lnTo>
                  <a:lnTo>
                    <a:pt x="332842" y="140763"/>
                  </a:lnTo>
                  <a:lnTo>
                    <a:pt x="338587" y="140166"/>
                  </a:lnTo>
                  <a:cubicBezTo>
                    <a:pt x="332265" y="233045"/>
                    <a:pt x="253552" y="303092"/>
                    <a:pt x="162775" y="296624"/>
                  </a:cubicBezTo>
                  <a:cubicBezTo>
                    <a:pt x="71999" y="290155"/>
                    <a:pt x="3535" y="209621"/>
                    <a:pt x="9857" y="116742"/>
                  </a:cubicBezTo>
                  <a:cubicBezTo>
                    <a:pt x="10398" y="108790"/>
                    <a:pt x="11490" y="100888"/>
                    <a:pt x="13125" y="93094"/>
                  </a:cubicBezTo>
                  <a:lnTo>
                    <a:pt x="22116" y="91278"/>
                  </a:lnTo>
                  <a:cubicBezTo>
                    <a:pt x="30273" y="89633"/>
                    <a:pt x="38549" y="93474"/>
                    <a:pt x="42714" y="100836"/>
                  </a:cubicBezTo>
                  <a:cubicBezTo>
                    <a:pt x="44600" y="104198"/>
                    <a:pt x="46961" y="107258"/>
                    <a:pt x="49720" y="109915"/>
                  </a:cubicBezTo>
                  <a:lnTo>
                    <a:pt x="62799" y="122532"/>
                  </a:lnTo>
                  <a:cubicBezTo>
                    <a:pt x="66279" y="125923"/>
                    <a:pt x="70522" y="128386"/>
                    <a:pt x="75153" y="129700"/>
                  </a:cubicBezTo>
                  <a:lnTo>
                    <a:pt x="76671" y="130130"/>
                  </a:lnTo>
                  <a:cubicBezTo>
                    <a:pt x="82392" y="131715"/>
                    <a:pt x="86884" y="136247"/>
                    <a:pt x="88511" y="142078"/>
                  </a:cubicBezTo>
                  <a:lnTo>
                    <a:pt x="95518" y="167980"/>
                  </a:lnTo>
                  <a:cubicBezTo>
                    <a:pt x="96682" y="172304"/>
                    <a:pt x="98649" y="176362"/>
                    <a:pt x="101310" y="179927"/>
                  </a:cubicBezTo>
                  <a:lnTo>
                    <a:pt x="122562" y="208457"/>
                  </a:lnTo>
                  <a:cubicBezTo>
                    <a:pt x="124270" y="210739"/>
                    <a:pt x="125408" y="213413"/>
                    <a:pt x="125878" y="216247"/>
                  </a:cubicBezTo>
                  <a:lnTo>
                    <a:pt x="131670" y="251898"/>
                  </a:lnTo>
                  <a:cubicBezTo>
                    <a:pt x="132969" y="259984"/>
                    <a:pt x="140429" y="265463"/>
                    <a:pt x="148332" y="264134"/>
                  </a:cubicBezTo>
                  <a:cubicBezTo>
                    <a:pt x="148336" y="264134"/>
                    <a:pt x="148341" y="264132"/>
                    <a:pt x="148345" y="264132"/>
                  </a:cubicBezTo>
                  <a:cubicBezTo>
                    <a:pt x="149476" y="263936"/>
                    <a:pt x="150581" y="263608"/>
                    <a:pt x="151638" y="263152"/>
                  </a:cubicBezTo>
                  <a:cubicBezTo>
                    <a:pt x="158132" y="260316"/>
                    <a:pt x="162605" y="254091"/>
                    <a:pt x="163315" y="246904"/>
                  </a:cubicBezTo>
                  <a:cubicBezTo>
                    <a:pt x="163849" y="241561"/>
                    <a:pt x="165931" y="236502"/>
                    <a:pt x="169293" y="232376"/>
                  </a:cubicBezTo>
                  <a:lnTo>
                    <a:pt x="175435" y="224777"/>
                  </a:lnTo>
                  <a:cubicBezTo>
                    <a:pt x="177344" y="222445"/>
                    <a:pt x="178781" y="219750"/>
                    <a:pt x="179662" y="216844"/>
                  </a:cubicBezTo>
                  <a:lnTo>
                    <a:pt x="185991" y="195817"/>
                  </a:lnTo>
                  <a:cubicBezTo>
                    <a:pt x="187256" y="191559"/>
                    <a:pt x="189797" y="187814"/>
                    <a:pt x="193254" y="185112"/>
                  </a:cubicBezTo>
                  <a:lnTo>
                    <a:pt x="212265" y="170178"/>
                  </a:lnTo>
                  <a:cubicBezTo>
                    <a:pt x="219292" y="164661"/>
                    <a:pt x="220621" y="154360"/>
                    <a:pt x="215231" y="147167"/>
                  </a:cubicBezTo>
                  <a:lnTo>
                    <a:pt x="214717" y="146522"/>
                  </a:lnTo>
                  <a:lnTo>
                    <a:pt x="207547" y="138016"/>
                  </a:lnTo>
                  <a:cubicBezTo>
                    <a:pt x="208299" y="142398"/>
                    <a:pt x="207609" y="146909"/>
                    <a:pt x="205585" y="150847"/>
                  </a:cubicBezTo>
                  <a:lnTo>
                    <a:pt x="207407" y="153021"/>
                  </a:lnTo>
                  <a:cubicBezTo>
                    <a:pt x="208551" y="154388"/>
                    <a:pt x="209092" y="156178"/>
                    <a:pt x="208902" y="157968"/>
                  </a:cubicBezTo>
                  <a:cubicBezTo>
                    <a:pt x="208708" y="159760"/>
                    <a:pt x="207816" y="161397"/>
                    <a:pt x="206426" y="162508"/>
                  </a:cubicBezTo>
                  <a:lnTo>
                    <a:pt x="187463" y="177442"/>
                  </a:lnTo>
                  <a:cubicBezTo>
                    <a:pt x="182413" y="181377"/>
                    <a:pt x="178697" y="186835"/>
                    <a:pt x="176837" y="193045"/>
                  </a:cubicBezTo>
                  <a:lnTo>
                    <a:pt x="170508" y="214072"/>
                  </a:lnTo>
                  <a:cubicBezTo>
                    <a:pt x="170037" y="215733"/>
                    <a:pt x="169243" y="217277"/>
                    <a:pt x="168172" y="218612"/>
                  </a:cubicBezTo>
                  <a:lnTo>
                    <a:pt x="162007" y="226211"/>
                  </a:lnTo>
                  <a:cubicBezTo>
                    <a:pt x="157435" y="231836"/>
                    <a:pt x="154599" y="238720"/>
                    <a:pt x="153856" y="245996"/>
                  </a:cubicBezTo>
                  <a:cubicBezTo>
                    <a:pt x="153507" y="249644"/>
                    <a:pt x="151229" y="252801"/>
                    <a:pt x="147924" y="254215"/>
                  </a:cubicBezTo>
                  <a:cubicBezTo>
                    <a:pt x="145398" y="255286"/>
                    <a:pt x="142502" y="254055"/>
                    <a:pt x="141457" y="251470"/>
                  </a:cubicBezTo>
                  <a:cubicBezTo>
                    <a:pt x="141456" y="251470"/>
                    <a:pt x="141456" y="251467"/>
                    <a:pt x="141455" y="251467"/>
                  </a:cubicBezTo>
                  <a:cubicBezTo>
                    <a:pt x="141319" y="251121"/>
                    <a:pt x="141217" y="250760"/>
                    <a:pt x="141152" y="250392"/>
                  </a:cubicBezTo>
                  <a:lnTo>
                    <a:pt x="135360" y="214765"/>
                  </a:lnTo>
                  <a:cubicBezTo>
                    <a:pt x="134632" y="210354"/>
                    <a:pt x="132869" y="206189"/>
                    <a:pt x="130222" y="202627"/>
                  </a:cubicBezTo>
                  <a:lnTo>
                    <a:pt x="109203" y="173953"/>
                  </a:lnTo>
                  <a:cubicBezTo>
                    <a:pt x="107292" y="171384"/>
                    <a:pt x="105881" y="168465"/>
                    <a:pt x="105046" y="165351"/>
                  </a:cubicBezTo>
                  <a:lnTo>
                    <a:pt x="98040" y="139449"/>
                  </a:lnTo>
                  <a:cubicBezTo>
                    <a:pt x="95506" y="130209"/>
                    <a:pt x="88410" y="123012"/>
                    <a:pt x="79357" y="120501"/>
                  </a:cubicBezTo>
                  <a:lnTo>
                    <a:pt x="77699" y="120166"/>
                  </a:lnTo>
                  <a:cubicBezTo>
                    <a:pt x="74590" y="119302"/>
                    <a:pt x="71741" y="117660"/>
                    <a:pt x="69408" y="115387"/>
                  </a:cubicBezTo>
                  <a:lnTo>
                    <a:pt x="56306" y="102771"/>
                  </a:lnTo>
                  <a:cubicBezTo>
                    <a:pt x="54222" y="100755"/>
                    <a:pt x="52429" y="98447"/>
                    <a:pt x="50982" y="95913"/>
                  </a:cubicBezTo>
                  <a:cubicBezTo>
                    <a:pt x="44775" y="84902"/>
                    <a:pt x="32417" y="79142"/>
                    <a:pt x="20224" y="81576"/>
                  </a:cubicBezTo>
                  <a:lnTo>
                    <a:pt x="15553" y="82508"/>
                  </a:lnTo>
                  <a:cubicBezTo>
                    <a:pt x="20010" y="66431"/>
                    <a:pt x="26795" y="51128"/>
                    <a:pt x="35685" y="37108"/>
                  </a:cubicBezTo>
                  <a:cubicBezTo>
                    <a:pt x="33739" y="34477"/>
                    <a:pt x="31566" y="32030"/>
                    <a:pt x="29192" y="29797"/>
                  </a:cubicBezTo>
                  <a:cubicBezTo>
                    <a:pt x="-24132" y="111838"/>
                    <a:pt x="-2357" y="222574"/>
                    <a:pt x="77828" y="277133"/>
                  </a:cubicBezTo>
                  <a:cubicBezTo>
                    <a:pt x="158013" y="331691"/>
                    <a:pt x="266243" y="309412"/>
                    <a:pt x="319567" y="227372"/>
                  </a:cubicBezTo>
                  <a:cubicBezTo>
                    <a:pt x="353543" y="175103"/>
                    <a:pt x="358167" y="108409"/>
                    <a:pt x="331744" y="51756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4B5A037D-B7DD-0E4B-A699-563D92C25339}"/>
                </a:ext>
              </a:extLst>
            </p:cNvPr>
            <p:cNvSpPr/>
            <p:nvPr/>
          </p:nvSpPr>
          <p:spPr>
            <a:xfrm>
              <a:off x="8974040" y="563702"/>
              <a:ext cx="9038" cy="5495"/>
            </a:xfrm>
            <a:custGeom>
              <a:avLst/>
              <a:gdLst>
                <a:gd name="connsiteX0" fmla="*/ 9038 w 9038"/>
                <a:gd name="connsiteY0" fmla="*/ 5496 h 5495"/>
                <a:gd name="connsiteX1" fmla="*/ 7940 w 9038"/>
                <a:gd name="connsiteY1" fmla="*/ 3990 h 5495"/>
                <a:gd name="connsiteX2" fmla="*/ 0 w 9038"/>
                <a:gd name="connsiteY2" fmla="*/ 0 h 5495"/>
                <a:gd name="connsiteX3" fmla="*/ 1191 w 9038"/>
                <a:gd name="connsiteY3" fmla="*/ 669 h 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38" h="5495">
                  <a:moveTo>
                    <a:pt x="9038" y="5496"/>
                  </a:moveTo>
                  <a:cubicBezTo>
                    <a:pt x="8688" y="4994"/>
                    <a:pt x="8314" y="4468"/>
                    <a:pt x="7940" y="3990"/>
                  </a:cubicBezTo>
                  <a:cubicBezTo>
                    <a:pt x="5796" y="1800"/>
                    <a:pt x="3004" y="398"/>
                    <a:pt x="0" y="0"/>
                  </a:cubicBezTo>
                  <a:lnTo>
                    <a:pt x="1191" y="669"/>
                  </a:ln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53CDF983-AB9C-9943-9F5D-4B2BD772E555}"/>
                </a:ext>
              </a:extLst>
            </p:cNvPr>
            <p:cNvSpPr/>
            <p:nvPr/>
          </p:nvSpPr>
          <p:spPr>
            <a:xfrm>
              <a:off x="8906023" y="418261"/>
              <a:ext cx="192214" cy="153684"/>
            </a:xfrm>
            <a:custGeom>
              <a:avLst/>
              <a:gdLst>
                <a:gd name="connsiteX0" fmla="*/ 13463 w 192214"/>
                <a:gd name="connsiteY0" fmla="*/ 144127 h 153684"/>
                <a:gd name="connsiteX1" fmla="*/ 28713 w 192214"/>
                <a:gd name="connsiteY1" fmla="*/ 153685 h 153684"/>
                <a:gd name="connsiteX2" fmla="*/ 26868 w 192214"/>
                <a:gd name="connsiteY2" fmla="*/ 148906 h 153684"/>
                <a:gd name="connsiteX3" fmla="*/ 29203 w 192214"/>
                <a:gd name="connsiteY3" fmla="*/ 143768 h 153684"/>
                <a:gd name="connsiteX4" fmla="*/ 21473 w 192214"/>
                <a:gd name="connsiteY4" fmla="*/ 138798 h 153684"/>
                <a:gd name="connsiteX5" fmla="*/ 11477 w 192214"/>
                <a:gd name="connsiteY5" fmla="*/ 122646 h 153684"/>
                <a:gd name="connsiteX6" fmla="*/ 11688 w 192214"/>
                <a:gd name="connsiteY6" fmla="*/ 109002 h 153684"/>
                <a:gd name="connsiteX7" fmla="*/ 26050 w 192214"/>
                <a:gd name="connsiteY7" fmla="*/ 102359 h 153684"/>
                <a:gd name="connsiteX8" fmla="*/ 41231 w 192214"/>
                <a:gd name="connsiteY8" fmla="*/ 104318 h 153684"/>
                <a:gd name="connsiteX9" fmla="*/ 64071 w 192214"/>
                <a:gd name="connsiteY9" fmla="*/ 92849 h 153684"/>
                <a:gd name="connsiteX10" fmla="*/ 78083 w 192214"/>
                <a:gd name="connsiteY10" fmla="*/ 85824 h 153684"/>
                <a:gd name="connsiteX11" fmla="*/ 84669 w 192214"/>
                <a:gd name="connsiteY11" fmla="*/ 86684 h 153684"/>
                <a:gd name="connsiteX12" fmla="*/ 105688 w 192214"/>
                <a:gd name="connsiteY12" fmla="*/ 77724 h 153684"/>
                <a:gd name="connsiteX13" fmla="*/ 111503 w 192214"/>
                <a:gd name="connsiteY13" fmla="*/ 70030 h 153684"/>
                <a:gd name="connsiteX14" fmla="*/ 112367 w 192214"/>
                <a:gd name="connsiteY14" fmla="*/ 34618 h 153684"/>
                <a:gd name="connsiteX15" fmla="*/ 95716 w 192214"/>
                <a:gd name="connsiteY15" fmla="*/ 10126 h 153684"/>
                <a:gd name="connsiteX16" fmla="*/ 105057 w 192214"/>
                <a:gd name="connsiteY16" fmla="*/ 9839 h 153684"/>
                <a:gd name="connsiteX17" fmla="*/ 187404 w 192214"/>
                <a:gd name="connsiteY17" fmla="*/ 32372 h 153684"/>
                <a:gd name="connsiteX18" fmla="*/ 192215 w 192214"/>
                <a:gd name="connsiteY18" fmla="*/ 23865 h 153684"/>
                <a:gd name="connsiteX19" fmla="*/ 39993 w 192214"/>
                <a:gd name="connsiteY19" fmla="*/ 12897 h 153684"/>
                <a:gd name="connsiteX20" fmla="*/ 36700 w 192214"/>
                <a:gd name="connsiteY20" fmla="*/ 24988 h 153684"/>
                <a:gd name="connsiteX21" fmla="*/ 84692 w 192214"/>
                <a:gd name="connsiteY21" fmla="*/ 11129 h 153684"/>
                <a:gd name="connsiteX22" fmla="*/ 104473 w 192214"/>
                <a:gd name="connsiteY22" fmla="*/ 40305 h 153684"/>
                <a:gd name="connsiteX23" fmla="*/ 103866 w 192214"/>
                <a:gd name="connsiteY23" fmla="*/ 64032 h 153684"/>
                <a:gd name="connsiteX24" fmla="*/ 98074 w 192214"/>
                <a:gd name="connsiteY24" fmla="*/ 71726 h 153684"/>
                <a:gd name="connsiteX25" fmla="*/ 85837 w 192214"/>
                <a:gd name="connsiteY25" fmla="*/ 76911 h 153684"/>
                <a:gd name="connsiteX26" fmla="*/ 79274 w 192214"/>
                <a:gd name="connsiteY26" fmla="*/ 76051 h 153684"/>
                <a:gd name="connsiteX27" fmla="*/ 55920 w 192214"/>
                <a:gd name="connsiteY27" fmla="*/ 87831 h 153684"/>
                <a:gd name="connsiteX28" fmla="*/ 42562 w 192214"/>
                <a:gd name="connsiteY28" fmla="*/ 94545 h 153684"/>
                <a:gd name="connsiteX29" fmla="*/ 27288 w 192214"/>
                <a:gd name="connsiteY29" fmla="*/ 92610 h 153684"/>
                <a:gd name="connsiteX30" fmla="*/ 3747 w 192214"/>
                <a:gd name="connsiteY30" fmla="*/ 103506 h 153684"/>
                <a:gd name="connsiteX31" fmla="*/ 3374 w 192214"/>
                <a:gd name="connsiteY31" fmla="*/ 127950 h 153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92214" h="153684">
                  <a:moveTo>
                    <a:pt x="13463" y="144127"/>
                  </a:moveTo>
                  <a:cubicBezTo>
                    <a:pt x="16826" y="149556"/>
                    <a:pt x="22457" y="153086"/>
                    <a:pt x="28713" y="153685"/>
                  </a:cubicBezTo>
                  <a:cubicBezTo>
                    <a:pt x="27542" y="152380"/>
                    <a:pt x="26884" y="150677"/>
                    <a:pt x="26868" y="148906"/>
                  </a:cubicBezTo>
                  <a:cubicBezTo>
                    <a:pt x="26801" y="146910"/>
                    <a:pt x="27669" y="145002"/>
                    <a:pt x="29203" y="143768"/>
                  </a:cubicBezTo>
                  <a:cubicBezTo>
                    <a:pt x="26030" y="143377"/>
                    <a:pt x="23195" y="141553"/>
                    <a:pt x="21473" y="138798"/>
                  </a:cubicBezTo>
                  <a:lnTo>
                    <a:pt x="11477" y="122646"/>
                  </a:lnTo>
                  <a:cubicBezTo>
                    <a:pt x="8876" y="118464"/>
                    <a:pt x="8958" y="113098"/>
                    <a:pt x="11688" y="109002"/>
                  </a:cubicBezTo>
                  <a:cubicBezTo>
                    <a:pt x="14852" y="104175"/>
                    <a:pt x="20418" y="101601"/>
                    <a:pt x="26050" y="102359"/>
                  </a:cubicBezTo>
                  <a:lnTo>
                    <a:pt x="41231" y="104318"/>
                  </a:lnTo>
                  <a:cubicBezTo>
                    <a:pt x="50400" y="105510"/>
                    <a:pt x="59383" y="101000"/>
                    <a:pt x="64071" y="92849"/>
                  </a:cubicBezTo>
                  <a:cubicBezTo>
                    <a:pt x="66917" y="87817"/>
                    <a:pt x="72452" y="85042"/>
                    <a:pt x="78083" y="85824"/>
                  </a:cubicBezTo>
                  <a:lnTo>
                    <a:pt x="84669" y="86684"/>
                  </a:lnTo>
                  <a:cubicBezTo>
                    <a:pt x="92730" y="87703"/>
                    <a:pt x="100719" y="84298"/>
                    <a:pt x="105688" y="77724"/>
                  </a:cubicBezTo>
                  <a:lnTo>
                    <a:pt x="111503" y="70030"/>
                  </a:lnTo>
                  <a:cubicBezTo>
                    <a:pt x="119347" y="59696"/>
                    <a:pt x="119697" y="45339"/>
                    <a:pt x="112367" y="34618"/>
                  </a:cubicBezTo>
                  <a:lnTo>
                    <a:pt x="95716" y="10126"/>
                  </a:lnTo>
                  <a:cubicBezTo>
                    <a:pt x="98798" y="9958"/>
                    <a:pt x="101928" y="9839"/>
                    <a:pt x="105057" y="9839"/>
                  </a:cubicBezTo>
                  <a:cubicBezTo>
                    <a:pt x="133962" y="9835"/>
                    <a:pt x="162359" y="17605"/>
                    <a:pt x="187404" y="32372"/>
                  </a:cubicBezTo>
                  <a:lnTo>
                    <a:pt x="192215" y="23865"/>
                  </a:lnTo>
                  <a:cubicBezTo>
                    <a:pt x="145813" y="-3517"/>
                    <a:pt x="89687" y="-7561"/>
                    <a:pt x="39993" y="12897"/>
                  </a:cubicBezTo>
                  <a:cubicBezTo>
                    <a:pt x="39339" y="16888"/>
                    <a:pt x="37657" y="21093"/>
                    <a:pt x="36700" y="24988"/>
                  </a:cubicBezTo>
                  <a:cubicBezTo>
                    <a:pt x="51941" y="17970"/>
                    <a:pt x="68114" y="13299"/>
                    <a:pt x="84692" y="11129"/>
                  </a:cubicBezTo>
                  <a:lnTo>
                    <a:pt x="104473" y="40305"/>
                  </a:lnTo>
                  <a:cubicBezTo>
                    <a:pt x="109360" y="47500"/>
                    <a:pt x="109114" y="57108"/>
                    <a:pt x="103866" y="64032"/>
                  </a:cubicBezTo>
                  <a:lnTo>
                    <a:pt x="98074" y="71726"/>
                  </a:lnTo>
                  <a:cubicBezTo>
                    <a:pt x="95185" y="75555"/>
                    <a:pt x="90527" y="77529"/>
                    <a:pt x="85837" y="76911"/>
                  </a:cubicBezTo>
                  <a:lnTo>
                    <a:pt x="79274" y="76051"/>
                  </a:lnTo>
                  <a:cubicBezTo>
                    <a:pt x="69897" y="74905"/>
                    <a:pt x="60742" y="79523"/>
                    <a:pt x="55920" y="87831"/>
                  </a:cubicBezTo>
                  <a:cubicBezTo>
                    <a:pt x="53185" y="92605"/>
                    <a:pt x="47927" y="95248"/>
                    <a:pt x="42562" y="94545"/>
                  </a:cubicBezTo>
                  <a:lnTo>
                    <a:pt x="27288" y="92610"/>
                  </a:lnTo>
                  <a:cubicBezTo>
                    <a:pt x="18057" y="91386"/>
                    <a:pt x="8943" y="95605"/>
                    <a:pt x="3747" y="103506"/>
                  </a:cubicBezTo>
                  <a:cubicBezTo>
                    <a:pt x="-1110" y="110855"/>
                    <a:pt x="-1257" y="120449"/>
                    <a:pt x="3374" y="127950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1466ABFA-CD80-F344-A866-24F2CD201FA8}"/>
                </a:ext>
              </a:extLst>
            </p:cNvPr>
            <p:cNvSpPr/>
            <p:nvPr/>
          </p:nvSpPr>
          <p:spPr>
            <a:xfrm>
              <a:off x="9090133" y="371877"/>
              <a:ext cx="127201" cy="172381"/>
            </a:xfrm>
            <a:custGeom>
              <a:avLst/>
              <a:gdLst>
                <a:gd name="connsiteX0" fmla="*/ 107990 w 127201"/>
                <a:gd name="connsiteY0" fmla="*/ 18875 h 172381"/>
                <a:gd name="connsiteX1" fmla="*/ 19501 w 127201"/>
                <a:gd name="connsiteY1" fmla="*/ 18612 h 172381"/>
                <a:gd name="connsiteX2" fmla="*/ 19244 w 127201"/>
                <a:gd name="connsiteY2" fmla="*/ 18875 h 172381"/>
                <a:gd name="connsiteX3" fmla="*/ 13476 w 127201"/>
                <a:gd name="connsiteY3" fmla="*/ 107046 h 172381"/>
                <a:gd name="connsiteX4" fmla="*/ 59764 w 127201"/>
                <a:gd name="connsiteY4" fmla="*/ 170319 h 172381"/>
                <a:gd name="connsiteX5" fmla="*/ 66256 w 127201"/>
                <a:gd name="connsiteY5" fmla="*/ 171538 h 172381"/>
                <a:gd name="connsiteX6" fmla="*/ 67447 w 127201"/>
                <a:gd name="connsiteY6" fmla="*/ 170319 h 172381"/>
                <a:gd name="connsiteX7" fmla="*/ 113712 w 127201"/>
                <a:gd name="connsiteY7" fmla="*/ 107046 h 172381"/>
                <a:gd name="connsiteX8" fmla="*/ 127093 w 127201"/>
                <a:gd name="connsiteY8" fmla="*/ 62411 h 172381"/>
                <a:gd name="connsiteX9" fmla="*/ 107967 w 127201"/>
                <a:gd name="connsiteY9" fmla="*/ 18875 h 172381"/>
                <a:gd name="connsiteX10" fmla="*/ 106051 w 127201"/>
                <a:gd name="connsiteY10" fmla="*/ 101144 h 172381"/>
                <a:gd name="connsiteX11" fmla="*/ 63617 w 127201"/>
                <a:gd name="connsiteY11" fmla="*/ 159161 h 172381"/>
                <a:gd name="connsiteX12" fmla="*/ 21206 w 127201"/>
                <a:gd name="connsiteY12" fmla="*/ 101168 h 172381"/>
                <a:gd name="connsiteX13" fmla="*/ 26064 w 127201"/>
                <a:gd name="connsiteY13" fmla="*/ 25781 h 172381"/>
                <a:gd name="connsiteX14" fmla="*/ 100960 w 127201"/>
                <a:gd name="connsiteY14" fmla="*/ 25589 h 172381"/>
                <a:gd name="connsiteX15" fmla="*/ 101147 w 127201"/>
                <a:gd name="connsiteY15" fmla="*/ 25781 h 172381"/>
                <a:gd name="connsiteX16" fmla="*/ 117495 w 127201"/>
                <a:gd name="connsiteY16" fmla="*/ 63032 h 172381"/>
                <a:gd name="connsiteX17" fmla="*/ 106028 w 127201"/>
                <a:gd name="connsiteY17" fmla="*/ 101120 h 172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201" h="172381">
                  <a:moveTo>
                    <a:pt x="107990" y="18875"/>
                  </a:moveTo>
                  <a:cubicBezTo>
                    <a:pt x="83622" y="-6189"/>
                    <a:pt x="44011" y="-6306"/>
                    <a:pt x="19501" y="18612"/>
                  </a:cubicBezTo>
                  <a:lnTo>
                    <a:pt x="19244" y="18875"/>
                  </a:lnTo>
                  <a:cubicBezTo>
                    <a:pt x="-4023" y="42624"/>
                    <a:pt x="-6492" y="80337"/>
                    <a:pt x="13476" y="107046"/>
                  </a:cubicBezTo>
                  <a:lnTo>
                    <a:pt x="59764" y="170319"/>
                  </a:lnTo>
                  <a:cubicBezTo>
                    <a:pt x="61228" y="172489"/>
                    <a:pt x="64133" y="173034"/>
                    <a:pt x="66256" y="171538"/>
                  </a:cubicBezTo>
                  <a:cubicBezTo>
                    <a:pt x="66721" y="171207"/>
                    <a:pt x="67123" y="170794"/>
                    <a:pt x="67447" y="170319"/>
                  </a:cubicBezTo>
                  <a:lnTo>
                    <a:pt x="113712" y="107046"/>
                  </a:lnTo>
                  <a:cubicBezTo>
                    <a:pt x="123247" y="94285"/>
                    <a:pt x="127995" y="78448"/>
                    <a:pt x="127093" y="62411"/>
                  </a:cubicBezTo>
                  <a:cubicBezTo>
                    <a:pt x="126066" y="46012"/>
                    <a:pt x="119272" y="30547"/>
                    <a:pt x="107967" y="18875"/>
                  </a:cubicBezTo>
                  <a:close/>
                  <a:moveTo>
                    <a:pt x="106051" y="101144"/>
                  </a:moveTo>
                  <a:lnTo>
                    <a:pt x="63617" y="159161"/>
                  </a:lnTo>
                  <a:lnTo>
                    <a:pt x="21206" y="101168"/>
                  </a:lnTo>
                  <a:cubicBezTo>
                    <a:pt x="4132" y="78344"/>
                    <a:pt x="6208" y="46113"/>
                    <a:pt x="26064" y="25781"/>
                  </a:cubicBezTo>
                  <a:cubicBezTo>
                    <a:pt x="46695" y="4571"/>
                    <a:pt x="80224" y="4485"/>
                    <a:pt x="100960" y="25589"/>
                  </a:cubicBezTo>
                  <a:lnTo>
                    <a:pt x="101147" y="25781"/>
                  </a:lnTo>
                  <a:cubicBezTo>
                    <a:pt x="110818" y="35768"/>
                    <a:pt x="116626" y="49002"/>
                    <a:pt x="117495" y="63032"/>
                  </a:cubicBezTo>
                  <a:cubicBezTo>
                    <a:pt x="118247" y="76723"/>
                    <a:pt x="114179" y="90235"/>
                    <a:pt x="106028" y="101120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861D901B-2031-8848-8FC5-97E24CCF92BF}"/>
                </a:ext>
              </a:extLst>
            </p:cNvPr>
            <p:cNvSpPr/>
            <p:nvPr/>
          </p:nvSpPr>
          <p:spPr>
            <a:xfrm>
              <a:off x="9123623" y="408124"/>
              <a:ext cx="58805" cy="60166"/>
            </a:xfrm>
            <a:custGeom>
              <a:avLst/>
              <a:gdLst>
                <a:gd name="connsiteX0" fmla="*/ 29403 w 58805"/>
                <a:gd name="connsiteY0" fmla="*/ 0 h 60166"/>
                <a:gd name="connsiteX1" fmla="*/ 0 w 58805"/>
                <a:gd name="connsiteY1" fmla="*/ 30083 h 60166"/>
                <a:gd name="connsiteX2" fmla="*/ 29403 w 58805"/>
                <a:gd name="connsiteY2" fmla="*/ 60167 h 60166"/>
                <a:gd name="connsiteX3" fmla="*/ 58806 w 58805"/>
                <a:gd name="connsiteY3" fmla="*/ 30107 h 60166"/>
                <a:gd name="connsiteX4" fmla="*/ 29426 w 58805"/>
                <a:gd name="connsiteY4" fmla="*/ 0 h 60166"/>
                <a:gd name="connsiteX5" fmla="*/ 29403 w 58805"/>
                <a:gd name="connsiteY5" fmla="*/ 0 h 60166"/>
                <a:gd name="connsiteX6" fmla="*/ 43415 w 58805"/>
                <a:gd name="connsiteY6" fmla="*/ 44420 h 60166"/>
                <a:gd name="connsiteX7" fmla="*/ 15442 w 58805"/>
                <a:gd name="connsiteY7" fmla="*/ 44233 h 60166"/>
                <a:gd name="connsiteX8" fmla="*/ 15624 w 58805"/>
                <a:gd name="connsiteY8" fmla="*/ 15612 h 60166"/>
                <a:gd name="connsiteX9" fmla="*/ 43597 w 58805"/>
                <a:gd name="connsiteY9" fmla="*/ 15799 h 60166"/>
                <a:gd name="connsiteX10" fmla="*/ 49300 w 58805"/>
                <a:gd name="connsiteY10" fmla="*/ 30083 h 60166"/>
                <a:gd name="connsiteX11" fmla="*/ 43415 w 58805"/>
                <a:gd name="connsiteY11" fmla="*/ 44420 h 6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805" h="60166">
                  <a:moveTo>
                    <a:pt x="29403" y="0"/>
                  </a:moveTo>
                  <a:cubicBezTo>
                    <a:pt x="13165" y="0"/>
                    <a:pt x="0" y="13469"/>
                    <a:pt x="0" y="30083"/>
                  </a:cubicBezTo>
                  <a:cubicBezTo>
                    <a:pt x="0" y="46698"/>
                    <a:pt x="13165" y="60167"/>
                    <a:pt x="29403" y="60167"/>
                  </a:cubicBezTo>
                  <a:cubicBezTo>
                    <a:pt x="45631" y="60167"/>
                    <a:pt x="58792" y="46713"/>
                    <a:pt x="58806" y="30107"/>
                  </a:cubicBezTo>
                  <a:cubicBezTo>
                    <a:pt x="58820" y="13493"/>
                    <a:pt x="45664" y="13"/>
                    <a:pt x="29426" y="0"/>
                  </a:cubicBezTo>
                  <a:cubicBezTo>
                    <a:pt x="29419" y="0"/>
                    <a:pt x="29410" y="0"/>
                    <a:pt x="29403" y="0"/>
                  </a:cubicBezTo>
                  <a:close/>
                  <a:moveTo>
                    <a:pt x="43415" y="44420"/>
                  </a:moveTo>
                  <a:cubicBezTo>
                    <a:pt x="35641" y="52272"/>
                    <a:pt x="23116" y="52188"/>
                    <a:pt x="15442" y="44233"/>
                  </a:cubicBezTo>
                  <a:cubicBezTo>
                    <a:pt x="7768" y="36278"/>
                    <a:pt x="7849" y="23464"/>
                    <a:pt x="15624" y="15612"/>
                  </a:cubicBezTo>
                  <a:cubicBezTo>
                    <a:pt x="23398" y="7760"/>
                    <a:pt x="35923" y="7844"/>
                    <a:pt x="43597" y="15799"/>
                  </a:cubicBezTo>
                  <a:cubicBezTo>
                    <a:pt x="47269" y="19603"/>
                    <a:pt x="49317" y="24738"/>
                    <a:pt x="49300" y="30083"/>
                  </a:cubicBezTo>
                  <a:cubicBezTo>
                    <a:pt x="49282" y="35474"/>
                    <a:pt x="47164" y="40634"/>
                    <a:pt x="43415" y="44420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0779161D-8286-9D47-A478-B3A0CF508013}"/>
                </a:ext>
              </a:extLst>
            </p:cNvPr>
            <p:cNvSpPr/>
            <p:nvPr/>
          </p:nvSpPr>
          <p:spPr>
            <a:xfrm>
              <a:off x="8821187" y="350103"/>
              <a:ext cx="127248" cy="172302"/>
            </a:xfrm>
            <a:custGeom>
              <a:avLst/>
              <a:gdLst>
                <a:gd name="connsiteX0" fmla="*/ 107990 w 127248"/>
                <a:gd name="connsiteY0" fmla="*/ 18905 h 172302"/>
                <a:gd name="connsiteX1" fmla="*/ 19576 w 127248"/>
                <a:gd name="connsiteY1" fmla="*/ 18566 h 172302"/>
                <a:gd name="connsiteX2" fmla="*/ 19571 w 127248"/>
                <a:gd name="connsiteY2" fmla="*/ 18570 h 172302"/>
                <a:gd name="connsiteX3" fmla="*/ 19244 w 127248"/>
                <a:gd name="connsiteY3" fmla="*/ 18905 h 172302"/>
                <a:gd name="connsiteX4" fmla="*/ 13476 w 127248"/>
                <a:gd name="connsiteY4" fmla="*/ 107076 h 172302"/>
                <a:gd name="connsiteX5" fmla="*/ 59787 w 127248"/>
                <a:gd name="connsiteY5" fmla="*/ 170325 h 172302"/>
                <a:gd name="connsiteX6" fmla="*/ 66513 w 127248"/>
                <a:gd name="connsiteY6" fmla="*/ 171329 h 172302"/>
                <a:gd name="connsiteX7" fmla="*/ 67494 w 127248"/>
                <a:gd name="connsiteY7" fmla="*/ 170325 h 172302"/>
                <a:gd name="connsiteX8" fmla="*/ 113758 w 127248"/>
                <a:gd name="connsiteY8" fmla="*/ 107076 h 172302"/>
                <a:gd name="connsiteX9" fmla="*/ 127140 w 127248"/>
                <a:gd name="connsiteY9" fmla="*/ 62441 h 172302"/>
                <a:gd name="connsiteX10" fmla="*/ 107990 w 127248"/>
                <a:gd name="connsiteY10" fmla="*/ 18905 h 172302"/>
                <a:gd name="connsiteX11" fmla="*/ 106075 w 127248"/>
                <a:gd name="connsiteY11" fmla="*/ 101174 h 172302"/>
                <a:gd name="connsiteX12" fmla="*/ 63617 w 127248"/>
                <a:gd name="connsiteY12" fmla="*/ 159214 h 172302"/>
                <a:gd name="connsiteX13" fmla="*/ 21253 w 127248"/>
                <a:gd name="connsiteY13" fmla="*/ 101222 h 172302"/>
                <a:gd name="connsiteX14" fmla="*/ 26111 w 127248"/>
                <a:gd name="connsiteY14" fmla="*/ 25834 h 172302"/>
                <a:gd name="connsiteX15" fmla="*/ 100984 w 127248"/>
                <a:gd name="connsiteY15" fmla="*/ 25643 h 172302"/>
                <a:gd name="connsiteX16" fmla="*/ 101171 w 127248"/>
                <a:gd name="connsiteY16" fmla="*/ 25834 h 172302"/>
                <a:gd name="connsiteX17" fmla="*/ 117518 w 127248"/>
                <a:gd name="connsiteY17" fmla="*/ 63086 h 172302"/>
                <a:gd name="connsiteX18" fmla="*/ 106052 w 127248"/>
                <a:gd name="connsiteY18" fmla="*/ 101174 h 17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7248" h="172302">
                  <a:moveTo>
                    <a:pt x="107990" y="18905"/>
                  </a:moveTo>
                  <a:cubicBezTo>
                    <a:pt x="83666" y="-6169"/>
                    <a:pt x="44082" y="-6320"/>
                    <a:pt x="19576" y="18566"/>
                  </a:cubicBezTo>
                  <a:cubicBezTo>
                    <a:pt x="19574" y="18568"/>
                    <a:pt x="19573" y="18569"/>
                    <a:pt x="19571" y="18570"/>
                  </a:cubicBezTo>
                  <a:lnTo>
                    <a:pt x="19244" y="18905"/>
                  </a:lnTo>
                  <a:cubicBezTo>
                    <a:pt x="-4024" y="42654"/>
                    <a:pt x="-6491" y="80367"/>
                    <a:pt x="13476" y="107076"/>
                  </a:cubicBezTo>
                  <a:lnTo>
                    <a:pt x="59787" y="170325"/>
                  </a:lnTo>
                  <a:cubicBezTo>
                    <a:pt x="61375" y="172500"/>
                    <a:pt x="64384" y="172950"/>
                    <a:pt x="66513" y="171329"/>
                  </a:cubicBezTo>
                  <a:cubicBezTo>
                    <a:pt x="66885" y="171044"/>
                    <a:pt x="67215" y="170706"/>
                    <a:pt x="67494" y="170325"/>
                  </a:cubicBezTo>
                  <a:lnTo>
                    <a:pt x="113758" y="107076"/>
                  </a:lnTo>
                  <a:cubicBezTo>
                    <a:pt x="123294" y="94315"/>
                    <a:pt x="128042" y="78478"/>
                    <a:pt x="127140" y="62441"/>
                  </a:cubicBezTo>
                  <a:cubicBezTo>
                    <a:pt x="126119" y="46035"/>
                    <a:pt x="119315" y="30566"/>
                    <a:pt x="107990" y="18905"/>
                  </a:cubicBezTo>
                  <a:close/>
                  <a:moveTo>
                    <a:pt x="106075" y="101174"/>
                  </a:moveTo>
                  <a:lnTo>
                    <a:pt x="63617" y="159214"/>
                  </a:lnTo>
                  <a:lnTo>
                    <a:pt x="21253" y="101222"/>
                  </a:lnTo>
                  <a:cubicBezTo>
                    <a:pt x="4084" y="78427"/>
                    <a:pt x="6165" y="46125"/>
                    <a:pt x="26111" y="25834"/>
                  </a:cubicBezTo>
                  <a:cubicBezTo>
                    <a:pt x="46735" y="4627"/>
                    <a:pt x="80256" y="4542"/>
                    <a:pt x="100984" y="25643"/>
                  </a:cubicBezTo>
                  <a:lnTo>
                    <a:pt x="101171" y="25834"/>
                  </a:lnTo>
                  <a:cubicBezTo>
                    <a:pt x="110841" y="35822"/>
                    <a:pt x="116649" y="49055"/>
                    <a:pt x="117518" y="63086"/>
                  </a:cubicBezTo>
                  <a:cubicBezTo>
                    <a:pt x="118269" y="76777"/>
                    <a:pt x="114201" y="90289"/>
                    <a:pt x="106052" y="101174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FD672C2C-323C-C74C-8B0F-78291E580E7D}"/>
                </a:ext>
              </a:extLst>
            </p:cNvPr>
            <p:cNvSpPr/>
            <p:nvPr/>
          </p:nvSpPr>
          <p:spPr>
            <a:xfrm>
              <a:off x="8854701" y="386427"/>
              <a:ext cx="58805" cy="60166"/>
            </a:xfrm>
            <a:custGeom>
              <a:avLst/>
              <a:gdLst>
                <a:gd name="connsiteX0" fmla="*/ 29403 w 58805"/>
                <a:gd name="connsiteY0" fmla="*/ 0 h 60166"/>
                <a:gd name="connsiteX1" fmla="*/ 0 w 58805"/>
                <a:gd name="connsiteY1" fmla="*/ 30083 h 60166"/>
                <a:gd name="connsiteX2" fmla="*/ 29403 w 58805"/>
                <a:gd name="connsiteY2" fmla="*/ 60167 h 60166"/>
                <a:gd name="connsiteX3" fmla="*/ 58806 w 58805"/>
                <a:gd name="connsiteY3" fmla="*/ 30083 h 60166"/>
                <a:gd name="connsiteX4" fmla="*/ 29403 w 58805"/>
                <a:gd name="connsiteY4" fmla="*/ 0 h 60166"/>
                <a:gd name="connsiteX5" fmla="*/ 43415 w 58805"/>
                <a:gd name="connsiteY5" fmla="*/ 44420 h 60166"/>
                <a:gd name="connsiteX6" fmla="*/ 15441 w 58805"/>
                <a:gd name="connsiteY6" fmla="*/ 44281 h 60166"/>
                <a:gd name="connsiteX7" fmla="*/ 15577 w 58805"/>
                <a:gd name="connsiteY7" fmla="*/ 15659 h 60166"/>
                <a:gd name="connsiteX8" fmla="*/ 43551 w 58805"/>
                <a:gd name="connsiteY8" fmla="*/ 15799 h 60166"/>
                <a:gd name="connsiteX9" fmla="*/ 49277 w 58805"/>
                <a:gd name="connsiteY9" fmla="*/ 30083 h 60166"/>
                <a:gd name="connsiteX10" fmla="*/ 43415 w 58805"/>
                <a:gd name="connsiteY10" fmla="*/ 44420 h 6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805" h="60166">
                  <a:moveTo>
                    <a:pt x="29403" y="0"/>
                  </a:moveTo>
                  <a:cubicBezTo>
                    <a:pt x="13164" y="0"/>
                    <a:pt x="0" y="13469"/>
                    <a:pt x="0" y="30083"/>
                  </a:cubicBezTo>
                  <a:cubicBezTo>
                    <a:pt x="0" y="46698"/>
                    <a:pt x="13164" y="60167"/>
                    <a:pt x="29403" y="60167"/>
                  </a:cubicBezTo>
                  <a:cubicBezTo>
                    <a:pt x="45642" y="60167"/>
                    <a:pt x="58806" y="46698"/>
                    <a:pt x="58806" y="30083"/>
                  </a:cubicBezTo>
                  <a:cubicBezTo>
                    <a:pt x="58806" y="13469"/>
                    <a:pt x="45642" y="0"/>
                    <a:pt x="29403" y="0"/>
                  </a:cubicBezTo>
                  <a:close/>
                  <a:moveTo>
                    <a:pt x="43415" y="44420"/>
                  </a:moveTo>
                  <a:cubicBezTo>
                    <a:pt x="35653" y="52285"/>
                    <a:pt x="23128" y="52223"/>
                    <a:pt x="15441" y="44281"/>
                  </a:cubicBezTo>
                  <a:cubicBezTo>
                    <a:pt x="7754" y="36339"/>
                    <a:pt x="7815" y="23525"/>
                    <a:pt x="15577" y="15659"/>
                  </a:cubicBezTo>
                  <a:cubicBezTo>
                    <a:pt x="23340" y="7794"/>
                    <a:pt x="35864" y="7857"/>
                    <a:pt x="43551" y="15799"/>
                  </a:cubicBezTo>
                  <a:cubicBezTo>
                    <a:pt x="47230" y="19599"/>
                    <a:pt x="49288" y="24735"/>
                    <a:pt x="49277" y="30083"/>
                  </a:cubicBezTo>
                  <a:cubicBezTo>
                    <a:pt x="49263" y="35469"/>
                    <a:pt x="47154" y="40628"/>
                    <a:pt x="43415" y="44420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CB9FBF4E-3EBE-CC48-921E-66B92C8F83ED}"/>
                </a:ext>
              </a:extLst>
            </p:cNvPr>
            <p:cNvSpPr/>
            <p:nvPr/>
          </p:nvSpPr>
          <p:spPr>
            <a:xfrm>
              <a:off x="8924833" y="522079"/>
              <a:ext cx="127318" cy="172367"/>
            </a:xfrm>
            <a:custGeom>
              <a:avLst/>
              <a:gdLst>
                <a:gd name="connsiteX0" fmla="*/ 107990 w 127318"/>
                <a:gd name="connsiteY0" fmla="*/ 18875 h 172367"/>
                <a:gd name="connsiteX1" fmla="*/ 19478 w 127318"/>
                <a:gd name="connsiteY1" fmla="*/ 18636 h 172367"/>
                <a:gd name="connsiteX2" fmla="*/ 19244 w 127318"/>
                <a:gd name="connsiteY2" fmla="*/ 18875 h 172367"/>
                <a:gd name="connsiteX3" fmla="*/ 13476 w 127318"/>
                <a:gd name="connsiteY3" fmla="*/ 107046 h 172367"/>
                <a:gd name="connsiteX4" fmla="*/ 59857 w 127318"/>
                <a:gd name="connsiteY4" fmla="*/ 170391 h 172367"/>
                <a:gd name="connsiteX5" fmla="*/ 66583 w 127318"/>
                <a:gd name="connsiteY5" fmla="*/ 171395 h 172367"/>
                <a:gd name="connsiteX6" fmla="*/ 67564 w 127318"/>
                <a:gd name="connsiteY6" fmla="*/ 170391 h 172367"/>
                <a:gd name="connsiteX7" fmla="*/ 113828 w 127318"/>
                <a:gd name="connsiteY7" fmla="*/ 107118 h 172367"/>
                <a:gd name="connsiteX8" fmla="*/ 127210 w 127318"/>
                <a:gd name="connsiteY8" fmla="*/ 62483 h 172367"/>
                <a:gd name="connsiteX9" fmla="*/ 108060 w 127318"/>
                <a:gd name="connsiteY9" fmla="*/ 18923 h 172367"/>
                <a:gd name="connsiteX10" fmla="*/ 106075 w 127318"/>
                <a:gd name="connsiteY10" fmla="*/ 101096 h 172367"/>
                <a:gd name="connsiteX11" fmla="*/ 63641 w 127318"/>
                <a:gd name="connsiteY11" fmla="*/ 159113 h 172367"/>
                <a:gd name="connsiteX12" fmla="*/ 21253 w 127318"/>
                <a:gd name="connsiteY12" fmla="*/ 101216 h 172367"/>
                <a:gd name="connsiteX13" fmla="*/ 26111 w 127318"/>
                <a:gd name="connsiteY13" fmla="*/ 25828 h 172367"/>
                <a:gd name="connsiteX14" fmla="*/ 100984 w 127318"/>
                <a:gd name="connsiteY14" fmla="*/ 25637 h 172367"/>
                <a:gd name="connsiteX15" fmla="*/ 101171 w 127318"/>
                <a:gd name="connsiteY15" fmla="*/ 25828 h 172367"/>
                <a:gd name="connsiteX16" fmla="*/ 117518 w 127318"/>
                <a:gd name="connsiteY16" fmla="*/ 63080 h 172367"/>
                <a:gd name="connsiteX17" fmla="*/ 106052 w 127318"/>
                <a:gd name="connsiteY17" fmla="*/ 101168 h 172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318" h="172367">
                  <a:moveTo>
                    <a:pt x="107990" y="18875"/>
                  </a:moveTo>
                  <a:cubicBezTo>
                    <a:pt x="83612" y="-6198"/>
                    <a:pt x="43985" y="-6305"/>
                    <a:pt x="19478" y="18636"/>
                  </a:cubicBezTo>
                  <a:lnTo>
                    <a:pt x="19244" y="18875"/>
                  </a:lnTo>
                  <a:cubicBezTo>
                    <a:pt x="-4024" y="42624"/>
                    <a:pt x="-6491" y="80337"/>
                    <a:pt x="13476" y="107046"/>
                  </a:cubicBezTo>
                  <a:lnTo>
                    <a:pt x="59857" y="170391"/>
                  </a:lnTo>
                  <a:cubicBezTo>
                    <a:pt x="61445" y="172565"/>
                    <a:pt x="64454" y="173015"/>
                    <a:pt x="66583" y="171395"/>
                  </a:cubicBezTo>
                  <a:cubicBezTo>
                    <a:pt x="66955" y="171110"/>
                    <a:pt x="67285" y="170771"/>
                    <a:pt x="67564" y="170391"/>
                  </a:cubicBezTo>
                  <a:lnTo>
                    <a:pt x="113828" y="107118"/>
                  </a:lnTo>
                  <a:cubicBezTo>
                    <a:pt x="123364" y="94356"/>
                    <a:pt x="128112" y="78521"/>
                    <a:pt x="127210" y="62483"/>
                  </a:cubicBezTo>
                  <a:cubicBezTo>
                    <a:pt x="126185" y="46071"/>
                    <a:pt x="119381" y="30596"/>
                    <a:pt x="108060" y="18923"/>
                  </a:cubicBezTo>
                  <a:close/>
                  <a:moveTo>
                    <a:pt x="106075" y="101096"/>
                  </a:moveTo>
                  <a:lnTo>
                    <a:pt x="63641" y="159113"/>
                  </a:lnTo>
                  <a:lnTo>
                    <a:pt x="21253" y="101216"/>
                  </a:lnTo>
                  <a:cubicBezTo>
                    <a:pt x="4084" y="78420"/>
                    <a:pt x="6165" y="46119"/>
                    <a:pt x="26111" y="25828"/>
                  </a:cubicBezTo>
                  <a:cubicBezTo>
                    <a:pt x="46735" y="4621"/>
                    <a:pt x="80256" y="4536"/>
                    <a:pt x="100984" y="25637"/>
                  </a:cubicBezTo>
                  <a:lnTo>
                    <a:pt x="101171" y="25828"/>
                  </a:lnTo>
                  <a:cubicBezTo>
                    <a:pt x="110841" y="35816"/>
                    <a:pt x="116649" y="49049"/>
                    <a:pt x="117518" y="63080"/>
                  </a:cubicBezTo>
                  <a:cubicBezTo>
                    <a:pt x="118269" y="76769"/>
                    <a:pt x="114201" y="90284"/>
                    <a:pt x="106052" y="101168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DA9A5445-1572-5A43-BF30-A1A2A504C6ED}"/>
                </a:ext>
              </a:extLst>
            </p:cNvPr>
            <p:cNvSpPr/>
            <p:nvPr/>
          </p:nvSpPr>
          <p:spPr>
            <a:xfrm>
              <a:off x="8958347" y="558397"/>
              <a:ext cx="58805" cy="60166"/>
            </a:xfrm>
            <a:custGeom>
              <a:avLst/>
              <a:gdLst>
                <a:gd name="connsiteX0" fmla="*/ 29403 w 58805"/>
                <a:gd name="connsiteY0" fmla="*/ 0 h 60166"/>
                <a:gd name="connsiteX1" fmla="*/ 0 w 58805"/>
                <a:gd name="connsiteY1" fmla="*/ 30083 h 60166"/>
                <a:gd name="connsiteX2" fmla="*/ 29403 w 58805"/>
                <a:gd name="connsiteY2" fmla="*/ 60167 h 60166"/>
                <a:gd name="connsiteX3" fmla="*/ 58806 w 58805"/>
                <a:gd name="connsiteY3" fmla="*/ 30083 h 60166"/>
                <a:gd name="connsiteX4" fmla="*/ 58806 w 58805"/>
                <a:gd name="connsiteY4" fmla="*/ 30083 h 60166"/>
                <a:gd name="connsiteX5" fmla="*/ 29403 w 58805"/>
                <a:gd name="connsiteY5" fmla="*/ 0 h 60166"/>
                <a:gd name="connsiteX6" fmla="*/ 43415 w 58805"/>
                <a:gd name="connsiteY6" fmla="*/ 44396 h 60166"/>
                <a:gd name="connsiteX7" fmla="*/ 15441 w 58805"/>
                <a:gd name="connsiteY7" fmla="*/ 44258 h 60166"/>
                <a:gd name="connsiteX8" fmla="*/ 15577 w 58805"/>
                <a:gd name="connsiteY8" fmla="*/ 15635 h 60166"/>
                <a:gd name="connsiteX9" fmla="*/ 43551 w 58805"/>
                <a:gd name="connsiteY9" fmla="*/ 15775 h 60166"/>
                <a:gd name="connsiteX10" fmla="*/ 49277 w 58805"/>
                <a:gd name="connsiteY10" fmla="*/ 30060 h 60166"/>
                <a:gd name="connsiteX11" fmla="*/ 43415 w 58805"/>
                <a:gd name="connsiteY11" fmla="*/ 44396 h 6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805" h="60166">
                  <a:moveTo>
                    <a:pt x="29403" y="0"/>
                  </a:moveTo>
                  <a:cubicBezTo>
                    <a:pt x="13164" y="0"/>
                    <a:pt x="0" y="13469"/>
                    <a:pt x="0" y="30083"/>
                  </a:cubicBezTo>
                  <a:cubicBezTo>
                    <a:pt x="0" y="46697"/>
                    <a:pt x="13164" y="60167"/>
                    <a:pt x="29403" y="60167"/>
                  </a:cubicBezTo>
                  <a:cubicBezTo>
                    <a:pt x="45642" y="60167"/>
                    <a:pt x="58806" y="46697"/>
                    <a:pt x="58806" y="30083"/>
                  </a:cubicBezTo>
                  <a:lnTo>
                    <a:pt x="58806" y="30083"/>
                  </a:lnTo>
                  <a:cubicBezTo>
                    <a:pt x="58780" y="13480"/>
                    <a:pt x="45631" y="26"/>
                    <a:pt x="29403" y="0"/>
                  </a:cubicBezTo>
                  <a:close/>
                  <a:moveTo>
                    <a:pt x="43415" y="44396"/>
                  </a:moveTo>
                  <a:cubicBezTo>
                    <a:pt x="35653" y="52262"/>
                    <a:pt x="23128" y="52200"/>
                    <a:pt x="15441" y="44258"/>
                  </a:cubicBezTo>
                  <a:cubicBezTo>
                    <a:pt x="7754" y="36315"/>
                    <a:pt x="7815" y="23501"/>
                    <a:pt x="15577" y="15635"/>
                  </a:cubicBezTo>
                  <a:cubicBezTo>
                    <a:pt x="23340" y="7770"/>
                    <a:pt x="35864" y="7833"/>
                    <a:pt x="43551" y="15775"/>
                  </a:cubicBezTo>
                  <a:cubicBezTo>
                    <a:pt x="47230" y="19575"/>
                    <a:pt x="49288" y="24711"/>
                    <a:pt x="49277" y="30060"/>
                  </a:cubicBezTo>
                  <a:cubicBezTo>
                    <a:pt x="49266" y="35445"/>
                    <a:pt x="47156" y="40607"/>
                    <a:pt x="43415" y="44396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61" name="Graphic 15">
            <a:extLst>
              <a:ext uri="{FF2B5EF4-FFF2-40B4-BE49-F238E27FC236}">
                <a16:creationId xmlns:a16="http://schemas.microsoft.com/office/drawing/2014/main" id="{F43BCE72-BAC0-504F-816C-2571E8E1C031}"/>
              </a:ext>
            </a:extLst>
          </p:cNvPr>
          <p:cNvGrpSpPr/>
          <p:nvPr userDrawn="1"/>
        </p:nvGrpSpPr>
        <p:grpSpPr>
          <a:xfrm>
            <a:off x="5596222" y="3354667"/>
            <a:ext cx="314559" cy="307849"/>
            <a:chOff x="7423462" y="4219633"/>
            <a:chExt cx="439157" cy="439157"/>
          </a:xfrm>
          <a:solidFill>
            <a:schemeClr val="bg1"/>
          </a:solidFill>
        </p:grpSpPr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39D18B13-B4E1-B440-AF9F-6281E5BB7CA6}"/>
                </a:ext>
              </a:extLst>
            </p:cNvPr>
            <p:cNvSpPr/>
            <p:nvPr/>
          </p:nvSpPr>
          <p:spPr>
            <a:xfrm>
              <a:off x="7426598" y="4224921"/>
              <a:ext cx="429181" cy="429163"/>
            </a:xfrm>
            <a:custGeom>
              <a:avLst/>
              <a:gdLst>
                <a:gd name="connsiteX0" fmla="*/ 421779 w 429181"/>
                <a:gd name="connsiteY0" fmla="*/ 392557 h 429163"/>
                <a:gd name="connsiteX1" fmla="*/ 364438 w 429181"/>
                <a:gd name="connsiteY1" fmla="*/ 392557 h 429163"/>
                <a:gd name="connsiteX2" fmla="*/ 364438 w 429181"/>
                <a:gd name="connsiteY2" fmla="*/ 29217 h 429163"/>
                <a:gd name="connsiteX3" fmla="*/ 357882 w 429181"/>
                <a:gd name="connsiteY3" fmla="*/ 21877 h 429163"/>
                <a:gd name="connsiteX4" fmla="*/ 164182 w 429181"/>
                <a:gd name="connsiteY4" fmla="*/ 44 h 429163"/>
                <a:gd name="connsiteX5" fmla="*/ 156026 w 429181"/>
                <a:gd name="connsiteY5" fmla="*/ 6538 h 429163"/>
                <a:gd name="connsiteX6" fmla="*/ 156026 w 429181"/>
                <a:gd name="connsiteY6" fmla="*/ 7385 h 429163"/>
                <a:gd name="connsiteX7" fmla="*/ 156026 w 429181"/>
                <a:gd name="connsiteY7" fmla="*/ 21877 h 429163"/>
                <a:gd name="connsiteX8" fmla="*/ 72147 w 429181"/>
                <a:gd name="connsiteY8" fmla="*/ 21877 h 429163"/>
                <a:gd name="connsiteX9" fmla="*/ 64776 w 429181"/>
                <a:gd name="connsiteY9" fmla="*/ 29248 h 429163"/>
                <a:gd name="connsiteX10" fmla="*/ 64776 w 429181"/>
                <a:gd name="connsiteY10" fmla="*/ 392557 h 429163"/>
                <a:gd name="connsiteX11" fmla="*/ 7372 w 429181"/>
                <a:gd name="connsiteY11" fmla="*/ 392557 h 429163"/>
                <a:gd name="connsiteX12" fmla="*/ 0 w 429181"/>
                <a:gd name="connsiteY12" fmla="*/ 399928 h 429163"/>
                <a:gd name="connsiteX13" fmla="*/ 7372 w 429181"/>
                <a:gd name="connsiteY13" fmla="*/ 407300 h 429163"/>
                <a:gd name="connsiteX14" fmla="*/ 155963 w 429181"/>
                <a:gd name="connsiteY14" fmla="*/ 407300 h 429163"/>
                <a:gd name="connsiteX15" fmla="*/ 155963 w 429181"/>
                <a:gd name="connsiteY15" fmla="*/ 421792 h 429163"/>
                <a:gd name="connsiteX16" fmla="*/ 163335 w 429181"/>
                <a:gd name="connsiteY16" fmla="*/ 429164 h 429163"/>
                <a:gd name="connsiteX17" fmla="*/ 164182 w 429181"/>
                <a:gd name="connsiteY17" fmla="*/ 429164 h 429163"/>
                <a:gd name="connsiteX18" fmla="*/ 357474 w 429181"/>
                <a:gd name="connsiteY18" fmla="*/ 407206 h 429163"/>
                <a:gd name="connsiteX19" fmla="*/ 421810 w 429181"/>
                <a:gd name="connsiteY19" fmla="*/ 407206 h 429163"/>
                <a:gd name="connsiteX20" fmla="*/ 429182 w 429181"/>
                <a:gd name="connsiteY20" fmla="*/ 399834 h 429163"/>
                <a:gd name="connsiteX21" fmla="*/ 421810 w 429181"/>
                <a:gd name="connsiteY21" fmla="*/ 392463 h 429163"/>
                <a:gd name="connsiteX22" fmla="*/ 79487 w 429181"/>
                <a:gd name="connsiteY22" fmla="*/ 36620 h 429163"/>
                <a:gd name="connsiteX23" fmla="*/ 155963 w 429181"/>
                <a:gd name="connsiteY23" fmla="*/ 36620 h 429163"/>
                <a:gd name="connsiteX24" fmla="*/ 155963 w 429181"/>
                <a:gd name="connsiteY24" fmla="*/ 55441 h 429163"/>
                <a:gd name="connsiteX25" fmla="*/ 105774 w 429181"/>
                <a:gd name="connsiteY25" fmla="*/ 55441 h 429163"/>
                <a:gd name="connsiteX26" fmla="*/ 98403 w 429181"/>
                <a:gd name="connsiteY26" fmla="*/ 62812 h 429163"/>
                <a:gd name="connsiteX27" fmla="*/ 98403 w 429181"/>
                <a:gd name="connsiteY27" fmla="*/ 392557 h 429163"/>
                <a:gd name="connsiteX28" fmla="*/ 79582 w 429181"/>
                <a:gd name="connsiteY28" fmla="*/ 392557 h 429163"/>
                <a:gd name="connsiteX29" fmla="*/ 113177 w 429181"/>
                <a:gd name="connsiteY29" fmla="*/ 392557 h 429163"/>
                <a:gd name="connsiteX30" fmla="*/ 113177 w 429181"/>
                <a:gd name="connsiteY30" fmla="*/ 70309 h 429163"/>
                <a:gd name="connsiteX31" fmla="*/ 155963 w 429181"/>
                <a:gd name="connsiteY31" fmla="*/ 70309 h 429163"/>
                <a:gd name="connsiteX32" fmla="*/ 155963 w 429181"/>
                <a:gd name="connsiteY32" fmla="*/ 392557 h 429163"/>
                <a:gd name="connsiteX33" fmla="*/ 170707 w 429181"/>
                <a:gd name="connsiteY33" fmla="*/ 15634 h 429163"/>
                <a:gd name="connsiteX34" fmla="*/ 349694 w 429181"/>
                <a:gd name="connsiteY34" fmla="*/ 35836 h 429163"/>
                <a:gd name="connsiteX35" fmla="*/ 349694 w 429181"/>
                <a:gd name="connsiteY35" fmla="*/ 393435 h 429163"/>
                <a:gd name="connsiteX36" fmla="*/ 170707 w 429181"/>
                <a:gd name="connsiteY36" fmla="*/ 413668 h 429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29181" h="429163">
                  <a:moveTo>
                    <a:pt x="421779" y="392557"/>
                  </a:moveTo>
                  <a:lnTo>
                    <a:pt x="364438" y="392557"/>
                  </a:lnTo>
                  <a:lnTo>
                    <a:pt x="364438" y="29217"/>
                  </a:lnTo>
                  <a:cubicBezTo>
                    <a:pt x="364431" y="25461"/>
                    <a:pt x="361611" y="22306"/>
                    <a:pt x="357882" y="21877"/>
                  </a:cubicBezTo>
                  <a:lnTo>
                    <a:pt x="164182" y="44"/>
                  </a:lnTo>
                  <a:cubicBezTo>
                    <a:pt x="160142" y="-397"/>
                    <a:pt x="156501" y="2501"/>
                    <a:pt x="156026" y="6538"/>
                  </a:cubicBezTo>
                  <a:lnTo>
                    <a:pt x="156026" y="7385"/>
                  </a:lnTo>
                  <a:lnTo>
                    <a:pt x="156026" y="21877"/>
                  </a:lnTo>
                  <a:lnTo>
                    <a:pt x="72147" y="21877"/>
                  </a:lnTo>
                  <a:cubicBezTo>
                    <a:pt x="68076" y="21877"/>
                    <a:pt x="64776" y="25177"/>
                    <a:pt x="64776" y="29248"/>
                  </a:cubicBezTo>
                  <a:lnTo>
                    <a:pt x="64776" y="392557"/>
                  </a:lnTo>
                  <a:lnTo>
                    <a:pt x="7372" y="392557"/>
                  </a:lnTo>
                  <a:cubicBezTo>
                    <a:pt x="3300" y="392557"/>
                    <a:pt x="0" y="395857"/>
                    <a:pt x="0" y="399928"/>
                  </a:cubicBezTo>
                  <a:cubicBezTo>
                    <a:pt x="0" y="404000"/>
                    <a:pt x="3300" y="407300"/>
                    <a:pt x="7372" y="407300"/>
                  </a:cubicBezTo>
                  <a:lnTo>
                    <a:pt x="155963" y="407300"/>
                  </a:lnTo>
                  <a:lnTo>
                    <a:pt x="155963" y="421792"/>
                  </a:lnTo>
                  <a:cubicBezTo>
                    <a:pt x="155963" y="425864"/>
                    <a:pt x="159264" y="429164"/>
                    <a:pt x="163335" y="429164"/>
                  </a:cubicBezTo>
                  <a:lnTo>
                    <a:pt x="164182" y="429164"/>
                  </a:lnTo>
                  <a:lnTo>
                    <a:pt x="357474" y="407206"/>
                  </a:lnTo>
                  <a:lnTo>
                    <a:pt x="421810" y="407206"/>
                  </a:lnTo>
                  <a:cubicBezTo>
                    <a:pt x="425882" y="407206"/>
                    <a:pt x="429182" y="403906"/>
                    <a:pt x="429182" y="399834"/>
                  </a:cubicBezTo>
                  <a:cubicBezTo>
                    <a:pt x="429182" y="395762"/>
                    <a:pt x="425882" y="392463"/>
                    <a:pt x="421810" y="392463"/>
                  </a:cubicBezTo>
                  <a:close/>
                  <a:moveTo>
                    <a:pt x="79487" y="36620"/>
                  </a:moveTo>
                  <a:lnTo>
                    <a:pt x="155963" y="36620"/>
                  </a:lnTo>
                  <a:lnTo>
                    <a:pt x="155963" y="55441"/>
                  </a:lnTo>
                  <a:lnTo>
                    <a:pt x="105774" y="55441"/>
                  </a:lnTo>
                  <a:cubicBezTo>
                    <a:pt x="101703" y="55441"/>
                    <a:pt x="98403" y="58741"/>
                    <a:pt x="98403" y="62812"/>
                  </a:cubicBezTo>
                  <a:lnTo>
                    <a:pt x="98403" y="392557"/>
                  </a:lnTo>
                  <a:lnTo>
                    <a:pt x="79582" y="392557"/>
                  </a:lnTo>
                  <a:close/>
                  <a:moveTo>
                    <a:pt x="113177" y="392557"/>
                  </a:moveTo>
                  <a:lnTo>
                    <a:pt x="113177" y="70309"/>
                  </a:lnTo>
                  <a:lnTo>
                    <a:pt x="155963" y="70309"/>
                  </a:lnTo>
                  <a:lnTo>
                    <a:pt x="155963" y="392557"/>
                  </a:lnTo>
                  <a:close/>
                  <a:moveTo>
                    <a:pt x="170707" y="15634"/>
                  </a:moveTo>
                  <a:lnTo>
                    <a:pt x="349694" y="35836"/>
                  </a:lnTo>
                  <a:lnTo>
                    <a:pt x="349694" y="393435"/>
                  </a:lnTo>
                  <a:lnTo>
                    <a:pt x="170707" y="413668"/>
                  </a:lnTo>
                  <a:close/>
                </a:path>
              </a:pathLst>
            </a:custGeom>
            <a:grpFill/>
            <a:ln w="3129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9FF46F28-8B62-6745-B630-71C42B85C295}"/>
                </a:ext>
              </a:extLst>
            </p:cNvPr>
            <p:cNvSpPr/>
            <p:nvPr/>
          </p:nvSpPr>
          <p:spPr>
            <a:xfrm>
              <a:off x="7607123" y="4417567"/>
              <a:ext cx="43915" cy="43915"/>
            </a:xfrm>
            <a:custGeom>
              <a:avLst/>
              <a:gdLst>
                <a:gd name="connsiteX0" fmla="*/ 21958 w 43915"/>
                <a:gd name="connsiteY0" fmla="*/ 0 h 43915"/>
                <a:gd name="connsiteX1" fmla="*/ 0 w 43915"/>
                <a:gd name="connsiteY1" fmla="*/ 21958 h 43915"/>
                <a:gd name="connsiteX2" fmla="*/ 21958 w 43915"/>
                <a:gd name="connsiteY2" fmla="*/ 43916 h 43915"/>
                <a:gd name="connsiteX3" fmla="*/ 43916 w 43915"/>
                <a:gd name="connsiteY3" fmla="*/ 21958 h 43915"/>
                <a:gd name="connsiteX4" fmla="*/ 43916 w 43915"/>
                <a:gd name="connsiteY4" fmla="*/ 21958 h 43915"/>
                <a:gd name="connsiteX5" fmla="*/ 21958 w 43915"/>
                <a:gd name="connsiteY5" fmla="*/ 0 h 43915"/>
                <a:gd name="connsiteX6" fmla="*/ 21958 w 43915"/>
                <a:gd name="connsiteY6" fmla="*/ 29141 h 43915"/>
                <a:gd name="connsiteX7" fmla="*/ 14712 w 43915"/>
                <a:gd name="connsiteY7" fmla="*/ 21958 h 43915"/>
                <a:gd name="connsiteX8" fmla="*/ 21895 w 43915"/>
                <a:gd name="connsiteY8" fmla="*/ 14712 h 43915"/>
                <a:gd name="connsiteX9" fmla="*/ 29141 w 43915"/>
                <a:gd name="connsiteY9" fmla="*/ 21895 h 43915"/>
                <a:gd name="connsiteX10" fmla="*/ 29141 w 43915"/>
                <a:gd name="connsiteY10" fmla="*/ 21926 h 43915"/>
                <a:gd name="connsiteX11" fmla="*/ 21989 w 43915"/>
                <a:gd name="connsiteY11" fmla="*/ 29141 h 43915"/>
                <a:gd name="connsiteX12" fmla="*/ 21958 w 43915"/>
                <a:gd name="connsiteY12" fmla="*/ 29141 h 43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15" h="43915">
                  <a:moveTo>
                    <a:pt x="21958" y="0"/>
                  </a:moveTo>
                  <a:cubicBezTo>
                    <a:pt x="9831" y="0"/>
                    <a:pt x="0" y="9831"/>
                    <a:pt x="0" y="21958"/>
                  </a:cubicBezTo>
                  <a:cubicBezTo>
                    <a:pt x="0" y="34085"/>
                    <a:pt x="9831" y="43916"/>
                    <a:pt x="21958" y="43916"/>
                  </a:cubicBezTo>
                  <a:cubicBezTo>
                    <a:pt x="34085" y="43916"/>
                    <a:pt x="43916" y="34085"/>
                    <a:pt x="43916" y="21958"/>
                  </a:cubicBezTo>
                  <a:lnTo>
                    <a:pt x="43916" y="21958"/>
                  </a:lnTo>
                  <a:cubicBezTo>
                    <a:pt x="43916" y="9831"/>
                    <a:pt x="34085" y="0"/>
                    <a:pt x="21958" y="0"/>
                  </a:cubicBezTo>
                  <a:close/>
                  <a:moveTo>
                    <a:pt x="21958" y="29141"/>
                  </a:moveTo>
                  <a:cubicBezTo>
                    <a:pt x="17973" y="29158"/>
                    <a:pt x="14729" y="25943"/>
                    <a:pt x="14712" y="21958"/>
                  </a:cubicBezTo>
                  <a:cubicBezTo>
                    <a:pt x="14695" y="17973"/>
                    <a:pt x="17911" y="14729"/>
                    <a:pt x="21895" y="14712"/>
                  </a:cubicBezTo>
                  <a:cubicBezTo>
                    <a:pt x="25880" y="14695"/>
                    <a:pt x="29124" y="17911"/>
                    <a:pt x="29141" y="21895"/>
                  </a:cubicBezTo>
                  <a:cubicBezTo>
                    <a:pt x="29141" y="21905"/>
                    <a:pt x="29141" y="21916"/>
                    <a:pt x="29141" y="21926"/>
                  </a:cubicBezTo>
                  <a:cubicBezTo>
                    <a:pt x="29158" y="25894"/>
                    <a:pt x="25956" y="29124"/>
                    <a:pt x="21989" y="29141"/>
                  </a:cubicBezTo>
                  <a:cubicBezTo>
                    <a:pt x="21979" y="29141"/>
                    <a:pt x="21968" y="29141"/>
                    <a:pt x="21958" y="29141"/>
                  </a:cubicBezTo>
                  <a:close/>
                </a:path>
              </a:pathLst>
            </a:custGeom>
            <a:grpFill/>
            <a:ln w="3129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64" name="Graphic 17">
            <a:extLst>
              <a:ext uri="{FF2B5EF4-FFF2-40B4-BE49-F238E27FC236}">
                <a16:creationId xmlns:a16="http://schemas.microsoft.com/office/drawing/2014/main" id="{E91BCDF7-9AA4-5A46-A69E-287052645BF7}"/>
              </a:ext>
            </a:extLst>
          </p:cNvPr>
          <p:cNvGrpSpPr/>
          <p:nvPr userDrawn="1"/>
        </p:nvGrpSpPr>
        <p:grpSpPr>
          <a:xfrm>
            <a:off x="4822994" y="1413374"/>
            <a:ext cx="306251" cy="299719"/>
            <a:chOff x="6343955" y="1450313"/>
            <a:chExt cx="427559" cy="427559"/>
          </a:xfrm>
          <a:solidFill>
            <a:schemeClr val="bg1"/>
          </a:solidFill>
        </p:grpSpPr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CE78A651-CC68-E543-8D1D-685A8915C3BE}"/>
                </a:ext>
              </a:extLst>
            </p:cNvPr>
            <p:cNvSpPr/>
            <p:nvPr/>
          </p:nvSpPr>
          <p:spPr>
            <a:xfrm>
              <a:off x="6347455" y="1523772"/>
              <a:ext cx="359603" cy="359657"/>
            </a:xfrm>
            <a:custGeom>
              <a:avLst/>
              <a:gdLst>
                <a:gd name="connsiteX0" fmla="*/ 14323 w 359603"/>
                <a:gd name="connsiteY0" fmla="*/ 345281 h 359657"/>
                <a:gd name="connsiteX1" fmla="*/ 14323 w 359603"/>
                <a:gd name="connsiteY1" fmla="*/ 187030 h 359657"/>
                <a:gd name="connsiteX2" fmla="*/ 61889 w 359603"/>
                <a:gd name="connsiteY2" fmla="*/ 187030 h 359657"/>
                <a:gd name="connsiteX3" fmla="*/ 83526 w 359603"/>
                <a:gd name="connsiteY3" fmla="*/ 228512 h 359657"/>
                <a:gd name="connsiteX4" fmla="*/ 125008 w 359603"/>
                <a:gd name="connsiteY4" fmla="*/ 206877 h 359657"/>
                <a:gd name="connsiteX5" fmla="*/ 125008 w 359603"/>
                <a:gd name="connsiteY5" fmla="*/ 187030 h 359657"/>
                <a:gd name="connsiteX6" fmla="*/ 172574 w 359603"/>
                <a:gd name="connsiteY6" fmla="*/ 187030 h 359657"/>
                <a:gd name="connsiteX7" fmla="*/ 172574 w 359603"/>
                <a:gd name="connsiteY7" fmla="*/ 244537 h 359657"/>
                <a:gd name="connsiteX8" fmla="*/ 179762 w 359603"/>
                <a:gd name="connsiteY8" fmla="*/ 251725 h 359657"/>
                <a:gd name="connsiteX9" fmla="*/ 179789 w 359603"/>
                <a:gd name="connsiteY9" fmla="*/ 251725 h 359657"/>
                <a:gd name="connsiteX10" fmla="*/ 182060 w 359603"/>
                <a:gd name="connsiteY10" fmla="*/ 251351 h 359657"/>
                <a:gd name="connsiteX11" fmla="*/ 191092 w 359603"/>
                <a:gd name="connsiteY11" fmla="*/ 248358 h 359657"/>
                <a:gd name="connsiteX12" fmla="*/ 214704 w 359603"/>
                <a:gd name="connsiteY12" fmla="*/ 260287 h 359657"/>
                <a:gd name="connsiteX13" fmla="*/ 202774 w 359603"/>
                <a:gd name="connsiteY13" fmla="*/ 283899 h 359657"/>
                <a:gd name="connsiteX14" fmla="*/ 191092 w 359603"/>
                <a:gd name="connsiteY14" fmla="*/ 283899 h 359657"/>
                <a:gd name="connsiteX15" fmla="*/ 182060 w 359603"/>
                <a:gd name="connsiteY15" fmla="*/ 280880 h 359657"/>
                <a:gd name="connsiteX16" fmla="*/ 172940 w 359603"/>
                <a:gd name="connsiteY16" fmla="*/ 285457 h 359657"/>
                <a:gd name="connsiteX17" fmla="*/ 172574 w 359603"/>
                <a:gd name="connsiteY17" fmla="*/ 287694 h 359657"/>
                <a:gd name="connsiteX18" fmla="*/ 172574 w 359603"/>
                <a:gd name="connsiteY18" fmla="*/ 345281 h 359657"/>
                <a:gd name="connsiteX19" fmla="*/ 172574 w 359603"/>
                <a:gd name="connsiteY19" fmla="*/ 14377 h 359657"/>
                <a:gd name="connsiteX20" fmla="*/ 172574 w 359603"/>
                <a:gd name="connsiteY20" fmla="*/ 61943 h 359657"/>
                <a:gd name="connsiteX21" fmla="*/ 131092 w 359603"/>
                <a:gd name="connsiteY21" fmla="*/ 83579 h 359657"/>
                <a:gd name="connsiteX22" fmla="*/ 152728 w 359603"/>
                <a:gd name="connsiteY22" fmla="*/ 125061 h 359657"/>
                <a:gd name="connsiteX23" fmla="*/ 172574 w 359603"/>
                <a:gd name="connsiteY23" fmla="*/ 125061 h 359657"/>
                <a:gd name="connsiteX24" fmla="*/ 172574 w 359603"/>
                <a:gd name="connsiteY24" fmla="*/ 172627 h 359657"/>
                <a:gd name="connsiteX25" fmla="*/ 115040 w 359603"/>
                <a:gd name="connsiteY25" fmla="*/ 172627 h 359657"/>
                <a:gd name="connsiteX26" fmla="*/ 107852 w 359603"/>
                <a:gd name="connsiteY26" fmla="*/ 179815 h 359657"/>
                <a:gd name="connsiteX27" fmla="*/ 107852 w 359603"/>
                <a:gd name="connsiteY27" fmla="*/ 179842 h 359657"/>
                <a:gd name="connsiteX28" fmla="*/ 108226 w 359603"/>
                <a:gd name="connsiteY28" fmla="*/ 182113 h 359657"/>
                <a:gd name="connsiteX29" fmla="*/ 111219 w 359603"/>
                <a:gd name="connsiteY29" fmla="*/ 191146 h 359657"/>
                <a:gd name="connsiteX30" fmla="*/ 99289 w 359603"/>
                <a:gd name="connsiteY30" fmla="*/ 214758 h 359657"/>
                <a:gd name="connsiteX31" fmla="*/ 75678 w 359603"/>
                <a:gd name="connsiteY31" fmla="*/ 202826 h 359657"/>
                <a:gd name="connsiteX32" fmla="*/ 75678 w 359603"/>
                <a:gd name="connsiteY32" fmla="*/ 191146 h 359657"/>
                <a:gd name="connsiteX33" fmla="*/ 78698 w 359603"/>
                <a:gd name="connsiteY33" fmla="*/ 182113 h 359657"/>
                <a:gd name="connsiteX34" fmla="*/ 74121 w 359603"/>
                <a:gd name="connsiteY34" fmla="*/ 172994 h 359657"/>
                <a:gd name="connsiteX35" fmla="*/ 71883 w 359603"/>
                <a:gd name="connsiteY35" fmla="*/ 172627 h 359657"/>
                <a:gd name="connsiteX36" fmla="*/ 14323 w 359603"/>
                <a:gd name="connsiteY36" fmla="*/ 172627 h 359657"/>
                <a:gd name="connsiteX37" fmla="*/ 14323 w 359603"/>
                <a:gd name="connsiteY37" fmla="*/ 14377 h 359657"/>
                <a:gd name="connsiteX38" fmla="*/ 239246 w 359603"/>
                <a:gd name="connsiteY38" fmla="*/ 216425 h 359657"/>
                <a:gd name="connsiteX39" fmla="*/ 285385 w 359603"/>
                <a:gd name="connsiteY39" fmla="*/ 224175 h 359657"/>
                <a:gd name="connsiteX40" fmla="*/ 297661 w 359603"/>
                <a:gd name="connsiteY40" fmla="*/ 187030 h 359657"/>
                <a:gd name="connsiteX41" fmla="*/ 345227 w 359603"/>
                <a:gd name="connsiteY41" fmla="*/ 187030 h 359657"/>
                <a:gd name="connsiteX42" fmla="*/ 345227 w 359603"/>
                <a:gd name="connsiteY42" fmla="*/ 345281 h 359657"/>
                <a:gd name="connsiteX43" fmla="*/ 186977 w 359603"/>
                <a:gd name="connsiteY43" fmla="*/ 345281 h 359657"/>
                <a:gd name="connsiteX44" fmla="*/ 186977 w 359603"/>
                <a:gd name="connsiteY44" fmla="*/ 297715 h 359657"/>
                <a:gd name="connsiteX45" fmla="*/ 228459 w 359603"/>
                <a:gd name="connsiteY45" fmla="*/ 276078 h 359657"/>
                <a:gd name="connsiteX46" fmla="*/ 206822 w 359603"/>
                <a:gd name="connsiteY46" fmla="*/ 234596 h 359657"/>
                <a:gd name="connsiteX47" fmla="*/ 186977 w 359603"/>
                <a:gd name="connsiteY47" fmla="*/ 234596 h 359657"/>
                <a:gd name="connsiteX48" fmla="*/ 186977 w 359603"/>
                <a:gd name="connsiteY48" fmla="*/ 187030 h 359657"/>
                <a:gd name="connsiteX49" fmla="*/ 234543 w 359603"/>
                <a:gd name="connsiteY49" fmla="*/ 187030 h 359657"/>
                <a:gd name="connsiteX50" fmla="*/ 239246 w 359603"/>
                <a:gd name="connsiteY50" fmla="*/ 216425 h 359657"/>
                <a:gd name="connsiteX51" fmla="*/ 359497 w 359603"/>
                <a:gd name="connsiteY51" fmla="*/ 352469 h 359657"/>
                <a:gd name="connsiteX52" fmla="*/ 359497 w 359603"/>
                <a:gd name="connsiteY52" fmla="*/ 179842 h 359657"/>
                <a:gd name="connsiteX53" fmla="*/ 352335 w 359603"/>
                <a:gd name="connsiteY53" fmla="*/ 172627 h 359657"/>
                <a:gd name="connsiteX54" fmla="*/ 352309 w 359603"/>
                <a:gd name="connsiteY54" fmla="*/ 172627 h 359657"/>
                <a:gd name="connsiteX55" fmla="*/ 287774 w 359603"/>
                <a:gd name="connsiteY55" fmla="*/ 172627 h 359657"/>
                <a:gd name="connsiteX56" fmla="*/ 280586 w 359603"/>
                <a:gd name="connsiteY56" fmla="*/ 179842 h 359657"/>
                <a:gd name="connsiteX57" fmla="*/ 280960 w 359603"/>
                <a:gd name="connsiteY57" fmla="*/ 182113 h 359657"/>
                <a:gd name="connsiteX58" fmla="*/ 283979 w 359603"/>
                <a:gd name="connsiteY58" fmla="*/ 191146 h 359657"/>
                <a:gd name="connsiteX59" fmla="*/ 272751 w 359603"/>
                <a:gd name="connsiteY59" fmla="*/ 215097 h 359657"/>
                <a:gd name="connsiteX60" fmla="*/ 248798 w 359603"/>
                <a:gd name="connsiteY60" fmla="*/ 203871 h 359657"/>
                <a:gd name="connsiteX61" fmla="*/ 248439 w 359603"/>
                <a:gd name="connsiteY61" fmla="*/ 202770 h 359657"/>
                <a:gd name="connsiteX62" fmla="*/ 248439 w 359603"/>
                <a:gd name="connsiteY62" fmla="*/ 191146 h 359657"/>
                <a:gd name="connsiteX63" fmla="*/ 251431 w 359603"/>
                <a:gd name="connsiteY63" fmla="*/ 182113 h 359657"/>
                <a:gd name="connsiteX64" fmla="*/ 246855 w 359603"/>
                <a:gd name="connsiteY64" fmla="*/ 172994 h 359657"/>
                <a:gd name="connsiteX65" fmla="*/ 244617 w 359603"/>
                <a:gd name="connsiteY65" fmla="*/ 172627 h 359657"/>
                <a:gd name="connsiteX66" fmla="*/ 186977 w 359603"/>
                <a:gd name="connsiteY66" fmla="*/ 172627 h 359657"/>
                <a:gd name="connsiteX67" fmla="*/ 186977 w 359603"/>
                <a:gd name="connsiteY67" fmla="*/ 115094 h 359657"/>
                <a:gd name="connsiteX68" fmla="*/ 179789 w 359603"/>
                <a:gd name="connsiteY68" fmla="*/ 107905 h 359657"/>
                <a:gd name="connsiteX69" fmla="*/ 179762 w 359603"/>
                <a:gd name="connsiteY69" fmla="*/ 107905 h 359657"/>
                <a:gd name="connsiteX70" fmla="*/ 177490 w 359603"/>
                <a:gd name="connsiteY70" fmla="*/ 108279 h 359657"/>
                <a:gd name="connsiteX71" fmla="*/ 168458 w 359603"/>
                <a:gd name="connsiteY71" fmla="*/ 111272 h 359657"/>
                <a:gd name="connsiteX72" fmla="*/ 144847 w 359603"/>
                <a:gd name="connsiteY72" fmla="*/ 99343 h 359657"/>
                <a:gd name="connsiteX73" fmla="*/ 156777 w 359603"/>
                <a:gd name="connsiteY73" fmla="*/ 75731 h 359657"/>
                <a:gd name="connsiteX74" fmla="*/ 168458 w 359603"/>
                <a:gd name="connsiteY74" fmla="*/ 75731 h 359657"/>
                <a:gd name="connsiteX75" fmla="*/ 177490 w 359603"/>
                <a:gd name="connsiteY75" fmla="*/ 78751 h 359657"/>
                <a:gd name="connsiteX76" fmla="*/ 186596 w 359603"/>
                <a:gd name="connsiteY76" fmla="*/ 74230 h 359657"/>
                <a:gd name="connsiteX77" fmla="*/ 186603 w 359603"/>
                <a:gd name="connsiteY77" fmla="*/ 74208 h 359657"/>
                <a:gd name="connsiteX78" fmla="*/ 186977 w 359603"/>
                <a:gd name="connsiteY78" fmla="*/ 71910 h 359657"/>
                <a:gd name="connsiteX79" fmla="*/ 186977 w 359603"/>
                <a:gd name="connsiteY79" fmla="*/ 7188 h 359657"/>
                <a:gd name="connsiteX80" fmla="*/ 179789 w 359603"/>
                <a:gd name="connsiteY80" fmla="*/ 0 h 359657"/>
                <a:gd name="connsiteX81" fmla="*/ 179762 w 359603"/>
                <a:gd name="connsiteY81" fmla="*/ 0 h 359657"/>
                <a:gd name="connsiteX82" fmla="*/ 7188 w 359603"/>
                <a:gd name="connsiteY82" fmla="*/ 0 h 359657"/>
                <a:gd name="connsiteX83" fmla="*/ 0 w 359603"/>
                <a:gd name="connsiteY83" fmla="*/ 7135 h 359657"/>
                <a:gd name="connsiteX84" fmla="*/ 0 w 359603"/>
                <a:gd name="connsiteY84" fmla="*/ 7188 h 359657"/>
                <a:gd name="connsiteX85" fmla="*/ 0 w 359603"/>
                <a:gd name="connsiteY85" fmla="*/ 352469 h 359657"/>
                <a:gd name="connsiteX86" fmla="*/ 7135 w 359603"/>
                <a:gd name="connsiteY86" fmla="*/ 359657 h 359657"/>
                <a:gd name="connsiteX87" fmla="*/ 7188 w 359603"/>
                <a:gd name="connsiteY87" fmla="*/ 359657 h 359657"/>
                <a:gd name="connsiteX88" fmla="*/ 352416 w 359603"/>
                <a:gd name="connsiteY88" fmla="*/ 359657 h 359657"/>
                <a:gd name="connsiteX89" fmla="*/ 359604 w 359603"/>
                <a:gd name="connsiteY89" fmla="*/ 352522 h 359657"/>
                <a:gd name="connsiteX90" fmla="*/ 359604 w 359603"/>
                <a:gd name="connsiteY90" fmla="*/ 352469 h 359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359603" h="359657">
                  <a:moveTo>
                    <a:pt x="14323" y="345281"/>
                  </a:moveTo>
                  <a:lnTo>
                    <a:pt x="14323" y="187030"/>
                  </a:lnTo>
                  <a:lnTo>
                    <a:pt x="61889" y="187030"/>
                  </a:lnTo>
                  <a:cubicBezTo>
                    <a:pt x="56409" y="204459"/>
                    <a:pt x="66096" y="223031"/>
                    <a:pt x="83526" y="228512"/>
                  </a:cubicBezTo>
                  <a:cubicBezTo>
                    <a:pt x="100955" y="233992"/>
                    <a:pt x="119527" y="224306"/>
                    <a:pt x="125008" y="206877"/>
                  </a:cubicBezTo>
                  <a:cubicBezTo>
                    <a:pt x="127039" y="200416"/>
                    <a:pt x="127039" y="193490"/>
                    <a:pt x="125008" y="187030"/>
                  </a:cubicBezTo>
                  <a:lnTo>
                    <a:pt x="172574" y="187030"/>
                  </a:lnTo>
                  <a:lnTo>
                    <a:pt x="172574" y="244537"/>
                  </a:lnTo>
                  <a:cubicBezTo>
                    <a:pt x="172574" y="248508"/>
                    <a:pt x="175792" y="251725"/>
                    <a:pt x="179762" y="251725"/>
                  </a:cubicBezTo>
                  <a:cubicBezTo>
                    <a:pt x="179771" y="251725"/>
                    <a:pt x="179780" y="251725"/>
                    <a:pt x="179789" y="251725"/>
                  </a:cubicBezTo>
                  <a:cubicBezTo>
                    <a:pt x="180562" y="251731"/>
                    <a:pt x="181330" y="251605"/>
                    <a:pt x="182060" y="251351"/>
                  </a:cubicBezTo>
                  <a:lnTo>
                    <a:pt x="191092" y="248358"/>
                  </a:lnTo>
                  <a:cubicBezTo>
                    <a:pt x="200907" y="245133"/>
                    <a:pt x="211478" y="250475"/>
                    <a:pt x="214704" y="260287"/>
                  </a:cubicBezTo>
                  <a:cubicBezTo>
                    <a:pt x="217929" y="270102"/>
                    <a:pt x="212588" y="280674"/>
                    <a:pt x="202774" y="283899"/>
                  </a:cubicBezTo>
                  <a:cubicBezTo>
                    <a:pt x="198980" y="285147"/>
                    <a:pt x="194886" y="285147"/>
                    <a:pt x="191092" y="283899"/>
                  </a:cubicBezTo>
                  <a:lnTo>
                    <a:pt x="182060" y="280880"/>
                  </a:lnTo>
                  <a:cubicBezTo>
                    <a:pt x="178278" y="279626"/>
                    <a:pt x="174195" y="281673"/>
                    <a:pt x="172940" y="285457"/>
                  </a:cubicBezTo>
                  <a:cubicBezTo>
                    <a:pt x="172701" y="286179"/>
                    <a:pt x="172577" y="286932"/>
                    <a:pt x="172574" y="287694"/>
                  </a:cubicBezTo>
                  <a:lnTo>
                    <a:pt x="172574" y="345281"/>
                  </a:lnTo>
                  <a:close/>
                  <a:moveTo>
                    <a:pt x="172574" y="14377"/>
                  </a:moveTo>
                  <a:lnTo>
                    <a:pt x="172574" y="61943"/>
                  </a:lnTo>
                  <a:cubicBezTo>
                    <a:pt x="155144" y="56462"/>
                    <a:pt x="136572" y="66150"/>
                    <a:pt x="131092" y="83579"/>
                  </a:cubicBezTo>
                  <a:cubicBezTo>
                    <a:pt x="125612" y="101009"/>
                    <a:pt x="135298" y="119581"/>
                    <a:pt x="152728" y="125061"/>
                  </a:cubicBezTo>
                  <a:cubicBezTo>
                    <a:pt x="159187" y="127092"/>
                    <a:pt x="166114" y="127092"/>
                    <a:pt x="172574" y="125061"/>
                  </a:cubicBezTo>
                  <a:lnTo>
                    <a:pt x="172574" y="172627"/>
                  </a:lnTo>
                  <a:lnTo>
                    <a:pt x="115040" y="172627"/>
                  </a:lnTo>
                  <a:cubicBezTo>
                    <a:pt x="111070" y="172627"/>
                    <a:pt x="107852" y="175845"/>
                    <a:pt x="107852" y="179815"/>
                  </a:cubicBezTo>
                  <a:cubicBezTo>
                    <a:pt x="107852" y="179824"/>
                    <a:pt x="107852" y="179833"/>
                    <a:pt x="107852" y="179842"/>
                  </a:cubicBezTo>
                  <a:cubicBezTo>
                    <a:pt x="107844" y="180615"/>
                    <a:pt x="107970" y="181384"/>
                    <a:pt x="108226" y="182113"/>
                  </a:cubicBezTo>
                  <a:lnTo>
                    <a:pt x="111219" y="191146"/>
                  </a:lnTo>
                  <a:cubicBezTo>
                    <a:pt x="114445" y="200961"/>
                    <a:pt x="109103" y="211532"/>
                    <a:pt x="99289" y="214758"/>
                  </a:cubicBezTo>
                  <a:cubicBezTo>
                    <a:pt x="89475" y="217983"/>
                    <a:pt x="78904" y="212641"/>
                    <a:pt x="75678" y="202826"/>
                  </a:cubicBezTo>
                  <a:cubicBezTo>
                    <a:pt x="74431" y="199034"/>
                    <a:pt x="74431" y="194940"/>
                    <a:pt x="75678" y="191146"/>
                  </a:cubicBezTo>
                  <a:lnTo>
                    <a:pt x="78698" y="182113"/>
                  </a:lnTo>
                  <a:cubicBezTo>
                    <a:pt x="79952" y="178331"/>
                    <a:pt x="77903" y="174248"/>
                    <a:pt x="74121" y="172994"/>
                  </a:cubicBezTo>
                  <a:cubicBezTo>
                    <a:pt x="73399" y="172754"/>
                    <a:pt x="72644" y="172630"/>
                    <a:pt x="71883" y="172627"/>
                  </a:cubicBezTo>
                  <a:lnTo>
                    <a:pt x="14323" y="172627"/>
                  </a:lnTo>
                  <a:lnTo>
                    <a:pt x="14323" y="14377"/>
                  </a:lnTo>
                  <a:close/>
                  <a:moveTo>
                    <a:pt x="239246" y="216425"/>
                  </a:moveTo>
                  <a:cubicBezTo>
                    <a:pt x="249847" y="231307"/>
                    <a:pt x="270503" y="234775"/>
                    <a:pt x="285385" y="224175"/>
                  </a:cubicBezTo>
                  <a:cubicBezTo>
                    <a:pt x="297143" y="215800"/>
                    <a:pt x="302113" y="200763"/>
                    <a:pt x="297661" y="187030"/>
                  </a:cubicBezTo>
                  <a:lnTo>
                    <a:pt x="345227" y="187030"/>
                  </a:lnTo>
                  <a:lnTo>
                    <a:pt x="345227" y="345281"/>
                  </a:lnTo>
                  <a:lnTo>
                    <a:pt x="186977" y="345281"/>
                  </a:lnTo>
                  <a:lnTo>
                    <a:pt x="186977" y="297715"/>
                  </a:lnTo>
                  <a:cubicBezTo>
                    <a:pt x="204407" y="303196"/>
                    <a:pt x="222979" y="293509"/>
                    <a:pt x="228459" y="276078"/>
                  </a:cubicBezTo>
                  <a:cubicBezTo>
                    <a:pt x="233939" y="258649"/>
                    <a:pt x="224252" y="240077"/>
                    <a:pt x="206822" y="234596"/>
                  </a:cubicBezTo>
                  <a:cubicBezTo>
                    <a:pt x="200363" y="232565"/>
                    <a:pt x="193436" y="232565"/>
                    <a:pt x="186977" y="234596"/>
                  </a:cubicBezTo>
                  <a:lnTo>
                    <a:pt x="186977" y="187030"/>
                  </a:lnTo>
                  <a:lnTo>
                    <a:pt x="234543" y="187030"/>
                  </a:lnTo>
                  <a:cubicBezTo>
                    <a:pt x="231303" y="197017"/>
                    <a:pt x="233052" y="207949"/>
                    <a:pt x="239246" y="216425"/>
                  </a:cubicBezTo>
                  <a:moveTo>
                    <a:pt x="359497" y="352469"/>
                  </a:moveTo>
                  <a:lnTo>
                    <a:pt x="359497" y="179842"/>
                  </a:lnTo>
                  <a:cubicBezTo>
                    <a:pt x="359513" y="175872"/>
                    <a:pt x="356306" y="172642"/>
                    <a:pt x="352335" y="172627"/>
                  </a:cubicBezTo>
                  <a:cubicBezTo>
                    <a:pt x="352327" y="172627"/>
                    <a:pt x="352317" y="172627"/>
                    <a:pt x="352309" y="172627"/>
                  </a:cubicBezTo>
                  <a:lnTo>
                    <a:pt x="287774" y="172627"/>
                  </a:lnTo>
                  <a:cubicBezTo>
                    <a:pt x="283800" y="172642"/>
                    <a:pt x="280586" y="175868"/>
                    <a:pt x="280586" y="179842"/>
                  </a:cubicBezTo>
                  <a:cubicBezTo>
                    <a:pt x="280591" y="180614"/>
                    <a:pt x="280717" y="181381"/>
                    <a:pt x="280960" y="182113"/>
                  </a:cubicBezTo>
                  <a:lnTo>
                    <a:pt x="283979" y="191146"/>
                  </a:lnTo>
                  <a:cubicBezTo>
                    <a:pt x="287493" y="200862"/>
                    <a:pt x="282467" y="211586"/>
                    <a:pt x="272751" y="215097"/>
                  </a:cubicBezTo>
                  <a:cubicBezTo>
                    <a:pt x="263036" y="218611"/>
                    <a:pt x="252312" y="213584"/>
                    <a:pt x="248798" y="203871"/>
                  </a:cubicBezTo>
                  <a:cubicBezTo>
                    <a:pt x="248667" y="203507"/>
                    <a:pt x="248547" y="203141"/>
                    <a:pt x="248439" y="202770"/>
                  </a:cubicBezTo>
                  <a:cubicBezTo>
                    <a:pt x="247183" y="198997"/>
                    <a:pt x="247183" y="194919"/>
                    <a:pt x="248439" y="191146"/>
                  </a:cubicBezTo>
                  <a:lnTo>
                    <a:pt x="251431" y="182113"/>
                  </a:lnTo>
                  <a:cubicBezTo>
                    <a:pt x="252686" y="178331"/>
                    <a:pt x="250637" y="174248"/>
                    <a:pt x="246855" y="172994"/>
                  </a:cubicBezTo>
                  <a:cubicBezTo>
                    <a:pt x="246133" y="172754"/>
                    <a:pt x="245378" y="172630"/>
                    <a:pt x="244617" y="172627"/>
                  </a:cubicBezTo>
                  <a:lnTo>
                    <a:pt x="186977" y="172627"/>
                  </a:lnTo>
                  <a:lnTo>
                    <a:pt x="186977" y="115094"/>
                  </a:lnTo>
                  <a:cubicBezTo>
                    <a:pt x="186977" y="111124"/>
                    <a:pt x="183759" y="107905"/>
                    <a:pt x="179789" y="107905"/>
                  </a:cubicBezTo>
                  <a:cubicBezTo>
                    <a:pt x="179780" y="107905"/>
                    <a:pt x="179771" y="107905"/>
                    <a:pt x="179762" y="107905"/>
                  </a:cubicBezTo>
                  <a:cubicBezTo>
                    <a:pt x="178989" y="107899"/>
                    <a:pt x="178221" y="108026"/>
                    <a:pt x="177490" y="108279"/>
                  </a:cubicBezTo>
                  <a:lnTo>
                    <a:pt x="168458" y="111272"/>
                  </a:lnTo>
                  <a:cubicBezTo>
                    <a:pt x="158644" y="114498"/>
                    <a:pt x="148073" y="109157"/>
                    <a:pt x="144847" y="99343"/>
                  </a:cubicBezTo>
                  <a:cubicBezTo>
                    <a:pt x="141621" y="89528"/>
                    <a:pt x="146962" y="78957"/>
                    <a:pt x="156777" y="75731"/>
                  </a:cubicBezTo>
                  <a:cubicBezTo>
                    <a:pt x="160571" y="74484"/>
                    <a:pt x="164664" y="74484"/>
                    <a:pt x="168458" y="75731"/>
                  </a:cubicBezTo>
                  <a:lnTo>
                    <a:pt x="177490" y="78751"/>
                  </a:lnTo>
                  <a:cubicBezTo>
                    <a:pt x="181253" y="80017"/>
                    <a:pt x="185330" y="77993"/>
                    <a:pt x="186596" y="74230"/>
                  </a:cubicBezTo>
                  <a:cubicBezTo>
                    <a:pt x="186598" y="74223"/>
                    <a:pt x="186600" y="74215"/>
                    <a:pt x="186603" y="74208"/>
                  </a:cubicBezTo>
                  <a:cubicBezTo>
                    <a:pt x="186846" y="73466"/>
                    <a:pt x="186972" y="72691"/>
                    <a:pt x="186977" y="71910"/>
                  </a:cubicBezTo>
                  <a:lnTo>
                    <a:pt x="186977" y="7188"/>
                  </a:lnTo>
                  <a:cubicBezTo>
                    <a:pt x="186977" y="3219"/>
                    <a:pt x="183759" y="0"/>
                    <a:pt x="179789" y="0"/>
                  </a:cubicBezTo>
                  <a:cubicBezTo>
                    <a:pt x="179780" y="0"/>
                    <a:pt x="179771" y="0"/>
                    <a:pt x="179762" y="0"/>
                  </a:cubicBezTo>
                  <a:lnTo>
                    <a:pt x="7188" y="0"/>
                  </a:lnTo>
                  <a:cubicBezTo>
                    <a:pt x="3233" y="-15"/>
                    <a:pt x="15" y="3180"/>
                    <a:pt x="0" y="7135"/>
                  </a:cubicBezTo>
                  <a:cubicBezTo>
                    <a:pt x="0" y="7153"/>
                    <a:pt x="0" y="7170"/>
                    <a:pt x="0" y="7188"/>
                  </a:cubicBezTo>
                  <a:lnTo>
                    <a:pt x="0" y="352469"/>
                  </a:lnTo>
                  <a:cubicBezTo>
                    <a:pt x="-15" y="356424"/>
                    <a:pt x="3180" y="359641"/>
                    <a:pt x="7135" y="359657"/>
                  </a:cubicBezTo>
                  <a:cubicBezTo>
                    <a:pt x="7153" y="359657"/>
                    <a:pt x="7171" y="359657"/>
                    <a:pt x="7188" y="359657"/>
                  </a:cubicBezTo>
                  <a:lnTo>
                    <a:pt x="352416" y="359657"/>
                  </a:lnTo>
                  <a:cubicBezTo>
                    <a:pt x="356370" y="359673"/>
                    <a:pt x="359588" y="356477"/>
                    <a:pt x="359604" y="352522"/>
                  </a:cubicBezTo>
                  <a:cubicBezTo>
                    <a:pt x="359604" y="352504"/>
                    <a:pt x="359604" y="352488"/>
                    <a:pt x="359604" y="352469"/>
                  </a:cubicBezTo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5283B7-8450-DA49-BDA2-5C3819B2DF15}"/>
                </a:ext>
              </a:extLst>
            </p:cNvPr>
            <p:cNvSpPr/>
            <p:nvPr/>
          </p:nvSpPr>
          <p:spPr>
            <a:xfrm>
              <a:off x="6548951" y="1451836"/>
              <a:ext cx="230044" cy="230044"/>
            </a:xfrm>
            <a:custGeom>
              <a:avLst/>
              <a:gdLst>
                <a:gd name="connsiteX0" fmla="*/ 215668 w 230044"/>
                <a:gd name="connsiteY0" fmla="*/ 14510 h 230044"/>
                <a:gd name="connsiteX1" fmla="*/ 215668 w 230044"/>
                <a:gd name="connsiteY1" fmla="*/ 172627 h 230044"/>
                <a:gd name="connsiteX2" fmla="*/ 158108 w 230044"/>
                <a:gd name="connsiteY2" fmla="*/ 172627 h 230044"/>
                <a:gd name="connsiteX3" fmla="*/ 150919 w 230044"/>
                <a:gd name="connsiteY3" fmla="*/ 179842 h 230044"/>
                <a:gd name="connsiteX4" fmla="*/ 151293 w 230044"/>
                <a:gd name="connsiteY4" fmla="*/ 182113 h 230044"/>
                <a:gd name="connsiteX5" fmla="*/ 154313 w 230044"/>
                <a:gd name="connsiteY5" fmla="*/ 191146 h 230044"/>
                <a:gd name="connsiteX6" fmla="*/ 143084 w 230044"/>
                <a:gd name="connsiteY6" fmla="*/ 215098 h 230044"/>
                <a:gd name="connsiteX7" fmla="*/ 119133 w 230044"/>
                <a:gd name="connsiteY7" fmla="*/ 203870 h 230044"/>
                <a:gd name="connsiteX8" fmla="*/ 118772 w 230044"/>
                <a:gd name="connsiteY8" fmla="*/ 202770 h 230044"/>
                <a:gd name="connsiteX9" fmla="*/ 118772 w 230044"/>
                <a:gd name="connsiteY9" fmla="*/ 191146 h 230044"/>
                <a:gd name="connsiteX10" fmla="*/ 121765 w 230044"/>
                <a:gd name="connsiteY10" fmla="*/ 182113 h 230044"/>
                <a:gd name="connsiteX11" fmla="*/ 117187 w 230044"/>
                <a:gd name="connsiteY11" fmla="*/ 172994 h 230044"/>
                <a:gd name="connsiteX12" fmla="*/ 114951 w 230044"/>
                <a:gd name="connsiteY12" fmla="*/ 172627 h 230044"/>
                <a:gd name="connsiteX13" fmla="*/ 57417 w 230044"/>
                <a:gd name="connsiteY13" fmla="*/ 172627 h 230044"/>
                <a:gd name="connsiteX14" fmla="*/ 57417 w 230044"/>
                <a:gd name="connsiteY14" fmla="*/ 115094 h 230044"/>
                <a:gd name="connsiteX15" fmla="*/ 50202 w 230044"/>
                <a:gd name="connsiteY15" fmla="*/ 108039 h 230044"/>
                <a:gd name="connsiteX16" fmla="*/ 47931 w 230044"/>
                <a:gd name="connsiteY16" fmla="*/ 108413 h 230044"/>
                <a:gd name="connsiteX17" fmla="*/ 38899 w 230044"/>
                <a:gd name="connsiteY17" fmla="*/ 111406 h 230044"/>
                <a:gd name="connsiteX18" fmla="*/ 15288 w 230044"/>
                <a:gd name="connsiteY18" fmla="*/ 99476 h 230044"/>
                <a:gd name="connsiteX19" fmla="*/ 27217 w 230044"/>
                <a:gd name="connsiteY19" fmla="*/ 75865 h 230044"/>
                <a:gd name="connsiteX20" fmla="*/ 38899 w 230044"/>
                <a:gd name="connsiteY20" fmla="*/ 75865 h 230044"/>
                <a:gd name="connsiteX21" fmla="*/ 47931 w 230044"/>
                <a:gd name="connsiteY21" fmla="*/ 78644 h 230044"/>
                <a:gd name="connsiteX22" fmla="*/ 57050 w 230044"/>
                <a:gd name="connsiteY22" fmla="*/ 74067 h 230044"/>
                <a:gd name="connsiteX23" fmla="*/ 57417 w 230044"/>
                <a:gd name="connsiteY23" fmla="*/ 71830 h 230044"/>
                <a:gd name="connsiteX24" fmla="*/ 57417 w 230044"/>
                <a:gd name="connsiteY24" fmla="*/ 14510 h 230044"/>
                <a:gd name="connsiteX25" fmla="*/ 43014 w 230044"/>
                <a:gd name="connsiteY25" fmla="*/ 7188 h 230044"/>
                <a:gd name="connsiteX26" fmla="*/ 43014 w 230044"/>
                <a:gd name="connsiteY26" fmla="*/ 61943 h 230044"/>
                <a:gd name="connsiteX27" fmla="*/ 1532 w 230044"/>
                <a:gd name="connsiteY27" fmla="*/ 83579 h 230044"/>
                <a:gd name="connsiteX28" fmla="*/ 23169 w 230044"/>
                <a:gd name="connsiteY28" fmla="*/ 125061 h 230044"/>
                <a:gd name="connsiteX29" fmla="*/ 43014 w 230044"/>
                <a:gd name="connsiteY29" fmla="*/ 125061 h 230044"/>
                <a:gd name="connsiteX30" fmla="*/ 43014 w 230044"/>
                <a:gd name="connsiteY30" fmla="*/ 179815 h 230044"/>
                <a:gd name="connsiteX31" fmla="*/ 50202 w 230044"/>
                <a:gd name="connsiteY31" fmla="*/ 187030 h 230044"/>
                <a:gd name="connsiteX32" fmla="*/ 104983 w 230044"/>
                <a:gd name="connsiteY32" fmla="*/ 187030 h 230044"/>
                <a:gd name="connsiteX33" fmla="*/ 126620 w 230044"/>
                <a:gd name="connsiteY33" fmla="*/ 228512 h 230044"/>
                <a:gd name="connsiteX34" fmla="*/ 168102 w 230044"/>
                <a:gd name="connsiteY34" fmla="*/ 206876 h 230044"/>
                <a:gd name="connsiteX35" fmla="*/ 168102 w 230044"/>
                <a:gd name="connsiteY35" fmla="*/ 187030 h 230044"/>
                <a:gd name="connsiteX36" fmla="*/ 222856 w 230044"/>
                <a:gd name="connsiteY36" fmla="*/ 187030 h 230044"/>
                <a:gd name="connsiteX37" fmla="*/ 230044 w 230044"/>
                <a:gd name="connsiteY37" fmla="*/ 179842 h 230044"/>
                <a:gd name="connsiteX38" fmla="*/ 230044 w 230044"/>
                <a:gd name="connsiteY38" fmla="*/ 179815 h 230044"/>
                <a:gd name="connsiteX39" fmla="*/ 230044 w 230044"/>
                <a:gd name="connsiteY39" fmla="*/ 7188 h 230044"/>
                <a:gd name="connsiteX40" fmla="*/ 222909 w 230044"/>
                <a:gd name="connsiteY40" fmla="*/ 0 h 230044"/>
                <a:gd name="connsiteX41" fmla="*/ 222856 w 230044"/>
                <a:gd name="connsiteY41" fmla="*/ 0 h 230044"/>
                <a:gd name="connsiteX42" fmla="*/ 50202 w 230044"/>
                <a:gd name="connsiteY42" fmla="*/ 0 h 230044"/>
                <a:gd name="connsiteX43" fmla="*/ 43014 w 230044"/>
                <a:gd name="connsiteY43" fmla="*/ 7188 h 23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30044" h="230044">
                  <a:moveTo>
                    <a:pt x="215668" y="14510"/>
                  </a:moveTo>
                  <a:lnTo>
                    <a:pt x="215668" y="172627"/>
                  </a:lnTo>
                  <a:lnTo>
                    <a:pt x="158108" y="172627"/>
                  </a:lnTo>
                  <a:cubicBezTo>
                    <a:pt x="154134" y="172642"/>
                    <a:pt x="150919" y="175868"/>
                    <a:pt x="150919" y="179842"/>
                  </a:cubicBezTo>
                  <a:cubicBezTo>
                    <a:pt x="150925" y="180614"/>
                    <a:pt x="151050" y="181381"/>
                    <a:pt x="151293" y="182113"/>
                  </a:cubicBezTo>
                  <a:lnTo>
                    <a:pt x="154313" y="191146"/>
                  </a:lnTo>
                  <a:cubicBezTo>
                    <a:pt x="157827" y="200861"/>
                    <a:pt x="152800" y="211585"/>
                    <a:pt x="143084" y="215098"/>
                  </a:cubicBezTo>
                  <a:cubicBezTo>
                    <a:pt x="133371" y="218612"/>
                    <a:pt x="122644" y="213585"/>
                    <a:pt x="119133" y="203870"/>
                  </a:cubicBezTo>
                  <a:cubicBezTo>
                    <a:pt x="118999" y="203507"/>
                    <a:pt x="118882" y="203140"/>
                    <a:pt x="118772" y="202770"/>
                  </a:cubicBezTo>
                  <a:cubicBezTo>
                    <a:pt x="117516" y="198997"/>
                    <a:pt x="117516" y="194919"/>
                    <a:pt x="118772" y="191146"/>
                  </a:cubicBezTo>
                  <a:lnTo>
                    <a:pt x="121765" y="182113"/>
                  </a:lnTo>
                  <a:cubicBezTo>
                    <a:pt x="123018" y="178331"/>
                    <a:pt x="120971" y="174248"/>
                    <a:pt x="117187" y="172994"/>
                  </a:cubicBezTo>
                  <a:cubicBezTo>
                    <a:pt x="116466" y="172754"/>
                    <a:pt x="115712" y="172630"/>
                    <a:pt x="114951" y="172627"/>
                  </a:cubicBezTo>
                  <a:lnTo>
                    <a:pt x="57417" y="172627"/>
                  </a:lnTo>
                  <a:lnTo>
                    <a:pt x="57417" y="115094"/>
                  </a:lnTo>
                  <a:cubicBezTo>
                    <a:pt x="57344" y="111165"/>
                    <a:pt x="54131" y="108024"/>
                    <a:pt x="50202" y="108039"/>
                  </a:cubicBezTo>
                  <a:cubicBezTo>
                    <a:pt x="49429" y="108031"/>
                    <a:pt x="48660" y="108157"/>
                    <a:pt x="47931" y="108413"/>
                  </a:cubicBezTo>
                  <a:lnTo>
                    <a:pt x="38899" y="111406"/>
                  </a:lnTo>
                  <a:cubicBezTo>
                    <a:pt x="29084" y="114632"/>
                    <a:pt x="18513" y="109291"/>
                    <a:pt x="15288" y="99476"/>
                  </a:cubicBezTo>
                  <a:cubicBezTo>
                    <a:pt x="12062" y="89662"/>
                    <a:pt x="17403" y="79091"/>
                    <a:pt x="27217" y="75865"/>
                  </a:cubicBezTo>
                  <a:cubicBezTo>
                    <a:pt x="31011" y="74618"/>
                    <a:pt x="35105" y="74618"/>
                    <a:pt x="38899" y="75865"/>
                  </a:cubicBezTo>
                  <a:lnTo>
                    <a:pt x="47931" y="78644"/>
                  </a:lnTo>
                  <a:cubicBezTo>
                    <a:pt x="51713" y="79899"/>
                    <a:pt x="55796" y="77850"/>
                    <a:pt x="57050" y="74067"/>
                  </a:cubicBezTo>
                  <a:cubicBezTo>
                    <a:pt x="57290" y="73346"/>
                    <a:pt x="57414" y="72590"/>
                    <a:pt x="57417" y="71830"/>
                  </a:cubicBezTo>
                  <a:lnTo>
                    <a:pt x="57417" y="14510"/>
                  </a:lnTo>
                  <a:close/>
                  <a:moveTo>
                    <a:pt x="43014" y="7188"/>
                  </a:moveTo>
                  <a:lnTo>
                    <a:pt x="43014" y="61943"/>
                  </a:lnTo>
                  <a:cubicBezTo>
                    <a:pt x="25584" y="56462"/>
                    <a:pt x="7012" y="66150"/>
                    <a:pt x="1532" y="83579"/>
                  </a:cubicBezTo>
                  <a:cubicBezTo>
                    <a:pt x="-3948" y="101009"/>
                    <a:pt x="5739" y="119581"/>
                    <a:pt x="23169" y="125061"/>
                  </a:cubicBezTo>
                  <a:cubicBezTo>
                    <a:pt x="29628" y="127092"/>
                    <a:pt x="36555" y="127092"/>
                    <a:pt x="43014" y="125061"/>
                  </a:cubicBezTo>
                  <a:lnTo>
                    <a:pt x="43014" y="179815"/>
                  </a:lnTo>
                  <a:cubicBezTo>
                    <a:pt x="43014" y="183790"/>
                    <a:pt x="46228" y="187016"/>
                    <a:pt x="50202" y="187030"/>
                  </a:cubicBezTo>
                  <a:lnTo>
                    <a:pt x="104983" y="187030"/>
                  </a:lnTo>
                  <a:cubicBezTo>
                    <a:pt x="99503" y="204460"/>
                    <a:pt x="109189" y="223032"/>
                    <a:pt x="126620" y="228512"/>
                  </a:cubicBezTo>
                  <a:cubicBezTo>
                    <a:pt x="144049" y="233992"/>
                    <a:pt x="162621" y="224306"/>
                    <a:pt x="168102" y="206876"/>
                  </a:cubicBezTo>
                  <a:cubicBezTo>
                    <a:pt x="170133" y="200416"/>
                    <a:pt x="170133" y="193490"/>
                    <a:pt x="168102" y="187030"/>
                  </a:cubicBezTo>
                  <a:lnTo>
                    <a:pt x="222856" y="187030"/>
                  </a:lnTo>
                  <a:cubicBezTo>
                    <a:pt x="226827" y="187030"/>
                    <a:pt x="230044" y="183812"/>
                    <a:pt x="230044" y="179842"/>
                  </a:cubicBezTo>
                  <a:cubicBezTo>
                    <a:pt x="230044" y="179833"/>
                    <a:pt x="230044" y="179824"/>
                    <a:pt x="230044" y="179815"/>
                  </a:cubicBezTo>
                  <a:lnTo>
                    <a:pt x="230044" y="7188"/>
                  </a:lnTo>
                  <a:cubicBezTo>
                    <a:pt x="230060" y="3233"/>
                    <a:pt x="226864" y="15"/>
                    <a:pt x="222909" y="0"/>
                  </a:cubicBezTo>
                  <a:cubicBezTo>
                    <a:pt x="222891" y="0"/>
                    <a:pt x="222875" y="0"/>
                    <a:pt x="222856" y="0"/>
                  </a:cubicBezTo>
                  <a:lnTo>
                    <a:pt x="50202" y="0"/>
                  </a:lnTo>
                  <a:cubicBezTo>
                    <a:pt x="46232" y="0"/>
                    <a:pt x="43014" y="3218"/>
                    <a:pt x="43014" y="7188"/>
                  </a:cubicBezTo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67" name="Graphic 19">
            <a:extLst>
              <a:ext uri="{FF2B5EF4-FFF2-40B4-BE49-F238E27FC236}">
                <a16:creationId xmlns:a16="http://schemas.microsoft.com/office/drawing/2014/main" id="{F463F782-415B-824C-B144-E21A882C617B}"/>
              </a:ext>
            </a:extLst>
          </p:cNvPr>
          <p:cNvGrpSpPr/>
          <p:nvPr userDrawn="1"/>
        </p:nvGrpSpPr>
        <p:grpSpPr>
          <a:xfrm>
            <a:off x="4008408" y="2109794"/>
            <a:ext cx="313381" cy="306697"/>
            <a:chOff x="5206708" y="2443780"/>
            <a:chExt cx="437513" cy="437513"/>
          </a:xfrm>
          <a:solidFill>
            <a:schemeClr val="bg1"/>
          </a:solidFill>
        </p:grpSpPr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F640EEC1-7A7D-AB4A-A910-5C2FFA7AD414}"/>
                </a:ext>
              </a:extLst>
            </p:cNvPr>
            <p:cNvSpPr/>
            <p:nvPr/>
          </p:nvSpPr>
          <p:spPr>
            <a:xfrm>
              <a:off x="5232193" y="2534673"/>
              <a:ext cx="189060" cy="284684"/>
            </a:xfrm>
            <a:custGeom>
              <a:avLst/>
              <a:gdLst>
                <a:gd name="connsiteX0" fmla="*/ 147961 w 189060"/>
                <a:gd name="connsiteY0" fmla="*/ 273473 h 284684"/>
                <a:gd name="connsiteX1" fmla="*/ 85069 w 189060"/>
                <a:gd name="connsiteY1" fmla="*/ 239074 h 284684"/>
                <a:gd name="connsiteX2" fmla="*/ 68908 w 189060"/>
                <a:gd name="connsiteY2" fmla="*/ 222257 h 284684"/>
                <a:gd name="connsiteX3" fmla="*/ 71397 w 189060"/>
                <a:gd name="connsiteY3" fmla="*/ 222257 h 284684"/>
                <a:gd name="connsiteX4" fmla="*/ 81924 w 189060"/>
                <a:gd name="connsiteY4" fmla="*/ 222612 h 284684"/>
                <a:gd name="connsiteX5" fmla="*/ 79819 w 189060"/>
                <a:gd name="connsiteY5" fmla="*/ 219714 h 284684"/>
                <a:gd name="connsiteX6" fmla="*/ 75963 w 189060"/>
                <a:gd name="connsiteY6" fmla="*/ 213479 h 284684"/>
                <a:gd name="connsiteX7" fmla="*/ 71397 w 189060"/>
                <a:gd name="connsiteY7" fmla="*/ 213643 h 284684"/>
                <a:gd name="connsiteX8" fmla="*/ 62728 w 189060"/>
                <a:gd name="connsiteY8" fmla="*/ 213999 h 284684"/>
                <a:gd name="connsiteX9" fmla="*/ 39868 w 189060"/>
                <a:gd name="connsiteY9" fmla="*/ 148946 h 284684"/>
                <a:gd name="connsiteX10" fmla="*/ 46540 w 189060"/>
                <a:gd name="connsiteY10" fmla="*/ 149219 h 284684"/>
                <a:gd name="connsiteX11" fmla="*/ 57150 w 189060"/>
                <a:gd name="connsiteY11" fmla="*/ 149547 h 284684"/>
                <a:gd name="connsiteX12" fmla="*/ 56849 w 189060"/>
                <a:gd name="connsiteY12" fmla="*/ 140250 h 284684"/>
                <a:gd name="connsiteX13" fmla="*/ 46540 w 189060"/>
                <a:gd name="connsiteY13" fmla="*/ 140578 h 284684"/>
                <a:gd name="connsiteX14" fmla="*/ 39732 w 189060"/>
                <a:gd name="connsiteY14" fmla="*/ 140879 h 284684"/>
                <a:gd name="connsiteX15" fmla="*/ 58599 w 189060"/>
                <a:gd name="connsiteY15" fmla="*/ 76975 h 284684"/>
                <a:gd name="connsiteX16" fmla="*/ 67486 w 189060"/>
                <a:gd name="connsiteY16" fmla="*/ 77358 h 284684"/>
                <a:gd name="connsiteX17" fmla="*/ 71944 w 189060"/>
                <a:gd name="connsiteY17" fmla="*/ 77494 h 284684"/>
                <a:gd name="connsiteX18" fmla="*/ 76756 w 189060"/>
                <a:gd name="connsiteY18" fmla="*/ 68416 h 284684"/>
                <a:gd name="connsiteX19" fmla="*/ 67486 w 189060"/>
                <a:gd name="connsiteY19" fmla="*/ 68717 h 284684"/>
                <a:gd name="connsiteX20" fmla="*/ 64068 w 189060"/>
                <a:gd name="connsiteY20" fmla="*/ 68717 h 284684"/>
                <a:gd name="connsiteX21" fmla="*/ 85151 w 189060"/>
                <a:gd name="connsiteY21" fmla="*/ 45474 h 284684"/>
                <a:gd name="connsiteX22" fmla="*/ 135602 w 189060"/>
                <a:gd name="connsiteY22" fmla="*/ 15340 h 284684"/>
                <a:gd name="connsiteX23" fmla="*/ 180365 w 189060"/>
                <a:gd name="connsiteY23" fmla="*/ 1313 h 284684"/>
                <a:gd name="connsiteX24" fmla="*/ 188322 w 189060"/>
                <a:gd name="connsiteY24" fmla="*/ 0 h 284684"/>
                <a:gd name="connsiteX25" fmla="*/ 163028 w 189060"/>
                <a:gd name="connsiteY25" fmla="*/ 0 h 284684"/>
                <a:gd name="connsiteX26" fmla="*/ 0 w 189060"/>
                <a:gd name="connsiteY26" fmla="*/ 142356 h 284684"/>
                <a:gd name="connsiteX27" fmla="*/ 163028 w 189060"/>
                <a:gd name="connsiteY27" fmla="*/ 284684 h 284684"/>
                <a:gd name="connsiteX28" fmla="*/ 189060 w 189060"/>
                <a:gd name="connsiteY28" fmla="*/ 284684 h 284684"/>
                <a:gd name="connsiteX29" fmla="*/ 147961 w 189060"/>
                <a:gd name="connsiteY29" fmla="*/ 273473 h 284684"/>
                <a:gd name="connsiteX30" fmla="*/ 4895 w 189060"/>
                <a:gd name="connsiteY30" fmla="*/ 142356 h 284684"/>
                <a:gd name="connsiteX31" fmla="*/ 144817 w 189060"/>
                <a:gd name="connsiteY31" fmla="*/ 5824 h 284684"/>
                <a:gd name="connsiteX32" fmla="*/ 50451 w 189060"/>
                <a:gd name="connsiteY32" fmla="*/ 69537 h 284684"/>
                <a:gd name="connsiteX33" fmla="*/ 32103 w 189060"/>
                <a:gd name="connsiteY33" fmla="*/ 73037 h 284684"/>
                <a:gd name="connsiteX34" fmla="*/ 46103 w 189060"/>
                <a:gd name="connsiteY34" fmla="*/ 76264 h 284684"/>
                <a:gd name="connsiteX35" fmla="*/ 27345 w 189060"/>
                <a:gd name="connsiteY35" fmla="*/ 141535 h 284684"/>
                <a:gd name="connsiteX36" fmla="*/ 11157 w 189060"/>
                <a:gd name="connsiteY36" fmla="*/ 144899 h 284684"/>
                <a:gd name="connsiteX37" fmla="*/ 27563 w 189060"/>
                <a:gd name="connsiteY37" fmla="*/ 148290 h 284684"/>
                <a:gd name="connsiteX38" fmla="*/ 50314 w 189060"/>
                <a:gd name="connsiteY38" fmla="*/ 214792 h 284684"/>
                <a:gd name="connsiteX39" fmla="*/ 36204 w 189060"/>
                <a:gd name="connsiteY39" fmla="*/ 218018 h 284684"/>
                <a:gd name="connsiteX40" fmla="*/ 55345 w 189060"/>
                <a:gd name="connsiteY40" fmla="*/ 221600 h 284684"/>
                <a:gd name="connsiteX41" fmla="*/ 144981 w 189060"/>
                <a:gd name="connsiteY41" fmla="*/ 278887 h 284684"/>
                <a:gd name="connsiteX42" fmla="*/ 4895 w 189060"/>
                <a:gd name="connsiteY42" fmla="*/ 142356 h 284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89060" h="284684">
                  <a:moveTo>
                    <a:pt x="147961" y="273473"/>
                  </a:moveTo>
                  <a:cubicBezTo>
                    <a:pt x="124724" y="266768"/>
                    <a:pt x="103251" y="255024"/>
                    <a:pt x="85069" y="239074"/>
                  </a:cubicBezTo>
                  <a:cubicBezTo>
                    <a:pt x="79249" y="233900"/>
                    <a:pt x="73845" y="228278"/>
                    <a:pt x="68908" y="222257"/>
                  </a:cubicBezTo>
                  <a:lnTo>
                    <a:pt x="71397" y="222257"/>
                  </a:lnTo>
                  <a:lnTo>
                    <a:pt x="81924" y="222612"/>
                  </a:lnTo>
                  <a:cubicBezTo>
                    <a:pt x="81241" y="221628"/>
                    <a:pt x="80475" y="220725"/>
                    <a:pt x="79819" y="219714"/>
                  </a:cubicBezTo>
                  <a:cubicBezTo>
                    <a:pt x="78479" y="217690"/>
                    <a:pt x="77084" y="215612"/>
                    <a:pt x="75963" y="213479"/>
                  </a:cubicBezTo>
                  <a:lnTo>
                    <a:pt x="71397" y="213643"/>
                  </a:lnTo>
                  <a:lnTo>
                    <a:pt x="62728" y="213999"/>
                  </a:lnTo>
                  <a:cubicBezTo>
                    <a:pt x="49144" y="194896"/>
                    <a:pt x="41221" y="172348"/>
                    <a:pt x="39868" y="148946"/>
                  </a:cubicBezTo>
                  <a:lnTo>
                    <a:pt x="46540" y="149219"/>
                  </a:lnTo>
                  <a:lnTo>
                    <a:pt x="57150" y="149547"/>
                  </a:lnTo>
                  <a:cubicBezTo>
                    <a:pt x="56959" y="146457"/>
                    <a:pt x="56849" y="143340"/>
                    <a:pt x="56849" y="140250"/>
                  </a:cubicBezTo>
                  <a:lnTo>
                    <a:pt x="46540" y="140578"/>
                  </a:lnTo>
                  <a:lnTo>
                    <a:pt x="39732" y="140879"/>
                  </a:lnTo>
                  <a:cubicBezTo>
                    <a:pt x="40043" y="118251"/>
                    <a:pt x="46570" y="96143"/>
                    <a:pt x="58599" y="76975"/>
                  </a:cubicBezTo>
                  <a:lnTo>
                    <a:pt x="67486" y="77358"/>
                  </a:lnTo>
                  <a:lnTo>
                    <a:pt x="71944" y="77494"/>
                  </a:lnTo>
                  <a:cubicBezTo>
                    <a:pt x="73420" y="74377"/>
                    <a:pt x="75033" y="71369"/>
                    <a:pt x="76756" y="68416"/>
                  </a:cubicBezTo>
                  <a:lnTo>
                    <a:pt x="67486" y="68717"/>
                  </a:lnTo>
                  <a:lnTo>
                    <a:pt x="64068" y="68717"/>
                  </a:lnTo>
                  <a:cubicBezTo>
                    <a:pt x="70225" y="60222"/>
                    <a:pt x="77295" y="52428"/>
                    <a:pt x="85151" y="45474"/>
                  </a:cubicBezTo>
                  <a:cubicBezTo>
                    <a:pt x="99998" y="32448"/>
                    <a:pt x="117094" y="22237"/>
                    <a:pt x="135602" y="15340"/>
                  </a:cubicBezTo>
                  <a:cubicBezTo>
                    <a:pt x="149737" y="8451"/>
                    <a:pt x="164826" y="3722"/>
                    <a:pt x="180365" y="1313"/>
                  </a:cubicBezTo>
                  <a:cubicBezTo>
                    <a:pt x="183099" y="820"/>
                    <a:pt x="185642" y="410"/>
                    <a:pt x="188322" y="0"/>
                  </a:cubicBezTo>
                  <a:lnTo>
                    <a:pt x="163028" y="0"/>
                  </a:lnTo>
                  <a:cubicBezTo>
                    <a:pt x="73147" y="0"/>
                    <a:pt x="0" y="63850"/>
                    <a:pt x="0" y="142356"/>
                  </a:cubicBezTo>
                  <a:cubicBezTo>
                    <a:pt x="0" y="220862"/>
                    <a:pt x="73147" y="284684"/>
                    <a:pt x="163028" y="284684"/>
                  </a:cubicBezTo>
                  <a:lnTo>
                    <a:pt x="189060" y="284684"/>
                  </a:lnTo>
                  <a:cubicBezTo>
                    <a:pt x="174993" y="282458"/>
                    <a:pt x="161211" y="278699"/>
                    <a:pt x="147961" y="273473"/>
                  </a:cubicBezTo>
                  <a:close/>
                  <a:moveTo>
                    <a:pt x="4895" y="142356"/>
                  </a:moveTo>
                  <a:cubicBezTo>
                    <a:pt x="4895" y="71916"/>
                    <a:pt x="66174" y="13672"/>
                    <a:pt x="144817" y="5824"/>
                  </a:cubicBezTo>
                  <a:cubicBezTo>
                    <a:pt x="106730" y="15040"/>
                    <a:pt x="73233" y="37656"/>
                    <a:pt x="50451" y="69537"/>
                  </a:cubicBezTo>
                  <a:cubicBezTo>
                    <a:pt x="32103" y="70631"/>
                    <a:pt x="32103" y="71807"/>
                    <a:pt x="32103" y="73037"/>
                  </a:cubicBezTo>
                  <a:cubicBezTo>
                    <a:pt x="32103" y="74268"/>
                    <a:pt x="32103" y="75252"/>
                    <a:pt x="46103" y="76264"/>
                  </a:cubicBezTo>
                  <a:cubicBezTo>
                    <a:pt x="34039" y="95914"/>
                    <a:pt x="27554" y="118479"/>
                    <a:pt x="27345" y="141535"/>
                  </a:cubicBezTo>
                  <a:cubicBezTo>
                    <a:pt x="11184" y="142575"/>
                    <a:pt x="11157" y="143723"/>
                    <a:pt x="11157" y="144899"/>
                  </a:cubicBezTo>
                  <a:cubicBezTo>
                    <a:pt x="11157" y="146075"/>
                    <a:pt x="11157" y="147223"/>
                    <a:pt x="27563" y="148290"/>
                  </a:cubicBezTo>
                  <a:cubicBezTo>
                    <a:pt x="28820" y="172140"/>
                    <a:pt x="36699" y="195169"/>
                    <a:pt x="50314" y="214792"/>
                  </a:cubicBezTo>
                  <a:cubicBezTo>
                    <a:pt x="36232" y="215831"/>
                    <a:pt x="36204" y="216897"/>
                    <a:pt x="36204" y="218018"/>
                  </a:cubicBezTo>
                  <a:cubicBezTo>
                    <a:pt x="36204" y="219139"/>
                    <a:pt x="36204" y="220479"/>
                    <a:pt x="55345" y="221600"/>
                  </a:cubicBezTo>
                  <a:cubicBezTo>
                    <a:pt x="78085" y="250063"/>
                    <a:pt x="109601" y="270203"/>
                    <a:pt x="144981" y="278887"/>
                  </a:cubicBezTo>
                  <a:cubicBezTo>
                    <a:pt x="66174" y="271012"/>
                    <a:pt x="4895" y="212768"/>
                    <a:pt x="4895" y="142356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C5971E89-AE2C-104A-BBCD-866BCF9A884F}"/>
                </a:ext>
              </a:extLst>
            </p:cNvPr>
            <p:cNvSpPr/>
            <p:nvPr/>
          </p:nvSpPr>
          <p:spPr>
            <a:xfrm>
              <a:off x="5207739" y="2525345"/>
              <a:ext cx="447118" cy="305385"/>
            </a:xfrm>
            <a:custGeom>
              <a:avLst/>
              <a:gdLst>
                <a:gd name="connsiteX0" fmla="*/ 183653 w 447118"/>
                <a:gd name="connsiteY0" fmla="*/ 305305 h 305385"/>
                <a:gd name="connsiteX1" fmla="*/ 171184 w 447118"/>
                <a:gd name="connsiteY1" fmla="*/ 305305 h 305385"/>
                <a:gd name="connsiteX2" fmla="*/ 24235 w 447118"/>
                <a:gd name="connsiteY2" fmla="*/ 234209 h 305385"/>
                <a:gd name="connsiteX3" fmla="*/ 14883 w 447118"/>
                <a:gd name="connsiteY3" fmla="*/ 86740 h 305385"/>
                <a:gd name="connsiteX4" fmla="*/ 129484 w 447118"/>
                <a:gd name="connsiteY4" fmla="*/ 4706 h 305385"/>
                <a:gd name="connsiteX5" fmla="*/ 183626 w 447118"/>
                <a:gd name="connsiteY5" fmla="*/ 3 h 305385"/>
                <a:gd name="connsiteX6" fmla="*/ 255706 w 447118"/>
                <a:gd name="connsiteY6" fmla="*/ 3 h 305385"/>
                <a:gd name="connsiteX7" fmla="*/ 345943 w 447118"/>
                <a:gd name="connsiteY7" fmla="*/ 12718 h 305385"/>
                <a:gd name="connsiteX8" fmla="*/ 409137 w 447118"/>
                <a:gd name="connsiteY8" fmla="*/ 53270 h 305385"/>
                <a:gd name="connsiteX9" fmla="*/ 409137 w 447118"/>
                <a:gd name="connsiteY9" fmla="*/ 53462 h 305385"/>
                <a:gd name="connsiteX10" fmla="*/ 447118 w 447118"/>
                <a:gd name="connsiteY10" fmla="*/ 154336 h 305385"/>
                <a:gd name="connsiteX11" fmla="*/ 348678 w 447118"/>
                <a:gd name="connsiteY11" fmla="*/ 292317 h 305385"/>
                <a:gd name="connsiteX12" fmla="*/ 255706 w 447118"/>
                <a:gd name="connsiteY12" fmla="*/ 305278 h 305385"/>
                <a:gd name="connsiteX13" fmla="*/ 184310 w 447118"/>
                <a:gd name="connsiteY13" fmla="*/ 13730 h 305385"/>
                <a:gd name="connsiteX14" fmla="*/ 131726 w 447118"/>
                <a:gd name="connsiteY14" fmla="*/ 18269 h 305385"/>
                <a:gd name="connsiteX15" fmla="*/ 27133 w 447118"/>
                <a:gd name="connsiteY15" fmla="*/ 92756 h 305385"/>
                <a:gd name="connsiteX16" fmla="*/ 35583 w 447118"/>
                <a:gd name="connsiteY16" fmla="*/ 226608 h 305385"/>
                <a:gd name="connsiteX17" fmla="*/ 171512 w 447118"/>
                <a:gd name="connsiteY17" fmla="*/ 291524 h 305385"/>
                <a:gd name="connsiteX18" fmla="*/ 183653 w 447118"/>
                <a:gd name="connsiteY18" fmla="*/ 291524 h 305385"/>
                <a:gd name="connsiteX19" fmla="*/ 255542 w 447118"/>
                <a:gd name="connsiteY19" fmla="*/ 291524 h 305385"/>
                <a:gd name="connsiteX20" fmla="*/ 344248 w 447118"/>
                <a:gd name="connsiteY20" fmla="*/ 279273 h 305385"/>
                <a:gd name="connsiteX21" fmla="*/ 433501 w 447118"/>
                <a:gd name="connsiteY21" fmla="*/ 154090 h 305385"/>
                <a:gd name="connsiteX22" fmla="*/ 398965 w 447118"/>
                <a:gd name="connsiteY22" fmla="*/ 62403 h 305385"/>
                <a:gd name="connsiteX23" fmla="*/ 341705 w 447118"/>
                <a:gd name="connsiteY23" fmla="*/ 25652 h 305385"/>
                <a:gd name="connsiteX24" fmla="*/ 255843 w 447118"/>
                <a:gd name="connsiteY24" fmla="*/ 13648 h 305385"/>
                <a:gd name="connsiteX25" fmla="*/ 184310 w 447118"/>
                <a:gd name="connsiteY25" fmla="*/ 13648 h 305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47118" h="305385">
                  <a:moveTo>
                    <a:pt x="183653" y="305305"/>
                  </a:moveTo>
                  <a:lnTo>
                    <a:pt x="171184" y="305305"/>
                  </a:lnTo>
                  <a:cubicBezTo>
                    <a:pt x="113526" y="307047"/>
                    <a:pt x="58655" y="280501"/>
                    <a:pt x="24235" y="234209"/>
                  </a:cubicBezTo>
                  <a:cubicBezTo>
                    <a:pt x="-4344" y="190033"/>
                    <a:pt x="-7886" y="134172"/>
                    <a:pt x="14883" y="86740"/>
                  </a:cubicBezTo>
                  <a:cubicBezTo>
                    <a:pt x="36988" y="41974"/>
                    <a:pt x="79982" y="11199"/>
                    <a:pt x="129484" y="4706"/>
                  </a:cubicBezTo>
                  <a:cubicBezTo>
                    <a:pt x="147357" y="1545"/>
                    <a:pt x="165475" y="-29"/>
                    <a:pt x="183626" y="3"/>
                  </a:cubicBezTo>
                  <a:lnTo>
                    <a:pt x="255706" y="3"/>
                  </a:lnTo>
                  <a:cubicBezTo>
                    <a:pt x="286242" y="-133"/>
                    <a:pt x="316636" y="4150"/>
                    <a:pt x="345943" y="12718"/>
                  </a:cubicBezTo>
                  <a:cubicBezTo>
                    <a:pt x="370029" y="20820"/>
                    <a:pt x="391737" y="34751"/>
                    <a:pt x="409137" y="53270"/>
                  </a:cubicBezTo>
                  <a:lnTo>
                    <a:pt x="409137" y="53462"/>
                  </a:lnTo>
                  <a:cubicBezTo>
                    <a:pt x="433703" y="81313"/>
                    <a:pt x="447214" y="117199"/>
                    <a:pt x="447118" y="154336"/>
                  </a:cubicBezTo>
                  <a:cubicBezTo>
                    <a:pt x="445899" y="216230"/>
                    <a:pt x="406807" y="271023"/>
                    <a:pt x="348678" y="292317"/>
                  </a:cubicBezTo>
                  <a:cubicBezTo>
                    <a:pt x="318555" y="301474"/>
                    <a:pt x="287183" y="305847"/>
                    <a:pt x="255706" y="305278"/>
                  </a:cubicBezTo>
                  <a:close/>
                  <a:moveTo>
                    <a:pt x="184310" y="13730"/>
                  </a:moveTo>
                  <a:cubicBezTo>
                    <a:pt x="166682" y="13688"/>
                    <a:pt x="149086" y="15207"/>
                    <a:pt x="131726" y="18269"/>
                  </a:cubicBezTo>
                  <a:cubicBezTo>
                    <a:pt x="86602" y="24052"/>
                    <a:pt x="47353" y="52003"/>
                    <a:pt x="27133" y="92756"/>
                  </a:cubicBezTo>
                  <a:cubicBezTo>
                    <a:pt x="6808" y="135870"/>
                    <a:pt x="9997" y="186392"/>
                    <a:pt x="35583" y="226608"/>
                  </a:cubicBezTo>
                  <a:cubicBezTo>
                    <a:pt x="67623" y="269085"/>
                    <a:pt x="118336" y="293304"/>
                    <a:pt x="171512" y="291524"/>
                  </a:cubicBezTo>
                  <a:cubicBezTo>
                    <a:pt x="175541" y="291524"/>
                    <a:pt x="179588" y="291524"/>
                    <a:pt x="183653" y="291524"/>
                  </a:cubicBezTo>
                  <a:lnTo>
                    <a:pt x="255542" y="291524"/>
                  </a:lnTo>
                  <a:cubicBezTo>
                    <a:pt x="285567" y="292076"/>
                    <a:pt x="315495" y="287944"/>
                    <a:pt x="344248" y="279273"/>
                  </a:cubicBezTo>
                  <a:cubicBezTo>
                    <a:pt x="396946" y="259916"/>
                    <a:pt x="432380" y="210220"/>
                    <a:pt x="433501" y="154090"/>
                  </a:cubicBezTo>
                  <a:cubicBezTo>
                    <a:pt x="433558" y="120338"/>
                    <a:pt x="421275" y="87729"/>
                    <a:pt x="398965" y="62403"/>
                  </a:cubicBezTo>
                  <a:cubicBezTo>
                    <a:pt x="383181" y="45641"/>
                    <a:pt x="363518" y="33019"/>
                    <a:pt x="341705" y="25652"/>
                  </a:cubicBezTo>
                  <a:cubicBezTo>
                    <a:pt x="313811" y="17539"/>
                    <a:pt x="284891" y="13496"/>
                    <a:pt x="255843" y="13648"/>
                  </a:cubicBezTo>
                  <a:lnTo>
                    <a:pt x="184310" y="13648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09CDB847-D912-1B45-8EF1-2762B61A69BA}"/>
                </a:ext>
              </a:extLst>
            </p:cNvPr>
            <p:cNvSpPr/>
            <p:nvPr/>
          </p:nvSpPr>
          <p:spPr>
            <a:xfrm>
              <a:off x="5285629" y="2528544"/>
              <a:ext cx="367534" cy="298723"/>
            </a:xfrm>
            <a:custGeom>
              <a:avLst/>
              <a:gdLst>
                <a:gd name="connsiteX0" fmla="*/ 177926 w 367534"/>
                <a:gd name="connsiteY0" fmla="*/ 298634 h 298723"/>
                <a:gd name="connsiteX1" fmla="*/ 167535 w 367534"/>
                <a:gd name="connsiteY1" fmla="*/ 298634 h 298723"/>
                <a:gd name="connsiteX2" fmla="*/ 23730 w 367534"/>
                <a:gd name="connsiteY2" fmla="*/ 229151 h 298723"/>
                <a:gd name="connsiteX3" fmla="*/ 14570 w 367534"/>
                <a:gd name="connsiteY3" fmla="*/ 84772 h 298723"/>
                <a:gd name="connsiteX4" fmla="*/ 126683 w 367534"/>
                <a:gd name="connsiteY4" fmla="*/ 4571 h 298723"/>
                <a:gd name="connsiteX5" fmla="*/ 268492 w 367534"/>
                <a:gd name="connsiteY5" fmla="*/ 12391 h 298723"/>
                <a:gd name="connsiteX6" fmla="*/ 330236 w 367534"/>
                <a:gd name="connsiteY6" fmla="*/ 51959 h 298723"/>
                <a:gd name="connsiteX7" fmla="*/ 330400 w 367534"/>
                <a:gd name="connsiteY7" fmla="*/ 52150 h 298723"/>
                <a:gd name="connsiteX8" fmla="*/ 367534 w 367534"/>
                <a:gd name="connsiteY8" fmla="*/ 150919 h 298723"/>
                <a:gd name="connsiteX9" fmla="*/ 271089 w 367534"/>
                <a:gd name="connsiteY9" fmla="*/ 285919 h 298723"/>
                <a:gd name="connsiteX10" fmla="*/ 177926 w 367534"/>
                <a:gd name="connsiteY10" fmla="*/ 298634 h 298723"/>
                <a:gd name="connsiteX11" fmla="*/ 180223 w 367534"/>
                <a:gd name="connsiteY11" fmla="*/ 13676 h 298723"/>
                <a:gd name="connsiteX12" fmla="*/ 128898 w 367534"/>
                <a:gd name="connsiteY12" fmla="*/ 17969 h 298723"/>
                <a:gd name="connsiteX13" fmla="*/ 26820 w 367534"/>
                <a:gd name="connsiteY13" fmla="*/ 90733 h 298723"/>
                <a:gd name="connsiteX14" fmla="*/ 35024 w 367534"/>
                <a:gd name="connsiteY14" fmla="*/ 221413 h 298723"/>
                <a:gd name="connsiteX15" fmla="*/ 167782 w 367534"/>
                <a:gd name="connsiteY15" fmla="*/ 284852 h 298723"/>
                <a:gd name="connsiteX16" fmla="*/ 266687 w 367534"/>
                <a:gd name="connsiteY16" fmla="*/ 272985 h 298723"/>
                <a:gd name="connsiteX17" fmla="*/ 353807 w 367534"/>
                <a:gd name="connsiteY17" fmla="*/ 150727 h 298723"/>
                <a:gd name="connsiteX18" fmla="*/ 320310 w 367534"/>
                <a:gd name="connsiteY18" fmla="*/ 61174 h 298723"/>
                <a:gd name="connsiteX19" fmla="*/ 264253 w 367534"/>
                <a:gd name="connsiteY19" fmla="*/ 25298 h 298723"/>
                <a:gd name="connsiteX20" fmla="*/ 180223 w 367534"/>
                <a:gd name="connsiteY20" fmla="*/ 13676 h 29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67534" h="298723">
                  <a:moveTo>
                    <a:pt x="177926" y="298634"/>
                  </a:moveTo>
                  <a:cubicBezTo>
                    <a:pt x="174536" y="298634"/>
                    <a:pt x="171063" y="298634"/>
                    <a:pt x="167535" y="298634"/>
                  </a:cubicBezTo>
                  <a:cubicBezTo>
                    <a:pt x="111128" y="300354"/>
                    <a:pt x="57437" y="274412"/>
                    <a:pt x="23730" y="229151"/>
                  </a:cubicBezTo>
                  <a:cubicBezTo>
                    <a:pt x="-4252" y="185902"/>
                    <a:pt x="-7722" y="131211"/>
                    <a:pt x="14570" y="84772"/>
                  </a:cubicBezTo>
                  <a:cubicBezTo>
                    <a:pt x="36222" y="41010"/>
                    <a:pt x="78273" y="10929"/>
                    <a:pt x="126683" y="4571"/>
                  </a:cubicBezTo>
                  <a:cubicBezTo>
                    <a:pt x="173939" y="-3519"/>
                    <a:pt x="222411" y="-845"/>
                    <a:pt x="268492" y="12391"/>
                  </a:cubicBezTo>
                  <a:cubicBezTo>
                    <a:pt x="292013" y="20301"/>
                    <a:pt x="313222" y="33892"/>
                    <a:pt x="330236" y="51959"/>
                  </a:cubicBezTo>
                  <a:lnTo>
                    <a:pt x="330400" y="52150"/>
                  </a:lnTo>
                  <a:cubicBezTo>
                    <a:pt x="354446" y="79420"/>
                    <a:pt x="367659" y="114561"/>
                    <a:pt x="367534" y="150919"/>
                  </a:cubicBezTo>
                  <a:cubicBezTo>
                    <a:pt x="366300" y="211501"/>
                    <a:pt x="328002" y="265112"/>
                    <a:pt x="271089" y="285919"/>
                  </a:cubicBezTo>
                  <a:cubicBezTo>
                    <a:pt x="240917" y="295117"/>
                    <a:pt x="209460" y="299411"/>
                    <a:pt x="177926" y="298634"/>
                  </a:cubicBezTo>
                  <a:close/>
                  <a:moveTo>
                    <a:pt x="180223" y="13676"/>
                  </a:moveTo>
                  <a:cubicBezTo>
                    <a:pt x="163021" y="13583"/>
                    <a:pt x="145845" y="15020"/>
                    <a:pt x="128898" y="17969"/>
                  </a:cubicBezTo>
                  <a:cubicBezTo>
                    <a:pt x="84855" y="23654"/>
                    <a:pt x="46558" y="50953"/>
                    <a:pt x="26820" y="90733"/>
                  </a:cubicBezTo>
                  <a:cubicBezTo>
                    <a:pt x="6950" y="132815"/>
                    <a:pt x="10046" y="182147"/>
                    <a:pt x="35024" y="221413"/>
                  </a:cubicBezTo>
                  <a:cubicBezTo>
                    <a:pt x="66312" y="262908"/>
                    <a:pt x="115841" y="286575"/>
                    <a:pt x="167782" y="284852"/>
                  </a:cubicBezTo>
                  <a:cubicBezTo>
                    <a:pt x="201188" y="286619"/>
                    <a:pt x="234647" y="282605"/>
                    <a:pt x="266687" y="272985"/>
                  </a:cubicBezTo>
                  <a:cubicBezTo>
                    <a:pt x="318133" y="254062"/>
                    <a:pt x="352716" y="205531"/>
                    <a:pt x="353807" y="150727"/>
                  </a:cubicBezTo>
                  <a:cubicBezTo>
                    <a:pt x="353941" y="117789"/>
                    <a:pt x="342027" y="85939"/>
                    <a:pt x="320310" y="61174"/>
                  </a:cubicBezTo>
                  <a:cubicBezTo>
                    <a:pt x="304843" y="44805"/>
                    <a:pt x="285596" y="32485"/>
                    <a:pt x="264253" y="25298"/>
                  </a:cubicBezTo>
                  <a:cubicBezTo>
                    <a:pt x="236947" y="17414"/>
                    <a:pt x="208645" y="13500"/>
                    <a:pt x="180223" y="13676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188662B0-7E0E-3546-B77E-3A32750D6C11}"/>
                </a:ext>
              </a:extLst>
            </p:cNvPr>
            <p:cNvSpPr/>
            <p:nvPr/>
          </p:nvSpPr>
          <p:spPr>
            <a:xfrm>
              <a:off x="5320583" y="2554891"/>
              <a:ext cx="238431" cy="170674"/>
            </a:xfrm>
            <a:custGeom>
              <a:avLst/>
              <a:gdLst>
                <a:gd name="connsiteX0" fmla="*/ 238432 w 238431"/>
                <a:gd name="connsiteY0" fmla="*/ 16943 h 170674"/>
                <a:gd name="connsiteX1" fmla="*/ 18664 w 238431"/>
                <a:gd name="connsiteY1" fmla="*/ 58890 h 170674"/>
                <a:gd name="connsiteX2" fmla="*/ 7972 w 238431"/>
                <a:gd name="connsiteY2" fmla="*/ 170675 h 170674"/>
                <a:gd name="connsiteX3" fmla="*/ 238432 w 238431"/>
                <a:gd name="connsiteY3" fmla="*/ 16943 h 170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431" h="170674">
                  <a:moveTo>
                    <a:pt x="238432" y="16943"/>
                  </a:moveTo>
                  <a:cubicBezTo>
                    <a:pt x="238432" y="16943"/>
                    <a:pt x="86806" y="-41574"/>
                    <a:pt x="18664" y="58890"/>
                  </a:cubicBezTo>
                  <a:cubicBezTo>
                    <a:pt x="-1687" y="92596"/>
                    <a:pt x="-5620" y="133722"/>
                    <a:pt x="7972" y="170675"/>
                  </a:cubicBezTo>
                  <a:cubicBezTo>
                    <a:pt x="7972" y="170675"/>
                    <a:pt x="3132" y="-27327"/>
                    <a:pt x="238432" y="16943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28E3DB95-4754-034C-AB92-0E995EE371B6}"/>
                </a:ext>
              </a:extLst>
            </p:cNvPr>
            <p:cNvSpPr/>
            <p:nvPr/>
          </p:nvSpPr>
          <p:spPr>
            <a:xfrm>
              <a:off x="5381697" y="2608777"/>
              <a:ext cx="202285" cy="138319"/>
            </a:xfrm>
            <a:custGeom>
              <a:avLst/>
              <a:gdLst>
                <a:gd name="connsiteX0" fmla="*/ 79315 w 202285"/>
                <a:gd name="connsiteY0" fmla="*/ 1805 h 138319"/>
                <a:gd name="connsiteX1" fmla="*/ 61814 w 202285"/>
                <a:gd name="connsiteY1" fmla="*/ 38036 h 138319"/>
                <a:gd name="connsiteX2" fmla="*/ 53994 w 202285"/>
                <a:gd name="connsiteY2" fmla="*/ 122804 h 138319"/>
                <a:gd name="connsiteX3" fmla="*/ 56728 w 202285"/>
                <a:gd name="connsiteY3" fmla="*/ 125293 h 138319"/>
                <a:gd name="connsiteX4" fmla="*/ 71276 w 202285"/>
                <a:gd name="connsiteY4" fmla="*/ 112496 h 138319"/>
                <a:gd name="connsiteX5" fmla="*/ 98456 w 202285"/>
                <a:gd name="connsiteY5" fmla="*/ 7875 h 138319"/>
                <a:gd name="connsiteX6" fmla="*/ 108601 w 202285"/>
                <a:gd name="connsiteY6" fmla="*/ 246 h 138319"/>
                <a:gd name="connsiteX7" fmla="*/ 109203 w 202285"/>
                <a:gd name="connsiteY7" fmla="*/ 2406 h 138319"/>
                <a:gd name="connsiteX8" fmla="*/ 98593 w 202285"/>
                <a:gd name="connsiteY8" fmla="*/ 16079 h 138319"/>
                <a:gd name="connsiteX9" fmla="*/ 95476 w 202285"/>
                <a:gd name="connsiteY9" fmla="*/ 25895 h 138319"/>
                <a:gd name="connsiteX10" fmla="*/ 83882 w 202285"/>
                <a:gd name="connsiteY10" fmla="*/ 122258 h 138319"/>
                <a:gd name="connsiteX11" fmla="*/ 87846 w 202285"/>
                <a:gd name="connsiteY11" fmla="*/ 124992 h 138319"/>
                <a:gd name="connsiteX12" fmla="*/ 100534 w 202285"/>
                <a:gd name="connsiteY12" fmla="*/ 112468 h 138319"/>
                <a:gd name="connsiteX13" fmla="*/ 123039 w 202285"/>
                <a:gd name="connsiteY13" fmla="*/ 65982 h 138319"/>
                <a:gd name="connsiteX14" fmla="*/ 145762 w 202285"/>
                <a:gd name="connsiteY14" fmla="*/ 65189 h 138319"/>
                <a:gd name="connsiteX15" fmla="*/ 139774 w 202285"/>
                <a:gd name="connsiteY15" fmla="*/ 118457 h 138319"/>
                <a:gd name="connsiteX16" fmla="*/ 142153 w 202285"/>
                <a:gd name="connsiteY16" fmla="*/ 125867 h 138319"/>
                <a:gd name="connsiteX17" fmla="*/ 144614 w 202285"/>
                <a:gd name="connsiteY17" fmla="*/ 125293 h 138319"/>
                <a:gd name="connsiteX18" fmla="*/ 159790 w 202285"/>
                <a:gd name="connsiteY18" fmla="*/ 109706 h 138319"/>
                <a:gd name="connsiteX19" fmla="*/ 171822 w 202285"/>
                <a:gd name="connsiteY19" fmla="*/ 35521 h 138319"/>
                <a:gd name="connsiteX20" fmla="*/ 192932 w 202285"/>
                <a:gd name="connsiteY20" fmla="*/ 7957 h 138319"/>
                <a:gd name="connsiteX21" fmla="*/ 188611 w 202285"/>
                <a:gd name="connsiteY21" fmla="*/ 12961 h 138319"/>
                <a:gd name="connsiteX22" fmla="*/ 170865 w 202285"/>
                <a:gd name="connsiteY22" fmla="*/ 70959 h 138319"/>
                <a:gd name="connsiteX23" fmla="*/ 177646 w 202285"/>
                <a:gd name="connsiteY23" fmla="*/ 68225 h 138319"/>
                <a:gd name="connsiteX24" fmla="*/ 191893 w 202285"/>
                <a:gd name="connsiteY24" fmla="*/ 56330 h 138319"/>
                <a:gd name="connsiteX25" fmla="*/ 198264 w 202285"/>
                <a:gd name="connsiteY25" fmla="*/ 62564 h 138319"/>
                <a:gd name="connsiteX26" fmla="*/ 191045 w 202285"/>
                <a:gd name="connsiteY26" fmla="*/ 115804 h 138319"/>
                <a:gd name="connsiteX27" fmla="*/ 167775 w 202285"/>
                <a:gd name="connsiteY27" fmla="*/ 137680 h 138319"/>
                <a:gd name="connsiteX28" fmla="*/ 162825 w 202285"/>
                <a:gd name="connsiteY28" fmla="*/ 137188 h 138319"/>
                <a:gd name="connsiteX29" fmla="*/ 160091 w 202285"/>
                <a:gd name="connsiteY29" fmla="*/ 117007 h 138319"/>
                <a:gd name="connsiteX30" fmla="*/ 159161 w 202285"/>
                <a:gd name="connsiteY30" fmla="*/ 116406 h 138319"/>
                <a:gd name="connsiteX31" fmla="*/ 135645 w 202285"/>
                <a:gd name="connsiteY31" fmla="*/ 138063 h 138319"/>
                <a:gd name="connsiteX32" fmla="*/ 132910 w 202285"/>
                <a:gd name="connsiteY32" fmla="*/ 137434 h 138319"/>
                <a:gd name="connsiteX33" fmla="*/ 129656 w 202285"/>
                <a:gd name="connsiteY33" fmla="*/ 125074 h 138319"/>
                <a:gd name="connsiteX34" fmla="*/ 112046 w 202285"/>
                <a:gd name="connsiteY34" fmla="*/ 138172 h 138319"/>
                <a:gd name="connsiteX35" fmla="*/ 105976 w 202285"/>
                <a:gd name="connsiteY35" fmla="*/ 131500 h 138319"/>
                <a:gd name="connsiteX36" fmla="*/ 101191 w 202285"/>
                <a:gd name="connsiteY36" fmla="*/ 118019 h 138319"/>
                <a:gd name="connsiteX37" fmla="*/ 78905 w 202285"/>
                <a:gd name="connsiteY37" fmla="*/ 137871 h 138319"/>
                <a:gd name="connsiteX38" fmla="*/ 74366 w 202285"/>
                <a:gd name="connsiteY38" fmla="*/ 134426 h 138319"/>
                <a:gd name="connsiteX39" fmla="*/ 71631 w 202285"/>
                <a:gd name="connsiteY39" fmla="*/ 117773 h 138319"/>
                <a:gd name="connsiteX40" fmla="*/ 70401 w 202285"/>
                <a:gd name="connsiteY40" fmla="*/ 118046 h 138319"/>
                <a:gd name="connsiteX41" fmla="*/ 48744 w 202285"/>
                <a:gd name="connsiteY41" fmla="*/ 137899 h 138319"/>
                <a:gd name="connsiteX42" fmla="*/ 44478 w 202285"/>
                <a:gd name="connsiteY42" fmla="*/ 135164 h 138319"/>
                <a:gd name="connsiteX43" fmla="*/ 41579 w 202285"/>
                <a:gd name="connsiteY43" fmla="*/ 113917 h 138319"/>
                <a:gd name="connsiteX44" fmla="*/ 40349 w 202285"/>
                <a:gd name="connsiteY44" fmla="*/ 113917 h 138319"/>
                <a:gd name="connsiteX45" fmla="*/ 9750 w 202285"/>
                <a:gd name="connsiteY45" fmla="*/ 138281 h 138319"/>
                <a:gd name="connsiteX46" fmla="*/ 6387 w 202285"/>
                <a:gd name="connsiteY46" fmla="*/ 135793 h 138319"/>
                <a:gd name="connsiteX47" fmla="*/ 13469 w 202285"/>
                <a:gd name="connsiteY47" fmla="*/ 64971 h 138319"/>
                <a:gd name="connsiteX48" fmla="*/ 27142 w 202285"/>
                <a:gd name="connsiteY48" fmla="*/ 58845 h 138319"/>
                <a:gd name="connsiteX49" fmla="*/ 33403 w 202285"/>
                <a:gd name="connsiteY49" fmla="*/ 68525 h 138319"/>
                <a:gd name="connsiteX50" fmla="*/ 33403 w 202285"/>
                <a:gd name="connsiteY50" fmla="*/ 78698 h 138319"/>
                <a:gd name="connsiteX51" fmla="*/ 12047 w 202285"/>
                <a:gd name="connsiteY51" fmla="*/ 98550 h 138319"/>
                <a:gd name="connsiteX52" fmla="*/ 15192 w 202285"/>
                <a:gd name="connsiteY52" fmla="*/ 126332 h 138319"/>
                <a:gd name="connsiteX53" fmla="*/ 19212 w 202285"/>
                <a:gd name="connsiteY53" fmla="*/ 126906 h 138319"/>
                <a:gd name="connsiteX54" fmla="*/ 19786 w 202285"/>
                <a:gd name="connsiteY54" fmla="*/ 126332 h 138319"/>
                <a:gd name="connsiteX55" fmla="*/ 41662 w 202285"/>
                <a:gd name="connsiteY55" fmla="*/ 105577 h 138319"/>
                <a:gd name="connsiteX56" fmla="*/ 65807 w 202285"/>
                <a:gd name="connsiteY56" fmla="*/ 12387 h 138319"/>
                <a:gd name="connsiteX57" fmla="*/ 79042 w 202285"/>
                <a:gd name="connsiteY57" fmla="*/ 0 h 138319"/>
                <a:gd name="connsiteX58" fmla="*/ 79664 w 202285"/>
                <a:gd name="connsiteY58" fmla="*/ 1331 h 138319"/>
                <a:gd name="connsiteX59" fmla="*/ 79315 w 202285"/>
                <a:gd name="connsiteY59" fmla="*/ 1805 h 138319"/>
                <a:gd name="connsiteX60" fmla="*/ 25173 w 202285"/>
                <a:gd name="connsiteY60" fmla="*/ 61142 h 138319"/>
                <a:gd name="connsiteX61" fmla="*/ 20852 w 202285"/>
                <a:gd name="connsiteY61" fmla="*/ 63877 h 138319"/>
                <a:gd name="connsiteX62" fmla="*/ 12922 w 202285"/>
                <a:gd name="connsiteY62" fmla="*/ 92780 h 138319"/>
                <a:gd name="connsiteX63" fmla="*/ 26212 w 202285"/>
                <a:gd name="connsiteY63" fmla="*/ 81186 h 138319"/>
                <a:gd name="connsiteX64" fmla="*/ 28208 w 202285"/>
                <a:gd name="connsiteY64" fmla="*/ 65189 h 138319"/>
                <a:gd name="connsiteX65" fmla="*/ 25173 w 202285"/>
                <a:gd name="connsiteY65" fmla="*/ 61142 h 138319"/>
                <a:gd name="connsiteX66" fmla="*/ 134989 w 202285"/>
                <a:gd name="connsiteY66" fmla="*/ 67076 h 138319"/>
                <a:gd name="connsiteX67" fmla="*/ 123066 w 202285"/>
                <a:gd name="connsiteY67" fmla="*/ 70166 h 138319"/>
                <a:gd name="connsiteX68" fmla="*/ 112894 w 202285"/>
                <a:gd name="connsiteY68" fmla="*/ 109214 h 138319"/>
                <a:gd name="connsiteX69" fmla="*/ 117351 w 202285"/>
                <a:gd name="connsiteY69" fmla="*/ 125894 h 138319"/>
                <a:gd name="connsiteX70" fmla="*/ 128754 w 202285"/>
                <a:gd name="connsiteY70" fmla="*/ 119222 h 138319"/>
                <a:gd name="connsiteX71" fmla="*/ 135344 w 202285"/>
                <a:gd name="connsiteY71" fmla="*/ 68717 h 138319"/>
                <a:gd name="connsiteX72" fmla="*/ 184209 w 202285"/>
                <a:gd name="connsiteY72" fmla="*/ 68443 h 138319"/>
                <a:gd name="connsiteX73" fmla="*/ 172751 w 202285"/>
                <a:gd name="connsiteY73" fmla="*/ 80065 h 138319"/>
                <a:gd name="connsiteX74" fmla="*/ 172286 w 202285"/>
                <a:gd name="connsiteY74" fmla="*/ 124855 h 138319"/>
                <a:gd name="connsiteX75" fmla="*/ 173490 w 202285"/>
                <a:gd name="connsiteY75" fmla="*/ 127945 h 138319"/>
                <a:gd name="connsiteX76" fmla="*/ 181693 w 202285"/>
                <a:gd name="connsiteY76" fmla="*/ 122285 h 138319"/>
                <a:gd name="connsiteX77" fmla="*/ 189158 w 202285"/>
                <a:gd name="connsiteY77" fmla="*/ 73830 h 138319"/>
                <a:gd name="connsiteX78" fmla="*/ 184072 w 202285"/>
                <a:gd name="connsiteY78" fmla="*/ 68443 h 13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202285" h="138319">
                  <a:moveTo>
                    <a:pt x="79315" y="1805"/>
                  </a:moveTo>
                  <a:cubicBezTo>
                    <a:pt x="66983" y="9407"/>
                    <a:pt x="66217" y="25130"/>
                    <a:pt x="61814" y="38036"/>
                  </a:cubicBezTo>
                  <a:cubicBezTo>
                    <a:pt x="53949" y="65558"/>
                    <a:pt x="51296" y="94308"/>
                    <a:pt x="53994" y="122804"/>
                  </a:cubicBezTo>
                  <a:cubicBezTo>
                    <a:pt x="54502" y="123991"/>
                    <a:pt x="55500" y="124899"/>
                    <a:pt x="56728" y="125293"/>
                  </a:cubicBezTo>
                  <a:cubicBezTo>
                    <a:pt x="62132" y="121702"/>
                    <a:pt x="67025" y="117398"/>
                    <a:pt x="71276" y="112496"/>
                  </a:cubicBezTo>
                  <a:cubicBezTo>
                    <a:pt x="72592" y="76056"/>
                    <a:pt x="81870" y="40347"/>
                    <a:pt x="98456" y="7875"/>
                  </a:cubicBezTo>
                  <a:cubicBezTo>
                    <a:pt x="100813" y="4198"/>
                    <a:pt x="104415" y="1490"/>
                    <a:pt x="108601" y="246"/>
                  </a:cubicBezTo>
                  <a:cubicBezTo>
                    <a:pt x="109531" y="246"/>
                    <a:pt x="109832" y="1805"/>
                    <a:pt x="109203" y="2406"/>
                  </a:cubicBezTo>
                  <a:cubicBezTo>
                    <a:pt x="102968" y="4703"/>
                    <a:pt x="100780" y="10063"/>
                    <a:pt x="98593" y="16079"/>
                  </a:cubicBezTo>
                  <a:cubicBezTo>
                    <a:pt x="97357" y="19285"/>
                    <a:pt x="96316" y="22563"/>
                    <a:pt x="95476" y="25895"/>
                  </a:cubicBezTo>
                  <a:cubicBezTo>
                    <a:pt x="85432" y="56968"/>
                    <a:pt x="81495" y="89690"/>
                    <a:pt x="83882" y="122258"/>
                  </a:cubicBezTo>
                  <a:cubicBezTo>
                    <a:pt x="84483" y="123816"/>
                    <a:pt x="85987" y="125676"/>
                    <a:pt x="87846" y="124992"/>
                  </a:cubicBezTo>
                  <a:cubicBezTo>
                    <a:pt x="92808" y="121631"/>
                    <a:pt x="97108" y="117385"/>
                    <a:pt x="100534" y="112468"/>
                  </a:cubicBezTo>
                  <a:cubicBezTo>
                    <a:pt x="98697" y="93974"/>
                    <a:pt x="107392" y="76012"/>
                    <a:pt x="123039" y="65982"/>
                  </a:cubicBezTo>
                  <a:cubicBezTo>
                    <a:pt x="130039" y="62057"/>
                    <a:pt x="138505" y="61762"/>
                    <a:pt x="145762" y="65189"/>
                  </a:cubicBezTo>
                  <a:cubicBezTo>
                    <a:pt x="142057" y="82711"/>
                    <a:pt x="140050" y="100550"/>
                    <a:pt x="139774" y="118457"/>
                  </a:cubicBezTo>
                  <a:cubicBezTo>
                    <a:pt x="139965" y="120617"/>
                    <a:pt x="139774" y="124308"/>
                    <a:pt x="142153" y="125867"/>
                  </a:cubicBezTo>
                  <a:lnTo>
                    <a:pt x="144614" y="125293"/>
                  </a:lnTo>
                  <a:lnTo>
                    <a:pt x="159790" y="109706"/>
                  </a:lnTo>
                  <a:cubicBezTo>
                    <a:pt x="162205" y="84745"/>
                    <a:pt x="166224" y="59966"/>
                    <a:pt x="171822" y="35521"/>
                  </a:cubicBezTo>
                  <a:cubicBezTo>
                    <a:pt x="175294" y="24446"/>
                    <a:pt x="183388" y="9160"/>
                    <a:pt x="192932" y="7957"/>
                  </a:cubicBezTo>
                  <a:cubicBezTo>
                    <a:pt x="196459" y="11102"/>
                    <a:pt x="192576" y="9215"/>
                    <a:pt x="188611" y="12961"/>
                  </a:cubicBezTo>
                  <a:cubicBezTo>
                    <a:pt x="177321" y="30222"/>
                    <a:pt x="171165" y="50336"/>
                    <a:pt x="170865" y="70959"/>
                  </a:cubicBezTo>
                  <a:cubicBezTo>
                    <a:pt x="173244" y="71615"/>
                    <a:pt x="173599" y="71342"/>
                    <a:pt x="177646" y="68225"/>
                  </a:cubicBezTo>
                  <a:lnTo>
                    <a:pt x="191893" y="56330"/>
                  </a:lnTo>
                  <a:cubicBezTo>
                    <a:pt x="195256" y="56056"/>
                    <a:pt x="197061" y="60076"/>
                    <a:pt x="198264" y="62564"/>
                  </a:cubicBezTo>
                  <a:cubicBezTo>
                    <a:pt x="205557" y="80324"/>
                    <a:pt x="202803" y="100628"/>
                    <a:pt x="191045" y="115804"/>
                  </a:cubicBezTo>
                  <a:cubicBezTo>
                    <a:pt x="185056" y="124773"/>
                    <a:pt x="177096" y="132255"/>
                    <a:pt x="167775" y="137680"/>
                  </a:cubicBezTo>
                  <a:cubicBezTo>
                    <a:pt x="164028" y="138938"/>
                    <a:pt x="163044" y="137434"/>
                    <a:pt x="162825" y="137188"/>
                  </a:cubicBezTo>
                  <a:cubicBezTo>
                    <a:pt x="160558" y="130715"/>
                    <a:pt x="159626" y="123849"/>
                    <a:pt x="160091" y="117007"/>
                  </a:cubicBezTo>
                  <a:lnTo>
                    <a:pt x="159161" y="116406"/>
                  </a:lnTo>
                  <a:lnTo>
                    <a:pt x="135645" y="138063"/>
                  </a:lnTo>
                  <a:cubicBezTo>
                    <a:pt x="135043" y="138063"/>
                    <a:pt x="133430" y="138500"/>
                    <a:pt x="132910" y="137434"/>
                  </a:cubicBezTo>
                  <a:cubicBezTo>
                    <a:pt x="131089" y="133545"/>
                    <a:pt x="129984" y="129356"/>
                    <a:pt x="129656" y="125074"/>
                  </a:cubicBezTo>
                  <a:cubicBezTo>
                    <a:pt x="123476" y="128711"/>
                    <a:pt x="118226" y="134508"/>
                    <a:pt x="112046" y="138172"/>
                  </a:cubicBezTo>
                  <a:cubicBezTo>
                    <a:pt x="108683" y="138446"/>
                    <a:pt x="107152" y="134289"/>
                    <a:pt x="105976" y="131500"/>
                  </a:cubicBezTo>
                  <a:cubicBezTo>
                    <a:pt x="103241" y="124746"/>
                    <a:pt x="103105" y="123160"/>
                    <a:pt x="101191" y="118019"/>
                  </a:cubicBezTo>
                  <a:lnTo>
                    <a:pt x="78905" y="137871"/>
                  </a:lnTo>
                  <a:cubicBezTo>
                    <a:pt x="76444" y="139074"/>
                    <a:pt x="74995" y="136395"/>
                    <a:pt x="74366" y="134426"/>
                  </a:cubicBezTo>
                  <a:cubicBezTo>
                    <a:pt x="73101" y="128938"/>
                    <a:pt x="72188" y="123376"/>
                    <a:pt x="71631" y="117773"/>
                  </a:cubicBezTo>
                  <a:lnTo>
                    <a:pt x="70401" y="118046"/>
                  </a:lnTo>
                  <a:lnTo>
                    <a:pt x="48744" y="137899"/>
                  </a:lnTo>
                  <a:cubicBezTo>
                    <a:pt x="46447" y="138582"/>
                    <a:pt x="45626" y="137680"/>
                    <a:pt x="44478" y="135164"/>
                  </a:cubicBezTo>
                  <a:cubicBezTo>
                    <a:pt x="42874" y="128183"/>
                    <a:pt x="41904" y="121074"/>
                    <a:pt x="41579" y="113917"/>
                  </a:cubicBezTo>
                  <a:lnTo>
                    <a:pt x="40349" y="113917"/>
                  </a:lnTo>
                  <a:cubicBezTo>
                    <a:pt x="30854" y="122886"/>
                    <a:pt x="20618" y="131038"/>
                    <a:pt x="9750" y="138281"/>
                  </a:cubicBezTo>
                  <a:cubicBezTo>
                    <a:pt x="8219" y="138582"/>
                    <a:pt x="7016" y="137051"/>
                    <a:pt x="6387" y="135793"/>
                  </a:cubicBezTo>
                  <a:cubicBezTo>
                    <a:pt x="-4195" y="112635"/>
                    <a:pt x="-1488" y="85574"/>
                    <a:pt x="13469" y="64971"/>
                  </a:cubicBezTo>
                  <a:cubicBezTo>
                    <a:pt x="15356" y="62975"/>
                    <a:pt x="20880" y="56166"/>
                    <a:pt x="27142" y="58845"/>
                  </a:cubicBezTo>
                  <a:cubicBezTo>
                    <a:pt x="30696" y="60103"/>
                    <a:pt x="32364" y="62920"/>
                    <a:pt x="33403" y="68525"/>
                  </a:cubicBezTo>
                  <a:cubicBezTo>
                    <a:pt x="34481" y="71831"/>
                    <a:pt x="34481" y="75393"/>
                    <a:pt x="33403" y="78698"/>
                  </a:cubicBezTo>
                  <a:lnTo>
                    <a:pt x="12047" y="98550"/>
                  </a:lnTo>
                  <a:cubicBezTo>
                    <a:pt x="10580" y="107925"/>
                    <a:pt x="11666" y="117521"/>
                    <a:pt x="15192" y="126332"/>
                  </a:cubicBezTo>
                  <a:cubicBezTo>
                    <a:pt x="16143" y="127601"/>
                    <a:pt x="17943" y="127858"/>
                    <a:pt x="19212" y="126906"/>
                  </a:cubicBezTo>
                  <a:cubicBezTo>
                    <a:pt x="19429" y="126742"/>
                    <a:pt x="19623" y="126551"/>
                    <a:pt x="19786" y="126332"/>
                  </a:cubicBezTo>
                  <a:lnTo>
                    <a:pt x="41662" y="105577"/>
                  </a:lnTo>
                  <a:cubicBezTo>
                    <a:pt x="43758" y="73269"/>
                    <a:pt x="51951" y="41649"/>
                    <a:pt x="65807" y="12387"/>
                  </a:cubicBezTo>
                  <a:cubicBezTo>
                    <a:pt x="67557" y="9133"/>
                    <a:pt x="73299" y="246"/>
                    <a:pt x="79042" y="0"/>
                  </a:cubicBezTo>
                  <a:cubicBezTo>
                    <a:pt x="79581" y="196"/>
                    <a:pt x="79860" y="792"/>
                    <a:pt x="79664" y="1331"/>
                  </a:cubicBezTo>
                  <a:cubicBezTo>
                    <a:pt x="79596" y="1519"/>
                    <a:pt x="79474" y="1684"/>
                    <a:pt x="79315" y="1805"/>
                  </a:cubicBezTo>
                  <a:close/>
                  <a:moveTo>
                    <a:pt x="25173" y="61142"/>
                  </a:moveTo>
                  <a:cubicBezTo>
                    <a:pt x="23568" y="61763"/>
                    <a:pt x="22100" y="62692"/>
                    <a:pt x="20852" y="63877"/>
                  </a:cubicBezTo>
                  <a:cubicBezTo>
                    <a:pt x="16294" y="72881"/>
                    <a:pt x="13597" y="82711"/>
                    <a:pt x="12922" y="92780"/>
                  </a:cubicBezTo>
                  <a:cubicBezTo>
                    <a:pt x="17844" y="88870"/>
                    <a:pt x="22192" y="84850"/>
                    <a:pt x="26212" y="81186"/>
                  </a:cubicBezTo>
                  <a:lnTo>
                    <a:pt x="28208" y="65189"/>
                  </a:lnTo>
                  <a:cubicBezTo>
                    <a:pt x="29138" y="62728"/>
                    <a:pt x="27634" y="61170"/>
                    <a:pt x="25173" y="61142"/>
                  </a:cubicBezTo>
                  <a:close/>
                  <a:moveTo>
                    <a:pt x="134989" y="67076"/>
                  </a:moveTo>
                  <a:cubicBezTo>
                    <a:pt x="130780" y="65197"/>
                    <a:pt x="125831" y="66479"/>
                    <a:pt x="123066" y="70166"/>
                  </a:cubicBezTo>
                  <a:cubicBezTo>
                    <a:pt x="114146" y="81077"/>
                    <a:pt x="110430" y="95338"/>
                    <a:pt x="112894" y="109214"/>
                  </a:cubicBezTo>
                  <a:cubicBezTo>
                    <a:pt x="112916" y="115066"/>
                    <a:pt x="114450" y="120811"/>
                    <a:pt x="117351" y="125894"/>
                  </a:cubicBezTo>
                  <a:cubicBezTo>
                    <a:pt x="122000" y="126332"/>
                    <a:pt x="125555" y="121957"/>
                    <a:pt x="128754" y="119222"/>
                  </a:cubicBezTo>
                  <a:cubicBezTo>
                    <a:pt x="130449" y="102296"/>
                    <a:pt x="132445" y="85342"/>
                    <a:pt x="135344" y="68717"/>
                  </a:cubicBezTo>
                  <a:close/>
                  <a:moveTo>
                    <a:pt x="184209" y="68443"/>
                  </a:moveTo>
                  <a:cubicBezTo>
                    <a:pt x="178863" y="70436"/>
                    <a:pt x="174668" y="74690"/>
                    <a:pt x="172751" y="80065"/>
                  </a:cubicBezTo>
                  <a:cubicBezTo>
                    <a:pt x="170438" y="94895"/>
                    <a:pt x="170282" y="109980"/>
                    <a:pt x="172286" y="124855"/>
                  </a:cubicBezTo>
                  <a:lnTo>
                    <a:pt x="173490" y="127945"/>
                  </a:lnTo>
                  <a:cubicBezTo>
                    <a:pt x="176525" y="127945"/>
                    <a:pt x="180134" y="124254"/>
                    <a:pt x="181693" y="122285"/>
                  </a:cubicBezTo>
                  <a:cubicBezTo>
                    <a:pt x="191499" y="108140"/>
                    <a:pt x="194252" y="90271"/>
                    <a:pt x="189158" y="73830"/>
                  </a:cubicBezTo>
                  <a:cubicBezTo>
                    <a:pt x="188967" y="72463"/>
                    <a:pt x="188365" y="67131"/>
                    <a:pt x="184072" y="68443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73" name="Graphic 21">
            <a:extLst>
              <a:ext uri="{FF2B5EF4-FFF2-40B4-BE49-F238E27FC236}">
                <a16:creationId xmlns:a16="http://schemas.microsoft.com/office/drawing/2014/main" id="{C11746EF-7A70-534E-B15B-3B23F9C66E26}"/>
              </a:ext>
            </a:extLst>
          </p:cNvPr>
          <p:cNvGrpSpPr/>
          <p:nvPr userDrawn="1"/>
        </p:nvGrpSpPr>
        <p:grpSpPr>
          <a:xfrm>
            <a:off x="4012482" y="1415981"/>
            <a:ext cx="313244" cy="306639"/>
            <a:chOff x="5212395" y="1454032"/>
            <a:chExt cx="437321" cy="437431"/>
          </a:xfrm>
          <a:solidFill>
            <a:schemeClr val="bg1"/>
          </a:solidFill>
        </p:grpSpPr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F18D26C8-A595-D546-801E-F4DD3F64963B}"/>
                </a:ext>
              </a:extLst>
            </p:cNvPr>
            <p:cNvSpPr/>
            <p:nvPr/>
          </p:nvSpPr>
          <p:spPr>
            <a:xfrm>
              <a:off x="5212395" y="1454032"/>
              <a:ext cx="437321" cy="437431"/>
            </a:xfrm>
            <a:custGeom>
              <a:avLst/>
              <a:gdLst>
                <a:gd name="connsiteX0" fmla="*/ 434396 w 437321"/>
                <a:gd name="connsiteY0" fmla="*/ 161825 h 437431"/>
                <a:gd name="connsiteX1" fmla="*/ 393543 w 437321"/>
                <a:gd name="connsiteY1" fmla="*/ 130871 h 437431"/>
                <a:gd name="connsiteX2" fmla="*/ 393543 w 437321"/>
                <a:gd name="connsiteY2" fmla="*/ 50970 h 437431"/>
                <a:gd name="connsiteX3" fmla="*/ 386242 w 437321"/>
                <a:gd name="connsiteY3" fmla="*/ 43697 h 437431"/>
                <a:gd name="connsiteX4" fmla="*/ 278696 w 437321"/>
                <a:gd name="connsiteY4" fmla="*/ 43697 h 437431"/>
                <a:gd name="connsiteX5" fmla="*/ 223022 w 437321"/>
                <a:gd name="connsiteY5" fmla="*/ 1477 h 437431"/>
                <a:gd name="connsiteX6" fmla="*/ 214217 w 437321"/>
                <a:gd name="connsiteY6" fmla="*/ 1477 h 437431"/>
                <a:gd name="connsiteX7" fmla="*/ 158544 w 437321"/>
                <a:gd name="connsiteY7" fmla="*/ 43751 h 437431"/>
                <a:gd name="connsiteX8" fmla="*/ 51025 w 437321"/>
                <a:gd name="connsiteY8" fmla="*/ 43751 h 437431"/>
                <a:gd name="connsiteX9" fmla="*/ 43724 w 437321"/>
                <a:gd name="connsiteY9" fmla="*/ 50970 h 437431"/>
                <a:gd name="connsiteX10" fmla="*/ 43724 w 437321"/>
                <a:gd name="connsiteY10" fmla="*/ 130816 h 437431"/>
                <a:gd name="connsiteX11" fmla="*/ 2926 w 437321"/>
                <a:gd name="connsiteY11" fmla="*/ 161825 h 437431"/>
                <a:gd name="connsiteX12" fmla="*/ 0 w 437321"/>
                <a:gd name="connsiteY12" fmla="*/ 167650 h 437431"/>
                <a:gd name="connsiteX13" fmla="*/ 0 w 437321"/>
                <a:gd name="connsiteY13" fmla="*/ 430157 h 437431"/>
                <a:gd name="connsiteX14" fmla="*/ 7274 w 437321"/>
                <a:gd name="connsiteY14" fmla="*/ 437431 h 437431"/>
                <a:gd name="connsiteX15" fmla="*/ 7301 w 437321"/>
                <a:gd name="connsiteY15" fmla="*/ 437431 h 437431"/>
                <a:gd name="connsiteX16" fmla="*/ 430021 w 437321"/>
                <a:gd name="connsiteY16" fmla="*/ 437431 h 437431"/>
                <a:gd name="connsiteX17" fmla="*/ 437322 w 437321"/>
                <a:gd name="connsiteY17" fmla="*/ 430185 h 437431"/>
                <a:gd name="connsiteX18" fmla="*/ 437322 w 437321"/>
                <a:gd name="connsiteY18" fmla="*/ 430157 h 437431"/>
                <a:gd name="connsiteX19" fmla="*/ 437322 w 437321"/>
                <a:gd name="connsiteY19" fmla="*/ 167650 h 437431"/>
                <a:gd name="connsiteX20" fmla="*/ 434396 w 437321"/>
                <a:gd name="connsiteY20" fmla="*/ 161825 h 437431"/>
                <a:gd name="connsiteX21" fmla="*/ 14575 w 437321"/>
                <a:gd name="connsiteY21" fmla="*/ 182224 h 437431"/>
                <a:gd name="connsiteX22" fmla="*/ 168169 w 437321"/>
                <a:gd name="connsiteY22" fmla="*/ 298739 h 437431"/>
                <a:gd name="connsiteX23" fmla="*/ 14575 w 437321"/>
                <a:gd name="connsiteY23" fmla="*/ 415364 h 437431"/>
                <a:gd name="connsiteX24" fmla="*/ 218674 w 437321"/>
                <a:gd name="connsiteY24" fmla="*/ 278723 h 437431"/>
                <a:gd name="connsiteX25" fmla="*/ 408364 w 437321"/>
                <a:gd name="connsiteY25" fmla="*/ 422856 h 437431"/>
                <a:gd name="connsiteX26" fmla="*/ 28958 w 437321"/>
                <a:gd name="connsiteY26" fmla="*/ 422856 h 437431"/>
                <a:gd name="connsiteX27" fmla="*/ 269153 w 437321"/>
                <a:gd name="connsiteY27" fmla="*/ 298739 h 437431"/>
                <a:gd name="connsiteX28" fmla="*/ 422747 w 437321"/>
                <a:gd name="connsiteY28" fmla="*/ 182224 h 437431"/>
                <a:gd name="connsiteX29" fmla="*/ 422747 w 437321"/>
                <a:gd name="connsiteY29" fmla="*/ 415255 h 437431"/>
                <a:gd name="connsiteX30" fmla="*/ 417962 w 437321"/>
                <a:gd name="connsiteY30" fmla="*/ 167486 h 437431"/>
                <a:gd name="connsiteX31" fmla="*/ 393598 w 437321"/>
                <a:gd name="connsiteY31" fmla="*/ 185970 h 437431"/>
                <a:gd name="connsiteX32" fmla="*/ 393598 w 437321"/>
                <a:gd name="connsiteY32" fmla="*/ 149165 h 437431"/>
                <a:gd name="connsiteX33" fmla="*/ 218674 w 437321"/>
                <a:gd name="connsiteY33" fmla="*/ 16434 h 437431"/>
                <a:gd name="connsiteX34" fmla="*/ 254633 w 437321"/>
                <a:gd name="connsiteY34" fmla="*/ 43779 h 437431"/>
                <a:gd name="connsiteX35" fmla="*/ 182689 w 437321"/>
                <a:gd name="connsiteY35" fmla="*/ 43779 h 437431"/>
                <a:gd name="connsiteX36" fmla="*/ 379023 w 437321"/>
                <a:gd name="connsiteY36" fmla="*/ 58326 h 437431"/>
                <a:gd name="connsiteX37" fmla="*/ 379023 w 437321"/>
                <a:gd name="connsiteY37" fmla="*/ 197209 h 437431"/>
                <a:gd name="connsiteX38" fmla="*/ 257066 w 437321"/>
                <a:gd name="connsiteY38" fmla="*/ 289688 h 437431"/>
                <a:gd name="connsiteX39" fmla="*/ 223022 w 437321"/>
                <a:gd name="connsiteY39" fmla="*/ 263875 h 437431"/>
                <a:gd name="connsiteX40" fmla="*/ 214217 w 437321"/>
                <a:gd name="connsiteY40" fmla="*/ 263875 h 437431"/>
                <a:gd name="connsiteX41" fmla="*/ 180255 w 437321"/>
                <a:gd name="connsiteY41" fmla="*/ 289661 h 437431"/>
                <a:gd name="connsiteX42" fmla="*/ 58299 w 437321"/>
                <a:gd name="connsiteY42" fmla="*/ 197209 h 437431"/>
                <a:gd name="connsiteX43" fmla="*/ 58299 w 437321"/>
                <a:gd name="connsiteY43" fmla="*/ 58326 h 437431"/>
                <a:gd name="connsiteX44" fmla="*/ 43724 w 437321"/>
                <a:gd name="connsiteY44" fmla="*/ 186135 h 437431"/>
                <a:gd name="connsiteX45" fmla="*/ 19360 w 437321"/>
                <a:gd name="connsiteY45" fmla="*/ 167650 h 437431"/>
                <a:gd name="connsiteX46" fmla="*/ 43724 w 437321"/>
                <a:gd name="connsiteY46" fmla="*/ 149165 h 437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37321" h="437431">
                  <a:moveTo>
                    <a:pt x="434396" y="161825"/>
                  </a:moveTo>
                  <a:lnTo>
                    <a:pt x="393543" y="130871"/>
                  </a:lnTo>
                  <a:lnTo>
                    <a:pt x="393543" y="50970"/>
                  </a:lnTo>
                  <a:cubicBezTo>
                    <a:pt x="393527" y="46949"/>
                    <a:pt x="390264" y="43697"/>
                    <a:pt x="386242" y="43697"/>
                  </a:cubicBezTo>
                  <a:lnTo>
                    <a:pt x="278696" y="43697"/>
                  </a:lnTo>
                  <a:lnTo>
                    <a:pt x="223022" y="1477"/>
                  </a:lnTo>
                  <a:cubicBezTo>
                    <a:pt x="220417" y="-492"/>
                    <a:pt x="216822" y="-492"/>
                    <a:pt x="214217" y="1477"/>
                  </a:cubicBezTo>
                  <a:lnTo>
                    <a:pt x="158544" y="43751"/>
                  </a:lnTo>
                  <a:lnTo>
                    <a:pt x="51025" y="43751"/>
                  </a:lnTo>
                  <a:cubicBezTo>
                    <a:pt x="47024" y="43751"/>
                    <a:pt x="43769" y="46970"/>
                    <a:pt x="43724" y="50970"/>
                  </a:cubicBezTo>
                  <a:lnTo>
                    <a:pt x="43724" y="130816"/>
                  </a:lnTo>
                  <a:lnTo>
                    <a:pt x="2926" y="161825"/>
                  </a:lnTo>
                  <a:cubicBezTo>
                    <a:pt x="1087" y="163197"/>
                    <a:pt x="2" y="165355"/>
                    <a:pt x="0" y="167650"/>
                  </a:cubicBezTo>
                  <a:lnTo>
                    <a:pt x="0" y="430157"/>
                  </a:lnTo>
                  <a:cubicBezTo>
                    <a:pt x="0" y="434174"/>
                    <a:pt x="3256" y="437431"/>
                    <a:pt x="7274" y="437431"/>
                  </a:cubicBezTo>
                  <a:cubicBezTo>
                    <a:pt x="7283" y="437431"/>
                    <a:pt x="7292" y="437431"/>
                    <a:pt x="7301" y="437431"/>
                  </a:cubicBezTo>
                  <a:lnTo>
                    <a:pt x="430021" y="437431"/>
                  </a:lnTo>
                  <a:cubicBezTo>
                    <a:pt x="434038" y="437447"/>
                    <a:pt x="437305" y="434202"/>
                    <a:pt x="437322" y="430185"/>
                  </a:cubicBezTo>
                  <a:cubicBezTo>
                    <a:pt x="437322" y="430177"/>
                    <a:pt x="437322" y="430166"/>
                    <a:pt x="437322" y="430157"/>
                  </a:cubicBezTo>
                  <a:lnTo>
                    <a:pt x="437322" y="167650"/>
                  </a:lnTo>
                  <a:cubicBezTo>
                    <a:pt x="437319" y="165355"/>
                    <a:pt x="436236" y="163197"/>
                    <a:pt x="434396" y="161825"/>
                  </a:cubicBezTo>
                  <a:close/>
                  <a:moveTo>
                    <a:pt x="14575" y="182224"/>
                  </a:moveTo>
                  <a:lnTo>
                    <a:pt x="168169" y="298739"/>
                  </a:lnTo>
                  <a:lnTo>
                    <a:pt x="14575" y="415364"/>
                  </a:lnTo>
                  <a:close/>
                  <a:moveTo>
                    <a:pt x="218674" y="278723"/>
                  </a:moveTo>
                  <a:lnTo>
                    <a:pt x="408364" y="422856"/>
                  </a:lnTo>
                  <a:lnTo>
                    <a:pt x="28958" y="422856"/>
                  </a:lnTo>
                  <a:close/>
                  <a:moveTo>
                    <a:pt x="269153" y="298739"/>
                  </a:moveTo>
                  <a:lnTo>
                    <a:pt x="422747" y="182224"/>
                  </a:lnTo>
                  <a:lnTo>
                    <a:pt x="422747" y="415255"/>
                  </a:lnTo>
                  <a:close/>
                  <a:moveTo>
                    <a:pt x="417962" y="167486"/>
                  </a:moveTo>
                  <a:lnTo>
                    <a:pt x="393598" y="185970"/>
                  </a:lnTo>
                  <a:lnTo>
                    <a:pt x="393598" y="149165"/>
                  </a:lnTo>
                  <a:close/>
                  <a:moveTo>
                    <a:pt x="218674" y="16434"/>
                  </a:moveTo>
                  <a:lnTo>
                    <a:pt x="254633" y="43779"/>
                  </a:lnTo>
                  <a:lnTo>
                    <a:pt x="182689" y="43779"/>
                  </a:lnTo>
                  <a:close/>
                  <a:moveTo>
                    <a:pt x="379023" y="58326"/>
                  </a:moveTo>
                  <a:lnTo>
                    <a:pt x="379023" y="197209"/>
                  </a:lnTo>
                  <a:lnTo>
                    <a:pt x="257066" y="289688"/>
                  </a:lnTo>
                  <a:lnTo>
                    <a:pt x="223022" y="263875"/>
                  </a:lnTo>
                  <a:cubicBezTo>
                    <a:pt x="220427" y="261878"/>
                    <a:pt x="216813" y="261878"/>
                    <a:pt x="214217" y="263875"/>
                  </a:cubicBezTo>
                  <a:lnTo>
                    <a:pt x="180255" y="289661"/>
                  </a:lnTo>
                  <a:lnTo>
                    <a:pt x="58299" y="197209"/>
                  </a:lnTo>
                  <a:lnTo>
                    <a:pt x="58299" y="58326"/>
                  </a:lnTo>
                  <a:close/>
                  <a:moveTo>
                    <a:pt x="43724" y="186135"/>
                  </a:moveTo>
                  <a:lnTo>
                    <a:pt x="19360" y="167650"/>
                  </a:lnTo>
                  <a:lnTo>
                    <a:pt x="43724" y="149165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2BAEEBB1-1C4D-0948-924A-96DB4D64500A}"/>
                </a:ext>
              </a:extLst>
            </p:cNvPr>
            <p:cNvSpPr/>
            <p:nvPr/>
          </p:nvSpPr>
          <p:spPr>
            <a:xfrm>
              <a:off x="5365306" y="1548754"/>
              <a:ext cx="131253" cy="131267"/>
            </a:xfrm>
            <a:custGeom>
              <a:avLst/>
              <a:gdLst>
                <a:gd name="connsiteX0" fmla="*/ 65764 w 131253"/>
                <a:gd name="connsiteY0" fmla="*/ 131254 h 131267"/>
                <a:gd name="connsiteX1" fmla="*/ 87503 w 131253"/>
                <a:gd name="connsiteY1" fmla="*/ 131254 h 131267"/>
                <a:gd name="connsiteX2" fmla="*/ 95236 w 131253"/>
                <a:gd name="connsiteY2" fmla="*/ 124413 h 131267"/>
                <a:gd name="connsiteX3" fmla="*/ 88396 w 131253"/>
                <a:gd name="connsiteY3" fmla="*/ 116679 h 131267"/>
                <a:gd name="connsiteX4" fmla="*/ 87503 w 131253"/>
                <a:gd name="connsiteY4" fmla="*/ 116679 h 131267"/>
                <a:gd name="connsiteX5" fmla="*/ 65627 w 131253"/>
                <a:gd name="connsiteY5" fmla="*/ 116679 h 131267"/>
                <a:gd name="connsiteX6" fmla="*/ 14711 w 131253"/>
                <a:gd name="connsiteY6" fmla="*/ 65545 h 131267"/>
                <a:gd name="connsiteX7" fmla="*/ 65846 w 131253"/>
                <a:gd name="connsiteY7" fmla="*/ 14630 h 131267"/>
                <a:gd name="connsiteX8" fmla="*/ 116761 w 131253"/>
                <a:gd name="connsiteY8" fmla="*/ 65627 h 131267"/>
                <a:gd name="connsiteX9" fmla="*/ 116761 w 131253"/>
                <a:gd name="connsiteY9" fmla="*/ 80202 h 131267"/>
                <a:gd name="connsiteX10" fmla="*/ 109027 w 131253"/>
                <a:gd name="connsiteY10" fmla="*/ 87042 h 131267"/>
                <a:gd name="connsiteX11" fmla="*/ 102187 w 131253"/>
                <a:gd name="connsiteY11" fmla="*/ 80202 h 131267"/>
                <a:gd name="connsiteX12" fmla="*/ 102187 w 131253"/>
                <a:gd name="connsiteY12" fmla="*/ 65627 h 131267"/>
                <a:gd name="connsiteX13" fmla="*/ 65758 w 131253"/>
                <a:gd name="connsiteY13" fmla="*/ 28773 h 131267"/>
                <a:gd name="connsiteX14" fmla="*/ 28905 w 131253"/>
                <a:gd name="connsiteY14" fmla="*/ 65201 h 131267"/>
                <a:gd name="connsiteX15" fmla="*/ 65333 w 131253"/>
                <a:gd name="connsiteY15" fmla="*/ 102055 h 131267"/>
                <a:gd name="connsiteX16" fmla="*/ 91003 w 131253"/>
                <a:gd name="connsiteY16" fmla="*/ 91768 h 131267"/>
                <a:gd name="connsiteX17" fmla="*/ 121246 w 131253"/>
                <a:gd name="connsiteY17" fmla="*/ 98281 h 131267"/>
                <a:gd name="connsiteX18" fmla="*/ 131254 w 131253"/>
                <a:gd name="connsiteY18" fmla="*/ 80229 h 131267"/>
                <a:gd name="connsiteX19" fmla="*/ 131254 w 131253"/>
                <a:gd name="connsiteY19" fmla="*/ 65627 h 131267"/>
                <a:gd name="connsiteX20" fmla="*/ 65627 w 131253"/>
                <a:gd name="connsiteY20" fmla="*/ 0 h 131267"/>
                <a:gd name="connsiteX21" fmla="*/ 0 w 131253"/>
                <a:gd name="connsiteY21" fmla="*/ 65627 h 131267"/>
                <a:gd name="connsiteX22" fmla="*/ 65627 w 131253"/>
                <a:gd name="connsiteY22" fmla="*/ 131254 h 131267"/>
                <a:gd name="connsiteX23" fmla="*/ 65764 w 131253"/>
                <a:gd name="connsiteY23" fmla="*/ 87503 h 131267"/>
                <a:gd name="connsiteX24" fmla="*/ 43752 w 131253"/>
                <a:gd name="connsiteY24" fmla="*/ 65764 h 131267"/>
                <a:gd name="connsiteX25" fmla="*/ 65490 w 131253"/>
                <a:gd name="connsiteY25" fmla="*/ 43752 h 131267"/>
                <a:gd name="connsiteX26" fmla="*/ 87502 w 131253"/>
                <a:gd name="connsiteY26" fmla="*/ 65491 h 131267"/>
                <a:gd name="connsiteX27" fmla="*/ 87503 w 131253"/>
                <a:gd name="connsiteY27" fmla="*/ 65627 h 131267"/>
                <a:gd name="connsiteX28" fmla="*/ 65764 w 131253"/>
                <a:gd name="connsiteY28" fmla="*/ 87503 h 131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1253" h="131267">
                  <a:moveTo>
                    <a:pt x="65764" y="131254"/>
                  </a:moveTo>
                  <a:lnTo>
                    <a:pt x="87503" y="131254"/>
                  </a:lnTo>
                  <a:cubicBezTo>
                    <a:pt x="91527" y="131501"/>
                    <a:pt x="94990" y="128438"/>
                    <a:pt x="95236" y="124413"/>
                  </a:cubicBezTo>
                  <a:cubicBezTo>
                    <a:pt x="95483" y="120389"/>
                    <a:pt x="92421" y="116926"/>
                    <a:pt x="88396" y="116679"/>
                  </a:cubicBezTo>
                  <a:cubicBezTo>
                    <a:pt x="88098" y="116661"/>
                    <a:pt x="87800" y="116661"/>
                    <a:pt x="87503" y="116679"/>
                  </a:cubicBezTo>
                  <a:lnTo>
                    <a:pt x="65627" y="116679"/>
                  </a:lnTo>
                  <a:cubicBezTo>
                    <a:pt x="37447" y="116619"/>
                    <a:pt x="14651" y="93725"/>
                    <a:pt x="14711" y="65545"/>
                  </a:cubicBezTo>
                  <a:cubicBezTo>
                    <a:pt x="14772" y="37365"/>
                    <a:pt x="37665" y="14569"/>
                    <a:pt x="65846" y="14630"/>
                  </a:cubicBezTo>
                  <a:cubicBezTo>
                    <a:pt x="93973" y="14690"/>
                    <a:pt x="116745" y="37500"/>
                    <a:pt x="116761" y="65627"/>
                  </a:cubicBezTo>
                  <a:lnTo>
                    <a:pt x="116761" y="80202"/>
                  </a:lnTo>
                  <a:cubicBezTo>
                    <a:pt x="116515" y="84226"/>
                    <a:pt x="113052" y="87289"/>
                    <a:pt x="109027" y="87042"/>
                  </a:cubicBezTo>
                  <a:cubicBezTo>
                    <a:pt x="105347" y="86817"/>
                    <a:pt x="102412" y="83882"/>
                    <a:pt x="102187" y="80202"/>
                  </a:cubicBezTo>
                  <a:lnTo>
                    <a:pt x="102187" y="65627"/>
                  </a:lnTo>
                  <a:cubicBezTo>
                    <a:pt x="102304" y="45391"/>
                    <a:pt x="85995" y="28891"/>
                    <a:pt x="65758" y="28773"/>
                  </a:cubicBezTo>
                  <a:cubicBezTo>
                    <a:pt x="45522" y="28655"/>
                    <a:pt x="29022" y="44965"/>
                    <a:pt x="28905" y="65201"/>
                  </a:cubicBezTo>
                  <a:cubicBezTo>
                    <a:pt x="28787" y="85438"/>
                    <a:pt x="45096" y="101938"/>
                    <a:pt x="65333" y="102055"/>
                  </a:cubicBezTo>
                  <a:cubicBezTo>
                    <a:pt x="74904" y="102111"/>
                    <a:pt x="84118" y="98419"/>
                    <a:pt x="91003" y="91768"/>
                  </a:cubicBezTo>
                  <a:cubicBezTo>
                    <a:pt x="97556" y="101918"/>
                    <a:pt x="111096" y="104834"/>
                    <a:pt x="121246" y="98281"/>
                  </a:cubicBezTo>
                  <a:cubicBezTo>
                    <a:pt x="127390" y="94314"/>
                    <a:pt x="131145" y="87541"/>
                    <a:pt x="131254" y="80229"/>
                  </a:cubicBezTo>
                  <a:lnTo>
                    <a:pt x="131254" y="65627"/>
                  </a:lnTo>
                  <a:cubicBezTo>
                    <a:pt x="131254" y="29382"/>
                    <a:pt x="101872" y="0"/>
                    <a:pt x="65627" y="0"/>
                  </a:cubicBezTo>
                  <a:cubicBezTo>
                    <a:pt x="29382" y="0"/>
                    <a:pt x="0" y="29382"/>
                    <a:pt x="0" y="65627"/>
                  </a:cubicBezTo>
                  <a:cubicBezTo>
                    <a:pt x="0" y="101872"/>
                    <a:pt x="29382" y="131254"/>
                    <a:pt x="65627" y="131254"/>
                  </a:cubicBezTo>
                  <a:close/>
                  <a:moveTo>
                    <a:pt x="65764" y="87503"/>
                  </a:moveTo>
                  <a:cubicBezTo>
                    <a:pt x="53682" y="87578"/>
                    <a:pt x="43827" y="77846"/>
                    <a:pt x="43752" y="65764"/>
                  </a:cubicBezTo>
                  <a:cubicBezTo>
                    <a:pt x="43676" y="53683"/>
                    <a:pt x="53409" y="43828"/>
                    <a:pt x="65490" y="43752"/>
                  </a:cubicBezTo>
                  <a:cubicBezTo>
                    <a:pt x="77572" y="43677"/>
                    <a:pt x="87427" y="53409"/>
                    <a:pt x="87502" y="65491"/>
                  </a:cubicBezTo>
                  <a:cubicBezTo>
                    <a:pt x="87502" y="65536"/>
                    <a:pt x="87503" y="65582"/>
                    <a:pt x="87503" y="65627"/>
                  </a:cubicBezTo>
                  <a:cubicBezTo>
                    <a:pt x="87503" y="77655"/>
                    <a:pt x="77792" y="87427"/>
                    <a:pt x="65764" y="87503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76" name="Graphic 23">
            <a:extLst>
              <a:ext uri="{FF2B5EF4-FFF2-40B4-BE49-F238E27FC236}">
                <a16:creationId xmlns:a16="http://schemas.microsoft.com/office/drawing/2014/main" id="{32452867-303B-D44C-90CE-DE70EBFC9D5F}"/>
              </a:ext>
            </a:extLst>
          </p:cNvPr>
          <p:cNvGrpSpPr/>
          <p:nvPr userDrawn="1"/>
        </p:nvGrpSpPr>
        <p:grpSpPr>
          <a:xfrm>
            <a:off x="7433968" y="3243898"/>
            <a:ext cx="422758" cy="413740"/>
            <a:chOff x="9989148" y="4061617"/>
            <a:chExt cx="590214" cy="590214"/>
          </a:xfrm>
          <a:solidFill>
            <a:schemeClr val="bg1"/>
          </a:solidFill>
        </p:grpSpPr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32E946D6-A1E7-7440-BFBF-8BEE4B231985}"/>
                </a:ext>
              </a:extLst>
            </p:cNvPr>
            <p:cNvSpPr/>
            <p:nvPr/>
          </p:nvSpPr>
          <p:spPr>
            <a:xfrm>
              <a:off x="10070792" y="4217750"/>
              <a:ext cx="103974" cy="141925"/>
            </a:xfrm>
            <a:custGeom>
              <a:avLst/>
              <a:gdLst>
                <a:gd name="connsiteX0" fmla="*/ 3199 w 103974"/>
                <a:gd name="connsiteY0" fmla="*/ 141924 h 141925"/>
                <a:gd name="connsiteX1" fmla="*/ 2055 w 103974"/>
                <a:gd name="connsiteY1" fmla="*/ 141740 h 141925"/>
                <a:gd name="connsiteX2" fmla="*/ 211 w 103974"/>
                <a:gd name="connsiteY2" fmla="*/ 137572 h 141925"/>
                <a:gd name="connsiteX3" fmla="*/ 100178 w 103974"/>
                <a:gd name="connsiteY3" fmla="*/ 52 h 141925"/>
                <a:gd name="connsiteX4" fmla="*/ 103923 w 103974"/>
                <a:gd name="connsiteY4" fmla="*/ 2652 h 141925"/>
                <a:gd name="connsiteX5" fmla="*/ 101322 w 103974"/>
                <a:gd name="connsiteY5" fmla="*/ 6396 h 141925"/>
                <a:gd name="connsiteX6" fmla="*/ 6224 w 103974"/>
                <a:gd name="connsiteY6" fmla="*/ 139895 h 141925"/>
                <a:gd name="connsiteX7" fmla="*/ 3199 w 103974"/>
                <a:gd name="connsiteY7" fmla="*/ 141924 h 1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974" h="141925">
                  <a:moveTo>
                    <a:pt x="3199" y="141924"/>
                  </a:moveTo>
                  <a:cubicBezTo>
                    <a:pt x="2809" y="141935"/>
                    <a:pt x="2422" y="141873"/>
                    <a:pt x="2055" y="141740"/>
                  </a:cubicBezTo>
                  <a:cubicBezTo>
                    <a:pt x="404" y="141088"/>
                    <a:pt x="-417" y="139232"/>
                    <a:pt x="211" y="137572"/>
                  </a:cubicBezTo>
                  <a:cubicBezTo>
                    <a:pt x="2240" y="132296"/>
                    <a:pt x="50490" y="8905"/>
                    <a:pt x="100178" y="52"/>
                  </a:cubicBezTo>
                  <a:cubicBezTo>
                    <a:pt x="101931" y="-264"/>
                    <a:pt x="103607" y="900"/>
                    <a:pt x="103923" y="2652"/>
                  </a:cubicBezTo>
                  <a:cubicBezTo>
                    <a:pt x="104238" y="4404"/>
                    <a:pt x="103074" y="6081"/>
                    <a:pt x="101322" y="6396"/>
                  </a:cubicBezTo>
                  <a:cubicBezTo>
                    <a:pt x="55138" y="14586"/>
                    <a:pt x="6888" y="138641"/>
                    <a:pt x="6224" y="139895"/>
                  </a:cubicBezTo>
                  <a:cubicBezTo>
                    <a:pt x="5717" y="141120"/>
                    <a:pt x="4524" y="141921"/>
                    <a:pt x="3199" y="141924"/>
                  </a:cubicBez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5C7939C9-B50C-9C49-A588-B2BFD1FAB0C2}"/>
                </a:ext>
              </a:extLst>
            </p:cNvPr>
            <p:cNvSpPr/>
            <p:nvPr/>
          </p:nvSpPr>
          <p:spPr>
            <a:xfrm>
              <a:off x="10168524" y="4216996"/>
              <a:ext cx="167095" cy="86903"/>
            </a:xfrm>
            <a:custGeom>
              <a:avLst/>
              <a:gdLst>
                <a:gd name="connsiteX0" fmla="*/ 163870 w 167095"/>
                <a:gd name="connsiteY0" fmla="*/ 86904 h 86903"/>
                <a:gd name="connsiteX1" fmla="*/ 161804 w 167095"/>
                <a:gd name="connsiteY1" fmla="*/ 86129 h 86903"/>
                <a:gd name="connsiteX2" fmla="*/ 3774 w 167095"/>
                <a:gd name="connsiteY2" fmla="*/ 7114 h 86903"/>
                <a:gd name="connsiteX3" fmla="*/ 48 w 167095"/>
                <a:gd name="connsiteY3" fmla="*/ 4495 h 86903"/>
                <a:gd name="connsiteX4" fmla="*/ 2667 w 167095"/>
                <a:gd name="connsiteY4" fmla="*/ 769 h 86903"/>
                <a:gd name="connsiteX5" fmla="*/ 165935 w 167095"/>
                <a:gd name="connsiteY5" fmla="*/ 81223 h 86903"/>
                <a:gd name="connsiteX6" fmla="*/ 166356 w 167095"/>
                <a:gd name="connsiteY6" fmla="*/ 85742 h 86903"/>
                <a:gd name="connsiteX7" fmla="*/ 166341 w 167095"/>
                <a:gd name="connsiteY7" fmla="*/ 85760 h 86903"/>
                <a:gd name="connsiteX8" fmla="*/ 163870 w 167095"/>
                <a:gd name="connsiteY8" fmla="*/ 86904 h 86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095" h="86903">
                  <a:moveTo>
                    <a:pt x="163870" y="86904"/>
                  </a:moveTo>
                  <a:cubicBezTo>
                    <a:pt x="163110" y="86904"/>
                    <a:pt x="162376" y="86629"/>
                    <a:pt x="161804" y="86129"/>
                  </a:cubicBezTo>
                  <a:cubicBezTo>
                    <a:pt x="160771" y="85244"/>
                    <a:pt x="55971" y="-2219"/>
                    <a:pt x="3774" y="7114"/>
                  </a:cubicBezTo>
                  <a:cubicBezTo>
                    <a:pt x="2022" y="7420"/>
                    <a:pt x="354" y="6247"/>
                    <a:pt x="48" y="4495"/>
                  </a:cubicBezTo>
                  <a:cubicBezTo>
                    <a:pt x="-257" y="2743"/>
                    <a:pt x="915" y="1075"/>
                    <a:pt x="2667" y="769"/>
                  </a:cubicBezTo>
                  <a:cubicBezTo>
                    <a:pt x="58000" y="-9006"/>
                    <a:pt x="161546" y="77534"/>
                    <a:pt x="165935" y="81223"/>
                  </a:cubicBezTo>
                  <a:cubicBezTo>
                    <a:pt x="167300" y="82355"/>
                    <a:pt x="167488" y="84378"/>
                    <a:pt x="166356" y="85742"/>
                  </a:cubicBezTo>
                  <a:cubicBezTo>
                    <a:pt x="166352" y="85748"/>
                    <a:pt x="166346" y="85754"/>
                    <a:pt x="166341" y="85760"/>
                  </a:cubicBezTo>
                  <a:cubicBezTo>
                    <a:pt x="165725" y="86485"/>
                    <a:pt x="164821" y="86903"/>
                    <a:pt x="163870" y="86904"/>
                  </a:cubicBez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6CD83AF6-DF79-F34E-B675-97162EB69F8E}"/>
                </a:ext>
              </a:extLst>
            </p:cNvPr>
            <p:cNvSpPr/>
            <p:nvPr/>
          </p:nvSpPr>
          <p:spPr>
            <a:xfrm>
              <a:off x="10168524" y="4217254"/>
              <a:ext cx="102616" cy="98119"/>
            </a:xfrm>
            <a:custGeom>
              <a:avLst/>
              <a:gdLst>
                <a:gd name="connsiteX0" fmla="*/ 99315 w 102616"/>
                <a:gd name="connsiteY0" fmla="*/ 98118 h 98119"/>
                <a:gd name="connsiteX1" fmla="*/ 96475 w 102616"/>
                <a:gd name="connsiteY1" fmla="*/ 96347 h 98119"/>
                <a:gd name="connsiteX2" fmla="*/ 3774 w 102616"/>
                <a:gd name="connsiteY2" fmla="*/ 6856 h 98119"/>
                <a:gd name="connsiteX3" fmla="*/ 48 w 102616"/>
                <a:gd name="connsiteY3" fmla="*/ 4237 h 98119"/>
                <a:gd name="connsiteX4" fmla="*/ 2667 w 102616"/>
                <a:gd name="connsiteY4" fmla="*/ 511 h 98119"/>
                <a:gd name="connsiteX5" fmla="*/ 102266 w 102616"/>
                <a:gd name="connsiteY5" fmla="*/ 93433 h 98119"/>
                <a:gd name="connsiteX6" fmla="*/ 100864 w 102616"/>
                <a:gd name="connsiteY6" fmla="*/ 97749 h 98119"/>
                <a:gd name="connsiteX7" fmla="*/ 99315 w 102616"/>
                <a:gd name="connsiteY7" fmla="*/ 98118 h 98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616" h="98119">
                  <a:moveTo>
                    <a:pt x="99315" y="98118"/>
                  </a:moveTo>
                  <a:cubicBezTo>
                    <a:pt x="98106" y="98125"/>
                    <a:pt x="97001" y="97436"/>
                    <a:pt x="96475" y="96347"/>
                  </a:cubicBezTo>
                  <a:cubicBezTo>
                    <a:pt x="95958" y="95388"/>
                    <a:pt x="46159" y="-706"/>
                    <a:pt x="3774" y="6856"/>
                  </a:cubicBezTo>
                  <a:cubicBezTo>
                    <a:pt x="2022" y="7162"/>
                    <a:pt x="354" y="5989"/>
                    <a:pt x="48" y="4237"/>
                  </a:cubicBezTo>
                  <a:cubicBezTo>
                    <a:pt x="-257" y="2485"/>
                    <a:pt x="915" y="817"/>
                    <a:pt x="2667" y="511"/>
                  </a:cubicBezTo>
                  <a:cubicBezTo>
                    <a:pt x="49774" y="-7862"/>
                    <a:pt x="100053" y="89302"/>
                    <a:pt x="102266" y="93433"/>
                  </a:cubicBezTo>
                  <a:cubicBezTo>
                    <a:pt x="103071" y="95012"/>
                    <a:pt x="102443" y="96944"/>
                    <a:pt x="100864" y="97749"/>
                  </a:cubicBezTo>
                  <a:cubicBezTo>
                    <a:pt x="100390" y="98009"/>
                    <a:pt x="99855" y="98136"/>
                    <a:pt x="99315" y="98118"/>
                  </a:cubicBez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1DFD7D7B-5896-0648-867C-458444108BE1}"/>
                </a:ext>
              </a:extLst>
            </p:cNvPr>
            <p:cNvSpPr/>
            <p:nvPr/>
          </p:nvSpPr>
          <p:spPr>
            <a:xfrm>
              <a:off x="10136699" y="4217521"/>
              <a:ext cx="75486" cy="127139"/>
            </a:xfrm>
            <a:custGeom>
              <a:avLst/>
              <a:gdLst>
                <a:gd name="connsiteX0" fmla="*/ 3138 w 75486"/>
                <a:gd name="connsiteY0" fmla="*/ 127140 h 127139"/>
                <a:gd name="connsiteX1" fmla="*/ 3138 w 75486"/>
                <a:gd name="connsiteY1" fmla="*/ 127140 h 127139"/>
                <a:gd name="connsiteX2" fmla="*/ 0 w 75486"/>
                <a:gd name="connsiteY2" fmla="*/ 123933 h 127139"/>
                <a:gd name="connsiteX3" fmla="*/ 2 w 75486"/>
                <a:gd name="connsiteY3" fmla="*/ 123857 h 127139"/>
                <a:gd name="connsiteX4" fmla="*/ 35636 w 75486"/>
                <a:gd name="connsiteY4" fmla="*/ 59 h 127139"/>
                <a:gd name="connsiteX5" fmla="*/ 39325 w 75486"/>
                <a:gd name="connsiteY5" fmla="*/ 2199 h 127139"/>
                <a:gd name="connsiteX6" fmla="*/ 75328 w 75486"/>
                <a:gd name="connsiteY6" fmla="*/ 111020 h 127139"/>
                <a:gd name="connsiteX7" fmla="*/ 73262 w 75486"/>
                <a:gd name="connsiteY7" fmla="*/ 115077 h 127139"/>
                <a:gd name="connsiteX8" fmla="*/ 69205 w 75486"/>
                <a:gd name="connsiteY8" fmla="*/ 113012 h 127139"/>
                <a:gd name="connsiteX9" fmla="*/ 34050 w 75486"/>
                <a:gd name="connsiteY9" fmla="*/ 7253 h 127139"/>
                <a:gd name="connsiteX10" fmla="*/ 6347 w 75486"/>
                <a:gd name="connsiteY10" fmla="*/ 124004 h 127139"/>
                <a:gd name="connsiteX11" fmla="*/ 3138 w 75486"/>
                <a:gd name="connsiteY11" fmla="*/ 127140 h 12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486" h="127139">
                  <a:moveTo>
                    <a:pt x="3138" y="127140"/>
                  </a:moveTo>
                  <a:lnTo>
                    <a:pt x="3138" y="127140"/>
                  </a:lnTo>
                  <a:cubicBezTo>
                    <a:pt x="1386" y="127121"/>
                    <a:pt x="-19" y="125685"/>
                    <a:pt x="0" y="123933"/>
                  </a:cubicBezTo>
                  <a:cubicBezTo>
                    <a:pt x="1" y="123907"/>
                    <a:pt x="1" y="123882"/>
                    <a:pt x="2" y="123857"/>
                  </a:cubicBezTo>
                  <a:cubicBezTo>
                    <a:pt x="334" y="111757"/>
                    <a:pt x="4244" y="5814"/>
                    <a:pt x="35636" y="59"/>
                  </a:cubicBezTo>
                  <a:cubicBezTo>
                    <a:pt x="37228" y="-248"/>
                    <a:pt x="38802" y="665"/>
                    <a:pt x="39325" y="2199"/>
                  </a:cubicBezTo>
                  <a:lnTo>
                    <a:pt x="75328" y="111020"/>
                  </a:lnTo>
                  <a:cubicBezTo>
                    <a:pt x="75878" y="112711"/>
                    <a:pt x="74953" y="114527"/>
                    <a:pt x="73262" y="115077"/>
                  </a:cubicBezTo>
                  <a:cubicBezTo>
                    <a:pt x="71571" y="115627"/>
                    <a:pt x="69755" y="114703"/>
                    <a:pt x="69205" y="113012"/>
                  </a:cubicBezTo>
                  <a:lnTo>
                    <a:pt x="34050" y="7253"/>
                  </a:lnTo>
                  <a:cubicBezTo>
                    <a:pt x="16085" y="16217"/>
                    <a:pt x="7527" y="82357"/>
                    <a:pt x="6347" y="124004"/>
                  </a:cubicBezTo>
                  <a:cubicBezTo>
                    <a:pt x="6307" y="125748"/>
                    <a:pt x="4882" y="127140"/>
                    <a:pt x="3138" y="127140"/>
                  </a:cubicBez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106764AC-4840-0F48-AAF3-BCF25151C3B4}"/>
                </a:ext>
              </a:extLst>
            </p:cNvPr>
            <p:cNvSpPr/>
            <p:nvPr/>
          </p:nvSpPr>
          <p:spPr>
            <a:xfrm>
              <a:off x="10129567" y="4073444"/>
              <a:ext cx="42194" cy="132590"/>
            </a:xfrm>
            <a:custGeom>
              <a:avLst/>
              <a:gdLst>
                <a:gd name="connsiteX0" fmla="*/ 38968 w 42194"/>
                <a:gd name="connsiteY0" fmla="*/ 132591 h 132590"/>
                <a:gd name="connsiteX1" fmla="*/ 35870 w 42194"/>
                <a:gd name="connsiteY1" fmla="*/ 130267 h 132590"/>
                <a:gd name="connsiteX2" fmla="*/ 125 w 42194"/>
                <a:gd name="connsiteY2" fmla="*/ 4109 h 132590"/>
                <a:gd name="connsiteX3" fmla="*/ 2338 w 42194"/>
                <a:gd name="connsiteY3" fmla="*/ 125 h 132590"/>
                <a:gd name="connsiteX4" fmla="*/ 6322 w 42194"/>
                <a:gd name="connsiteY4" fmla="*/ 2338 h 132590"/>
                <a:gd name="connsiteX5" fmla="*/ 42067 w 42194"/>
                <a:gd name="connsiteY5" fmla="*/ 128349 h 132590"/>
                <a:gd name="connsiteX6" fmla="*/ 39879 w 42194"/>
                <a:gd name="connsiteY6" fmla="*/ 132325 h 132590"/>
                <a:gd name="connsiteX7" fmla="*/ 39854 w 42194"/>
                <a:gd name="connsiteY7" fmla="*/ 132333 h 132590"/>
                <a:gd name="connsiteX8" fmla="*/ 38968 w 42194"/>
                <a:gd name="connsiteY8" fmla="*/ 132591 h 13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194" h="132590">
                  <a:moveTo>
                    <a:pt x="38968" y="132591"/>
                  </a:moveTo>
                  <a:cubicBezTo>
                    <a:pt x="37536" y="132585"/>
                    <a:pt x="36276" y="131640"/>
                    <a:pt x="35870" y="130267"/>
                  </a:cubicBezTo>
                  <a:lnTo>
                    <a:pt x="125" y="4109"/>
                  </a:lnTo>
                  <a:cubicBezTo>
                    <a:pt x="-364" y="2397"/>
                    <a:pt x="627" y="614"/>
                    <a:pt x="2338" y="125"/>
                  </a:cubicBezTo>
                  <a:cubicBezTo>
                    <a:pt x="4049" y="-364"/>
                    <a:pt x="5833" y="627"/>
                    <a:pt x="6322" y="2338"/>
                  </a:cubicBezTo>
                  <a:lnTo>
                    <a:pt x="42067" y="128349"/>
                  </a:lnTo>
                  <a:cubicBezTo>
                    <a:pt x="42561" y="130051"/>
                    <a:pt x="41581" y="131831"/>
                    <a:pt x="39879" y="132325"/>
                  </a:cubicBezTo>
                  <a:cubicBezTo>
                    <a:pt x="39871" y="132328"/>
                    <a:pt x="39862" y="132330"/>
                    <a:pt x="39854" y="132333"/>
                  </a:cubicBezTo>
                  <a:cubicBezTo>
                    <a:pt x="39570" y="132456"/>
                    <a:pt x="39273" y="132542"/>
                    <a:pt x="38968" y="132591"/>
                  </a:cubicBez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ADD47101-A81E-914B-83CC-660F92008054}"/>
                </a:ext>
              </a:extLst>
            </p:cNvPr>
            <p:cNvSpPr/>
            <p:nvPr/>
          </p:nvSpPr>
          <p:spPr>
            <a:xfrm>
              <a:off x="10058048" y="4352726"/>
              <a:ext cx="34884" cy="25286"/>
            </a:xfrm>
            <a:custGeom>
              <a:avLst/>
              <a:gdLst>
                <a:gd name="connsiteX0" fmla="*/ 7569 w 34884"/>
                <a:gd name="connsiteY0" fmla="*/ 25282 h 25286"/>
                <a:gd name="connsiteX1" fmla="*/ 4286 w 34884"/>
                <a:gd name="connsiteY1" fmla="*/ 24434 h 25286"/>
                <a:gd name="connsiteX2" fmla="*/ 2516 w 34884"/>
                <a:gd name="connsiteY2" fmla="*/ 21888 h 25286"/>
                <a:gd name="connsiteX3" fmla="*/ 81 w 34884"/>
                <a:gd name="connsiteY3" fmla="*/ 10232 h 25286"/>
                <a:gd name="connsiteX4" fmla="*/ 2774 w 34884"/>
                <a:gd name="connsiteY4" fmla="*/ 5399 h 25286"/>
                <a:gd name="connsiteX5" fmla="*/ 5836 w 34884"/>
                <a:gd name="connsiteY5" fmla="*/ 4330 h 25286"/>
                <a:gd name="connsiteX6" fmla="*/ 24686 w 34884"/>
                <a:gd name="connsiteY6" fmla="*/ 309 h 25286"/>
                <a:gd name="connsiteX7" fmla="*/ 32358 w 34884"/>
                <a:gd name="connsiteY7" fmla="*/ 3371 h 25286"/>
                <a:gd name="connsiteX8" fmla="*/ 34830 w 34884"/>
                <a:gd name="connsiteY8" fmla="*/ 14990 h 25286"/>
                <a:gd name="connsiteX9" fmla="*/ 34240 w 34884"/>
                <a:gd name="connsiteY9" fmla="*/ 18052 h 25286"/>
                <a:gd name="connsiteX10" fmla="*/ 29039 w 34884"/>
                <a:gd name="connsiteY10" fmla="*/ 20929 h 25286"/>
                <a:gd name="connsiteX11" fmla="*/ 10189 w 34884"/>
                <a:gd name="connsiteY11" fmla="*/ 24913 h 25286"/>
                <a:gd name="connsiteX12" fmla="*/ 7569 w 34884"/>
                <a:gd name="connsiteY12" fmla="*/ 25282 h 25286"/>
                <a:gd name="connsiteX13" fmla="*/ 9783 w 34884"/>
                <a:gd name="connsiteY13" fmla="*/ 20302 h 25286"/>
                <a:gd name="connsiteX14" fmla="*/ 9783 w 34884"/>
                <a:gd name="connsiteY14" fmla="*/ 20302 h 25286"/>
                <a:gd name="connsiteX15" fmla="*/ 7938 w 34884"/>
                <a:gd name="connsiteY15" fmla="*/ 11375 h 25286"/>
                <a:gd name="connsiteX16" fmla="*/ 9229 w 34884"/>
                <a:gd name="connsiteY16" fmla="*/ 17462 h 25286"/>
                <a:gd name="connsiteX17" fmla="*/ 26936 w 34884"/>
                <a:gd name="connsiteY17" fmla="*/ 13773 h 25286"/>
                <a:gd name="connsiteX18" fmla="*/ 26383 w 34884"/>
                <a:gd name="connsiteY18" fmla="*/ 11375 h 25286"/>
                <a:gd name="connsiteX19" fmla="*/ 26383 w 34884"/>
                <a:gd name="connsiteY19" fmla="*/ 11375 h 25286"/>
                <a:gd name="connsiteX20" fmla="*/ 25645 w 34884"/>
                <a:gd name="connsiteY20" fmla="*/ 7686 h 25286"/>
                <a:gd name="connsiteX21" fmla="*/ 27526 w 34884"/>
                <a:gd name="connsiteY21" fmla="*/ 16466 h 25286"/>
                <a:gd name="connsiteX22" fmla="*/ 27526 w 34884"/>
                <a:gd name="connsiteY22" fmla="*/ 16466 h 25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84" h="25286">
                  <a:moveTo>
                    <a:pt x="7569" y="25282"/>
                  </a:moveTo>
                  <a:cubicBezTo>
                    <a:pt x="6416" y="25325"/>
                    <a:pt x="5275" y="25030"/>
                    <a:pt x="4286" y="24434"/>
                  </a:cubicBezTo>
                  <a:cubicBezTo>
                    <a:pt x="3420" y="23815"/>
                    <a:pt x="2795" y="22916"/>
                    <a:pt x="2516" y="21888"/>
                  </a:cubicBezTo>
                  <a:lnTo>
                    <a:pt x="81" y="10232"/>
                  </a:lnTo>
                  <a:cubicBezTo>
                    <a:pt x="-323" y="8179"/>
                    <a:pt x="816" y="6135"/>
                    <a:pt x="2774" y="5399"/>
                  </a:cubicBezTo>
                  <a:cubicBezTo>
                    <a:pt x="3743" y="4910"/>
                    <a:pt x="4773" y="4550"/>
                    <a:pt x="5836" y="4330"/>
                  </a:cubicBezTo>
                  <a:lnTo>
                    <a:pt x="24686" y="309"/>
                  </a:lnTo>
                  <a:cubicBezTo>
                    <a:pt x="30883" y="-1019"/>
                    <a:pt x="32063" y="2301"/>
                    <a:pt x="32358" y="3371"/>
                  </a:cubicBezTo>
                  <a:lnTo>
                    <a:pt x="34830" y="14990"/>
                  </a:lnTo>
                  <a:cubicBezTo>
                    <a:pt x="34995" y="16049"/>
                    <a:pt x="34786" y="17131"/>
                    <a:pt x="34240" y="18052"/>
                  </a:cubicBezTo>
                  <a:cubicBezTo>
                    <a:pt x="32945" y="19649"/>
                    <a:pt x="31080" y="20681"/>
                    <a:pt x="29039" y="20929"/>
                  </a:cubicBezTo>
                  <a:lnTo>
                    <a:pt x="10189" y="24913"/>
                  </a:lnTo>
                  <a:cubicBezTo>
                    <a:pt x="9332" y="25134"/>
                    <a:pt x="8454" y="25258"/>
                    <a:pt x="7569" y="25282"/>
                  </a:cubicBezTo>
                  <a:close/>
                  <a:moveTo>
                    <a:pt x="9783" y="20302"/>
                  </a:moveTo>
                  <a:lnTo>
                    <a:pt x="9783" y="20302"/>
                  </a:lnTo>
                  <a:close/>
                  <a:moveTo>
                    <a:pt x="7938" y="11375"/>
                  </a:moveTo>
                  <a:lnTo>
                    <a:pt x="9229" y="17462"/>
                  </a:lnTo>
                  <a:lnTo>
                    <a:pt x="26936" y="13773"/>
                  </a:lnTo>
                  <a:lnTo>
                    <a:pt x="26383" y="11375"/>
                  </a:lnTo>
                  <a:lnTo>
                    <a:pt x="26383" y="11375"/>
                  </a:lnTo>
                  <a:lnTo>
                    <a:pt x="25645" y="7686"/>
                  </a:lnTo>
                  <a:close/>
                  <a:moveTo>
                    <a:pt x="27526" y="16466"/>
                  </a:moveTo>
                  <a:lnTo>
                    <a:pt x="27526" y="16466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AEE9DFD9-EC49-7F46-9743-98106F59CAB8}"/>
                </a:ext>
              </a:extLst>
            </p:cNvPr>
            <p:cNvSpPr/>
            <p:nvPr/>
          </p:nvSpPr>
          <p:spPr>
            <a:xfrm>
              <a:off x="10127334" y="4337603"/>
              <a:ext cx="34744" cy="25354"/>
            </a:xfrm>
            <a:custGeom>
              <a:avLst/>
              <a:gdLst>
                <a:gd name="connsiteX0" fmla="*/ 7559 w 34744"/>
                <a:gd name="connsiteY0" fmla="*/ 25354 h 25354"/>
                <a:gd name="connsiteX1" fmla="*/ 2543 w 34744"/>
                <a:gd name="connsiteY1" fmla="*/ 21998 h 25354"/>
                <a:gd name="connsiteX2" fmla="*/ 71 w 34744"/>
                <a:gd name="connsiteY2" fmla="*/ 10341 h 25354"/>
                <a:gd name="connsiteX3" fmla="*/ 661 w 34744"/>
                <a:gd name="connsiteY3" fmla="*/ 7279 h 25354"/>
                <a:gd name="connsiteX4" fmla="*/ 5678 w 34744"/>
                <a:gd name="connsiteY4" fmla="*/ 4365 h 25354"/>
                <a:gd name="connsiteX5" fmla="*/ 24528 w 34744"/>
                <a:gd name="connsiteY5" fmla="*/ 344 h 25354"/>
                <a:gd name="connsiteX6" fmla="*/ 30430 w 34744"/>
                <a:gd name="connsiteY6" fmla="*/ 897 h 25354"/>
                <a:gd name="connsiteX7" fmla="*/ 32201 w 34744"/>
                <a:gd name="connsiteY7" fmla="*/ 3443 h 25354"/>
                <a:gd name="connsiteX8" fmla="*/ 33529 w 34744"/>
                <a:gd name="connsiteY8" fmla="*/ 9677 h 25354"/>
                <a:gd name="connsiteX9" fmla="*/ 33529 w 34744"/>
                <a:gd name="connsiteY9" fmla="*/ 9677 h 25354"/>
                <a:gd name="connsiteX10" fmla="*/ 34672 w 34744"/>
                <a:gd name="connsiteY10" fmla="*/ 15063 h 25354"/>
                <a:gd name="connsiteX11" fmla="*/ 31980 w 34744"/>
                <a:gd name="connsiteY11" fmla="*/ 19932 h 25354"/>
                <a:gd name="connsiteX12" fmla="*/ 28918 w 34744"/>
                <a:gd name="connsiteY12" fmla="*/ 21002 h 25354"/>
                <a:gd name="connsiteX13" fmla="*/ 10068 w 34744"/>
                <a:gd name="connsiteY13" fmla="*/ 24986 h 25354"/>
                <a:gd name="connsiteX14" fmla="*/ 7559 w 34744"/>
                <a:gd name="connsiteY14" fmla="*/ 25354 h 25354"/>
                <a:gd name="connsiteX15" fmla="*/ 7928 w 34744"/>
                <a:gd name="connsiteY15" fmla="*/ 11595 h 25354"/>
                <a:gd name="connsiteX16" fmla="*/ 9367 w 34744"/>
                <a:gd name="connsiteY16" fmla="*/ 17682 h 25354"/>
                <a:gd name="connsiteX17" fmla="*/ 27110 w 34744"/>
                <a:gd name="connsiteY17" fmla="*/ 13993 h 25354"/>
                <a:gd name="connsiteX18" fmla="*/ 25819 w 34744"/>
                <a:gd name="connsiteY18" fmla="*/ 7906 h 25354"/>
                <a:gd name="connsiteX19" fmla="*/ 25081 w 34744"/>
                <a:gd name="connsiteY19" fmla="*/ 5029 h 25354"/>
                <a:gd name="connsiteX20" fmla="*/ 25081 w 34744"/>
                <a:gd name="connsiteY20" fmla="*/ 5029 h 25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744" h="25354">
                  <a:moveTo>
                    <a:pt x="7559" y="25354"/>
                  </a:moveTo>
                  <a:cubicBezTo>
                    <a:pt x="3612" y="25354"/>
                    <a:pt x="2727" y="22883"/>
                    <a:pt x="2543" y="21998"/>
                  </a:cubicBezTo>
                  <a:lnTo>
                    <a:pt x="71" y="10341"/>
                  </a:lnTo>
                  <a:cubicBezTo>
                    <a:pt x="-124" y="9283"/>
                    <a:pt x="87" y="8189"/>
                    <a:pt x="661" y="7279"/>
                  </a:cubicBezTo>
                  <a:cubicBezTo>
                    <a:pt x="1898" y="5700"/>
                    <a:pt x="3694" y="4657"/>
                    <a:pt x="5678" y="4365"/>
                  </a:cubicBezTo>
                  <a:lnTo>
                    <a:pt x="24528" y="344"/>
                  </a:lnTo>
                  <a:cubicBezTo>
                    <a:pt x="26491" y="-261"/>
                    <a:pt x="28614" y="-62"/>
                    <a:pt x="30430" y="897"/>
                  </a:cubicBezTo>
                  <a:cubicBezTo>
                    <a:pt x="31326" y="1487"/>
                    <a:pt x="31960" y="2398"/>
                    <a:pt x="32201" y="3443"/>
                  </a:cubicBezTo>
                  <a:lnTo>
                    <a:pt x="33529" y="9677"/>
                  </a:lnTo>
                  <a:lnTo>
                    <a:pt x="33529" y="9677"/>
                  </a:lnTo>
                  <a:lnTo>
                    <a:pt x="34672" y="15063"/>
                  </a:lnTo>
                  <a:cubicBezTo>
                    <a:pt x="35049" y="17120"/>
                    <a:pt x="33922" y="19158"/>
                    <a:pt x="31980" y="19932"/>
                  </a:cubicBezTo>
                  <a:cubicBezTo>
                    <a:pt x="31008" y="20415"/>
                    <a:pt x="29979" y="20775"/>
                    <a:pt x="28918" y="21002"/>
                  </a:cubicBezTo>
                  <a:lnTo>
                    <a:pt x="10068" y="24986"/>
                  </a:lnTo>
                  <a:cubicBezTo>
                    <a:pt x="9247" y="25196"/>
                    <a:pt x="8406" y="25319"/>
                    <a:pt x="7559" y="25354"/>
                  </a:cubicBezTo>
                  <a:close/>
                  <a:moveTo>
                    <a:pt x="7928" y="11595"/>
                  </a:moveTo>
                  <a:lnTo>
                    <a:pt x="9367" y="17682"/>
                  </a:lnTo>
                  <a:lnTo>
                    <a:pt x="27110" y="13993"/>
                  </a:lnTo>
                  <a:lnTo>
                    <a:pt x="25819" y="7906"/>
                  </a:lnTo>
                  <a:close/>
                  <a:moveTo>
                    <a:pt x="25081" y="5029"/>
                  </a:moveTo>
                  <a:lnTo>
                    <a:pt x="25081" y="5029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04638960-7AA6-544F-91DD-5CA11BC4A6B0}"/>
                </a:ext>
              </a:extLst>
            </p:cNvPr>
            <p:cNvSpPr/>
            <p:nvPr/>
          </p:nvSpPr>
          <p:spPr>
            <a:xfrm>
              <a:off x="10191361" y="4323882"/>
              <a:ext cx="34913" cy="25242"/>
            </a:xfrm>
            <a:custGeom>
              <a:avLst/>
              <a:gdLst>
                <a:gd name="connsiteX0" fmla="*/ 7571 w 34913"/>
                <a:gd name="connsiteY0" fmla="*/ 25243 h 25242"/>
                <a:gd name="connsiteX1" fmla="*/ 2554 w 34913"/>
                <a:gd name="connsiteY1" fmla="*/ 21886 h 25242"/>
                <a:gd name="connsiteX2" fmla="*/ 82 w 34913"/>
                <a:gd name="connsiteY2" fmla="*/ 10229 h 25242"/>
                <a:gd name="connsiteX3" fmla="*/ 5837 w 34913"/>
                <a:gd name="connsiteY3" fmla="*/ 4327 h 25242"/>
                <a:gd name="connsiteX4" fmla="*/ 24687 w 34913"/>
                <a:gd name="connsiteY4" fmla="*/ 306 h 25242"/>
                <a:gd name="connsiteX5" fmla="*/ 32360 w 34913"/>
                <a:gd name="connsiteY5" fmla="*/ 3405 h 25242"/>
                <a:gd name="connsiteX6" fmla="*/ 33688 w 34913"/>
                <a:gd name="connsiteY6" fmla="*/ 9639 h 25242"/>
                <a:gd name="connsiteX7" fmla="*/ 33688 w 34913"/>
                <a:gd name="connsiteY7" fmla="*/ 9639 h 25242"/>
                <a:gd name="connsiteX8" fmla="*/ 34831 w 34913"/>
                <a:gd name="connsiteY8" fmla="*/ 15025 h 25242"/>
                <a:gd name="connsiteX9" fmla="*/ 29040 w 34913"/>
                <a:gd name="connsiteY9" fmla="*/ 20964 h 25242"/>
                <a:gd name="connsiteX10" fmla="*/ 10226 w 34913"/>
                <a:gd name="connsiteY10" fmla="*/ 24948 h 25242"/>
                <a:gd name="connsiteX11" fmla="*/ 7571 w 34913"/>
                <a:gd name="connsiteY11" fmla="*/ 25243 h 25242"/>
                <a:gd name="connsiteX12" fmla="*/ 7939 w 34913"/>
                <a:gd name="connsiteY12" fmla="*/ 11483 h 25242"/>
                <a:gd name="connsiteX13" fmla="*/ 9231 w 34913"/>
                <a:gd name="connsiteY13" fmla="*/ 17570 h 25242"/>
                <a:gd name="connsiteX14" fmla="*/ 26974 w 34913"/>
                <a:gd name="connsiteY14" fmla="*/ 13881 h 25242"/>
                <a:gd name="connsiteX15" fmla="*/ 25683 w 34913"/>
                <a:gd name="connsiteY15" fmla="*/ 7795 h 2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4913" h="25242">
                  <a:moveTo>
                    <a:pt x="7571" y="25243"/>
                  </a:moveTo>
                  <a:cubicBezTo>
                    <a:pt x="3623" y="25243"/>
                    <a:pt x="2738" y="22771"/>
                    <a:pt x="2554" y="21886"/>
                  </a:cubicBezTo>
                  <a:lnTo>
                    <a:pt x="82" y="10229"/>
                  </a:lnTo>
                  <a:cubicBezTo>
                    <a:pt x="-139" y="9159"/>
                    <a:pt x="-360" y="5618"/>
                    <a:pt x="5837" y="4327"/>
                  </a:cubicBezTo>
                  <a:lnTo>
                    <a:pt x="24687" y="306"/>
                  </a:lnTo>
                  <a:cubicBezTo>
                    <a:pt x="30921" y="-1022"/>
                    <a:pt x="32064" y="2335"/>
                    <a:pt x="32360" y="3405"/>
                  </a:cubicBezTo>
                  <a:lnTo>
                    <a:pt x="33688" y="9639"/>
                  </a:lnTo>
                  <a:lnTo>
                    <a:pt x="33688" y="9639"/>
                  </a:lnTo>
                  <a:lnTo>
                    <a:pt x="34831" y="15025"/>
                  </a:lnTo>
                  <a:cubicBezTo>
                    <a:pt x="35052" y="16094"/>
                    <a:pt x="35274" y="19636"/>
                    <a:pt x="29040" y="20964"/>
                  </a:cubicBezTo>
                  <a:lnTo>
                    <a:pt x="10226" y="24948"/>
                  </a:lnTo>
                  <a:cubicBezTo>
                    <a:pt x="9355" y="25144"/>
                    <a:pt x="8464" y="25242"/>
                    <a:pt x="7571" y="25243"/>
                  </a:cubicBezTo>
                  <a:close/>
                  <a:moveTo>
                    <a:pt x="7939" y="11483"/>
                  </a:moveTo>
                  <a:lnTo>
                    <a:pt x="9231" y="17570"/>
                  </a:lnTo>
                  <a:lnTo>
                    <a:pt x="26974" y="13881"/>
                  </a:lnTo>
                  <a:lnTo>
                    <a:pt x="25683" y="7795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E907E4D-35B0-AF43-99C1-F43B0B45F38D}"/>
                </a:ext>
              </a:extLst>
            </p:cNvPr>
            <p:cNvSpPr/>
            <p:nvPr/>
          </p:nvSpPr>
          <p:spPr>
            <a:xfrm>
              <a:off x="10148809" y="4200154"/>
              <a:ext cx="45843" cy="27718"/>
            </a:xfrm>
            <a:custGeom>
              <a:avLst/>
              <a:gdLst>
                <a:gd name="connsiteX0" fmla="*/ 7591 w 45843"/>
                <a:gd name="connsiteY0" fmla="*/ 27718 h 27718"/>
                <a:gd name="connsiteX1" fmla="*/ 2684 w 45843"/>
                <a:gd name="connsiteY1" fmla="*/ 24509 h 27718"/>
                <a:gd name="connsiteX2" fmla="*/ 102 w 45843"/>
                <a:gd name="connsiteY2" fmla="*/ 12705 h 27718"/>
                <a:gd name="connsiteX3" fmla="*/ 7185 w 45843"/>
                <a:gd name="connsiteY3" fmla="*/ 6471 h 27718"/>
                <a:gd name="connsiteX4" fmla="*/ 34150 w 45843"/>
                <a:gd name="connsiteY4" fmla="*/ 532 h 27718"/>
                <a:gd name="connsiteX5" fmla="*/ 43188 w 45843"/>
                <a:gd name="connsiteY5" fmla="*/ 3224 h 27718"/>
                <a:gd name="connsiteX6" fmla="*/ 44553 w 45843"/>
                <a:gd name="connsiteY6" fmla="*/ 9496 h 27718"/>
                <a:gd name="connsiteX7" fmla="*/ 44553 w 45843"/>
                <a:gd name="connsiteY7" fmla="*/ 9496 h 27718"/>
                <a:gd name="connsiteX8" fmla="*/ 45733 w 45843"/>
                <a:gd name="connsiteY8" fmla="*/ 14881 h 27718"/>
                <a:gd name="connsiteX9" fmla="*/ 38688 w 45843"/>
                <a:gd name="connsiteY9" fmla="*/ 21115 h 27718"/>
                <a:gd name="connsiteX10" fmla="*/ 11722 w 45843"/>
                <a:gd name="connsiteY10" fmla="*/ 27054 h 27718"/>
                <a:gd name="connsiteX11" fmla="*/ 7812 w 45843"/>
                <a:gd name="connsiteY11" fmla="*/ 27571 h 27718"/>
                <a:gd name="connsiteX12" fmla="*/ 7996 w 45843"/>
                <a:gd name="connsiteY12" fmla="*/ 14070 h 27718"/>
                <a:gd name="connsiteX13" fmla="*/ 9324 w 45843"/>
                <a:gd name="connsiteY13" fmla="*/ 20119 h 27718"/>
                <a:gd name="connsiteX14" fmla="*/ 10099 w 45843"/>
                <a:gd name="connsiteY14" fmla="*/ 20119 h 27718"/>
                <a:gd name="connsiteX15" fmla="*/ 37101 w 45843"/>
                <a:gd name="connsiteY15" fmla="*/ 14180 h 27718"/>
                <a:gd name="connsiteX16" fmla="*/ 37876 w 45843"/>
                <a:gd name="connsiteY16" fmla="*/ 14180 h 27718"/>
                <a:gd name="connsiteX17" fmla="*/ 36548 w 45843"/>
                <a:gd name="connsiteY17" fmla="*/ 8131 h 27718"/>
                <a:gd name="connsiteX18" fmla="*/ 35736 w 45843"/>
                <a:gd name="connsiteY18" fmla="*/ 8131 h 27718"/>
                <a:gd name="connsiteX19" fmla="*/ 8771 w 45843"/>
                <a:gd name="connsiteY19" fmla="*/ 14070 h 2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843" h="27718">
                  <a:moveTo>
                    <a:pt x="7591" y="27718"/>
                  </a:moveTo>
                  <a:cubicBezTo>
                    <a:pt x="3902" y="27718"/>
                    <a:pt x="2906" y="25468"/>
                    <a:pt x="2684" y="24509"/>
                  </a:cubicBezTo>
                  <a:lnTo>
                    <a:pt x="102" y="12705"/>
                  </a:lnTo>
                  <a:cubicBezTo>
                    <a:pt x="-857" y="8204"/>
                    <a:pt x="5193" y="6913"/>
                    <a:pt x="7185" y="6471"/>
                  </a:cubicBezTo>
                  <a:lnTo>
                    <a:pt x="34150" y="532"/>
                  </a:lnTo>
                  <a:cubicBezTo>
                    <a:pt x="36142" y="89"/>
                    <a:pt x="42192" y="-1239"/>
                    <a:pt x="43188" y="3224"/>
                  </a:cubicBezTo>
                  <a:lnTo>
                    <a:pt x="44553" y="9496"/>
                  </a:lnTo>
                  <a:lnTo>
                    <a:pt x="44553" y="9496"/>
                  </a:lnTo>
                  <a:lnTo>
                    <a:pt x="45733" y="14881"/>
                  </a:lnTo>
                  <a:cubicBezTo>
                    <a:pt x="46729" y="19345"/>
                    <a:pt x="40680" y="20673"/>
                    <a:pt x="38688" y="21115"/>
                  </a:cubicBezTo>
                  <a:lnTo>
                    <a:pt x="11722" y="27054"/>
                  </a:lnTo>
                  <a:cubicBezTo>
                    <a:pt x="10442" y="27371"/>
                    <a:pt x="9130" y="27544"/>
                    <a:pt x="7812" y="27571"/>
                  </a:cubicBezTo>
                  <a:close/>
                  <a:moveTo>
                    <a:pt x="7996" y="14070"/>
                  </a:moveTo>
                  <a:lnTo>
                    <a:pt x="9324" y="20119"/>
                  </a:lnTo>
                  <a:lnTo>
                    <a:pt x="10099" y="20119"/>
                  </a:lnTo>
                  <a:lnTo>
                    <a:pt x="37101" y="14180"/>
                  </a:lnTo>
                  <a:lnTo>
                    <a:pt x="37876" y="14180"/>
                  </a:lnTo>
                  <a:lnTo>
                    <a:pt x="36548" y="8131"/>
                  </a:lnTo>
                  <a:lnTo>
                    <a:pt x="35736" y="8131"/>
                  </a:lnTo>
                  <a:lnTo>
                    <a:pt x="8771" y="14070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C410B6B6-FF1D-9341-A520-F4B112996F20}"/>
                </a:ext>
              </a:extLst>
            </p:cNvPr>
            <p:cNvSpPr/>
            <p:nvPr/>
          </p:nvSpPr>
          <p:spPr>
            <a:xfrm>
              <a:off x="10253971" y="4309606"/>
              <a:ext cx="34893" cy="25317"/>
            </a:xfrm>
            <a:custGeom>
              <a:avLst/>
              <a:gdLst>
                <a:gd name="connsiteX0" fmla="*/ 7561 w 34893"/>
                <a:gd name="connsiteY0" fmla="*/ 25317 h 25317"/>
                <a:gd name="connsiteX1" fmla="*/ 4462 w 34893"/>
                <a:gd name="connsiteY1" fmla="*/ 24505 h 25317"/>
                <a:gd name="connsiteX2" fmla="*/ 2691 w 34893"/>
                <a:gd name="connsiteY2" fmla="*/ 21923 h 25317"/>
                <a:gd name="connsiteX3" fmla="*/ 72 w 34893"/>
                <a:gd name="connsiteY3" fmla="*/ 10229 h 25317"/>
                <a:gd name="connsiteX4" fmla="*/ 2765 w 34893"/>
                <a:gd name="connsiteY4" fmla="*/ 5360 h 25317"/>
                <a:gd name="connsiteX5" fmla="*/ 5864 w 34893"/>
                <a:gd name="connsiteY5" fmla="*/ 4290 h 25317"/>
                <a:gd name="connsiteX6" fmla="*/ 24714 w 34893"/>
                <a:gd name="connsiteY6" fmla="*/ 306 h 25317"/>
                <a:gd name="connsiteX7" fmla="*/ 32350 w 34893"/>
                <a:gd name="connsiteY7" fmla="*/ 3368 h 25317"/>
                <a:gd name="connsiteX8" fmla="*/ 34821 w 34893"/>
                <a:gd name="connsiteY8" fmla="*/ 15025 h 25317"/>
                <a:gd name="connsiteX9" fmla="*/ 34268 w 34893"/>
                <a:gd name="connsiteY9" fmla="*/ 18050 h 25317"/>
                <a:gd name="connsiteX10" fmla="*/ 29067 w 34893"/>
                <a:gd name="connsiteY10" fmla="*/ 20927 h 25317"/>
                <a:gd name="connsiteX11" fmla="*/ 10217 w 34893"/>
                <a:gd name="connsiteY11" fmla="*/ 24985 h 25317"/>
                <a:gd name="connsiteX12" fmla="*/ 7561 w 34893"/>
                <a:gd name="connsiteY12" fmla="*/ 25317 h 25317"/>
                <a:gd name="connsiteX13" fmla="*/ 9811 w 34893"/>
                <a:gd name="connsiteY13" fmla="*/ 20374 h 25317"/>
                <a:gd name="connsiteX14" fmla="*/ 9811 w 34893"/>
                <a:gd name="connsiteY14" fmla="*/ 20374 h 25317"/>
                <a:gd name="connsiteX15" fmla="*/ 7966 w 34893"/>
                <a:gd name="connsiteY15" fmla="*/ 11520 h 25317"/>
                <a:gd name="connsiteX16" fmla="*/ 9257 w 34893"/>
                <a:gd name="connsiteY16" fmla="*/ 17607 h 25317"/>
                <a:gd name="connsiteX17" fmla="*/ 26964 w 34893"/>
                <a:gd name="connsiteY17" fmla="*/ 13918 h 25317"/>
                <a:gd name="connsiteX18" fmla="*/ 26595 w 34893"/>
                <a:gd name="connsiteY18" fmla="*/ 11225 h 25317"/>
                <a:gd name="connsiteX19" fmla="*/ 26595 w 34893"/>
                <a:gd name="connsiteY19" fmla="*/ 11225 h 25317"/>
                <a:gd name="connsiteX20" fmla="*/ 25857 w 34893"/>
                <a:gd name="connsiteY20" fmla="*/ 7758 h 25317"/>
                <a:gd name="connsiteX21" fmla="*/ 27554 w 34893"/>
                <a:gd name="connsiteY21" fmla="*/ 16611 h 25317"/>
                <a:gd name="connsiteX22" fmla="*/ 27554 w 34893"/>
                <a:gd name="connsiteY22" fmla="*/ 16611 h 2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93" h="25317">
                  <a:moveTo>
                    <a:pt x="7561" y="25317"/>
                  </a:moveTo>
                  <a:cubicBezTo>
                    <a:pt x="6473" y="25337"/>
                    <a:pt x="5400" y="25056"/>
                    <a:pt x="4462" y="24505"/>
                  </a:cubicBezTo>
                  <a:cubicBezTo>
                    <a:pt x="3593" y="23873"/>
                    <a:pt x="2968" y="22961"/>
                    <a:pt x="2691" y="21923"/>
                  </a:cubicBezTo>
                  <a:lnTo>
                    <a:pt x="72" y="10229"/>
                  </a:lnTo>
                  <a:cubicBezTo>
                    <a:pt x="-305" y="8172"/>
                    <a:pt x="822" y="6134"/>
                    <a:pt x="2765" y="5360"/>
                  </a:cubicBezTo>
                  <a:cubicBezTo>
                    <a:pt x="3747" y="4871"/>
                    <a:pt x="4789" y="4511"/>
                    <a:pt x="5864" y="4290"/>
                  </a:cubicBezTo>
                  <a:lnTo>
                    <a:pt x="24714" y="306"/>
                  </a:lnTo>
                  <a:cubicBezTo>
                    <a:pt x="30948" y="-1022"/>
                    <a:pt x="32091" y="2335"/>
                    <a:pt x="32350" y="3368"/>
                  </a:cubicBezTo>
                  <a:lnTo>
                    <a:pt x="34821" y="15025"/>
                  </a:lnTo>
                  <a:cubicBezTo>
                    <a:pt x="35014" y="16067"/>
                    <a:pt x="34817" y="17144"/>
                    <a:pt x="34268" y="18050"/>
                  </a:cubicBezTo>
                  <a:cubicBezTo>
                    <a:pt x="32983" y="19659"/>
                    <a:pt x="31113" y="20694"/>
                    <a:pt x="29067" y="20927"/>
                  </a:cubicBezTo>
                  <a:lnTo>
                    <a:pt x="10217" y="24985"/>
                  </a:lnTo>
                  <a:cubicBezTo>
                    <a:pt x="9344" y="25178"/>
                    <a:pt x="8454" y="25290"/>
                    <a:pt x="7561" y="25317"/>
                  </a:cubicBezTo>
                  <a:close/>
                  <a:moveTo>
                    <a:pt x="9811" y="20374"/>
                  </a:moveTo>
                  <a:lnTo>
                    <a:pt x="9811" y="20374"/>
                  </a:lnTo>
                  <a:close/>
                  <a:moveTo>
                    <a:pt x="7966" y="11520"/>
                  </a:moveTo>
                  <a:lnTo>
                    <a:pt x="9257" y="17607"/>
                  </a:lnTo>
                  <a:lnTo>
                    <a:pt x="26964" y="13918"/>
                  </a:lnTo>
                  <a:lnTo>
                    <a:pt x="26595" y="11225"/>
                  </a:lnTo>
                  <a:lnTo>
                    <a:pt x="26595" y="11225"/>
                  </a:lnTo>
                  <a:lnTo>
                    <a:pt x="25857" y="7758"/>
                  </a:lnTo>
                  <a:close/>
                  <a:moveTo>
                    <a:pt x="27554" y="16611"/>
                  </a:moveTo>
                  <a:lnTo>
                    <a:pt x="27554" y="16611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69E8C8EE-2C1E-C34C-A231-AEC1DCAD5E84}"/>
                </a:ext>
              </a:extLst>
            </p:cNvPr>
            <p:cNvSpPr/>
            <p:nvPr/>
          </p:nvSpPr>
          <p:spPr>
            <a:xfrm>
              <a:off x="10317677" y="4295392"/>
              <a:ext cx="34882" cy="25291"/>
            </a:xfrm>
            <a:custGeom>
              <a:avLst/>
              <a:gdLst>
                <a:gd name="connsiteX0" fmla="*/ 7560 w 34882"/>
                <a:gd name="connsiteY0" fmla="*/ 25292 h 25291"/>
                <a:gd name="connsiteX1" fmla="*/ 2543 w 34882"/>
                <a:gd name="connsiteY1" fmla="*/ 21935 h 25291"/>
                <a:gd name="connsiteX2" fmla="*/ 72 w 34882"/>
                <a:gd name="connsiteY2" fmla="*/ 10278 h 25291"/>
                <a:gd name="connsiteX3" fmla="*/ 625 w 34882"/>
                <a:gd name="connsiteY3" fmla="*/ 7216 h 25291"/>
                <a:gd name="connsiteX4" fmla="*/ 5826 w 34882"/>
                <a:gd name="connsiteY4" fmla="*/ 4339 h 25291"/>
                <a:gd name="connsiteX5" fmla="*/ 24676 w 34882"/>
                <a:gd name="connsiteY5" fmla="*/ 355 h 25291"/>
                <a:gd name="connsiteX6" fmla="*/ 30578 w 34882"/>
                <a:gd name="connsiteY6" fmla="*/ 871 h 25291"/>
                <a:gd name="connsiteX7" fmla="*/ 32349 w 34882"/>
                <a:gd name="connsiteY7" fmla="*/ 3417 h 25291"/>
                <a:gd name="connsiteX8" fmla="*/ 33677 w 34882"/>
                <a:gd name="connsiteY8" fmla="*/ 9651 h 25291"/>
                <a:gd name="connsiteX9" fmla="*/ 33677 w 34882"/>
                <a:gd name="connsiteY9" fmla="*/ 9651 h 25291"/>
                <a:gd name="connsiteX10" fmla="*/ 34821 w 34882"/>
                <a:gd name="connsiteY10" fmla="*/ 15073 h 25291"/>
                <a:gd name="connsiteX11" fmla="*/ 34230 w 34882"/>
                <a:gd name="connsiteY11" fmla="*/ 18098 h 25291"/>
                <a:gd name="connsiteX12" fmla="*/ 29066 w 34882"/>
                <a:gd name="connsiteY12" fmla="*/ 20976 h 25291"/>
                <a:gd name="connsiteX13" fmla="*/ 10216 w 34882"/>
                <a:gd name="connsiteY13" fmla="*/ 24996 h 25291"/>
                <a:gd name="connsiteX14" fmla="*/ 7560 w 34882"/>
                <a:gd name="connsiteY14" fmla="*/ 25292 h 25291"/>
                <a:gd name="connsiteX15" fmla="*/ 7929 w 34882"/>
                <a:gd name="connsiteY15" fmla="*/ 11495 h 25291"/>
                <a:gd name="connsiteX16" fmla="*/ 9220 w 34882"/>
                <a:gd name="connsiteY16" fmla="*/ 17582 h 25291"/>
                <a:gd name="connsiteX17" fmla="*/ 26963 w 34882"/>
                <a:gd name="connsiteY17" fmla="*/ 13893 h 25291"/>
                <a:gd name="connsiteX18" fmla="*/ 25599 w 34882"/>
                <a:gd name="connsiteY18" fmla="*/ 7733 h 25291"/>
                <a:gd name="connsiteX19" fmla="*/ 27554 w 34882"/>
                <a:gd name="connsiteY19" fmla="*/ 16586 h 25291"/>
                <a:gd name="connsiteX20" fmla="*/ 27554 w 34882"/>
                <a:gd name="connsiteY20" fmla="*/ 16586 h 2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882" h="25291">
                  <a:moveTo>
                    <a:pt x="7560" y="25292"/>
                  </a:moveTo>
                  <a:cubicBezTo>
                    <a:pt x="3613" y="25292"/>
                    <a:pt x="2728" y="22820"/>
                    <a:pt x="2543" y="21935"/>
                  </a:cubicBezTo>
                  <a:lnTo>
                    <a:pt x="72" y="10278"/>
                  </a:lnTo>
                  <a:cubicBezTo>
                    <a:pt x="-120" y="9224"/>
                    <a:pt x="76" y="8136"/>
                    <a:pt x="625" y="7216"/>
                  </a:cubicBezTo>
                  <a:cubicBezTo>
                    <a:pt x="1920" y="5619"/>
                    <a:pt x="3785" y="4588"/>
                    <a:pt x="5826" y="4339"/>
                  </a:cubicBezTo>
                  <a:lnTo>
                    <a:pt x="24676" y="355"/>
                  </a:lnTo>
                  <a:cubicBezTo>
                    <a:pt x="26635" y="-258"/>
                    <a:pt x="28756" y="-72"/>
                    <a:pt x="30578" y="871"/>
                  </a:cubicBezTo>
                  <a:cubicBezTo>
                    <a:pt x="31445" y="1490"/>
                    <a:pt x="32070" y="2389"/>
                    <a:pt x="32349" y="3417"/>
                  </a:cubicBezTo>
                  <a:lnTo>
                    <a:pt x="33677" y="9651"/>
                  </a:lnTo>
                  <a:lnTo>
                    <a:pt x="33677" y="9651"/>
                  </a:lnTo>
                  <a:lnTo>
                    <a:pt x="34821" y="15073"/>
                  </a:lnTo>
                  <a:cubicBezTo>
                    <a:pt x="35000" y="16120"/>
                    <a:pt x="34790" y="17196"/>
                    <a:pt x="34230" y="18098"/>
                  </a:cubicBezTo>
                  <a:cubicBezTo>
                    <a:pt x="32963" y="19709"/>
                    <a:pt x="31103" y="20745"/>
                    <a:pt x="29066" y="20976"/>
                  </a:cubicBezTo>
                  <a:lnTo>
                    <a:pt x="10216" y="24996"/>
                  </a:lnTo>
                  <a:cubicBezTo>
                    <a:pt x="9341" y="25172"/>
                    <a:pt x="8452" y="25271"/>
                    <a:pt x="7560" y="25292"/>
                  </a:cubicBezTo>
                  <a:close/>
                  <a:moveTo>
                    <a:pt x="7929" y="11495"/>
                  </a:moveTo>
                  <a:lnTo>
                    <a:pt x="9220" y="17582"/>
                  </a:lnTo>
                  <a:lnTo>
                    <a:pt x="26963" y="13893"/>
                  </a:lnTo>
                  <a:lnTo>
                    <a:pt x="25599" y="7733"/>
                  </a:lnTo>
                  <a:close/>
                  <a:moveTo>
                    <a:pt x="27554" y="16586"/>
                  </a:moveTo>
                  <a:lnTo>
                    <a:pt x="27554" y="16586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ADF8088F-2B76-5D47-A326-8E36A64F91EE}"/>
                </a:ext>
              </a:extLst>
            </p:cNvPr>
            <p:cNvSpPr/>
            <p:nvPr/>
          </p:nvSpPr>
          <p:spPr>
            <a:xfrm>
              <a:off x="9995831" y="4304915"/>
              <a:ext cx="577031" cy="337404"/>
            </a:xfrm>
            <a:custGeom>
              <a:avLst/>
              <a:gdLst>
                <a:gd name="connsiteX0" fmla="*/ 247847 w 577031"/>
                <a:gd name="connsiteY0" fmla="*/ 337398 h 337404"/>
                <a:gd name="connsiteX1" fmla="*/ 193104 w 577031"/>
                <a:gd name="connsiteY1" fmla="*/ 327217 h 337404"/>
                <a:gd name="connsiteX2" fmla="*/ 21241 w 577031"/>
                <a:gd name="connsiteY2" fmla="*/ 234664 h 337404"/>
                <a:gd name="connsiteX3" fmla="*/ 20614 w 577031"/>
                <a:gd name="connsiteY3" fmla="*/ 234221 h 337404"/>
                <a:gd name="connsiteX4" fmla="*/ 178 w 577031"/>
                <a:gd name="connsiteY4" fmla="*/ 205743 h 337404"/>
                <a:gd name="connsiteX5" fmla="*/ 4383 w 577031"/>
                <a:gd name="connsiteY5" fmla="*/ 93971 h 337404"/>
                <a:gd name="connsiteX6" fmla="*/ 22906 w 577031"/>
                <a:gd name="connsiteY6" fmla="*/ 73938 h 337404"/>
                <a:gd name="connsiteX7" fmla="*/ 24488 w 577031"/>
                <a:gd name="connsiteY7" fmla="*/ 73941 h 337404"/>
                <a:gd name="connsiteX8" fmla="*/ 368804 w 577031"/>
                <a:gd name="connsiteY8" fmla="*/ 164 h 337404"/>
                <a:gd name="connsiteX9" fmla="*/ 369394 w 577031"/>
                <a:gd name="connsiteY9" fmla="*/ 164 h 337404"/>
                <a:gd name="connsiteX10" fmla="*/ 397429 w 577031"/>
                <a:gd name="connsiteY10" fmla="*/ 4406 h 337404"/>
                <a:gd name="connsiteX11" fmla="*/ 426681 w 577031"/>
                <a:gd name="connsiteY11" fmla="*/ 19383 h 337404"/>
                <a:gd name="connsiteX12" fmla="*/ 427751 w 577031"/>
                <a:gd name="connsiteY12" fmla="*/ 20195 h 337404"/>
                <a:gd name="connsiteX13" fmla="*/ 552840 w 577031"/>
                <a:gd name="connsiteY13" fmla="*/ 161219 h 337404"/>
                <a:gd name="connsiteX14" fmla="*/ 562209 w 577031"/>
                <a:gd name="connsiteY14" fmla="*/ 178225 h 337404"/>
                <a:gd name="connsiteX15" fmla="*/ 576965 w 577031"/>
                <a:gd name="connsiteY15" fmla="*/ 223007 h 337404"/>
                <a:gd name="connsiteX16" fmla="*/ 576965 w 577031"/>
                <a:gd name="connsiteY16" fmla="*/ 224261 h 337404"/>
                <a:gd name="connsiteX17" fmla="*/ 550848 w 577031"/>
                <a:gd name="connsiteY17" fmla="*/ 260818 h 337404"/>
                <a:gd name="connsiteX18" fmla="*/ 550184 w 577031"/>
                <a:gd name="connsiteY18" fmla="*/ 261076 h 337404"/>
                <a:gd name="connsiteX19" fmla="*/ 294695 w 577031"/>
                <a:gd name="connsiteY19" fmla="*/ 330205 h 337404"/>
                <a:gd name="connsiteX20" fmla="*/ 247847 w 577031"/>
                <a:gd name="connsiteY20" fmla="*/ 337398 h 337404"/>
                <a:gd name="connsiteX21" fmla="*/ 25115 w 577031"/>
                <a:gd name="connsiteY21" fmla="*/ 228319 h 337404"/>
                <a:gd name="connsiteX22" fmla="*/ 196092 w 577031"/>
                <a:gd name="connsiteY22" fmla="*/ 320540 h 337404"/>
                <a:gd name="connsiteX23" fmla="*/ 292445 w 577031"/>
                <a:gd name="connsiteY23" fmla="*/ 323159 h 337404"/>
                <a:gd name="connsiteX24" fmla="*/ 548118 w 577031"/>
                <a:gd name="connsiteY24" fmla="*/ 254178 h 337404"/>
                <a:gd name="connsiteX25" fmla="*/ 569735 w 577031"/>
                <a:gd name="connsiteY25" fmla="*/ 224851 h 337404"/>
                <a:gd name="connsiteX26" fmla="*/ 554979 w 577031"/>
                <a:gd name="connsiteY26" fmla="*/ 180585 h 337404"/>
                <a:gd name="connsiteX27" fmla="*/ 554979 w 577031"/>
                <a:gd name="connsiteY27" fmla="*/ 179995 h 337404"/>
                <a:gd name="connsiteX28" fmla="*/ 547343 w 577031"/>
                <a:gd name="connsiteY28" fmla="*/ 166420 h 337404"/>
                <a:gd name="connsiteX29" fmla="*/ 422661 w 577031"/>
                <a:gd name="connsiteY29" fmla="*/ 25986 h 337404"/>
                <a:gd name="connsiteX30" fmla="*/ 393961 w 577031"/>
                <a:gd name="connsiteY30" fmla="*/ 11231 h 337404"/>
                <a:gd name="connsiteX31" fmla="*/ 370132 w 577031"/>
                <a:gd name="connsiteY31" fmla="*/ 7837 h 337404"/>
                <a:gd name="connsiteX32" fmla="*/ 24488 w 577031"/>
                <a:gd name="connsiteY32" fmla="*/ 81614 h 337404"/>
                <a:gd name="connsiteX33" fmla="*/ 11945 w 577031"/>
                <a:gd name="connsiteY33" fmla="*/ 93022 h 337404"/>
                <a:gd name="connsiteX34" fmla="*/ 11945 w 577031"/>
                <a:gd name="connsiteY34" fmla="*/ 94156 h 337404"/>
                <a:gd name="connsiteX35" fmla="*/ 11945 w 577031"/>
                <a:gd name="connsiteY35" fmla="*/ 94377 h 337404"/>
                <a:gd name="connsiteX36" fmla="*/ 7593 w 577031"/>
                <a:gd name="connsiteY36" fmla="*/ 205042 h 337404"/>
                <a:gd name="connsiteX37" fmla="*/ 25115 w 577031"/>
                <a:gd name="connsiteY37" fmla="*/ 228319 h 337404"/>
                <a:gd name="connsiteX38" fmla="*/ 8072 w 577031"/>
                <a:gd name="connsiteY38" fmla="*/ 94082 h 337404"/>
                <a:gd name="connsiteX39" fmla="*/ 8072 w 577031"/>
                <a:gd name="connsiteY39" fmla="*/ 94082 h 337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77031" h="337404">
                  <a:moveTo>
                    <a:pt x="247847" y="337398"/>
                  </a:moveTo>
                  <a:cubicBezTo>
                    <a:pt x="229121" y="337483"/>
                    <a:pt x="210548" y="334026"/>
                    <a:pt x="193104" y="327217"/>
                  </a:cubicBezTo>
                  <a:lnTo>
                    <a:pt x="21241" y="234664"/>
                  </a:lnTo>
                  <a:lnTo>
                    <a:pt x="20614" y="234221"/>
                  </a:lnTo>
                  <a:cubicBezTo>
                    <a:pt x="18659" y="232561"/>
                    <a:pt x="1506" y="217806"/>
                    <a:pt x="178" y="205743"/>
                  </a:cubicBezTo>
                  <a:cubicBezTo>
                    <a:pt x="-1039" y="194677"/>
                    <a:pt x="4383" y="99320"/>
                    <a:pt x="4383" y="93971"/>
                  </a:cubicBezTo>
                  <a:cubicBezTo>
                    <a:pt x="3966" y="83325"/>
                    <a:pt x="12259" y="74355"/>
                    <a:pt x="22906" y="73938"/>
                  </a:cubicBezTo>
                  <a:cubicBezTo>
                    <a:pt x="23433" y="73917"/>
                    <a:pt x="23960" y="73919"/>
                    <a:pt x="24488" y="73941"/>
                  </a:cubicBezTo>
                  <a:cubicBezTo>
                    <a:pt x="37509" y="73941"/>
                    <a:pt x="277468" y="20748"/>
                    <a:pt x="368804" y="164"/>
                  </a:cubicBezTo>
                  <a:lnTo>
                    <a:pt x="369394" y="164"/>
                  </a:lnTo>
                  <a:cubicBezTo>
                    <a:pt x="378937" y="-518"/>
                    <a:pt x="388513" y="931"/>
                    <a:pt x="397429" y="4406"/>
                  </a:cubicBezTo>
                  <a:lnTo>
                    <a:pt x="426681" y="19383"/>
                  </a:lnTo>
                  <a:cubicBezTo>
                    <a:pt x="427091" y="19577"/>
                    <a:pt x="427456" y="19853"/>
                    <a:pt x="427751" y="20195"/>
                  </a:cubicBezTo>
                  <a:lnTo>
                    <a:pt x="552840" y="161219"/>
                  </a:lnTo>
                  <a:cubicBezTo>
                    <a:pt x="557222" y="166096"/>
                    <a:pt x="560428" y="171913"/>
                    <a:pt x="562209" y="178225"/>
                  </a:cubicBezTo>
                  <a:lnTo>
                    <a:pt x="576965" y="223007"/>
                  </a:lnTo>
                  <a:cubicBezTo>
                    <a:pt x="577053" y="223420"/>
                    <a:pt x="577053" y="223848"/>
                    <a:pt x="576965" y="224261"/>
                  </a:cubicBezTo>
                  <a:cubicBezTo>
                    <a:pt x="575548" y="240289"/>
                    <a:pt x="565551" y="254285"/>
                    <a:pt x="550848" y="260818"/>
                  </a:cubicBezTo>
                  <a:lnTo>
                    <a:pt x="550184" y="261076"/>
                  </a:lnTo>
                  <a:lnTo>
                    <a:pt x="294695" y="330205"/>
                  </a:lnTo>
                  <a:cubicBezTo>
                    <a:pt x="279570" y="335118"/>
                    <a:pt x="263749" y="337549"/>
                    <a:pt x="247847" y="337398"/>
                  </a:cubicBezTo>
                  <a:close/>
                  <a:moveTo>
                    <a:pt x="25115" y="228319"/>
                  </a:moveTo>
                  <a:lnTo>
                    <a:pt x="196092" y="320540"/>
                  </a:lnTo>
                  <a:cubicBezTo>
                    <a:pt x="227040" y="332027"/>
                    <a:pt x="260919" y="332945"/>
                    <a:pt x="292445" y="323159"/>
                  </a:cubicBezTo>
                  <a:lnTo>
                    <a:pt x="548118" y="254178"/>
                  </a:lnTo>
                  <a:cubicBezTo>
                    <a:pt x="559937" y="248833"/>
                    <a:pt x="568126" y="237722"/>
                    <a:pt x="569735" y="224851"/>
                  </a:cubicBezTo>
                  <a:lnTo>
                    <a:pt x="554979" y="180585"/>
                  </a:lnTo>
                  <a:lnTo>
                    <a:pt x="554979" y="179995"/>
                  </a:lnTo>
                  <a:cubicBezTo>
                    <a:pt x="553504" y="174949"/>
                    <a:pt x="550892" y="170305"/>
                    <a:pt x="547343" y="166420"/>
                  </a:cubicBezTo>
                  <a:lnTo>
                    <a:pt x="422661" y="25986"/>
                  </a:lnTo>
                  <a:lnTo>
                    <a:pt x="393961" y="11231"/>
                  </a:lnTo>
                  <a:cubicBezTo>
                    <a:pt x="386362" y="8371"/>
                    <a:pt x="378229" y="7212"/>
                    <a:pt x="370132" y="7837"/>
                  </a:cubicBezTo>
                  <a:cubicBezTo>
                    <a:pt x="352905" y="11526"/>
                    <a:pt x="40903" y="81614"/>
                    <a:pt x="24488" y="81614"/>
                  </a:cubicBezTo>
                  <a:cubicBezTo>
                    <a:pt x="17874" y="81301"/>
                    <a:pt x="12258" y="86409"/>
                    <a:pt x="11945" y="93022"/>
                  </a:cubicBezTo>
                  <a:cubicBezTo>
                    <a:pt x="11928" y="93400"/>
                    <a:pt x="11928" y="93778"/>
                    <a:pt x="11945" y="94156"/>
                  </a:cubicBezTo>
                  <a:lnTo>
                    <a:pt x="11945" y="94377"/>
                  </a:lnTo>
                  <a:cubicBezTo>
                    <a:pt x="10433" y="122191"/>
                    <a:pt x="6634" y="196263"/>
                    <a:pt x="7593" y="205042"/>
                  </a:cubicBezTo>
                  <a:cubicBezTo>
                    <a:pt x="8404" y="212568"/>
                    <a:pt x="20245" y="224151"/>
                    <a:pt x="25115" y="228319"/>
                  </a:cubicBezTo>
                  <a:close/>
                  <a:moveTo>
                    <a:pt x="8072" y="94082"/>
                  </a:moveTo>
                  <a:lnTo>
                    <a:pt x="8072" y="94082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89" name="Freeform 88">
              <a:extLst>
                <a:ext uri="{FF2B5EF4-FFF2-40B4-BE49-F238E27FC236}">
                  <a16:creationId xmlns:a16="http://schemas.microsoft.com/office/drawing/2014/main" id="{62875259-F012-C74C-93E9-B52ABEEFF1A6}"/>
                </a:ext>
              </a:extLst>
            </p:cNvPr>
            <p:cNvSpPr/>
            <p:nvPr/>
          </p:nvSpPr>
          <p:spPr>
            <a:xfrm>
              <a:off x="10129029" y="4361604"/>
              <a:ext cx="364211" cy="173144"/>
            </a:xfrm>
            <a:custGeom>
              <a:avLst/>
              <a:gdLst>
                <a:gd name="connsiteX0" fmla="*/ 96573 w 364211"/>
                <a:gd name="connsiteY0" fmla="*/ 173106 h 173144"/>
                <a:gd name="connsiteX1" fmla="*/ 93769 w 364211"/>
                <a:gd name="connsiteY1" fmla="*/ 171852 h 173144"/>
                <a:gd name="connsiteX2" fmla="*/ 958 w 364211"/>
                <a:gd name="connsiteY2" fmla="*/ 66462 h 173144"/>
                <a:gd name="connsiteX3" fmla="*/ 1209 w 364211"/>
                <a:gd name="connsiteY3" fmla="*/ 61251 h 173144"/>
                <a:gd name="connsiteX4" fmla="*/ 2913 w 364211"/>
                <a:gd name="connsiteY4" fmla="*/ 60375 h 173144"/>
                <a:gd name="connsiteX5" fmla="*/ 262571 w 364211"/>
                <a:gd name="connsiteY5" fmla="*/ 137 h 173144"/>
                <a:gd name="connsiteX6" fmla="*/ 266259 w 364211"/>
                <a:gd name="connsiteY6" fmla="*/ 1170 h 173144"/>
                <a:gd name="connsiteX7" fmla="*/ 363128 w 364211"/>
                <a:gd name="connsiteY7" fmla="*/ 99661 h 173144"/>
                <a:gd name="connsiteX8" fmla="*/ 364050 w 364211"/>
                <a:gd name="connsiteY8" fmla="*/ 103350 h 173144"/>
                <a:gd name="connsiteX9" fmla="*/ 361394 w 364211"/>
                <a:gd name="connsiteY9" fmla="*/ 105969 h 173144"/>
                <a:gd name="connsiteX10" fmla="*/ 97643 w 364211"/>
                <a:gd name="connsiteY10" fmla="*/ 173106 h 173144"/>
                <a:gd name="connsiteX11" fmla="*/ 96573 w 364211"/>
                <a:gd name="connsiteY11" fmla="*/ 173106 h 173144"/>
                <a:gd name="connsiteX12" fmla="*/ 10660 w 364211"/>
                <a:gd name="connsiteY12" fmla="*/ 66130 h 173144"/>
                <a:gd name="connsiteX13" fmla="*/ 97827 w 364211"/>
                <a:gd name="connsiteY13" fmla="*/ 165175 h 173144"/>
                <a:gd name="connsiteX14" fmla="*/ 353095 w 364211"/>
                <a:gd name="connsiteY14" fmla="*/ 100178 h 173144"/>
                <a:gd name="connsiteX15" fmla="*/ 262202 w 364211"/>
                <a:gd name="connsiteY15" fmla="*/ 7846 h 17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4211" h="173144">
                  <a:moveTo>
                    <a:pt x="96573" y="173106"/>
                  </a:moveTo>
                  <a:cubicBezTo>
                    <a:pt x="95500" y="173117"/>
                    <a:pt x="94477" y="172656"/>
                    <a:pt x="93769" y="171852"/>
                  </a:cubicBezTo>
                  <a:lnTo>
                    <a:pt x="958" y="66462"/>
                  </a:lnTo>
                  <a:cubicBezTo>
                    <a:pt x="-411" y="64954"/>
                    <a:pt x="-299" y="62621"/>
                    <a:pt x="1209" y="61251"/>
                  </a:cubicBezTo>
                  <a:cubicBezTo>
                    <a:pt x="1690" y="60814"/>
                    <a:pt x="2278" y="60512"/>
                    <a:pt x="2913" y="60375"/>
                  </a:cubicBezTo>
                  <a:lnTo>
                    <a:pt x="262571" y="137"/>
                  </a:lnTo>
                  <a:cubicBezTo>
                    <a:pt x="263895" y="-234"/>
                    <a:pt x="265319" y="164"/>
                    <a:pt x="266259" y="1170"/>
                  </a:cubicBezTo>
                  <a:lnTo>
                    <a:pt x="363128" y="99661"/>
                  </a:lnTo>
                  <a:cubicBezTo>
                    <a:pt x="364095" y="100624"/>
                    <a:pt x="364449" y="102044"/>
                    <a:pt x="364050" y="103350"/>
                  </a:cubicBezTo>
                  <a:cubicBezTo>
                    <a:pt x="363704" y="104641"/>
                    <a:pt x="362689" y="105641"/>
                    <a:pt x="361394" y="105969"/>
                  </a:cubicBezTo>
                  <a:lnTo>
                    <a:pt x="97643" y="173106"/>
                  </a:lnTo>
                  <a:cubicBezTo>
                    <a:pt x="97288" y="173158"/>
                    <a:pt x="96928" y="173158"/>
                    <a:pt x="96573" y="173106"/>
                  </a:cubicBezTo>
                  <a:close/>
                  <a:moveTo>
                    <a:pt x="10660" y="66130"/>
                  </a:moveTo>
                  <a:lnTo>
                    <a:pt x="97827" y="165175"/>
                  </a:lnTo>
                  <a:lnTo>
                    <a:pt x="353095" y="100178"/>
                  </a:lnTo>
                  <a:lnTo>
                    <a:pt x="262202" y="7846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90" name="Freeform 89">
              <a:extLst>
                <a:ext uri="{FF2B5EF4-FFF2-40B4-BE49-F238E27FC236}">
                  <a16:creationId xmlns:a16="http://schemas.microsoft.com/office/drawing/2014/main" id="{4F5993B6-D3FF-9149-9582-08A7173ABA25}"/>
                </a:ext>
              </a:extLst>
            </p:cNvPr>
            <p:cNvSpPr/>
            <p:nvPr/>
          </p:nvSpPr>
          <p:spPr>
            <a:xfrm>
              <a:off x="10163654" y="4473079"/>
              <a:ext cx="392973" cy="107594"/>
            </a:xfrm>
            <a:custGeom>
              <a:avLst/>
              <a:gdLst>
                <a:gd name="connsiteX0" fmla="*/ 55750 w 392973"/>
                <a:gd name="connsiteY0" fmla="*/ 107594 h 107594"/>
                <a:gd name="connsiteX1" fmla="*/ 639 w 392973"/>
                <a:gd name="connsiteY1" fmla="*/ 90515 h 107594"/>
                <a:gd name="connsiteX2" fmla="*/ 1635 w 392973"/>
                <a:gd name="connsiteY2" fmla="*/ 85351 h 107594"/>
                <a:gd name="connsiteX3" fmla="*/ 6800 w 392973"/>
                <a:gd name="connsiteY3" fmla="*/ 86347 h 107594"/>
                <a:gd name="connsiteX4" fmla="*/ 104738 w 392973"/>
                <a:gd name="connsiteY4" fmla="*/ 94573 h 107594"/>
                <a:gd name="connsiteX5" fmla="*/ 367383 w 392973"/>
                <a:gd name="connsiteY5" fmla="*/ 27067 h 107594"/>
                <a:gd name="connsiteX6" fmla="*/ 383836 w 392973"/>
                <a:gd name="connsiteY6" fmla="*/ 17181 h 107594"/>
                <a:gd name="connsiteX7" fmla="*/ 384426 w 392973"/>
                <a:gd name="connsiteY7" fmla="*/ 4897 h 107594"/>
                <a:gd name="connsiteX8" fmla="*/ 386768 w 392973"/>
                <a:gd name="connsiteY8" fmla="*/ 194 h 107594"/>
                <a:gd name="connsiteX9" fmla="*/ 391472 w 392973"/>
                <a:gd name="connsiteY9" fmla="*/ 2536 h 107594"/>
                <a:gd name="connsiteX10" fmla="*/ 390217 w 392973"/>
                <a:gd name="connsiteY10" fmla="*/ 20980 h 107594"/>
                <a:gd name="connsiteX11" fmla="*/ 369080 w 392973"/>
                <a:gd name="connsiteY11" fmla="*/ 34371 h 107594"/>
                <a:gd name="connsiteX12" fmla="*/ 106214 w 392973"/>
                <a:gd name="connsiteY12" fmla="*/ 101913 h 107594"/>
                <a:gd name="connsiteX13" fmla="*/ 55750 w 392973"/>
                <a:gd name="connsiteY13" fmla="*/ 107594 h 10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2973" h="107594">
                  <a:moveTo>
                    <a:pt x="55750" y="107594"/>
                  </a:moveTo>
                  <a:cubicBezTo>
                    <a:pt x="12665" y="107594"/>
                    <a:pt x="1229" y="91437"/>
                    <a:pt x="639" y="90515"/>
                  </a:cubicBezTo>
                  <a:cubicBezTo>
                    <a:pt x="-512" y="88814"/>
                    <a:pt x="-66" y="86501"/>
                    <a:pt x="1635" y="85351"/>
                  </a:cubicBezTo>
                  <a:cubicBezTo>
                    <a:pt x="3336" y="84200"/>
                    <a:pt x="5649" y="84646"/>
                    <a:pt x="6800" y="86347"/>
                  </a:cubicBezTo>
                  <a:cubicBezTo>
                    <a:pt x="7132" y="86789"/>
                    <a:pt x="25576" y="110730"/>
                    <a:pt x="104738" y="94573"/>
                  </a:cubicBezTo>
                  <a:cubicBezTo>
                    <a:pt x="187479" y="77715"/>
                    <a:pt x="365613" y="27583"/>
                    <a:pt x="367383" y="27067"/>
                  </a:cubicBezTo>
                  <a:cubicBezTo>
                    <a:pt x="373891" y="25886"/>
                    <a:pt x="379741" y="22371"/>
                    <a:pt x="383836" y="17181"/>
                  </a:cubicBezTo>
                  <a:cubicBezTo>
                    <a:pt x="385872" y="13385"/>
                    <a:pt x="386090" y="8874"/>
                    <a:pt x="384426" y="4897"/>
                  </a:cubicBezTo>
                  <a:cubicBezTo>
                    <a:pt x="383773" y="2953"/>
                    <a:pt x="384824" y="847"/>
                    <a:pt x="386768" y="194"/>
                  </a:cubicBezTo>
                  <a:cubicBezTo>
                    <a:pt x="388712" y="-459"/>
                    <a:pt x="390819" y="592"/>
                    <a:pt x="391472" y="2536"/>
                  </a:cubicBezTo>
                  <a:cubicBezTo>
                    <a:pt x="393847" y="8560"/>
                    <a:pt x="393386" y="15333"/>
                    <a:pt x="390217" y="20980"/>
                  </a:cubicBezTo>
                  <a:cubicBezTo>
                    <a:pt x="385116" y="27952"/>
                    <a:pt x="377565" y="32737"/>
                    <a:pt x="369080" y="34371"/>
                  </a:cubicBezTo>
                  <a:cubicBezTo>
                    <a:pt x="367605" y="34777"/>
                    <a:pt x="189249" y="84982"/>
                    <a:pt x="106214" y="101913"/>
                  </a:cubicBezTo>
                  <a:cubicBezTo>
                    <a:pt x="89623" y="105477"/>
                    <a:pt x="72718" y="107380"/>
                    <a:pt x="55750" y="107594"/>
                  </a:cubicBez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91" name="Freeform 90">
              <a:extLst>
                <a:ext uri="{FF2B5EF4-FFF2-40B4-BE49-F238E27FC236}">
                  <a16:creationId xmlns:a16="http://schemas.microsoft.com/office/drawing/2014/main" id="{2C5D1A87-EF51-FA40-BA31-36D7A4516B67}"/>
                </a:ext>
              </a:extLst>
            </p:cNvPr>
            <p:cNvSpPr/>
            <p:nvPr/>
          </p:nvSpPr>
          <p:spPr>
            <a:xfrm>
              <a:off x="10157876" y="4420442"/>
              <a:ext cx="70608" cy="36702"/>
            </a:xfrm>
            <a:custGeom>
              <a:avLst/>
              <a:gdLst>
                <a:gd name="connsiteX0" fmla="*/ 20251 w 70608"/>
                <a:gd name="connsiteY0" fmla="*/ 36692 h 36702"/>
                <a:gd name="connsiteX1" fmla="*/ 17447 w 70608"/>
                <a:gd name="connsiteY1" fmla="*/ 35437 h 36702"/>
                <a:gd name="connsiteX2" fmla="*/ 958 w 70608"/>
                <a:gd name="connsiteY2" fmla="*/ 16809 h 36702"/>
                <a:gd name="connsiteX3" fmla="*/ 1209 w 70608"/>
                <a:gd name="connsiteY3" fmla="*/ 11596 h 36702"/>
                <a:gd name="connsiteX4" fmla="*/ 2913 w 70608"/>
                <a:gd name="connsiteY4" fmla="*/ 10722 h 36702"/>
                <a:gd name="connsiteX5" fmla="*/ 48913 w 70608"/>
                <a:gd name="connsiteY5" fmla="*/ 98 h 36702"/>
                <a:gd name="connsiteX6" fmla="*/ 52381 w 70608"/>
                <a:gd name="connsiteY6" fmla="*/ 1094 h 36702"/>
                <a:gd name="connsiteX7" fmla="*/ 69497 w 70608"/>
                <a:gd name="connsiteY7" fmla="*/ 18506 h 36702"/>
                <a:gd name="connsiteX8" fmla="*/ 70456 w 70608"/>
                <a:gd name="connsiteY8" fmla="*/ 22194 h 36702"/>
                <a:gd name="connsiteX9" fmla="*/ 67800 w 70608"/>
                <a:gd name="connsiteY9" fmla="*/ 24777 h 36702"/>
                <a:gd name="connsiteX10" fmla="*/ 21173 w 70608"/>
                <a:gd name="connsiteY10" fmla="*/ 36655 h 36702"/>
                <a:gd name="connsiteX11" fmla="*/ 20251 w 70608"/>
                <a:gd name="connsiteY11" fmla="*/ 36692 h 36702"/>
                <a:gd name="connsiteX12" fmla="*/ 10734 w 70608"/>
                <a:gd name="connsiteY12" fmla="*/ 16550 h 36702"/>
                <a:gd name="connsiteX13" fmla="*/ 21542 w 70608"/>
                <a:gd name="connsiteY13" fmla="*/ 28834 h 36702"/>
                <a:gd name="connsiteX14" fmla="*/ 59684 w 70608"/>
                <a:gd name="connsiteY14" fmla="*/ 19096 h 36702"/>
                <a:gd name="connsiteX15" fmla="*/ 48618 w 70608"/>
                <a:gd name="connsiteY15" fmla="*/ 7808 h 36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08" h="36702">
                  <a:moveTo>
                    <a:pt x="20251" y="36692"/>
                  </a:moveTo>
                  <a:cubicBezTo>
                    <a:pt x="19178" y="36703"/>
                    <a:pt x="18155" y="36241"/>
                    <a:pt x="17447" y="35437"/>
                  </a:cubicBezTo>
                  <a:lnTo>
                    <a:pt x="958" y="16809"/>
                  </a:lnTo>
                  <a:cubicBezTo>
                    <a:pt x="-411" y="15300"/>
                    <a:pt x="-299" y="12969"/>
                    <a:pt x="1209" y="11596"/>
                  </a:cubicBezTo>
                  <a:cubicBezTo>
                    <a:pt x="1690" y="11161"/>
                    <a:pt x="2278" y="10859"/>
                    <a:pt x="2913" y="10722"/>
                  </a:cubicBezTo>
                  <a:lnTo>
                    <a:pt x="48913" y="98"/>
                  </a:lnTo>
                  <a:cubicBezTo>
                    <a:pt x="50164" y="-196"/>
                    <a:pt x="51477" y="181"/>
                    <a:pt x="52381" y="1094"/>
                  </a:cubicBezTo>
                  <a:lnTo>
                    <a:pt x="69497" y="18506"/>
                  </a:lnTo>
                  <a:cubicBezTo>
                    <a:pt x="70476" y="19461"/>
                    <a:pt x="70845" y="20881"/>
                    <a:pt x="70456" y="22194"/>
                  </a:cubicBezTo>
                  <a:cubicBezTo>
                    <a:pt x="70098" y="23471"/>
                    <a:pt x="69085" y="24456"/>
                    <a:pt x="67800" y="24777"/>
                  </a:cubicBezTo>
                  <a:lnTo>
                    <a:pt x="21173" y="36655"/>
                  </a:lnTo>
                  <a:cubicBezTo>
                    <a:pt x="20868" y="36703"/>
                    <a:pt x="20558" y="36714"/>
                    <a:pt x="20251" y="36692"/>
                  </a:cubicBezTo>
                  <a:close/>
                  <a:moveTo>
                    <a:pt x="10734" y="16550"/>
                  </a:moveTo>
                  <a:lnTo>
                    <a:pt x="21542" y="28834"/>
                  </a:lnTo>
                  <a:lnTo>
                    <a:pt x="59684" y="19096"/>
                  </a:lnTo>
                  <a:lnTo>
                    <a:pt x="48618" y="7808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92" name="Freeform 91">
              <a:extLst>
                <a:ext uri="{FF2B5EF4-FFF2-40B4-BE49-F238E27FC236}">
                  <a16:creationId xmlns:a16="http://schemas.microsoft.com/office/drawing/2014/main" id="{945C7157-EBA6-6047-AF6F-C8104B4BD5BC}"/>
                </a:ext>
              </a:extLst>
            </p:cNvPr>
            <p:cNvSpPr/>
            <p:nvPr/>
          </p:nvSpPr>
          <p:spPr>
            <a:xfrm>
              <a:off x="10218004" y="4405797"/>
              <a:ext cx="70470" cy="36691"/>
            </a:xfrm>
            <a:custGeom>
              <a:avLst/>
              <a:gdLst>
                <a:gd name="connsiteX0" fmla="*/ 20140 w 70470"/>
                <a:gd name="connsiteY0" fmla="*/ 36691 h 36691"/>
                <a:gd name="connsiteX1" fmla="*/ 17337 w 70470"/>
                <a:gd name="connsiteY1" fmla="*/ 35437 h 36691"/>
                <a:gd name="connsiteX2" fmla="*/ 958 w 70470"/>
                <a:gd name="connsiteY2" fmla="*/ 16809 h 36691"/>
                <a:gd name="connsiteX3" fmla="*/ 1209 w 70470"/>
                <a:gd name="connsiteY3" fmla="*/ 11598 h 36691"/>
                <a:gd name="connsiteX4" fmla="*/ 2913 w 70470"/>
                <a:gd name="connsiteY4" fmla="*/ 10722 h 36691"/>
                <a:gd name="connsiteX5" fmla="*/ 48802 w 70470"/>
                <a:gd name="connsiteY5" fmla="*/ 98 h 36691"/>
                <a:gd name="connsiteX6" fmla="*/ 52270 w 70470"/>
                <a:gd name="connsiteY6" fmla="*/ 1094 h 36691"/>
                <a:gd name="connsiteX7" fmla="*/ 69386 w 70470"/>
                <a:gd name="connsiteY7" fmla="*/ 18506 h 36691"/>
                <a:gd name="connsiteX8" fmla="*/ 69395 w 70470"/>
                <a:gd name="connsiteY8" fmla="*/ 23722 h 36691"/>
                <a:gd name="connsiteX9" fmla="*/ 67652 w 70470"/>
                <a:gd name="connsiteY9" fmla="*/ 24703 h 36691"/>
                <a:gd name="connsiteX10" fmla="*/ 21062 w 70470"/>
                <a:gd name="connsiteY10" fmla="*/ 36544 h 36691"/>
                <a:gd name="connsiteX11" fmla="*/ 20140 w 70470"/>
                <a:gd name="connsiteY11" fmla="*/ 36691 h 36691"/>
                <a:gd name="connsiteX12" fmla="*/ 10623 w 70470"/>
                <a:gd name="connsiteY12" fmla="*/ 16550 h 36691"/>
                <a:gd name="connsiteX13" fmla="*/ 21431 w 70470"/>
                <a:gd name="connsiteY13" fmla="*/ 28834 h 36691"/>
                <a:gd name="connsiteX14" fmla="*/ 59574 w 70470"/>
                <a:gd name="connsiteY14" fmla="*/ 19133 h 36691"/>
                <a:gd name="connsiteX15" fmla="*/ 48507 w 70470"/>
                <a:gd name="connsiteY15" fmla="*/ 7808 h 36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470" h="36691">
                  <a:moveTo>
                    <a:pt x="20140" y="36691"/>
                  </a:moveTo>
                  <a:cubicBezTo>
                    <a:pt x="19068" y="36703"/>
                    <a:pt x="18044" y="36241"/>
                    <a:pt x="17337" y="35437"/>
                  </a:cubicBezTo>
                  <a:lnTo>
                    <a:pt x="958" y="16809"/>
                  </a:lnTo>
                  <a:cubicBezTo>
                    <a:pt x="-411" y="15301"/>
                    <a:pt x="-299" y="12967"/>
                    <a:pt x="1209" y="11598"/>
                  </a:cubicBezTo>
                  <a:cubicBezTo>
                    <a:pt x="1690" y="11161"/>
                    <a:pt x="2278" y="10859"/>
                    <a:pt x="2913" y="10722"/>
                  </a:cubicBezTo>
                  <a:lnTo>
                    <a:pt x="48802" y="98"/>
                  </a:lnTo>
                  <a:cubicBezTo>
                    <a:pt x="50053" y="-196"/>
                    <a:pt x="51366" y="181"/>
                    <a:pt x="52270" y="1094"/>
                  </a:cubicBezTo>
                  <a:lnTo>
                    <a:pt x="69386" y="18506"/>
                  </a:lnTo>
                  <a:cubicBezTo>
                    <a:pt x="70829" y="19944"/>
                    <a:pt x="70833" y="22280"/>
                    <a:pt x="69395" y="23722"/>
                  </a:cubicBezTo>
                  <a:cubicBezTo>
                    <a:pt x="68915" y="24203"/>
                    <a:pt x="68312" y="24543"/>
                    <a:pt x="67652" y="24703"/>
                  </a:cubicBezTo>
                  <a:lnTo>
                    <a:pt x="21062" y="36544"/>
                  </a:lnTo>
                  <a:cubicBezTo>
                    <a:pt x="20762" y="36629"/>
                    <a:pt x="20452" y="36680"/>
                    <a:pt x="20140" y="36691"/>
                  </a:cubicBezTo>
                  <a:close/>
                  <a:moveTo>
                    <a:pt x="10623" y="16550"/>
                  </a:moveTo>
                  <a:lnTo>
                    <a:pt x="21431" y="28834"/>
                  </a:lnTo>
                  <a:lnTo>
                    <a:pt x="59574" y="19133"/>
                  </a:lnTo>
                  <a:lnTo>
                    <a:pt x="48507" y="7808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93" name="Freeform 92">
              <a:extLst>
                <a:ext uri="{FF2B5EF4-FFF2-40B4-BE49-F238E27FC236}">
                  <a16:creationId xmlns:a16="http://schemas.microsoft.com/office/drawing/2014/main" id="{6B5279C3-E158-1545-8F81-D7C01703787F}"/>
                </a:ext>
              </a:extLst>
            </p:cNvPr>
            <p:cNvSpPr/>
            <p:nvPr/>
          </p:nvSpPr>
          <p:spPr>
            <a:xfrm>
              <a:off x="10275931" y="4391146"/>
              <a:ext cx="70636" cy="36745"/>
            </a:xfrm>
            <a:custGeom>
              <a:avLst/>
              <a:gdLst>
                <a:gd name="connsiteX0" fmla="*/ 20054 w 70636"/>
                <a:gd name="connsiteY0" fmla="*/ 36736 h 36745"/>
                <a:gd name="connsiteX1" fmla="*/ 17288 w 70636"/>
                <a:gd name="connsiteY1" fmla="*/ 35445 h 36745"/>
                <a:gd name="connsiteX2" fmla="*/ 946 w 70636"/>
                <a:gd name="connsiteY2" fmla="*/ 16816 h 36745"/>
                <a:gd name="connsiteX3" fmla="*/ 208 w 70636"/>
                <a:gd name="connsiteY3" fmla="*/ 13127 h 36745"/>
                <a:gd name="connsiteX4" fmla="*/ 2901 w 70636"/>
                <a:gd name="connsiteY4" fmla="*/ 10656 h 36745"/>
                <a:gd name="connsiteX5" fmla="*/ 48901 w 70636"/>
                <a:gd name="connsiteY5" fmla="*/ 105 h 36745"/>
                <a:gd name="connsiteX6" fmla="*/ 52405 w 70636"/>
                <a:gd name="connsiteY6" fmla="*/ 1101 h 36745"/>
                <a:gd name="connsiteX7" fmla="*/ 69522 w 70636"/>
                <a:gd name="connsiteY7" fmla="*/ 18513 h 36745"/>
                <a:gd name="connsiteX8" fmla="*/ 69590 w 70636"/>
                <a:gd name="connsiteY8" fmla="*/ 23729 h 36745"/>
                <a:gd name="connsiteX9" fmla="*/ 67788 w 70636"/>
                <a:gd name="connsiteY9" fmla="*/ 24747 h 36745"/>
                <a:gd name="connsiteX10" fmla="*/ 21161 w 70636"/>
                <a:gd name="connsiteY10" fmla="*/ 36588 h 36745"/>
                <a:gd name="connsiteX11" fmla="*/ 20054 w 70636"/>
                <a:gd name="connsiteY11" fmla="*/ 36736 h 36745"/>
                <a:gd name="connsiteX12" fmla="*/ 10574 w 70636"/>
                <a:gd name="connsiteY12" fmla="*/ 16595 h 36745"/>
                <a:gd name="connsiteX13" fmla="*/ 21345 w 70636"/>
                <a:gd name="connsiteY13" fmla="*/ 28842 h 36745"/>
                <a:gd name="connsiteX14" fmla="*/ 59488 w 70636"/>
                <a:gd name="connsiteY14" fmla="*/ 19140 h 36745"/>
                <a:gd name="connsiteX15" fmla="*/ 48422 w 70636"/>
                <a:gd name="connsiteY15" fmla="*/ 7815 h 36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36" h="36745">
                  <a:moveTo>
                    <a:pt x="20054" y="36736"/>
                  </a:moveTo>
                  <a:cubicBezTo>
                    <a:pt x="18989" y="36725"/>
                    <a:pt x="17980" y="36254"/>
                    <a:pt x="17288" y="35445"/>
                  </a:cubicBezTo>
                  <a:lnTo>
                    <a:pt x="946" y="16816"/>
                  </a:lnTo>
                  <a:cubicBezTo>
                    <a:pt x="45" y="15814"/>
                    <a:pt x="-238" y="14399"/>
                    <a:pt x="208" y="13127"/>
                  </a:cubicBezTo>
                  <a:cubicBezTo>
                    <a:pt x="606" y="11885"/>
                    <a:pt x="1630" y="10946"/>
                    <a:pt x="2901" y="10656"/>
                  </a:cubicBezTo>
                  <a:lnTo>
                    <a:pt x="48901" y="105"/>
                  </a:lnTo>
                  <a:cubicBezTo>
                    <a:pt x="50163" y="-203"/>
                    <a:pt x="51494" y="176"/>
                    <a:pt x="52405" y="1101"/>
                  </a:cubicBezTo>
                  <a:lnTo>
                    <a:pt x="69522" y="18513"/>
                  </a:lnTo>
                  <a:cubicBezTo>
                    <a:pt x="70981" y="19934"/>
                    <a:pt x="71012" y="22270"/>
                    <a:pt x="69590" y="23729"/>
                  </a:cubicBezTo>
                  <a:cubicBezTo>
                    <a:pt x="69099" y="24233"/>
                    <a:pt x="68473" y="24586"/>
                    <a:pt x="67788" y="24747"/>
                  </a:cubicBezTo>
                  <a:lnTo>
                    <a:pt x="21161" y="36588"/>
                  </a:lnTo>
                  <a:cubicBezTo>
                    <a:pt x="20808" y="36719"/>
                    <a:pt x="20430" y="36769"/>
                    <a:pt x="20054" y="36736"/>
                  </a:cubicBezTo>
                  <a:close/>
                  <a:moveTo>
                    <a:pt x="10574" y="16595"/>
                  </a:moveTo>
                  <a:lnTo>
                    <a:pt x="21345" y="28842"/>
                  </a:lnTo>
                  <a:lnTo>
                    <a:pt x="59488" y="19140"/>
                  </a:lnTo>
                  <a:lnTo>
                    <a:pt x="48422" y="7815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94" name="Freeform 93">
              <a:extLst>
                <a:ext uri="{FF2B5EF4-FFF2-40B4-BE49-F238E27FC236}">
                  <a16:creationId xmlns:a16="http://schemas.microsoft.com/office/drawing/2014/main" id="{CC421224-96D6-1B4C-AF0E-689BC7A2BE51}"/>
                </a:ext>
              </a:extLst>
            </p:cNvPr>
            <p:cNvSpPr/>
            <p:nvPr/>
          </p:nvSpPr>
          <p:spPr>
            <a:xfrm>
              <a:off x="10335542" y="4376654"/>
              <a:ext cx="70679" cy="36667"/>
            </a:xfrm>
            <a:custGeom>
              <a:avLst/>
              <a:gdLst>
                <a:gd name="connsiteX0" fmla="*/ 20165 w 70679"/>
                <a:gd name="connsiteY0" fmla="*/ 36582 h 36667"/>
                <a:gd name="connsiteX1" fmla="*/ 17362 w 70679"/>
                <a:gd name="connsiteY1" fmla="*/ 35402 h 36667"/>
                <a:gd name="connsiteX2" fmla="*/ 946 w 70679"/>
                <a:gd name="connsiteY2" fmla="*/ 16958 h 36667"/>
                <a:gd name="connsiteX3" fmla="*/ 208 w 70679"/>
                <a:gd name="connsiteY3" fmla="*/ 13269 h 36667"/>
                <a:gd name="connsiteX4" fmla="*/ 2901 w 70679"/>
                <a:gd name="connsiteY4" fmla="*/ 10797 h 36667"/>
                <a:gd name="connsiteX5" fmla="*/ 48790 w 70679"/>
                <a:gd name="connsiteY5" fmla="*/ 137 h 36667"/>
                <a:gd name="connsiteX6" fmla="*/ 52479 w 70679"/>
                <a:gd name="connsiteY6" fmla="*/ 1170 h 36667"/>
                <a:gd name="connsiteX7" fmla="*/ 69595 w 70679"/>
                <a:gd name="connsiteY7" fmla="*/ 18581 h 36667"/>
                <a:gd name="connsiteX8" fmla="*/ 69603 w 70679"/>
                <a:gd name="connsiteY8" fmla="*/ 23798 h 36667"/>
                <a:gd name="connsiteX9" fmla="*/ 67862 w 70679"/>
                <a:gd name="connsiteY9" fmla="*/ 24778 h 36667"/>
                <a:gd name="connsiteX10" fmla="*/ 21235 w 70679"/>
                <a:gd name="connsiteY10" fmla="*/ 36656 h 36667"/>
                <a:gd name="connsiteX11" fmla="*/ 20165 w 70679"/>
                <a:gd name="connsiteY11" fmla="*/ 36582 h 36667"/>
                <a:gd name="connsiteX12" fmla="*/ 10648 w 70679"/>
                <a:gd name="connsiteY12" fmla="*/ 16441 h 36667"/>
                <a:gd name="connsiteX13" fmla="*/ 21419 w 70679"/>
                <a:gd name="connsiteY13" fmla="*/ 28688 h 36667"/>
                <a:gd name="connsiteX14" fmla="*/ 59562 w 70679"/>
                <a:gd name="connsiteY14" fmla="*/ 18987 h 36667"/>
                <a:gd name="connsiteX15" fmla="*/ 48495 w 70679"/>
                <a:gd name="connsiteY15" fmla="*/ 7662 h 3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79" h="36667">
                  <a:moveTo>
                    <a:pt x="20165" y="36582"/>
                  </a:moveTo>
                  <a:cubicBezTo>
                    <a:pt x="19104" y="36610"/>
                    <a:pt x="18083" y="36180"/>
                    <a:pt x="17362" y="35402"/>
                  </a:cubicBezTo>
                  <a:lnTo>
                    <a:pt x="946" y="16958"/>
                  </a:lnTo>
                  <a:cubicBezTo>
                    <a:pt x="45" y="15955"/>
                    <a:pt x="-238" y="14541"/>
                    <a:pt x="208" y="13269"/>
                  </a:cubicBezTo>
                  <a:cubicBezTo>
                    <a:pt x="606" y="12027"/>
                    <a:pt x="1630" y="11087"/>
                    <a:pt x="2901" y="10797"/>
                  </a:cubicBezTo>
                  <a:lnTo>
                    <a:pt x="48790" y="137"/>
                  </a:lnTo>
                  <a:cubicBezTo>
                    <a:pt x="50115" y="-234"/>
                    <a:pt x="51539" y="164"/>
                    <a:pt x="52479" y="1170"/>
                  </a:cubicBezTo>
                  <a:lnTo>
                    <a:pt x="69595" y="18581"/>
                  </a:lnTo>
                  <a:cubicBezTo>
                    <a:pt x="71038" y="20019"/>
                    <a:pt x="71041" y="22355"/>
                    <a:pt x="69603" y="23798"/>
                  </a:cubicBezTo>
                  <a:cubicBezTo>
                    <a:pt x="69123" y="24279"/>
                    <a:pt x="68522" y="24618"/>
                    <a:pt x="67862" y="24778"/>
                  </a:cubicBezTo>
                  <a:lnTo>
                    <a:pt x="21235" y="36656"/>
                  </a:lnTo>
                  <a:cubicBezTo>
                    <a:pt x="20877" y="36684"/>
                    <a:pt x="20516" y="36659"/>
                    <a:pt x="20165" y="36582"/>
                  </a:cubicBezTo>
                  <a:close/>
                  <a:moveTo>
                    <a:pt x="10648" y="16441"/>
                  </a:moveTo>
                  <a:lnTo>
                    <a:pt x="21419" y="28688"/>
                  </a:lnTo>
                  <a:lnTo>
                    <a:pt x="59562" y="18987"/>
                  </a:lnTo>
                  <a:lnTo>
                    <a:pt x="48495" y="7662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95" name="Freeform 94">
              <a:extLst>
                <a:ext uri="{FF2B5EF4-FFF2-40B4-BE49-F238E27FC236}">
                  <a16:creationId xmlns:a16="http://schemas.microsoft.com/office/drawing/2014/main" id="{D4DEF738-2F85-1145-A297-7D38B11FD38E}"/>
                </a:ext>
              </a:extLst>
            </p:cNvPr>
            <p:cNvSpPr/>
            <p:nvPr/>
          </p:nvSpPr>
          <p:spPr>
            <a:xfrm>
              <a:off x="10183710" y="4448329"/>
              <a:ext cx="70606" cy="36728"/>
            </a:xfrm>
            <a:custGeom>
              <a:avLst/>
              <a:gdLst>
                <a:gd name="connsiteX0" fmla="*/ 20276 w 70606"/>
                <a:gd name="connsiteY0" fmla="*/ 36729 h 36728"/>
                <a:gd name="connsiteX1" fmla="*/ 17509 w 70606"/>
                <a:gd name="connsiteY1" fmla="*/ 35474 h 36728"/>
                <a:gd name="connsiteX2" fmla="*/ 946 w 70606"/>
                <a:gd name="connsiteY2" fmla="*/ 16846 h 36728"/>
                <a:gd name="connsiteX3" fmla="*/ 208 w 70606"/>
                <a:gd name="connsiteY3" fmla="*/ 13157 h 36728"/>
                <a:gd name="connsiteX4" fmla="*/ 2901 w 70606"/>
                <a:gd name="connsiteY4" fmla="*/ 10686 h 36728"/>
                <a:gd name="connsiteX5" fmla="*/ 48901 w 70606"/>
                <a:gd name="connsiteY5" fmla="*/ 99 h 36728"/>
                <a:gd name="connsiteX6" fmla="*/ 52405 w 70606"/>
                <a:gd name="connsiteY6" fmla="*/ 1131 h 36728"/>
                <a:gd name="connsiteX7" fmla="*/ 69522 w 70606"/>
                <a:gd name="connsiteY7" fmla="*/ 18543 h 36728"/>
                <a:gd name="connsiteX8" fmla="*/ 69530 w 70606"/>
                <a:gd name="connsiteY8" fmla="*/ 23759 h 36728"/>
                <a:gd name="connsiteX9" fmla="*/ 67788 w 70606"/>
                <a:gd name="connsiteY9" fmla="*/ 24740 h 36728"/>
                <a:gd name="connsiteX10" fmla="*/ 21161 w 70606"/>
                <a:gd name="connsiteY10" fmla="*/ 36618 h 36728"/>
                <a:gd name="connsiteX11" fmla="*/ 20276 w 70606"/>
                <a:gd name="connsiteY11" fmla="*/ 36729 h 36728"/>
                <a:gd name="connsiteX12" fmla="*/ 10795 w 70606"/>
                <a:gd name="connsiteY12" fmla="*/ 16588 h 36728"/>
                <a:gd name="connsiteX13" fmla="*/ 21567 w 70606"/>
                <a:gd name="connsiteY13" fmla="*/ 28835 h 36728"/>
                <a:gd name="connsiteX14" fmla="*/ 59709 w 70606"/>
                <a:gd name="connsiteY14" fmla="*/ 19059 h 36728"/>
                <a:gd name="connsiteX15" fmla="*/ 48643 w 70606"/>
                <a:gd name="connsiteY15" fmla="*/ 7734 h 36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06" h="36728">
                  <a:moveTo>
                    <a:pt x="20276" y="36729"/>
                  </a:moveTo>
                  <a:cubicBezTo>
                    <a:pt x="19216" y="36729"/>
                    <a:pt x="18208" y="36271"/>
                    <a:pt x="17509" y="35474"/>
                  </a:cubicBezTo>
                  <a:lnTo>
                    <a:pt x="946" y="16846"/>
                  </a:lnTo>
                  <a:cubicBezTo>
                    <a:pt x="45" y="15843"/>
                    <a:pt x="-238" y="14430"/>
                    <a:pt x="208" y="13157"/>
                  </a:cubicBezTo>
                  <a:cubicBezTo>
                    <a:pt x="606" y="11914"/>
                    <a:pt x="1630" y="10977"/>
                    <a:pt x="2901" y="10686"/>
                  </a:cubicBezTo>
                  <a:lnTo>
                    <a:pt x="48901" y="99"/>
                  </a:lnTo>
                  <a:cubicBezTo>
                    <a:pt x="50170" y="-200"/>
                    <a:pt x="51502" y="191"/>
                    <a:pt x="52405" y="1131"/>
                  </a:cubicBezTo>
                  <a:lnTo>
                    <a:pt x="69522" y="18543"/>
                  </a:lnTo>
                  <a:cubicBezTo>
                    <a:pt x="70964" y="19981"/>
                    <a:pt x="70968" y="22316"/>
                    <a:pt x="69530" y="23759"/>
                  </a:cubicBezTo>
                  <a:cubicBezTo>
                    <a:pt x="69051" y="24242"/>
                    <a:pt x="68448" y="24581"/>
                    <a:pt x="67788" y="24740"/>
                  </a:cubicBezTo>
                  <a:lnTo>
                    <a:pt x="21161" y="36618"/>
                  </a:lnTo>
                  <a:cubicBezTo>
                    <a:pt x="20871" y="36692"/>
                    <a:pt x="20574" y="36729"/>
                    <a:pt x="20276" y="36729"/>
                  </a:cubicBezTo>
                  <a:close/>
                  <a:moveTo>
                    <a:pt x="10795" y="16588"/>
                  </a:moveTo>
                  <a:lnTo>
                    <a:pt x="21567" y="28835"/>
                  </a:lnTo>
                  <a:lnTo>
                    <a:pt x="59709" y="19059"/>
                  </a:lnTo>
                  <a:lnTo>
                    <a:pt x="48643" y="7734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96" name="Freeform 95">
              <a:extLst>
                <a:ext uri="{FF2B5EF4-FFF2-40B4-BE49-F238E27FC236}">
                  <a16:creationId xmlns:a16="http://schemas.microsoft.com/office/drawing/2014/main" id="{327E14BF-5137-844D-AF35-A1A9F2B5BB49}"/>
                </a:ext>
              </a:extLst>
            </p:cNvPr>
            <p:cNvSpPr/>
            <p:nvPr/>
          </p:nvSpPr>
          <p:spPr>
            <a:xfrm>
              <a:off x="10243875" y="4433602"/>
              <a:ext cx="70680" cy="36811"/>
            </a:xfrm>
            <a:custGeom>
              <a:avLst/>
              <a:gdLst>
                <a:gd name="connsiteX0" fmla="*/ 20128 w 70680"/>
                <a:gd name="connsiteY0" fmla="*/ 36811 h 36811"/>
                <a:gd name="connsiteX1" fmla="*/ 17362 w 70680"/>
                <a:gd name="connsiteY1" fmla="*/ 35557 h 36811"/>
                <a:gd name="connsiteX2" fmla="*/ 946 w 70680"/>
                <a:gd name="connsiteY2" fmla="*/ 16928 h 36811"/>
                <a:gd name="connsiteX3" fmla="*/ 208 w 70680"/>
                <a:gd name="connsiteY3" fmla="*/ 13240 h 36811"/>
                <a:gd name="connsiteX4" fmla="*/ 2901 w 70680"/>
                <a:gd name="connsiteY4" fmla="*/ 10768 h 36811"/>
                <a:gd name="connsiteX5" fmla="*/ 48790 w 70680"/>
                <a:gd name="connsiteY5" fmla="*/ 144 h 36811"/>
                <a:gd name="connsiteX6" fmla="*/ 52479 w 70680"/>
                <a:gd name="connsiteY6" fmla="*/ 1140 h 36811"/>
                <a:gd name="connsiteX7" fmla="*/ 69595 w 70680"/>
                <a:gd name="connsiteY7" fmla="*/ 18552 h 36811"/>
                <a:gd name="connsiteX8" fmla="*/ 69604 w 70680"/>
                <a:gd name="connsiteY8" fmla="*/ 23768 h 36811"/>
                <a:gd name="connsiteX9" fmla="*/ 67862 w 70680"/>
                <a:gd name="connsiteY9" fmla="*/ 24749 h 36811"/>
                <a:gd name="connsiteX10" fmla="*/ 21235 w 70680"/>
                <a:gd name="connsiteY10" fmla="*/ 36627 h 36811"/>
                <a:gd name="connsiteX11" fmla="*/ 20128 w 70680"/>
                <a:gd name="connsiteY11" fmla="*/ 36811 h 36811"/>
                <a:gd name="connsiteX12" fmla="*/ 10648 w 70680"/>
                <a:gd name="connsiteY12" fmla="*/ 16670 h 36811"/>
                <a:gd name="connsiteX13" fmla="*/ 21419 w 70680"/>
                <a:gd name="connsiteY13" fmla="*/ 28954 h 36811"/>
                <a:gd name="connsiteX14" fmla="*/ 59562 w 70680"/>
                <a:gd name="connsiteY14" fmla="*/ 19216 h 36811"/>
                <a:gd name="connsiteX15" fmla="*/ 48495 w 70680"/>
                <a:gd name="connsiteY15" fmla="*/ 7928 h 36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80" h="36811">
                  <a:moveTo>
                    <a:pt x="20128" y="36811"/>
                  </a:moveTo>
                  <a:cubicBezTo>
                    <a:pt x="19069" y="36811"/>
                    <a:pt x="18061" y="36354"/>
                    <a:pt x="17362" y="35557"/>
                  </a:cubicBezTo>
                  <a:lnTo>
                    <a:pt x="946" y="16928"/>
                  </a:lnTo>
                  <a:cubicBezTo>
                    <a:pt x="45" y="15925"/>
                    <a:pt x="-238" y="14512"/>
                    <a:pt x="208" y="13240"/>
                  </a:cubicBezTo>
                  <a:cubicBezTo>
                    <a:pt x="606" y="11997"/>
                    <a:pt x="1630" y="11060"/>
                    <a:pt x="2901" y="10768"/>
                  </a:cubicBezTo>
                  <a:lnTo>
                    <a:pt x="48790" y="144"/>
                  </a:lnTo>
                  <a:cubicBezTo>
                    <a:pt x="50110" y="-236"/>
                    <a:pt x="51531" y="148"/>
                    <a:pt x="52479" y="1140"/>
                  </a:cubicBezTo>
                  <a:lnTo>
                    <a:pt x="69595" y="18552"/>
                  </a:lnTo>
                  <a:cubicBezTo>
                    <a:pt x="71038" y="19990"/>
                    <a:pt x="71042" y="22325"/>
                    <a:pt x="69604" y="23768"/>
                  </a:cubicBezTo>
                  <a:cubicBezTo>
                    <a:pt x="69124" y="24251"/>
                    <a:pt x="68522" y="24590"/>
                    <a:pt x="67862" y="24749"/>
                  </a:cubicBezTo>
                  <a:lnTo>
                    <a:pt x="21235" y="36627"/>
                  </a:lnTo>
                  <a:cubicBezTo>
                    <a:pt x="20877" y="36745"/>
                    <a:pt x="20504" y="36808"/>
                    <a:pt x="20128" y="36811"/>
                  </a:cubicBezTo>
                  <a:close/>
                  <a:moveTo>
                    <a:pt x="10648" y="16670"/>
                  </a:moveTo>
                  <a:lnTo>
                    <a:pt x="21419" y="28954"/>
                  </a:lnTo>
                  <a:lnTo>
                    <a:pt x="59562" y="19216"/>
                  </a:lnTo>
                  <a:lnTo>
                    <a:pt x="48495" y="7928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42555E55-EC7E-DC46-854D-D2092CFCDCCE}"/>
                </a:ext>
              </a:extLst>
            </p:cNvPr>
            <p:cNvSpPr/>
            <p:nvPr/>
          </p:nvSpPr>
          <p:spPr>
            <a:xfrm>
              <a:off x="10301726" y="4419077"/>
              <a:ext cx="70624" cy="36691"/>
            </a:xfrm>
            <a:custGeom>
              <a:avLst/>
              <a:gdLst>
                <a:gd name="connsiteX0" fmla="*/ 20155 w 70624"/>
                <a:gd name="connsiteY0" fmla="*/ 36692 h 36691"/>
                <a:gd name="connsiteX1" fmla="*/ 17351 w 70624"/>
                <a:gd name="connsiteY1" fmla="*/ 35437 h 36691"/>
                <a:gd name="connsiteX2" fmla="*/ 973 w 70624"/>
                <a:gd name="connsiteY2" fmla="*/ 16993 h 36691"/>
                <a:gd name="connsiteX3" fmla="*/ 198 w 70624"/>
                <a:gd name="connsiteY3" fmla="*/ 13304 h 36691"/>
                <a:gd name="connsiteX4" fmla="*/ 2891 w 70624"/>
                <a:gd name="connsiteY4" fmla="*/ 10796 h 36691"/>
                <a:gd name="connsiteX5" fmla="*/ 48928 w 70624"/>
                <a:gd name="connsiteY5" fmla="*/ 98 h 36691"/>
                <a:gd name="connsiteX6" fmla="*/ 52395 w 70624"/>
                <a:gd name="connsiteY6" fmla="*/ 1094 h 36691"/>
                <a:gd name="connsiteX7" fmla="*/ 69511 w 70624"/>
                <a:gd name="connsiteY7" fmla="*/ 18506 h 36691"/>
                <a:gd name="connsiteX8" fmla="*/ 70471 w 70624"/>
                <a:gd name="connsiteY8" fmla="*/ 22194 h 36691"/>
                <a:gd name="connsiteX9" fmla="*/ 67778 w 70624"/>
                <a:gd name="connsiteY9" fmla="*/ 24777 h 36691"/>
                <a:gd name="connsiteX10" fmla="*/ 21188 w 70624"/>
                <a:gd name="connsiteY10" fmla="*/ 36655 h 36691"/>
                <a:gd name="connsiteX11" fmla="*/ 10638 w 70624"/>
                <a:gd name="connsiteY11" fmla="*/ 16550 h 36691"/>
                <a:gd name="connsiteX12" fmla="*/ 21446 w 70624"/>
                <a:gd name="connsiteY12" fmla="*/ 28834 h 36691"/>
                <a:gd name="connsiteX13" fmla="*/ 59588 w 70624"/>
                <a:gd name="connsiteY13" fmla="*/ 19096 h 36691"/>
                <a:gd name="connsiteX14" fmla="*/ 48522 w 70624"/>
                <a:gd name="connsiteY14" fmla="*/ 7808 h 36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624" h="36691">
                  <a:moveTo>
                    <a:pt x="20155" y="36692"/>
                  </a:moveTo>
                  <a:cubicBezTo>
                    <a:pt x="19082" y="36703"/>
                    <a:pt x="18059" y="36241"/>
                    <a:pt x="17351" y="35437"/>
                  </a:cubicBezTo>
                  <a:lnTo>
                    <a:pt x="973" y="16993"/>
                  </a:lnTo>
                  <a:cubicBezTo>
                    <a:pt x="58" y="15997"/>
                    <a:pt x="-239" y="14584"/>
                    <a:pt x="198" y="13304"/>
                  </a:cubicBezTo>
                  <a:cubicBezTo>
                    <a:pt x="585" y="12046"/>
                    <a:pt x="1611" y="11092"/>
                    <a:pt x="2891" y="10796"/>
                  </a:cubicBezTo>
                  <a:lnTo>
                    <a:pt x="48928" y="98"/>
                  </a:lnTo>
                  <a:cubicBezTo>
                    <a:pt x="50178" y="-196"/>
                    <a:pt x="51492" y="181"/>
                    <a:pt x="52395" y="1094"/>
                  </a:cubicBezTo>
                  <a:lnTo>
                    <a:pt x="69511" y="18506"/>
                  </a:lnTo>
                  <a:cubicBezTo>
                    <a:pt x="70493" y="19461"/>
                    <a:pt x="70862" y="20881"/>
                    <a:pt x="70471" y="22194"/>
                  </a:cubicBezTo>
                  <a:cubicBezTo>
                    <a:pt x="70105" y="23478"/>
                    <a:pt x="69076" y="24467"/>
                    <a:pt x="67778" y="24777"/>
                  </a:cubicBezTo>
                  <a:lnTo>
                    <a:pt x="21188" y="36655"/>
                  </a:lnTo>
                  <a:close/>
                  <a:moveTo>
                    <a:pt x="10638" y="16550"/>
                  </a:moveTo>
                  <a:lnTo>
                    <a:pt x="21446" y="28834"/>
                  </a:lnTo>
                  <a:lnTo>
                    <a:pt x="59588" y="19096"/>
                  </a:lnTo>
                  <a:lnTo>
                    <a:pt x="48522" y="7808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206763B4-4B90-8C46-8EA8-E02A2CB7B18D}"/>
                </a:ext>
              </a:extLst>
            </p:cNvPr>
            <p:cNvSpPr/>
            <p:nvPr/>
          </p:nvSpPr>
          <p:spPr>
            <a:xfrm>
              <a:off x="10361412" y="4404580"/>
              <a:ext cx="70512" cy="36654"/>
            </a:xfrm>
            <a:custGeom>
              <a:avLst/>
              <a:gdLst>
                <a:gd name="connsiteX0" fmla="*/ 20154 w 70512"/>
                <a:gd name="connsiteY0" fmla="*/ 36544 h 36654"/>
                <a:gd name="connsiteX1" fmla="*/ 17351 w 70512"/>
                <a:gd name="connsiteY1" fmla="*/ 35290 h 36654"/>
                <a:gd name="connsiteX2" fmla="*/ 972 w 70512"/>
                <a:gd name="connsiteY2" fmla="*/ 16846 h 36654"/>
                <a:gd name="connsiteX3" fmla="*/ 198 w 70512"/>
                <a:gd name="connsiteY3" fmla="*/ 13157 h 36654"/>
                <a:gd name="connsiteX4" fmla="*/ 2927 w 70512"/>
                <a:gd name="connsiteY4" fmla="*/ 10685 h 36654"/>
                <a:gd name="connsiteX5" fmla="*/ 48816 w 70512"/>
                <a:gd name="connsiteY5" fmla="*/ 98 h 36654"/>
                <a:gd name="connsiteX6" fmla="*/ 52284 w 70512"/>
                <a:gd name="connsiteY6" fmla="*/ 1094 h 36654"/>
                <a:gd name="connsiteX7" fmla="*/ 69400 w 70512"/>
                <a:gd name="connsiteY7" fmla="*/ 18506 h 36654"/>
                <a:gd name="connsiteX8" fmla="*/ 70359 w 70512"/>
                <a:gd name="connsiteY8" fmla="*/ 22194 h 36654"/>
                <a:gd name="connsiteX9" fmla="*/ 67703 w 70512"/>
                <a:gd name="connsiteY9" fmla="*/ 24813 h 36654"/>
                <a:gd name="connsiteX10" fmla="*/ 21076 w 70512"/>
                <a:gd name="connsiteY10" fmla="*/ 36655 h 36654"/>
                <a:gd name="connsiteX11" fmla="*/ 20154 w 70512"/>
                <a:gd name="connsiteY11" fmla="*/ 36544 h 36654"/>
                <a:gd name="connsiteX12" fmla="*/ 10637 w 70512"/>
                <a:gd name="connsiteY12" fmla="*/ 16440 h 36654"/>
                <a:gd name="connsiteX13" fmla="*/ 21445 w 70512"/>
                <a:gd name="connsiteY13" fmla="*/ 28687 h 36654"/>
                <a:gd name="connsiteX14" fmla="*/ 59588 w 70512"/>
                <a:gd name="connsiteY14" fmla="*/ 18985 h 36654"/>
                <a:gd name="connsiteX15" fmla="*/ 48521 w 70512"/>
                <a:gd name="connsiteY15" fmla="*/ 7660 h 36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512" h="36654">
                  <a:moveTo>
                    <a:pt x="20154" y="36544"/>
                  </a:moveTo>
                  <a:cubicBezTo>
                    <a:pt x="19081" y="36555"/>
                    <a:pt x="18059" y="36094"/>
                    <a:pt x="17351" y="35290"/>
                  </a:cubicBezTo>
                  <a:lnTo>
                    <a:pt x="972" y="16846"/>
                  </a:lnTo>
                  <a:cubicBezTo>
                    <a:pt x="57" y="15851"/>
                    <a:pt x="-238" y="14435"/>
                    <a:pt x="198" y="13157"/>
                  </a:cubicBezTo>
                  <a:cubicBezTo>
                    <a:pt x="603" y="11905"/>
                    <a:pt x="1644" y="10963"/>
                    <a:pt x="2927" y="10685"/>
                  </a:cubicBezTo>
                  <a:lnTo>
                    <a:pt x="48816" y="98"/>
                  </a:lnTo>
                  <a:cubicBezTo>
                    <a:pt x="50067" y="-196"/>
                    <a:pt x="51380" y="181"/>
                    <a:pt x="52284" y="1094"/>
                  </a:cubicBezTo>
                  <a:lnTo>
                    <a:pt x="69400" y="18506"/>
                  </a:lnTo>
                  <a:cubicBezTo>
                    <a:pt x="70378" y="19462"/>
                    <a:pt x="70750" y="20882"/>
                    <a:pt x="70359" y="22194"/>
                  </a:cubicBezTo>
                  <a:cubicBezTo>
                    <a:pt x="70013" y="23484"/>
                    <a:pt x="68998" y="24486"/>
                    <a:pt x="67703" y="24813"/>
                  </a:cubicBezTo>
                  <a:lnTo>
                    <a:pt x="21076" y="36655"/>
                  </a:lnTo>
                  <a:cubicBezTo>
                    <a:pt x="20767" y="36655"/>
                    <a:pt x="20457" y="36618"/>
                    <a:pt x="20154" y="36544"/>
                  </a:cubicBezTo>
                  <a:close/>
                  <a:moveTo>
                    <a:pt x="10637" y="16440"/>
                  </a:moveTo>
                  <a:lnTo>
                    <a:pt x="21445" y="28687"/>
                  </a:lnTo>
                  <a:lnTo>
                    <a:pt x="59588" y="18985"/>
                  </a:lnTo>
                  <a:lnTo>
                    <a:pt x="48521" y="7660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99" name="Freeform 98">
              <a:extLst>
                <a:ext uri="{FF2B5EF4-FFF2-40B4-BE49-F238E27FC236}">
                  <a16:creationId xmlns:a16="http://schemas.microsoft.com/office/drawing/2014/main" id="{F2B95007-0053-CE4B-AC4E-B7D92DCFF38A}"/>
                </a:ext>
              </a:extLst>
            </p:cNvPr>
            <p:cNvSpPr/>
            <p:nvPr/>
          </p:nvSpPr>
          <p:spPr>
            <a:xfrm>
              <a:off x="10207872" y="4476837"/>
              <a:ext cx="70525" cy="36847"/>
            </a:xfrm>
            <a:custGeom>
              <a:avLst/>
              <a:gdLst>
                <a:gd name="connsiteX0" fmla="*/ 20202 w 70525"/>
                <a:gd name="connsiteY0" fmla="*/ 36847 h 36847"/>
                <a:gd name="connsiteX1" fmla="*/ 17362 w 70525"/>
                <a:gd name="connsiteY1" fmla="*/ 35556 h 36847"/>
                <a:gd name="connsiteX2" fmla="*/ 946 w 70525"/>
                <a:gd name="connsiteY2" fmla="*/ 16927 h 36847"/>
                <a:gd name="connsiteX3" fmla="*/ 208 w 70525"/>
                <a:gd name="connsiteY3" fmla="*/ 13238 h 36847"/>
                <a:gd name="connsiteX4" fmla="*/ 2901 w 70525"/>
                <a:gd name="connsiteY4" fmla="*/ 10767 h 36847"/>
                <a:gd name="connsiteX5" fmla="*/ 48790 w 70525"/>
                <a:gd name="connsiteY5" fmla="*/ 106 h 36847"/>
                <a:gd name="connsiteX6" fmla="*/ 52295 w 70525"/>
                <a:gd name="connsiteY6" fmla="*/ 1102 h 36847"/>
                <a:gd name="connsiteX7" fmla="*/ 69411 w 70525"/>
                <a:gd name="connsiteY7" fmla="*/ 18513 h 36847"/>
                <a:gd name="connsiteX8" fmla="*/ 69479 w 70525"/>
                <a:gd name="connsiteY8" fmla="*/ 23729 h 36847"/>
                <a:gd name="connsiteX9" fmla="*/ 67677 w 70525"/>
                <a:gd name="connsiteY9" fmla="*/ 24748 h 36847"/>
                <a:gd name="connsiteX10" fmla="*/ 21050 w 70525"/>
                <a:gd name="connsiteY10" fmla="*/ 36699 h 36847"/>
                <a:gd name="connsiteX11" fmla="*/ 20202 w 70525"/>
                <a:gd name="connsiteY11" fmla="*/ 36847 h 36847"/>
                <a:gd name="connsiteX12" fmla="*/ 10685 w 70525"/>
                <a:gd name="connsiteY12" fmla="*/ 16706 h 36847"/>
                <a:gd name="connsiteX13" fmla="*/ 21493 w 70525"/>
                <a:gd name="connsiteY13" fmla="*/ 28953 h 36847"/>
                <a:gd name="connsiteX14" fmla="*/ 59636 w 70525"/>
                <a:gd name="connsiteY14" fmla="*/ 19251 h 36847"/>
                <a:gd name="connsiteX15" fmla="*/ 48569 w 70525"/>
                <a:gd name="connsiteY15" fmla="*/ 7926 h 36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525" h="36847">
                  <a:moveTo>
                    <a:pt x="20202" y="36847"/>
                  </a:moveTo>
                  <a:cubicBezTo>
                    <a:pt x="19111" y="36858"/>
                    <a:pt x="18071" y="36386"/>
                    <a:pt x="17362" y="35556"/>
                  </a:cubicBezTo>
                  <a:lnTo>
                    <a:pt x="946" y="16927"/>
                  </a:lnTo>
                  <a:cubicBezTo>
                    <a:pt x="45" y="15924"/>
                    <a:pt x="-238" y="14511"/>
                    <a:pt x="208" y="13238"/>
                  </a:cubicBezTo>
                  <a:cubicBezTo>
                    <a:pt x="606" y="11995"/>
                    <a:pt x="1630" y="11058"/>
                    <a:pt x="2901" y="10767"/>
                  </a:cubicBezTo>
                  <a:lnTo>
                    <a:pt x="48790" y="106"/>
                  </a:lnTo>
                  <a:cubicBezTo>
                    <a:pt x="50052" y="-204"/>
                    <a:pt x="51384" y="176"/>
                    <a:pt x="52295" y="1102"/>
                  </a:cubicBezTo>
                  <a:lnTo>
                    <a:pt x="69411" y="18513"/>
                  </a:lnTo>
                  <a:cubicBezTo>
                    <a:pt x="70870" y="19934"/>
                    <a:pt x="70901" y="22269"/>
                    <a:pt x="69479" y="23729"/>
                  </a:cubicBezTo>
                  <a:cubicBezTo>
                    <a:pt x="68988" y="24235"/>
                    <a:pt x="68363" y="24589"/>
                    <a:pt x="67677" y="24748"/>
                  </a:cubicBezTo>
                  <a:lnTo>
                    <a:pt x="21050" y="36699"/>
                  </a:lnTo>
                  <a:cubicBezTo>
                    <a:pt x="20777" y="36792"/>
                    <a:pt x="20491" y="36840"/>
                    <a:pt x="20202" y="36847"/>
                  </a:cubicBezTo>
                  <a:close/>
                  <a:moveTo>
                    <a:pt x="10685" y="16706"/>
                  </a:moveTo>
                  <a:lnTo>
                    <a:pt x="21493" y="28953"/>
                  </a:lnTo>
                  <a:lnTo>
                    <a:pt x="59636" y="19251"/>
                  </a:lnTo>
                  <a:lnTo>
                    <a:pt x="48569" y="7926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9A6CB525-C3CA-5A46-94E7-3855C0CEFD64}"/>
                </a:ext>
              </a:extLst>
            </p:cNvPr>
            <p:cNvSpPr/>
            <p:nvPr/>
          </p:nvSpPr>
          <p:spPr>
            <a:xfrm>
              <a:off x="10267794" y="4462310"/>
              <a:ext cx="70480" cy="36728"/>
            </a:xfrm>
            <a:custGeom>
              <a:avLst/>
              <a:gdLst>
                <a:gd name="connsiteX0" fmla="*/ 20149 w 70480"/>
                <a:gd name="connsiteY0" fmla="*/ 36729 h 36728"/>
                <a:gd name="connsiteX1" fmla="*/ 17346 w 70480"/>
                <a:gd name="connsiteY1" fmla="*/ 35475 h 36728"/>
                <a:gd name="connsiteX2" fmla="*/ 931 w 70480"/>
                <a:gd name="connsiteY2" fmla="*/ 16809 h 36728"/>
                <a:gd name="connsiteX3" fmla="*/ 1239 w 70480"/>
                <a:gd name="connsiteY3" fmla="*/ 11600 h 36728"/>
                <a:gd name="connsiteX4" fmla="*/ 2886 w 70480"/>
                <a:gd name="connsiteY4" fmla="*/ 10759 h 36728"/>
                <a:gd name="connsiteX5" fmla="*/ 48775 w 70480"/>
                <a:gd name="connsiteY5" fmla="*/ 99 h 36728"/>
                <a:gd name="connsiteX6" fmla="*/ 52279 w 70480"/>
                <a:gd name="connsiteY6" fmla="*/ 1131 h 36728"/>
                <a:gd name="connsiteX7" fmla="*/ 69395 w 70480"/>
                <a:gd name="connsiteY7" fmla="*/ 18543 h 36728"/>
                <a:gd name="connsiteX8" fmla="*/ 69404 w 70480"/>
                <a:gd name="connsiteY8" fmla="*/ 23759 h 36728"/>
                <a:gd name="connsiteX9" fmla="*/ 67662 w 70480"/>
                <a:gd name="connsiteY9" fmla="*/ 24740 h 36728"/>
                <a:gd name="connsiteX10" fmla="*/ 21072 w 70480"/>
                <a:gd name="connsiteY10" fmla="*/ 36618 h 36728"/>
                <a:gd name="connsiteX11" fmla="*/ 10632 w 70480"/>
                <a:gd name="connsiteY11" fmla="*/ 16588 h 36728"/>
                <a:gd name="connsiteX12" fmla="*/ 21441 w 70480"/>
                <a:gd name="connsiteY12" fmla="*/ 28835 h 36728"/>
                <a:gd name="connsiteX13" fmla="*/ 59583 w 70480"/>
                <a:gd name="connsiteY13" fmla="*/ 19133 h 36728"/>
                <a:gd name="connsiteX14" fmla="*/ 48517 w 70480"/>
                <a:gd name="connsiteY14" fmla="*/ 7808 h 36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480" h="36728">
                  <a:moveTo>
                    <a:pt x="20149" y="36729"/>
                  </a:moveTo>
                  <a:cubicBezTo>
                    <a:pt x="19077" y="36740"/>
                    <a:pt x="18054" y="36279"/>
                    <a:pt x="17346" y="35475"/>
                  </a:cubicBezTo>
                  <a:lnTo>
                    <a:pt x="931" y="16809"/>
                  </a:lnTo>
                  <a:cubicBezTo>
                    <a:pt x="-422" y="15285"/>
                    <a:pt x="-284" y="12954"/>
                    <a:pt x="1239" y="11600"/>
                  </a:cubicBezTo>
                  <a:cubicBezTo>
                    <a:pt x="1708" y="11187"/>
                    <a:pt x="2274" y="10896"/>
                    <a:pt x="2886" y="10759"/>
                  </a:cubicBezTo>
                  <a:lnTo>
                    <a:pt x="48775" y="99"/>
                  </a:lnTo>
                  <a:cubicBezTo>
                    <a:pt x="50043" y="-200"/>
                    <a:pt x="51375" y="191"/>
                    <a:pt x="52279" y="1131"/>
                  </a:cubicBezTo>
                  <a:lnTo>
                    <a:pt x="69395" y="18543"/>
                  </a:lnTo>
                  <a:cubicBezTo>
                    <a:pt x="70838" y="19981"/>
                    <a:pt x="70842" y="22316"/>
                    <a:pt x="69404" y="23759"/>
                  </a:cubicBezTo>
                  <a:cubicBezTo>
                    <a:pt x="68924" y="24242"/>
                    <a:pt x="68322" y="24581"/>
                    <a:pt x="67662" y="24740"/>
                  </a:cubicBezTo>
                  <a:lnTo>
                    <a:pt x="21072" y="36618"/>
                  </a:lnTo>
                  <a:close/>
                  <a:moveTo>
                    <a:pt x="10632" y="16588"/>
                  </a:moveTo>
                  <a:lnTo>
                    <a:pt x="21441" y="28835"/>
                  </a:lnTo>
                  <a:lnTo>
                    <a:pt x="59583" y="19133"/>
                  </a:lnTo>
                  <a:lnTo>
                    <a:pt x="48517" y="7808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CE028AD4-1FE2-7840-AB6E-43784909938F}"/>
                </a:ext>
              </a:extLst>
            </p:cNvPr>
            <p:cNvSpPr/>
            <p:nvPr/>
          </p:nvSpPr>
          <p:spPr>
            <a:xfrm>
              <a:off x="10325792" y="4447857"/>
              <a:ext cx="70506" cy="36537"/>
            </a:xfrm>
            <a:custGeom>
              <a:avLst/>
              <a:gdLst>
                <a:gd name="connsiteX0" fmla="*/ 20140 w 70506"/>
                <a:gd name="connsiteY0" fmla="*/ 36537 h 36537"/>
                <a:gd name="connsiteX1" fmla="*/ 17337 w 70506"/>
                <a:gd name="connsiteY1" fmla="*/ 35283 h 36537"/>
                <a:gd name="connsiteX2" fmla="*/ 958 w 70506"/>
                <a:gd name="connsiteY2" fmla="*/ 16838 h 36537"/>
                <a:gd name="connsiteX3" fmla="*/ 1209 w 70506"/>
                <a:gd name="connsiteY3" fmla="*/ 11626 h 36537"/>
                <a:gd name="connsiteX4" fmla="*/ 2913 w 70506"/>
                <a:gd name="connsiteY4" fmla="*/ 10752 h 36537"/>
                <a:gd name="connsiteX5" fmla="*/ 48802 w 70506"/>
                <a:gd name="connsiteY5" fmla="*/ 91 h 36537"/>
                <a:gd name="connsiteX6" fmla="*/ 52270 w 70506"/>
                <a:gd name="connsiteY6" fmla="*/ 1124 h 36537"/>
                <a:gd name="connsiteX7" fmla="*/ 69423 w 70506"/>
                <a:gd name="connsiteY7" fmla="*/ 18535 h 36537"/>
                <a:gd name="connsiteX8" fmla="*/ 70345 w 70506"/>
                <a:gd name="connsiteY8" fmla="*/ 22224 h 36537"/>
                <a:gd name="connsiteX9" fmla="*/ 67689 w 70506"/>
                <a:gd name="connsiteY9" fmla="*/ 24843 h 36537"/>
                <a:gd name="connsiteX10" fmla="*/ 21173 w 70506"/>
                <a:gd name="connsiteY10" fmla="*/ 36426 h 36537"/>
                <a:gd name="connsiteX11" fmla="*/ 20140 w 70506"/>
                <a:gd name="connsiteY11" fmla="*/ 36537 h 36537"/>
                <a:gd name="connsiteX12" fmla="*/ 10660 w 70506"/>
                <a:gd name="connsiteY12" fmla="*/ 16396 h 36537"/>
                <a:gd name="connsiteX13" fmla="*/ 21431 w 70506"/>
                <a:gd name="connsiteY13" fmla="*/ 28643 h 36537"/>
                <a:gd name="connsiteX14" fmla="*/ 59574 w 70506"/>
                <a:gd name="connsiteY14" fmla="*/ 18941 h 36537"/>
                <a:gd name="connsiteX15" fmla="*/ 48507 w 70506"/>
                <a:gd name="connsiteY15" fmla="*/ 7616 h 36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506" h="36537">
                  <a:moveTo>
                    <a:pt x="20140" y="36537"/>
                  </a:moveTo>
                  <a:cubicBezTo>
                    <a:pt x="19068" y="36548"/>
                    <a:pt x="18044" y="36087"/>
                    <a:pt x="17337" y="35283"/>
                  </a:cubicBezTo>
                  <a:lnTo>
                    <a:pt x="958" y="16838"/>
                  </a:lnTo>
                  <a:cubicBezTo>
                    <a:pt x="-412" y="15330"/>
                    <a:pt x="-299" y="12998"/>
                    <a:pt x="1209" y="11626"/>
                  </a:cubicBezTo>
                  <a:cubicBezTo>
                    <a:pt x="1690" y="11191"/>
                    <a:pt x="2278" y="10888"/>
                    <a:pt x="2913" y="10752"/>
                  </a:cubicBezTo>
                  <a:lnTo>
                    <a:pt x="48802" y="91"/>
                  </a:lnTo>
                  <a:cubicBezTo>
                    <a:pt x="50060" y="-193"/>
                    <a:pt x="51373" y="198"/>
                    <a:pt x="52270" y="1124"/>
                  </a:cubicBezTo>
                  <a:lnTo>
                    <a:pt x="69423" y="18535"/>
                  </a:lnTo>
                  <a:cubicBezTo>
                    <a:pt x="70389" y="19498"/>
                    <a:pt x="70744" y="20918"/>
                    <a:pt x="70345" y="22224"/>
                  </a:cubicBezTo>
                  <a:cubicBezTo>
                    <a:pt x="69998" y="23515"/>
                    <a:pt x="68984" y="24515"/>
                    <a:pt x="67689" y="24843"/>
                  </a:cubicBezTo>
                  <a:lnTo>
                    <a:pt x="21173" y="36426"/>
                  </a:lnTo>
                  <a:cubicBezTo>
                    <a:pt x="20835" y="36507"/>
                    <a:pt x="20488" y="36544"/>
                    <a:pt x="20140" y="36537"/>
                  </a:cubicBezTo>
                  <a:close/>
                  <a:moveTo>
                    <a:pt x="10660" y="16396"/>
                  </a:moveTo>
                  <a:lnTo>
                    <a:pt x="21431" y="28643"/>
                  </a:lnTo>
                  <a:lnTo>
                    <a:pt x="59574" y="18941"/>
                  </a:lnTo>
                  <a:lnTo>
                    <a:pt x="48507" y="7616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02" name="Graphic 25">
            <a:extLst>
              <a:ext uri="{FF2B5EF4-FFF2-40B4-BE49-F238E27FC236}">
                <a16:creationId xmlns:a16="http://schemas.microsoft.com/office/drawing/2014/main" id="{88620FCF-633F-1640-A131-45E013E29AF7}"/>
              </a:ext>
            </a:extLst>
          </p:cNvPr>
          <p:cNvGrpSpPr/>
          <p:nvPr userDrawn="1"/>
        </p:nvGrpSpPr>
        <p:grpSpPr>
          <a:xfrm>
            <a:off x="4831801" y="4602009"/>
            <a:ext cx="337795" cy="330589"/>
            <a:chOff x="6356250" y="5999009"/>
            <a:chExt cx="471597" cy="471597"/>
          </a:xfrm>
          <a:solidFill>
            <a:schemeClr val="bg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8DA1EB7F-137D-064B-BDB4-8ADA302D2A3D}"/>
                </a:ext>
              </a:extLst>
            </p:cNvPr>
            <p:cNvSpPr/>
            <p:nvPr/>
          </p:nvSpPr>
          <p:spPr>
            <a:xfrm>
              <a:off x="6383720" y="6004903"/>
              <a:ext cx="420546" cy="467529"/>
            </a:xfrm>
            <a:custGeom>
              <a:avLst/>
              <a:gdLst>
                <a:gd name="connsiteX0" fmla="*/ 386356 w 420546"/>
                <a:gd name="connsiteY0" fmla="*/ 31391 h 467529"/>
                <a:gd name="connsiteX1" fmla="*/ 357087 w 420546"/>
                <a:gd name="connsiteY1" fmla="*/ 31391 h 467529"/>
                <a:gd name="connsiteX2" fmla="*/ 357087 w 420546"/>
                <a:gd name="connsiteY2" fmla="*/ 20927 h 467529"/>
                <a:gd name="connsiteX3" fmla="*/ 336278 w 420546"/>
                <a:gd name="connsiteY3" fmla="*/ 0 h 467529"/>
                <a:gd name="connsiteX4" fmla="*/ 333124 w 420546"/>
                <a:gd name="connsiteY4" fmla="*/ 0 h 467529"/>
                <a:gd name="connsiteX5" fmla="*/ 312286 w 420546"/>
                <a:gd name="connsiteY5" fmla="*/ 20839 h 467529"/>
                <a:gd name="connsiteX6" fmla="*/ 312286 w 420546"/>
                <a:gd name="connsiteY6" fmla="*/ 31303 h 467529"/>
                <a:gd name="connsiteX7" fmla="*/ 108349 w 420546"/>
                <a:gd name="connsiteY7" fmla="*/ 31303 h 467529"/>
                <a:gd name="connsiteX8" fmla="*/ 108349 w 420546"/>
                <a:gd name="connsiteY8" fmla="*/ 20927 h 467529"/>
                <a:gd name="connsiteX9" fmla="*/ 87540 w 420546"/>
                <a:gd name="connsiteY9" fmla="*/ 0 h 467529"/>
                <a:gd name="connsiteX10" fmla="*/ 87481 w 420546"/>
                <a:gd name="connsiteY10" fmla="*/ 0 h 467529"/>
                <a:gd name="connsiteX11" fmla="*/ 84534 w 420546"/>
                <a:gd name="connsiteY11" fmla="*/ 0 h 467529"/>
                <a:gd name="connsiteX12" fmla="*/ 63548 w 420546"/>
                <a:gd name="connsiteY12" fmla="*/ 20633 h 467529"/>
                <a:gd name="connsiteX13" fmla="*/ 63548 w 420546"/>
                <a:gd name="connsiteY13" fmla="*/ 31273 h 467529"/>
                <a:gd name="connsiteX14" fmla="*/ 34427 w 420546"/>
                <a:gd name="connsiteY14" fmla="*/ 31273 h 467529"/>
                <a:gd name="connsiteX15" fmla="*/ 0 w 420546"/>
                <a:gd name="connsiteY15" fmla="*/ 65582 h 467529"/>
                <a:gd name="connsiteX16" fmla="*/ 0 w 420546"/>
                <a:gd name="connsiteY16" fmla="*/ 65641 h 467529"/>
                <a:gd name="connsiteX17" fmla="*/ 0 w 420546"/>
                <a:gd name="connsiteY17" fmla="*/ 65641 h 467529"/>
                <a:gd name="connsiteX18" fmla="*/ 0 w 420546"/>
                <a:gd name="connsiteY18" fmla="*/ 433280 h 467529"/>
                <a:gd name="connsiteX19" fmla="*/ 34220 w 420546"/>
                <a:gd name="connsiteY19" fmla="*/ 467530 h 467529"/>
                <a:gd name="connsiteX20" fmla="*/ 386415 w 420546"/>
                <a:gd name="connsiteY20" fmla="*/ 467530 h 467529"/>
                <a:gd name="connsiteX21" fmla="*/ 420547 w 420546"/>
                <a:gd name="connsiteY21" fmla="*/ 433280 h 467529"/>
                <a:gd name="connsiteX22" fmla="*/ 420547 w 420546"/>
                <a:gd name="connsiteY22" fmla="*/ 65670 h 467529"/>
                <a:gd name="connsiteX23" fmla="*/ 386356 w 420546"/>
                <a:gd name="connsiteY23" fmla="*/ 31391 h 467529"/>
                <a:gd name="connsiteX24" fmla="*/ 325991 w 420546"/>
                <a:gd name="connsiteY24" fmla="*/ 20927 h 467529"/>
                <a:gd name="connsiteX25" fmla="*/ 333124 w 420546"/>
                <a:gd name="connsiteY25" fmla="*/ 13795 h 467529"/>
                <a:gd name="connsiteX26" fmla="*/ 336249 w 420546"/>
                <a:gd name="connsiteY26" fmla="*/ 13795 h 467529"/>
                <a:gd name="connsiteX27" fmla="*/ 343382 w 420546"/>
                <a:gd name="connsiteY27" fmla="*/ 20927 h 467529"/>
                <a:gd name="connsiteX28" fmla="*/ 343382 w 420546"/>
                <a:gd name="connsiteY28" fmla="*/ 31391 h 467529"/>
                <a:gd name="connsiteX29" fmla="*/ 325991 w 420546"/>
                <a:gd name="connsiteY29" fmla="*/ 31391 h 467529"/>
                <a:gd name="connsiteX30" fmla="*/ 84534 w 420546"/>
                <a:gd name="connsiteY30" fmla="*/ 13795 h 467529"/>
                <a:gd name="connsiteX31" fmla="*/ 87481 w 420546"/>
                <a:gd name="connsiteY31" fmla="*/ 13795 h 467529"/>
                <a:gd name="connsiteX32" fmla="*/ 94644 w 420546"/>
                <a:gd name="connsiteY32" fmla="*/ 20898 h 467529"/>
                <a:gd name="connsiteX33" fmla="*/ 94644 w 420546"/>
                <a:gd name="connsiteY33" fmla="*/ 20898 h 467529"/>
                <a:gd name="connsiteX34" fmla="*/ 94644 w 420546"/>
                <a:gd name="connsiteY34" fmla="*/ 20898 h 467529"/>
                <a:gd name="connsiteX35" fmla="*/ 94644 w 420546"/>
                <a:gd name="connsiteY35" fmla="*/ 31362 h 467529"/>
                <a:gd name="connsiteX36" fmla="*/ 77253 w 420546"/>
                <a:gd name="connsiteY36" fmla="*/ 31362 h 467529"/>
                <a:gd name="connsiteX37" fmla="*/ 77253 w 420546"/>
                <a:gd name="connsiteY37" fmla="*/ 20927 h 467529"/>
                <a:gd name="connsiteX38" fmla="*/ 77253 w 420546"/>
                <a:gd name="connsiteY38" fmla="*/ 20927 h 467529"/>
                <a:gd name="connsiteX39" fmla="*/ 84385 w 420546"/>
                <a:gd name="connsiteY39" fmla="*/ 13793 h 467529"/>
                <a:gd name="connsiteX40" fmla="*/ 84534 w 420546"/>
                <a:gd name="connsiteY40" fmla="*/ 13795 h 467529"/>
                <a:gd name="connsiteX41" fmla="*/ 406929 w 420546"/>
                <a:gd name="connsiteY41" fmla="*/ 433280 h 467529"/>
                <a:gd name="connsiteX42" fmla="*/ 386297 w 420546"/>
                <a:gd name="connsiteY42" fmla="*/ 453912 h 467529"/>
                <a:gd name="connsiteX43" fmla="*/ 34220 w 420546"/>
                <a:gd name="connsiteY43" fmla="*/ 453912 h 467529"/>
                <a:gd name="connsiteX44" fmla="*/ 13588 w 420546"/>
                <a:gd name="connsiteY44" fmla="*/ 433280 h 467529"/>
                <a:gd name="connsiteX45" fmla="*/ 13588 w 420546"/>
                <a:gd name="connsiteY45" fmla="*/ 433280 h 467529"/>
                <a:gd name="connsiteX46" fmla="*/ 34220 w 420546"/>
                <a:gd name="connsiteY46" fmla="*/ 440177 h 467529"/>
                <a:gd name="connsiteX47" fmla="*/ 311844 w 420546"/>
                <a:gd name="connsiteY47" fmla="*/ 440177 h 467529"/>
                <a:gd name="connsiteX48" fmla="*/ 336072 w 420546"/>
                <a:gd name="connsiteY48" fmla="*/ 430126 h 467529"/>
                <a:gd name="connsiteX49" fmla="*/ 406811 w 420546"/>
                <a:gd name="connsiteY49" fmla="*/ 359387 h 467529"/>
                <a:gd name="connsiteX50" fmla="*/ 329175 w 420546"/>
                <a:gd name="connsiteY50" fmla="*/ 417717 h 467529"/>
                <a:gd name="connsiteX51" fmla="*/ 330000 w 420546"/>
                <a:gd name="connsiteY51" fmla="*/ 410820 h 467529"/>
                <a:gd name="connsiteX52" fmla="*/ 330000 w 420546"/>
                <a:gd name="connsiteY52" fmla="*/ 365105 h 467529"/>
                <a:gd name="connsiteX53" fmla="*/ 345622 w 420546"/>
                <a:gd name="connsiteY53" fmla="*/ 349483 h 467529"/>
                <a:gd name="connsiteX54" fmla="*/ 391337 w 420546"/>
                <a:gd name="connsiteY54" fmla="*/ 349483 h 467529"/>
                <a:gd name="connsiteX55" fmla="*/ 398234 w 420546"/>
                <a:gd name="connsiteY55" fmla="*/ 348658 h 467529"/>
                <a:gd name="connsiteX56" fmla="*/ 406959 w 420546"/>
                <a:gd name="connsiteY56" fmla="*/ 129247 h 467529"/>
                <a:gd name="connsiteX57" fmla="*/ 348392 w 420546"/>
                <a:gd name="connsiteY57" fmla="*/ 129247 h 467529"/>
                <a:gd name="connsiteX58" fmla="*/ 341554 w 420546"/>
                <a:gd name="connsiteY58" fmla="*/ 136086 h 467529"/>
                <a:gd name="connsiteX59" fmla="*/ 348392 w 420546"/>
                <a:gd name="connsiteY59" fmla="*/ 142924 h 467529"/>
                <a:gd name="connsiteX60" fmla="*/ 406929 w 420546"/>
                <a:gd name="connsiteY60" fmla="*/ 142924 h 467529"/>
                <a:gd name="connsiteX61" fmla="*/ 406929 w 420546"/>
                <a:gd name="connsiteY61" fmla="*/ 320156 h 467529"/>
                <a:gd name="connsiteX62" fmla="*/ 391308 w 420546"/>
                <a:gd name="connsiteY62" fmla="*/ 335777 h 467529"/>
                <a:gd name="connsiteX63" fmla="*/ 345592 w 420546"/>
                <a:gd name="connsiteY63" fmla="*/ 335777 h 467529"/>
                <a:gd name="connsiteX64" fmla="*/ 316294 w 420546"/>
                <a:gd name="connsiteY64" fmla="*/ 365105 h 467529"/>
                <a:gd name="connsiteX65" fmla="*/ 316294 w 420546"/>
                <a:gd name="connsiteY65" fmla="*/ 410820 h 467529"/>
                <a:gd name="connsiteX66" fmla="*/ 300643 w 420546"/>
                <a:gd name="connsiteY66" fmla="*/ 426442 h 467529"/>
                <a:gd name="connsiteX67" fmla="*/ 34427 w 420546"/>
                <a:gd name="connsiteY67" fmla="*/ 426442 h 467529"/>
                <a:gd name="connsiteX68" fmla="*/ 13794 w 420546"/>
                <a:gd name="connsiteY68" fmla="*/ 405810 h 467529"/>
                <a:gd name="connsiteX69" fmla="*/ 13794 w 420546"/>
                <a:gd name="connsiteY69" fmla="*/ 142924 h 467529"/>
                <a:gd name="connsiteX70" fmla="*/ 320981 w 420546"/>
                <a:gd name="connsiteY70" fmla="*/ 142924 h 467529"/>
                <a:gd name="connsiteX71" fmla="*/ 327819 w 420546"/>
                <a:gd name="connsiteY71" fmla="*/ 136086 h 467529"/>
                <a:gd name="connsiteX72" fmla="*/ 320981 w 420546"/>
                <a:gd name="connsiteY72" fmla="*/ 129247 h 467529"/>
                <a:gd name="connsiteX73" fmla="*/ 13794 w 420546"/>
                <a:gd name="connsiteY73" fmla="*/ 129247 h 467529"/>
                <a:gd name="connsiteX74" fmla="*/ 13794 w 420546"/>
                <a:gd name="connsiteY74" fmla="*/ 65670 h 467529"/>
                <a:gd name="connsiteX75" fmla="*/ 34427 w 420546"/>
                <a:gd name="connsiteY75" fmla="*/ 45038 h 467529"/>
                <a:gd name="connsiteX76" fmla="*/ 63695 w 420546"/>
                <a:gd name="connsiteY76" fmla="*/ 45038 h 467529"/>
                <a:gd name="connsiteX77" fmla="*/ 63695 w 420546"/>
                <a:gd name="connsiteY77" fmla="*/ 65169 h 467529"/>
                <a:gd name="connsiteX78" fmla="*/ 84534 w 420546"/>
                <a:gd name="connsiteY78" fmla="*/ 86008 h 467529"/>
                <a:gd name="connsiteX79" fmla="*/ 90937 w 420546"/>
                <a:gd name="connsiteY79" fmla="*/ 78705 h 467529"/>
                <a:gd name="connsiteX80" fmla="*/ 84534 w 420546"/>
                <a:gd name="connsiteY80" fmla="*/ 72302 h 467529"/>
                <a:gd name="connsiteX81" fmla="*/ 77401 w 420546"/>
                <a:gd name="connsiteY81" fmla="*/ 65169 h 467529"/>
                <a:gd name="connsiteX82" fmla="*/ 77401 w 420546"/>
                <a:gd name="connsiteY82" fmla="*/ 65169 h 467529"/>
                <a:gd name="connsiteX83" fmla="*/ 77401 w 420546"/>
                <a:gd name="connsiteY83" fmla="*/ 45067 h 467529"/>
                <a:gd name="connsiteX84" fmla="*/ 312433 w 420546"/>
                <a:gd name="connsiteY84" fmla="*/ 45067 h 467529"/>
                <a:gd name="connsiteX85" fmla="*/ 312433 w 420546"/>
                <a:gd name="connsiteY85" fmla="*/ 65199 h 467529"/>
                <a:gd name="connsiteX86" fmla="*/ 333272 w 420546"/>
                <a:gd name="connsiteY86" fmla="*/ 86037 h 467529"/>
                <a:gd name="connsiteX87" fmla="*/ 339674 w 420546"/>
                <a:gd name="connsiteY87" fmla="*/ 78735 h 467529"/>
                <a:gd name="connsiteX88" fmla="*/ 333272 w 420546"/>
                <a:gd name="connsiteY88" fmla="*/ 72332 h 467529"/>
                <a:gd name="connsiteX89" fmla="*/ 326227 w 420546"/>
                <a:gd name="connsiteY89" fmla="*/ 65199 h 467529"/>
                <a:gd name="connsiteX90" fmla="*/ 326227 w 420546"/>
                <a:gd name="connsiteY90" fmla="*/ 45067 h 467529"/>
                <a:gd name="connsiteX91" fmla="*/ 386356 w 420546"/>
                <a:gd name="connsiteY91" fmla="*/ 45067 h 467529"/>
                <a:gd name="connsiteX92" fmla="*/ 406988 w 420546"/>
                <a:gd name="connsiteY92" fmla="*/ 65700 h 46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420546" h="467529">
                  <a:moveTo>
                    <a:pt x="386356" y="31391"/>
                  </a:moveTo>
                  <a:lnTo>
                    <a:pt x="357087" y="31391"/>
                  </a:lnTo>
                  <a:lnTo>
                    <a:pt x="357087" y="20927"/>
                  </a:lnTo>
                  <a:cubicBezTo>
                    <a:pt x="357120" y="9402"/>
                    <a:pt x="347803" y="33"/>
                    <a:pt x="336278" y="0"/>
                  </a:cubicBezTo>
                  <a:lnTo>
                    <a:pt x="333124" y="0"/>
                  </a:lnTo>
                  <a:cubicBezTo>
                    <a:pt x="321629" y="33"/>
                    <a:pt x="312318" y="9344"/>
                    <a:pt x="312286" y="20839"/>
                  </a:cubicBezTo>
                  <a:lnTo>
                    <a:pt x="312286" y="31303"/>
                  </a:lnTo>
                  <a:lnTo>
                    <a:pt x="108349" y="31303"/>
                  </a:lnTo>
                  <a:lnTo>
                    <a:pt x="108349" y="20927"/>
                  </a:lnTo>
                  <a:cubicBezTo>
                    <a:pt x="108382" y="9402"/>
                    <a:pt x="99065" y="33"/>
                    <a:pt x="87540" y="0"/>
                  </a:cubicBezTo>
                  <a:cubicBezTo>
                    <a:pt x="87521" y="0"/>
                    <a:pt x="87501" y="0"/>
                    <a:pt x="87481" y="0"/>
                  </a:cubicBezTo>
                  <a:lnTo>
                    <a:pt x="84534" y="0"/>
                  </a:lnTo>
                  <a:cubicBezTo>
                    <a:pt x="73054" y="-65"/>
                    <a:pt x="63677" y="9154"/>
                    <a:pt x="63548" y="20633"/>
                  </a:cubicBezTo>
                  <a:lnTo>
                    <a:pt x="63548" y="31273"/>
                  </a:lnTo>
                  <a:lnTo>
                    <a:pt x="34427" y="31273"/>
                  </a:lnTo>
                  <a:cubicBezTo>
                    <a:pt x="15446" y="31241"/>
                    <a:pt x="33" y="46601"/>
                    <a:pt x="0" y="65582"/>
                  </a:cubicBezTo>
                  <a:cubicBezTo>
                    <a:pt x="0" y="65602"/>
                    <a:pt x="0" y="65621"/>
                    <a:pt x="0" y="65641"/>
                  </a:cubicBezTo>
                  <a:lnTo>
                    <a:pt x="0" y="65641"/>
                  </a:lnTo>
                  <a:lnTo>
                    <a:pt x="0" y="433280"/>
                  </a:lnTo>
                  <a:cubicBezTo>
                    <a:pt x="16" y="452176"/>
                    <a:pt x="15323" y="467497"/>
                    <a:pt x="34220" y="467530"/>
                  </a:cubicBezTo>
                  <a:lnTo>
                    <a:pt x="386415" y="467530"/>
                  </a:lnTo>
                  <a:cubicBezTo>
                    <a:pt x="405279" y="467447"/>
                    <a:pt x="420532" y="452144"/>
                    <a:pt x="420547" y="433280"/>
                  </a:cubicBezTo>
                  <a:lnTo>
                    <a:pt x="420547" y="65670"/>
                  </a:lnTo>
                  <a:cubicBezTo>
                    <a:pt x="420514" y="46786"/>
                    <a:pt x="405240" y="31472"/>
                    <a:pt x="386356" y="31391"/>
                  </a:cubicBezTo>
                  <a:close/>
                  <a:moveTo>
                    <a:pt x="325991" y="20927"/>
                  </a:moveTo>
                  <a:cubicBezTo>
                    <a:pt x="325991" y="16988"/>
                    <a:pt x="329184" y="13795"/>
                    <a:pt x="333124" y="13795"/>
                  </a:cubicBezTo>
                  <a:lnTo>
                    <a:pt x="336249" y="13795"/>
                  </a:lnTo>
                  <a:cubicBezTo>
                    <a:pt x="340189" y="13795"/>
                    <a:pt x="343382" y="16988"/>
                    <a:pt x="343382" y="20927"/>
                  </a:cubicBezTo>
                  <a:lnTo>
                    <a:pt x="343382" y="31391"/>
                  </a:lnTo>
                  <a:lnTo>
                    <a:pt x="325991" y="31391"/>
                  </a:lnTo>
                  <a:close/>
                  <a:moveTo>
                    <a:pt x="84534" y="13795"/>
                  </a:moveTo>
                  <a:lnTo>
                    <a:pt x="87481" y="13795"/>
                  </a:lnTo>
                  <a:cubicBezTo>
                    <a:pt x="91421" y="13778"/>
                    <a:pt x="94627" y="16959"/>
                    <a:pt x="94644" y="20898"/>
                  </a:cubicBezTo>
                  <a:cubicBezTo>
                    <a:pt x="94644" y="20898"/>
                    <a:pt x="94644" y="20898"/>
                    <a:pt x="94644" y="20898"/>
                  </a:cubicBezTo>
                  <a:lnTo>
                    <a:pt x="94644" y="20898"/>
                  </a:lnTo>
                  <a:lnTo>
                    <a:pt x="94644" y="31362"/>
                  </a:lnTo>
                  <a:lnTo>
                    <a:pt x="77253" y="31362"/>
                  </a:lnTo>
                  <a:lnTo>
                    <a:pt x="77253" y="20927"/>
                  </a:lnTo>
                  <a:lnTo>
                    <a:pt x="77253" y="20927"/>
                  </a:lnTo>
                  <a:cubicBezTo>
                    <a:pt x="77253" y="16988"/>
                    <a:pt x="80446" y="13794"/>
                    <a:pt x="84385" y="13793"/>
                  </a:cubicBezTo>
                  <a:cubicBezTo>
                    <a:pt x="84434" y="13793"/>
                    <a:pt x="84484" y="13794"/>
                    <a:pt x="84534" y="13795"/>
                  </a:cubicBezTo>
                  <a:close/>
                  <a:moveTo>
                    <a:pt x="406929" y="433280"/>
                  </a:moveTo>
                  <a:cubicBezTo>
                    <a:pt x="406929" y="444675"/>
                    <a:pt x="397692" y="453912"/>
                    <a:pt x="386297" y="453912"/>
                  </a:cubicBezTo>
                  <a:lnTo>
                    <a:pt x="34220" y="453912"/>
                  </a:lnTo>
                  <a:cubicBezTo>
                    <a:pt x="22825" y="453912"/>
                    <a:pt x="13588" y="444675"/>
                    <a:pt x="13588" y="433280"/>
                  </a:cubicBezTo>
                  <a:lnTo>
                    <a:pt x="13588" y="433280"/>
                  </a:lnTo>
                  <a:cubicBezTo>
                    <a:pt x="19527" y="437772"/>
                    <a:pt x="26774" y="440195"/>
                    <a:pt x="34220" y="440177"/>
                  </a:cubicBezTo>
                  <a:lnTo>
                    <a:pt x="311844" y="440177"/>
                  </a:lnTo>
                  <a:cubicBezTo>
                    <a:pt x="320939" y="440207"/>
                    <a:pt x="329667" y="436587"/>
                    <a:pt x="336072" y="430126"/>
                  </a:cubicBezTo>
                  <a:lnTo>
                    <a:pt x="406811" y="359387"/>
                  </a:lnTo>
                  <a:close/>
                  <a:moveTo>
                    <a:pt x="329175" y="417717"/>
                  </a:moveTo>
                  <a:cubicBezTo>
                    <a:pt x="329714" y="415457"/>
                    <a:pt x="329991" y="413143"/>
                    <a:pt x="330000" y="410820"/>
                  </a:cubicBezTo>
                  <a:lnTo>
                    <a:pt x="330000" y="365105"/>
                  </a:lnTo>
                  <a:cubicBezTo>
                    <a:pt x="330032" y="356489"/>
                    <a:pt x="337006" y="349516"/>
                    <a:pt x="345622" y="349483"/>
                  </a:cubicBezTo>
                  <a:lnTo>
                    <a:pt x="391337" y="349483"/>
                  </a:lnTo>
                  <a:cubicBezTo>
                    <a:pt x="393660" y="349489"/>
                    <a:pt x="395976" y="349212"/>
                    <a:pt x="398234" y="348658"/>
                  </a:cubicBezTo>
                  <a:close/>
                  <a:moveTo>
                    <a:pt x="406959" y="129247"/>
                  </a:moveTo>
                  <a:lnTo>
                    <a:pt x="348392" y="129247"/>
                  </a:lnTo>
                  <a:cubicBezTo>
                    <a:pt x="344617" y="129247"/>
                    <a:pt x="341554" y="132309"/>
                    <a:pt x="341554" y="136086"/>
                  </a:cubicBezTo>
                  <a:cubicBezTo>
                    <a:pt x="341554" y="139862"/>
                    <a:pt x="344617" y="142924"/>
                    <a:pt x="348392" y="142924"/>
                  </a:cubicBezTo>
                  <a:lnTo>
                    <a:pt x="406929" y="142924"/>
                  </a:lnTo>
                  <a:lnTo>
                    <a:pt x="406929" y="320156"/>
                  </a:lnTo>
                  <a:cubicBezTo>
                    <a:pt x="406929" y="328783"/>
                    <a:pt x="399935" y="335777"/>
                    <a:pt x="391308" y="335777"/>
                  </a:cubicBezTo>
                  <a:lnTo>
                    <a:pt x="345592" y="335777"/>
                  </a:lnTo>
                  <a:cubicBezTo>
                    <a:pt x="329440" y="335875"/>
                    <a:pt x="316374" y="348953"/>
                    <a:pt x="316294" y="365105"/>
                  </a:cubicBezTo>
                  <a:lnTo>
                    <a:pt x="316294" y="410820"/>
                  </a:lnTo>
                  <a:cubicBezTo>
                    <a:pt x="316277" y="419453"/>
                    <a:pt x="309276" y="426442"/>
                    <a:pt x="300643" y="426442"/>
                  </a:cubicBezTo>
                  <a:lnTo>
                    <a:pt x="34427" y="426442"/>
                  </a:lnTo>
                  <a:cubicBezTo>
                    <a:pt x="23032" y="426442"/>
                    <a:pt x="13794" y="417205"/>
                    <a:pt x="13794" y="405810"/>
                  </a:cubicBezTo>
                  <a:lnTo>
                    <a:pt x="13794" y="142924"/>
                  </a:lnTo>
                  <a:lnTo>
                    <a:pt x="320981" y="142924"/>
                  </a:lnTo>
                  <a:cubicBezTo>
                    <a:pt x="324756" y="142924"/>
                    <a:pt x="327819" y="139862"/>
                    <a:pt x="327819" y="136086"/>
                  </a:cubicBezTo>
                  <a:cubicBezTo>
                    <a:pt x="327819" y="132309"/>
                    <a:pt x="324756" y="129247"/>
                    <a:pt x="320981" y="129247"/>
                  </a:cubicBezTo>
                  <a:lnTo>
                    <a:pt x="13794" y="129247"/>
                  </a:lnTo>
                  <a:lnTo>
                    <a:pt x="13794" y="65670"/>
                  </a:lnTo>
                  <a:cubicBezTo>
                    <a:pt x="13794" y="54275"/>
                    <a:pt x="23032" y="45038"/>
                    <a:pt x="34427" y="45038"/>
                  </a:cubicBezTo>
                  <a:lnTo>
                    <a:pt x="63695" y="45038"/>
                  </a:lnTo>
                  <a:lnTo>
                    <a:pt x="63695" y="65169"/>
                  </a:lnTo>
                  <a:cubicBezTo>
                    <a:pt x="63727" y="76665"/>
                    <a:pt x="73038" y="85975"/>
                    <a:pt x="84534" y="86008"/>
                  </a:cubicBezTo>
                  <a:cubicBezTo>
                    <a:pt x="88319" y="85759"/>
                    <a:pt x="91185" y="82490"/>
                    <a:pt x="90937" y="78705"/>
                  </a:cubicBezTo>
                  <a:cubicBezTo>
                    <a:pt x="90711" y="75267"/>
                    <a:pt x="87972" y="72528"/>
                    <a:pt x="84534" y="72302"/>
                  </a:cubicBezTo>
                  <a:cubicBezTo>
                    <a:pt x="80594" y="72302"/>
                    <a:pt x="77401" y="69108"/>
                    <a:pt x="77401" y="65169"/>
                  </a:cubicBezTo>
                  <a:lnTo>
                    <a:pt x="77401" y="65169"/>
                  </a:lnTo>
                  <a:lnTo>
                    <a:pt x="77401" y="45067"/>
                  </a:lnTo>
                  <a:lnTo>
                    <a:pt x="312433" y="45067"/>
                  </a:lnTo>
                  <a:lnTo>
                    <a:pt x="312433" y="65199"/>
                  </a:lnTo>
                  <a:cubicBezTo>
                    <a:pt x="312465" y="76694"/>
                    <a:pt x="321777" y="86005"/>
                    <a:pt x="333272" y="86037"/>
                  </a:cubicBezTo>
                  <a:cubicBezTo>
                    <a:pt x="337056" y="85789"/>
                    <a:pt x="339924" y="82520"/>
                    <a:pt x="339674" y="78735"/>
                  </a:cubicBezTo>
                  <a:cubicBezTo>
                    <a:pt x="339450" y="75296"/>
                    <a:pt x="336711" y="72557"/>
                    <a:pt x="333272" y="72332"/>
                  </a:cubicBezTo>
                  <a:cubicBezTo>
                    <a:pt x="329366" y="72283"/>
                    <a:pt x="326227" y="69104"/>
                    <a:pt x="326227" y="65199"/>
                  </a:cubicBezTo>
                  <a:lnTo>
                    <a:pt x="326227" y="45067"/>
                  </a:lnTo>
                  <a:lnTo>
                    <a:pt x="386356" y="45067"/>
                  </a:lnTo>
                  <a:cubicBezTo>
                    <a:pt x="397751" y="45067"/>
                    <a:pt x="406988" y="54305"/>
                    <a:pt x="406988" y="65700"/>
                  </a:cubicBezTo>
                  <a:close/>
                </a:path>
              </a:pathLst>
            </a:custGeom>
            <a:grpFill/>
            <a:ln w="29170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DC5D588A-7A5E-4549-ACBF-2CFC07325781}"/>
                </a:ext>
              </a:extLst>
            </p:cNvPr>
            <p:cNvSpPr/>
            <p:nvPr/>
          </p:nvSpPr>
          <p:spPr>
            <a:xfrm>
              <a:off x="6477221" y="6172398"/>
              <a:ext cx="232599" cy="222899"/>
            </a:xfrm>
            <a:custGeom>
              <a:avLst/>
              <a:gdLst>
                <a:gd name="connsiteX0" fmla="*/ 54109 w 232599"/>
                <a:gd name="connsiteY0" fmla="*/ 222899 h 222899"/>
                <a:gd name="connsiteX1" fmla="*/ 38627 w 232599"/>
                <a:gd name="connsiteY1" fmla="*/ 207372 h 222899"/>
                <a:gd name="connsiteX2" fmla="*/ 39371 w 232599"/>
                <a:gd name="connsiteY2" fmla="*/ 202650 h 222899"/>
                <a:gd name="connsiteX3" fmla="*/ 59591 w 232599"/>
                <a:gd name="connsiteY3" fmla="*/ 140046 h 222899"/>
                <a:gd name="connsiteX4" fmla="*/ 6330 w 232599"/>
                <a:gd name="connsiteY4" fmla="*/ 101375 h 222899"/>
                <a:gd name="connsiteX5" fmla="*/ 3007 w 232599"/>
                <a:gd name="connsiteY5" fmla="*/ 79703 h 222899"/>
                <a:gd name="connsiteX6" fmla="*/ 15408 w 232599"/>
                <a:gd name="connsiteY6" fmla="*/ 73374 h 222899"/>
                <a:gd name="connsiteX7" fmla="*/ 81343 w 232599"/>
                <a:gd name="connsiteY7" fmla="*/ 73374 h 222899"/>
                <a:gd name="connsiteX8" fmla="*/ 101976 w 232599"/>
                <a:gd name="connsiteY8" fmla="*/ 10828 h 222899"/>
                <a:gd name="connsiteX9" fmla="*/ 121334 w 232599"/>
                <a:gd name="connsiteY9" fmla="*/ 712 h 222899"/>
                <a:gd name="connsiteX10" fmla="*/ 131451 w 232599"/>
                <a:gd name="connsiteY10" fmla="*/ 10828 h 222899"/>
                <a:gd name="connsiteX11" fmla="*/ 151877 w 232599"/>
                <a:gd name="connsiteY11" fmla="*/ 73374 h 222899"/>
                <a:gd name="connsiteX12" fmla="*/ 217134 w 232599"/>
                <a:gd name="connsiteY12" fmla="*/ 73374 h 222899"/>
                <a:gd name="connsiteX13" fmla="*/ 232599 w 232599"/>
                <a:gd name="connsiteY13" fmla="*/ 88915 h 222899"/>
                <a:gd name="connsiteX14" fmla="*/ 226271 w 232599"/>
                <a:gd name="connsiteY14" fmla="*/ 101375 h 222899"/>
                <a:gd name="connsiteX15" fmla="*/ 172922 w 232599"/>
                <a:gd name="connsiteY15" fmla="*/ 140046 h 222899"/>
                <a:gd name="connsiteX16" fmla="*/ 193554 w 232599"/>
                <a:gd name="connsiteY16" fmla="*/ 202650 h 222899"/>
                <a:gd name="connsiteX17" fmla="*/ 183671 w 232599"/>
                <a:gd name="connsiteY17" fmla="*/ 222127 h 222899"/>
                <a:gd name="connsiteX18" fmla="*/ 169768 w 232599"/>
                <a:gd name="connsiteY18" fmla="*/ 219922 h 222899"/>
                <a:gd name="connsiteX19" fmla="*/ 116418 w 232599"/>
                <a:gd name="connsiteY19" fmla="*/ 181222 h 222899"/>
                <a:gd name="connsiteX20" fmla="*/ 63128 w 232599"/>
                <a:gd name="connsiteY20" fmla="*/ 219922 h 222899"/>
                <a:gd name="connsiteX21" fmla="*/ 54109 w 232599"/>
                <a:gd name="connsiteY21" fmla="*/ 222899 h 222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32599" h="222899">
                  <a:moveTo>
                    <a:pt x="54109" y="222899"/>
                  </a:moveTo>
                  <a:cubicBezTo>
                    <a:pt x="45546" y="222888"/>
                    <a:pt x="38615" y="215935"/>
                    <a:pt x="38627" y="207372"/>
                  </a:cubicBezTo>
                  <a:cubicBezTo>
                    <a:pt x="38629" y="205769"/>
                    <a:pt x="38881" y="204177"/>
                    <a:pt x="39371" y="202650"/>
                  </a:cubicBezTo>
                  <a:lnTo>
                    <a:pt x="59591" y="140046"/>
                  </a:lnTo>
                  <a:lnTo>
                    <a:pt x="6330" y="101375"/>
                  </a:lnTo>
                  <a:cubicBezTo>
                    <a:pt x="-572" y="96308"/>
                    <a:pt x="-2060" y="86605"/>
                    <a:pt x="3007" y="79703"/>
                  </a:cubicBezTo>
                  <a:cubicBezTo>
                    <a:pt x="5908" y="75751"/>
                    <a:pt x="10507" y="73404"/>
                    <a:pt x="15408" y="73374"/>
                  </a:cubicBezTo>
                  <a:lnTo>
                    <a:pt x="81343" y="73374"/>
                  </a:lnTo>
                  <a:lnTo>
                    <a:pt x="101976" y="10828"/>
                  </a:lnTo>
                  <a:cubicBezTo>
                    <a:pt x="104528" y="2689"/>
                    <a:pt x="113195" y="-1840"/>
                    <a:pt x="121334" y="712"/>
                  </a:cubicBezTo>
                  <a:cubicBezTo>
                    <a:pt x="126159" y="2224"/>
                    <a:pt x="129938" y="6003"/>
                    <a:pt x="131451" y="10828"/>
                  </a:cubicBezTo>
                  <a:lnTo>
                    <a:pt x="151877" y="73374"/>
                  </a:lnTo>
                  <a:lnTo>
                    <a:pt x="217134" y="73374"/>
                  </a:lnTo>
                  <a:cubicBezTo>
                    <a:pt x="225696" y="73395"/>
                    <a:pt x="232620" y="80353"/>
                    <a:pt x="232599" y="88915"/>
                  </a:cubicBezTo>
                  <a:cubicBezTo>
                    <a:pt x="232588" y="93838"/>
                    <a:pt x="230238" y="98462"/>
                    <a:pt x="226271" y="101375"/>
                  </a:cubicBezTo>
                  <a:lnTo>
                    <a:pt x="172922" y="140046"/>
                  </a:lnTo>
                  <a:lnTo>
                    <a:pt x="193554" y="202650"/>
                  </a:lnTo>
                  <a:cubicBezTo>
                    <a:pt x="196204" y="210759"/>
                    <a:pt x="191777" y="219477"/>
                    <a:pt x="183671" y="222127"/>
                  </a:cubicBezTo>
                  <a:cubicBezTo>
                    <a:pt x="178949" y="223669"/>
                    <a:pt x="173779" y="222849"/>
                    <a:pt x="169768" y="219922"/>
                  </a:cubicBezTo>
                  <a:lnTo>
                    <a:pt x="116418" y="181222"/>
                  </a:lnTo>
                  <a:lnTo>
                    <a:pt x="63128" y="219922"/>
                  </a:lnTo>
                  <a:cubicBezTo>
                    <a:pt x="60520" y="221859"/>
                    <a:pt x="57357" y="222902"/>
                    <a:pt x="54109" y="222899"/>
                  </a:cubicBezTo>
                  <a:close/>
                </a:path>
              </a:pathLst>
            </a:custGeom>
            <a:noFill/>
            <a:ln w="14585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05" name="Graphic 27">
            <a:extLst>
              <a:ext uri="{FF2B5EF4-FFF2-40B4-BE49-F238E27FC236}">
                <a16:creationId xmlns:a16="http://schemas.microsoft.com/office/drawing/2014/main" id="{0D182C7B-43DF-7345-9A5B-3C469DAC6342}"/>
              </a:ext>
            </a:extLst>
          </p:cNvPr>
          <p:cNvGrpSpPr/>
          <p:nvPr userDrawn="1"/>
        </p:nvGrpSpPr>
        <p:grpSpPr>
          <a:xfrm>
            <a:off x="7441868" y="4586235"/>
            <a:ext cx="384027" cy="375835"/>
            <a:chOff x="10000178" y="5976506"/>
            <a:chExt cx="536142" cy="536142"/>
          </a:xfrm>
          <a:solidFill>
            <a:schemeClr val="bg1"/>
          </a:solidFill>
        </p:grpSpPr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988D3909-519E-204F-AC6B-7B5D64BBC3E4}"/>
                </a:ext>
              </a:extLst>
            </p:cNvPr>
            <p:cNvSpPr/>
            <p:nvPr/>
          </p:nvSpPr>
          <p:spPr>
            <a:xfrm>
              <a:off x="10014955" y="5988870"/>
              <a:ext cx="520292" cy="520295"/>
            </a:xfrm>
            <a:custGeom>
              <a:avLst/>
              <a:gdLst>
                <a:gd name="connsiteX0" fmla="*/ 485845 w 520292"/>
                <a:gd name="connsiteY0" fmla="*/ 429550 h 520295"/>
                <a:gd name="connsiteX1" fmla="*/ 520292 w 520292"/>
                <a:gd name="connsiteY1" fmla="*/ 338205 h 520295"/>
                <a:gd name="connsiteX2" fmla="*/ 361326 w 520292"/>
                <a:gd name="connsiteY2" fmla="*/ 183595 h 520295"/>
                <a:gd name="connsiteX3" fmla="*/ 364208 w 520292"/>
                <a:gd name="connsiteY3" fmla="*/ 156084 h 520295"/>
                <a:gd name="connsiteX4" fmla="*/ 182087 w 520292"/>
                <a:gd name="connsiteY4" fmla="*/ 0 h 520295"/>
                <a:gd name="connsiteX5" fmla="*/ 0 w 520292"/>
                <a:gd name="connsiteY5" fmla="*/ 156084 h 520295"/>
                <a:gd name="connsiteX6" fmla="*/ 29588 w 520292"/>
                <a:gd name="connsiteY6" fmla="*/ 241297 h 520295"/>
                <a:gd name="connsiteX7" fmla="*/ 570 w 520292"/>
                <a:gd name="connsiteY7" fmla="*/ 317765 h 520295"/>
                <a:gd name="connsiteX8" fmla="*/ 5738 w 520292"/>
                <a:gd name="connsiteY8" fmla="*/ 328896 h 520295"/>
                <a:gd name="connsiteX9" fmla="*/ 8679 w 520292"/>
                <a:gd name="connsiteY9" fmla="*/ 329426 h 520295"/>
                <a:gd name="connsiteX10" fmla="*/ 12030 w 520292"/>
                <a:gd name="connsiteY10" fmla="*/ 328689 h 520295"/>
                <a:gd name="connsiteX11" fmla="*/ 94059 w 520292"/>
                <a:gd name="connsiteY11" fmla="*/ 292767 h 520295"/>
                <a:gd name="connsiteX12" fmla="*/ 158966 w 520292"/>
                <a:gd name="connsiteY12" fmla="*/ 310661 h 520295"/>
                <a:gd name="connsiteX13" fmla="*/ 156084 w 520292"/>
                <a:gd name="connsiteY13" fmla="*/ 338205 h 520295"/>
                <a:gd name="connsiteX14" fmla="*/ 338205 w 520292"/>
                <a:gd name="connsiteY14" fmla="*/ 494289 h 520295"/>
                <a:gd name="connsiteX15" fmla="*/ 419163 w 520292"/>
                <a:gd name="connsiteY15" fmla="*/ 478038 h 520295"/>
                <a:gd name="connsiteX16" fmla="*/ 507961 w 520292"/>
                <a:gd name="connsiteY16" fmla="*/ 519488 h 520295"/>
                <a:gd name="connsiteX17" fmla="*/ 519485 w 520292"/>
                <a:gd name="connsiteY17" fmla="*/ 515266 h 520295"/>
                <a:gd name="connsiteX18" fmla="*/ 519589 w 520292"/>
                <a:gd name="connsiteY18" fmla="*/ 508196 h 520295"/>
                <a:gd name="connsiteX19" fmla="*/ 90776 w 520292"/>
                <a:gd name="connsiteY19" fmla="*/ 275275 h 520295"/>
                <a:gd name="connsiteX20" fmla="*/ 24126 w 520292"/>
                <a:gd name="connsiteY20" fmla="*/ 304596 h 520295"/>
                <a:gd name="connsiteX21" fmla="*/ 47583 w 520292"/>
                <a:gd name="connsiteY21" fmla="*/ 242839 h 520295"/>
                <a:gd name="connsiteX22" fmla="*/ 46175 w 520292"/>
                <a:gd name="connsiteY22" fmla="*/ 234294 h 520295"/>
                <a:gd name="connsiteX23" fmla="*/ 17358 w 520292"/>
                <a:gd name="connsiteY23" fmla="*/ 156084 h 520295"/>
                <a:gd name="connsiteX24" fmla="*/ 182087 w 520292"/>
                <a:gd name="connsiteY24" fmla="*/ 17324 h 520295"/>
                <a:gd name="connsiteX25" fmla="*/ 346850 w 520292"/>
                <a:gd name="connsiteY25" fmla="*/ 156084 h 520295"/>
                <a:gd name="connsiteX26" fmla="*/ 342159 w 520292"/>
                <a:gd name="connsiteY26" fmla="*/ 188823 h 520295"/>
                <a:gd name="connsiteX27" fmla="*/ 182087 w 520292"/>
                <a:gd name="connsiteY27" fmla="*/ 294845 h 520295"/>
                <a:gd name="connsiteX28" fmla="*/ 170292 w 520292"/>
                <a:gd name="connsiteY28" fmla="*/ 294409 h 520295"/>
                <a:gd name="connsiteX29" fmla="*/ 98147 w 520292"/>
                <a:gd name="connsiteY29" fmla="*/ 275476 h 520295"/>
                <a:gd name="connsiteX30" fmla="*/ 90776 w 520292"/>
                <a:gd name="connsiteY30" fmla="*/ 275275 h 520295"/>
                <a:gd name="connsiteX31" fmla="*/ 422949 w 520292"/>
                <a:gd name="connsiteY31" fmla="*/ 460680 h 520295"/>
                <a:gd name="connsiteX32" fmla="*/ 415711 w 520292"/>
                <a:gd name="connsiteY32" fmla="*/ 460680 h 520295"/>
                <a:gd name="connsiteX33" fmla="*/ 338205 w 520292"/>
                <a:gd name="connsiteY33" fmla="*/ 476999 h 520295"/>
                <a:gd name="connsiteX34" fmla="*/ 173442 w 520292"/>
                <a:gd name="connsiteY34" fmla="*/ 338272 h 520295"/>
                <a:gd name="connsiteX35" fmla="*/ 176391 w 520292"/>
                <a:gd name="connsiteY35" fmla="*/ 312169 h 520295"/>
                <a:gd name="connsiteX36" fmla="*/ 182087 w 520292"/>
                <a:gd name="connsiteY36" fmla="*/ 312169 h 520295"/>
                <a:gd name="connsiteX37" fmla="*/ 197468 w 520292"/>
                <a:gd name="connsiteY37" fmla="*/ 311633 h 520295"/>
                <a:gd name="connsiteX38" fmla="*/ 202561 w 520292"/>
                <a:gd name="connsiteY38" fmla="*/ 311096 h 520295"/>
                <a:gd name="connsiteX39" fmla="*/ 212614 w 520292"/>
                <a:gd name="connsiteY39" fmla="*/ 309991 h 520295"/>
                <a:gd name="connsiteX40" fmla="*/ 218612 w 520292"/>
                <a:gd name="connsiteY40" fmla="*/ 308952 h 520295"/>
                <a:gd name="connsiteX41" fmla="*/ 227257 w 520292"/>
                <a:gd name="connsiteY41" fmla="*/ 307343 h 520295"/>
                <a:gd name="connsiteX42" fmla="*/ 233557 w 520292"/>
                <a:gd name="connsiteY42" fmla="*/ 305769 h 520295"/>
                <a:gd name="connsiteX43" fmla="*/ 241498 w 520292"/>
                <a:gd name="connsiteY43" fmla="*/ 303724 h 520295"/>
                <a:gd name="connsiteX44" fmla="*/ 247832 w 520292"/>
                <a:gd name="connsiteY44" fmla="*/ 301647 h 520295"/>
                <a:gd name="connsiteX45" fmla="*/ 255271 w 520292"/>
                <a:gd name="connsiteY45" fmla="*/ 299134 h 520295"/>
                <a:gd name="connsiteX46" fmla="*/ 261470 w 520292"/>
                <a:gd name="connsiteY46" fmla="*/ 296587 h 520295"/>
                <a:gd name="connsiteX47" fmla="*/ 268406 w 520292"/>
                <a:gd name="connsiteY47" fmla="*/ 293638 h 520295"/>
                <a:gd name="connsiteX48" fmla="*/ 274471 w 520292"/>
                <a:gd name="connsiteY48" fmla="*/ 290622 h 520295"/>
                <a:gd name="connsiteX49" fmla="*/ 281173 w 520292"/>
                <a:gd name="connsiteY49" fmla="*/ 287272 h 520295"/>
                <a:gd name="connsiteX50" fmla="*/ 287037 w 520292"/>
                <a:gd name="connsiteY50" fmla="*/ 283921 h 520295"/>
                <a:gd name="connsiteX51" fmla="*/ 293102 w 520292"/>
                <a:gd name="connsiteY51" fmla="*/ 280201 h 520295"/>
                <a:gd name="connsiteX52" fmla="*/ 298698 w 520292"/>
                <a:gd name="connsiteY52" fmla="*/ 276314 h 520295"/>
                <a:gd name="connsiteX53" fmla="*/ 304294 w 520292"/>
                <a:gd name="connsiteY53" fmla="*/ 272226 h 520295"/>
                <a:gd name="connsiteX54" fmla="*/ 309589 w 520292"/>
                <a:gd name="connsiteY54" fmla="*/ 267870 h 520295"/>
                <a:gd name="connsiteX55" fmla="*/ 314749 w 520292"/>
                <a:gd name="connsiteY55" fmla="*/ 263447 h 520295"/>
                <a:gd name="connsiteX56" fmla="*/ 319641 w 520292"/>
                <a:gd name="connsiteY56" fmla="*/ 258756 h 520295"/>
                <a:gd name="connsiteX57" fmla="*/ 324366 w 520292"/>
                <a:gd name="connsiteY57" fmla="*/ 253997 h 520295"/>
                <a:gd name="connsiteX58" fmla="*/ 328823 w 520292"/>
                <a:gd name="connsiteY58" fmla="*/ 248937 h 520295"/>
                <a:gd name="connsiteX59" fmla="*/ 333078 w 520292"/>
                <a:gd name="connsiteY59" fmla="*/ 243844 h 520295"/>
                <a:gd name="connsiteX60" fmla="*/ 337099 w 520292"/>
                <a:gd name="connsiteY60" fmla="*/ 238449 h 520295"/>
                <a:gd name="connsiteX61" fmla="*/ 340852 w 520292"/>
                <a:gd name="connsiteY61" fmla="*/ 233021 h 520295"/>
                <a:gd name="connsiteX62" fmla="*/ 344203 w 520292"/>
                <a:gd name="connsiteY62" fmla="*/ 227391 h 520295"/>
                <a:gd name="connsiteX63" fmla="*/ 347554 w 520292"/>
                <a:gd name="connsiteY63" fmla="*/ 221594 h 520295"/>
                <a:gd name="connsiteX64" fmla="*/ 350503 w 520292"/>
                <a:gd name="connsiteY64" fmla="*/ 215730 h 520295"/>
                <a:gd name="connsiteX65" fmla="*/ 353284 w 520292"/>
                <a:gd name="connsiteY65" fmla="*/ 209598 h 520295"/>
                <a:gd name="connsiteX66" fmla="*/ 355663 w 520292"/>
                <a:gd name="connsiteY66" fmla="*/ 203533 h 520295"/>
                <a:gd name="connsiteX67" fmla="*/ 356870 w 520292"/>
                <a:gd name="connsiteY67" fmla="*/ 200450 h 520295"/>
                <a:gd name="connsiteX68" fmla="*/ 503203 w 520292"/>
                <a:gd name="connsiteY68" fmla="*/ 338339 h 520295"/>
                <a:gd name="connsiteX69" fmla="*/ 469526 w 520292"/>
                <a:gd name="connsiteY69" fmla="*/ 422111 h 520295"/>
                <a:gd name="connsiteX70" fmla="*/ 467985 w 520292"/>
                <a:gd name="connsiteY70" fmla="*/ 431360 h 520295"/>
                <a:gd name="connsiteX71" fmla="*/ 494792 w 520292"/>
                <a:gd name="connsiteY71" fmla="*/ 494155 h 520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20292" h="520295">
                  <a:moveTo>
                    <a:pt x="485845" y="429550"/>
                  </a:moveTo>
                  <a:cubicBezTo>
                    <a:pt x="507924" y="404224"/>
                    <a:pt x="520152" y="371801"/>
                    <a:pt x="520292" y="338205"/>
                  </a:cubicBezTo>
                  <a:cubicBezTo>
                    <a:pt x="520292" y="259493"/>
                    <a:pt x="451231" y="193380"/>
                    <a:pt x="361326" y="183595"/>
                  </a:cubicBezTo>
                  <a:cubicBezTo>
                    <a:pt x="363240" y="174550"/>
                    <a:pt x="364205" y="165330"/>
                    <a:pt x="364208" y="156084"/>
                  </a:cubicBezTo>
                  <a:cubicBezTo>
                    <a:pt x="364208" y="70034"/>
                    <a:pt x="282513" y="0"/>
                    <a:pt x="182087" y="0"/>
                  </a:cubicBezTo>
                  <a:cubicBezTo>
                    <a:pt x="81661" y="0"/>
                    <a:pt x="0" y="70034"/>
                    <a:pt x="0" y="156084"/>
                  </a:cubicBezTo>
                  <a:cubicBezTo>
                    <a:pt x="138" y="186984"/>
                    <a:pt x="10547" y="216961"/>
                    <a:pt x="29588" y="241297"/>
                  </a:cubicBezTo>
                  <a:lnTo>
                    <a:pt x="570" y="317765"/>
                  </a:lnTo>
                  <a:cubicBezTo>
                    <a:pt x="-1077" y="322266"/>
                    <a:pt x="1236" y="327251"/>
                    <a:pt x="5738" y="328896"/>
                  </a:cubicBezTo>
                  <a:cubicBezTo>
                    <a:pt x="6680" y="329241"/>
                    <a:pt x="7675" y="329422"/>
                    <a:pt x="8679" y="329426"/>
                  </a:cubicBezTo>
                  <a:cubicBezTo>
                    <a:pt x="9833" y="329402"/>
                    <a:pt x="10972" y="329154"/>
                    <a:pt x="12030" y="328689"/>
                  </a:cubicBezTo>
                  <a:lnTo>
                    <a:pt x="94059" y="292767"/>
                  </a:lnTo>
                  <a:cubicBezTo>
                    <a:pt x="114514" y="302395"/>
                    <a:pt x="136467" y="308447"/>
                    <a:pt x="158966" y="310661"/>
                  </a:cubicBezTo>
                  <a:cubicBezTo>
                    <a:pt x="157053" y="319718"/>
                    <a:pt x="156087" y="328950"/>
                    <a:pt x="156084" y="338205"/>
                  </a:cubicBezTo>
                  <a:cubicBezTo>
                    <a:pt x="156084" y="424256"/>
                    <a:pt x="237779" y="494289"/>
                    <a:pt x="338205" y="494289"/>
                  </a:cubicBezTo>
                  <a:cubicBezTo>
                    <a:pt x="366007" y="494353"/>
                    <a:pt x="393538" y="488824"/>
                    <a:pt x="419163" y="478038"/>
                  </a:cubicBezTo>
                  <a:lnTo>
                    <a:pt x="507961" y="519488"/>
                  </a:lnTo>
                  <a:cubicBezTo>
                    <a:pt x="512311" y="521505"/>
                    <a:pt x="517468" y="519612"/>
                    <a:pt x="519485" y="515266"/>
                  </a:cubicBezTo>
                  <a:cubicBezTo>
                    <a:pt x="520520" y="513031"/>
                    <a:pt x="520560" y="510461"/>
                    <a:pt x="519589" y="508196"/>
                  </a:cubicBezTo>
                  <a:close/>
                  <a:moveTo>
                    <a:pt x="90776" y="275275"/>
                  </a:moveTo>
                  <a:lnTo>
                    <a:pt x="24126" y="304596"/>
                  </a:lnTo>
                  <a:lnTo>
                    <a:pt x="47583" y="242839"/>
                  </a:lnTo>
                  <a:cubicBezTo>
                    <a:pt x="48670" y="239943"/>
                    <a:pt x="48133" y="236688"/>
                    <a:pt x="46175" y="234294"/>
                  </a:cubicBezTo>
                  <a:cubicBezTo>
                    <a:pt x="27751" y="212378"/>
                    <a:pt x="17558" y="184715"/>
                    <a:pt x="17358" y="156084"/>
                  </a:cubicBezTo>
                  <a:cubicBezTo>
                    <a:pt x="17324" y="79584"/>
                    <a:pt x="91245" y="17324"/>
                    <a:pt x="182087" y="17324"/>
                  </a:cubicBezTo>
                  <a:cubicBezTo>
                    <a:pt x="272930" y="17324"/>
                    <a:pt x="346850" y="79584"/>
                    <a:pt x="346850" y="156084"/>
                  </a:cubicBezTo>
                  <a:cubicBezTo>
                    <a:pt x="346854" y="167165"/>
                    <a:pt x="345275" y="178189"/>
                    <a:pt x="342159" y="188823"/>
                  </a:cubicBezTo>
                  <a:cubicBezTo>
                    <a:pt x="317996" y="255577"/>
                    <a:pt x="252978" y="298640"/>
                    <a:pt x="182087" y="294845"/>
                  </a:cubicBezTo>
                  <a:cubicBezTo>
                    <a:pt x="178200" y="294845"/>
                    <a:pt x="174347" y="294845"/>
                    <a:pt x="170292" y="294409"/>
                  </a:cubicBezTo>
                  <a:cubicBezTo>
                    <a:pt x="145200" y="293110"/>
                    <a:pt x="120644" y="286665"/>
                    <a:pt x="98147" y="275476"/>
                  </a:cubicBezTo>
                  <a:cubicBezTo>
                    <a:pt x="95845" y="274307"/>
                    <a:pt x="93139" y="274234"/>
                    <a:pt x="90776" y="275275"/>
                  </a:cubicBezTo>
                  <a:close/>
                  <a:moveTo>
                    <a:pt x="422949" y="460680"/>
                  </a:moveTo>
                  <a:cubicBezTo>
                    <a:pt x="420650" y="459624"/>
                    <a:pt x="418010" y="459624"/>
                    <a:pt x="415711" y="460680"/>
                  </a:cubicBezTo>
                  <a:cubicBezTo>
                    <a:pt x="391320" y="471534"/>
                    <a:pt x="364902" y="477096"/>
                    <a:pt x="338205" y="476999"/>
                  </a:cubicBezTo>
                  <a:cubicBezTo>
                    <a:pt x="247329" y="476999"/>
                    <a:pt x="173442" y="414773"/>
                    <a:pt x="173442" y="338272"/>
                  </a:cubicBezTo>
                  <a:cubicBezTo>
                    <a:pt x="173433" y="329486"/>
                    <a:pt x="174422" y="320730"/>
                    <a:pt x="176391" y="312169"/>
                  </a:cubicBezTo>
                  <a:cubicBezTo>
                    <a:pt x="178301" y="312169"/>
                    <a:pt x="180177" y="312169"/>
                    <a:pt x="182087" y="312169"/>
                  </a:cubicBezTo>
                  <a:cubicBezTo>
                    <a:pt x="187281" y="312169"/>
                    <a:pt x="192408" y="312001"/>
                    <a:pt x="197468" y="311633"/>
                  </a:cubicBezTo>
                  <a:cubicBezTo>
                    <a:pt x="199210" y="311633"/>
                    <a:pt x="200819" y="311264"/>
                    <a:pt x="202561" y="311096"/>
                  </a:cubicBezTo>
                  <a:cubicBezTo>
                    <a:pt x="205912" y="310761"/>
                    <a:pt x="209263" y="310460"/>
                    <a:pt x="212614" y="309991"/>
                  </a:cubicBezTo>
                  <a:cubicBezTo>
                    <a:pt x="214624" y="309689"/>
                    <a:pt x="216601" y="309287"/>
                    <a:pt x="218612" y="308952"/>
                  </a:cubicBezTo>
                  <a:cubicBezTo>
                    <a:pt x="221494" y="308449"/>
                    <a:pt x="224442" y="307980"/>
                    <a:pt x="227257" y="307343"/>
                  </a:cubicBezTo>
                  <a:cubicBezTo>
                    <a:pt x="229402" y="306874"/>
                    <a:pt x="231446" y="306305"/>
                    <a:pt x="233557" y="305769"/>
                  </a:cubicBezTo>
                  <a:cubicBezTo>
                    <a:pt x="236204" y="305098"/>
                    <a:pt x="238885" y="304462"/>
                    <a:pt x="241498" y="303724"/>
                  </a:cubicBezTo>
                  <a:cubicBezTo>
                    <a:pt x="244112" y="302987"/>
                    <a:pt x="245721" y="302351"/>
                    <a:pt x="247832" y="301647"/>
                  </a:cubicBezTo>
                  <a:cubicBezTo>
                    <a:pt x="249943" y="300943"/>
                    <a:pt x="252824" y="300038"/>
                    <a:pt x="255271" y="299134"/>
                  </a:cubicBezTo>
                  <a:cubicBezTo>
                    <a:pt x="257717" y="298229"/>
                    <a:pt x="259392" y="297458"/>
                    <a:pt x="261470" y="296587"/>
                  </a:cubicBezTo>
                  <a:cubicBezTo>
                    <a:pt x="263547" y="295716"/>
                    <a:pt x="266161" y="294677"/>
                    <a:pt x="268406" y="293638"/>
                  </a:cubicBezTo>
                  <a:cubicBezTo>
                    <a:pt x="270651" y="292600"/>
                    <a:pt x="272461" y="291628"/>
                    <a:pt x="274471" y="290622"/>
                  </a:cubicBezTo>
                  <a:cubicBezTo>
                    <a:pt x="276482" y="289617"/>
                    <a:pt x="278861" y="288444"/>
                    <a:pt x="281173" y="287272"/>
                  </a:cubicBezTo>
                  <a:cubicBezTo>
                    <a:pt x="283485" y="286099"/>
                    <a:pt x="285094" y="284959"/>
                    <a:pt x="287037" y="283921"/>
                  </a:cubicBezTo>
                  <a:cubicBezTo>
                    <a:pt x="288981" y="282882"/>
                    <a:pt x="291125" y="281508"/>
                    <a:pt x="293102" y="280201"/>
                  </a:cubicBezTo>
                  <a:cubicBezTo>
                    <a:pt x="295079" y="278894"/>
                    <a:pt x="296855" y="277621"/>
                    <a:pt x="298698" y="276314"/>
                  </a:cubicBezTo>
                  <a:cubicBezTo>
                    <a:pt x="300541" y="275007"/>
                    <a:pt x="302485" y="273633"/>
                    <a:pt x="304294" y="272226"/>
                  </a:cubicBezTo>
                  <a:cubicBezTo>
                    <a:pt x="306104" y="270819"/>
                    <a:pt x="307846" y="269344"/>
                    <a:pt x="309589" y="267870"/>
                  </a:cubicBezTo>
                  <a:cubicBezTo>
                    <a:pt x="311331" y="266396"/>
                    <a:pt x="312939" y="264988"/>
                    <a:pt x="314749" y="263447"/>
                  </a:cubicBezTo>
                  <a:cubicBezTo>
                    <a:pt x="316558" y="261905"/>
                    <a:pt x="318100" y="260330"/>
                    <a:pt x="319641" y="258756"/>
                  </a:cubicBezTo>
                  <a:cubicBezTo>
                    <a:pt x="321183" y="257181"/>
                    <a:pt x="322992" y="255606"/>
                    <a:pt x="324366" y="253997"/>
                  </a:cubicBezTo>
                  <a:cubicBezTo>
                    <a:pt x="325740" y="252389"/>
                    <a:pt x="327382" y="250646"/>
                    <a:pt x="328823" y="248937"/>
                  </a:cubicBezTo>
                  <a:cubicBezTo>
                    <a:pt x="330263" y="247228"/>
                    <a:pt x="331704" y="245587"/>
                    <a:pt x="333078" y="243844"/>
                  </a:cubicBezTo>
                  <a:cubicBezTo>
                    <a:pt x="334452" y="242102"/>
                    <a:pt x="335792" y="240259"/>
                    <a:pt x="337099" y="238449"/>
                  </a:cubicBezTo>
                  <a:cubicBezTo>
                    <a:pt x="338406" y="236640"/>
                    <a:pt x="339679" y="234864"/>
                    <a:pt x="340852" y="233021"/>
                  </a:cubicBezTo>
                  <a:cubicBezTo>
                    <a:pt x="342025" y="231178"/>
                    <a:pt x="343231" y="229301"/>
                    <a:pt x="344203" y="227391"/>
                  </a:cubicBezTo>
                  <a:cubicBezTo>
                    <a:pt x="345175" y="225481"/>
                    <a:pt x="346415" y="223571"/>
                    <a:pt x="347554" y="221594"/>
                  </a:cubicBezTo>
                  <a:cubicBezTo>
                    <a:pt x="348693" y="219617"/>
                    <a:pt x="349565" y="217707"/>
                    <a:pt x="350503" y="215730"/>
                  </a:cubicBezTo>
                  <a:cubicBezTo>
                    <a:pt x="351441" y="213753"/>
                    <a:pt x="352413" y="211676"/>
                    <a:pt x="353284" y="209598"/>
                  </a:cubicBezTo>
                  <a:cubicBezTo>
                    <a:pt x="354155" y="207520"/>
                    <a:pt x="354926" y="205610"/>
                    <a:pt x="355663" y="203533"/>
                  </a:cubicBezTo>
                  <a:cubicBezTo>
                    <a:pt x="356065" y="202494"/>
                    <a:pt x="356534" y="201489"/>
                    <a:pt x="356870" y="200450"/>
                  </a:cubicBezTo>
                  <a:cubicBezTo>
                    <a:pt x="439502" y="208258"/>
                    <a:pt x="503203" y="267702"/>
                    <a:pt x="503203" y="338339"/>
                  </a:cubicBezTo>
                  <a:cubicBezTo>
                    <a:pt x="502945" y="369512"/>
                    <a:pt x="490915" y="399433"/>
                    <a:pt x="469526" y="422111"/>
                  </a:cubicBezTo>
                  <a:cubicBezTo>
                    <a:pt x="467248" y="424628"/>
                    <a:pt x="466645" y="428240"/>
                    <a:pt x="467985" y="431360"/>
                  </a:cubicBezTo>
                  <a:lnTo>
                    <a:pt x="494792" y="494155"/>
                  </a:lnTo>
                  <a:close/>
                </a:path>
              </a:pathLst>
            </a:custGeom>
            <a:grpFill/>
            <a:ln w="3333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07" name="Freeform 106">
              <a:extLst>
                <a:ext uri="{FF2B5EF4-FFF2-40B4-BE49-F238E27FC236}">
                  <a16:creationId xmlns:a16="http://schemas.microsoft.com/office/drawing/2014/main" id="{255263D3-78F9-E743-81D8-6BED80A832F5}"/>
                </a:ext>
              </a:extLst>
            </p:cNvPr>
            <p:cNvSpPr/>
            <p:nvPr/>
          </p:nvSpPr>
          <p:spPr>
            <a:xfrm>
              <a:off x="10132865" y="6069246"/>
              <a:ext cx="132939" cy="146308"/>
            </a:xfrm>
            <a:custGeom>
              <a:avLst/>
              <a:gdLst>
                <a:gd name="connsiteX0" fmla="*/ 103985 w 132939"/>
                <a:gd name="connsiteY0" fmla="*/ 128954 h 146308"/>
                <a:gd name="connsiteX1" fmla="*/ 86226 w 132939"/>
                <a:gd name="connsiteY1" fmla="*/ 140414 h 146308"/>
                <a:gd name="connsiteX2" fmla="*/ 63574 w 132939"/>
                <a:gd name="connsiteY2" fmla="*/ 144602 h 146308"/>
                <a:gd name="connsiteX3" fmla="*/ 36230 w 132939"/>
                <a:gd name="connsiteY3" fmla="*/ 138470 h 146308"/>
                <a:gd name="connsiteX4" fmla="*/ 16125 w 132939"/>
                <a:gd name="connsiteY4" fmla="*/ 122252 h 146308"/>
                <a:gd name="connsiteX5" fmla="*/ 4028 w 132939"/>
                <a:gd name="connsiteY5" fmla="*/ 99097 h 146308"/>
                <a:gd name="connsiteX6" fmla="*/ 4028 w 132939"/>
                <a:gd name="connsiteY6" fmla="*/ 45483 h 146308"/>
                <a:gd name="connsiteX7" fmla="*/ 16125 w 132939"/>
                <a:gd name="connsiteY7" fmla="*/ 22295 h 146308"/>
                <a:gd name="connsiteX8" fmla="*/ 36230 w 132939"/>
                <a:gd name="connsiteY8" fmla="*/ 6110 h 146308"/>
                <a:gd name="connsiteX9" fmla="*/ 63574 w 132939"/>
                <a:gd name="connsiteY9" fmla="*/ 12 h 146308"/>
                <a:gd name="connsiteX10" fmla="*/ 90883 w 132939"/>
                <a:gd name="connsiteY10" fmla="*/ 6110 h 146308"/>
                <a:gd name="connsiteX11" fmla="*/ 110989 w 132939"/>
                <a:gd name="connsiteY11" fmla="*/ 22295 h 146308"/>
                <a:gd name="connsiteX12" fmla="*/ 123085 w 132939"/>
                <a:gd name="connsiteY12" fmla="*/ 45517 h 146308"/>
                <a:gd name="connsiteX13" fmla="*/ 123990 w 132939"/>
                <a:gd name="connsiteY13" fmla="*/ 96283 h 146308"/>
                <a:gd name="connsiteX14" fmla="*/ 114541 w 132939"/>
                <a:gd name="connsiteY14" fmla="*/ 117360 h 146308"/>
                <a:gd name="connsiteX15" fmla="*/ 129553 w 132939"/>
                <a:gd name="connsiteY15" fmla="*/ 131970 h 146308"/>
                <a:gd name="connsiteX16" fmla="*/ 132032 w 132939"/>
                <a:gd name="connsiteY16" fmla="*/ 135119 h 146308"/>
                <a:gd name="connsiteX17" fmla="*/ 132937 w 132939"/>
                <a:gd name="connsiteY17" fmla="*/ 138906 h 146308"/>
                <a:gd name="connsiteX18" fmla="*/ 130792 w 132939"/>
                <a:gd name="connsiteY18" fmla="*/ 144033 h 146308"/>
                <a:gd name="connsiteX19" fmla="*/ 120941 w 132939"/>
                <a:gd name="connsiteY19" fmla="*/ 145206 h 146308"/>
                <a:gd name="connsiteX20" fmla="*/ 118294 w 132939"/>
                <a:gd name="connsiteY20" fmla="*/ 143061 h 146308"/>
                <a:gd name="connsiteX21" fmla="*/ 80529 w 132939"/>
                <a:gd name="connsiteY21" fmla="*/ 106402 h 146308"/>
                <a:gd name="connsiteX22" fmla="*/ 77882 w 132939"/>
                <a:gd name="connsiteY22" fmla="*/ 103286 h 146308"/>
                <a:gd name="connsiteX23" fmla="*/ 76877 w 132939"/>
                <a:gd name="connsiteY23" fmla="*/ 99734 h 146308"/>
                <a:gd name="connsiteX24" fmla="*/ 79122 w 132939"/>
                <a:gd name="connsiteY24" fmla="*/ 93937 h 146308"/>
                <a:gd name="connsiteX25" fmla="*/ 84785 w 132939"/>
                <a:gd name="connsiteY25" fmla="*/ 91591 h 146308"/>
                <a:gd name="connsiteX26" fmla="*/ 91487 w 132939"/>
                <a:gd name="connsiteY26" fmla="*/ 94942 h 146308"/>
                <a:gd name="connsiteX27" fmla="*/ 101539 w 132939"/>
                <a:gd name="connsiteY27" fmla="*/ 104693 h 146308"/>
                <a:gd name="connsiteX28" fmla="*/ 106532 w 132939"/>
                <a:gd name="connsiteY28" fmla="*/ 89145 h 146308"/>
                <a:gd name="connsiteX29" fmla="*/ 105728 w 132939"/>
                <a:gd name="connsiteY29" fmla="*/ 52051 h 146308"/>
                <a:gd name="connsiteX30" fmla="*/ 98088 w 132939"/>
                <a:gd name="connsiteY30" fmla="*/ 33722 h 146308"/>
                <a:gd name="connsiteX31" fmla="*/ 84383 w 132939"/>
                <a:gd name="connsiteY31" fmla="*/ 20486 h 146308"/>
                <a:gd name="connsiteX32" fmla="*/ 63775 w 132939"/>
                <a:gd name="connsiteY32" fmla="*/ 15392 h 146308"/>
                <a:gd name="connsiteX33" fmla="*/ 43133 w 132939"/>
                <a:gd name="connsiteY33" fmla="*/ 20452 h 146308"/>
                <a:gd name="connsiteX34" fmla="*/ 29395 w 132939"/>
                <a:gd name="connsiteY34" fmla="*/ 33856 h 146308"/>
                <a:gd name="connsiteX35" fmla="*/ 21788 w 132939"/>
                <a:gd name="connsiteY35" fmla="*/ 52185 h 146308"/>
                <a:gd name="connsiteX36" fmla="*/ 21788 w 132939"/>
                <a:gd name="connsiteY36" fmla="*/ 92764 h 146308"/>
                <a:gd name="connsiteX37" fmla="*/ 29395 w 132939"/>
                <a:gd name="connsiteY37" fmla="*/ 111060 h 146308"/>
                <a:gd name="connsiteX38" fmla="*/ 43133 w 132939"/>
                <a:gd name="connsiteY38" fmla="*/ 124296 h 146308"/>
                <a:gd name="connsiteX39" fmla="*/ 63775 w 132939"/>
                <a:gd name="connsiteY39" fmla="*/ 129389 h 146308"/>
                <a:gd name="connsiteX40" fmla="*/ 80228 w 132939"/>
                <a:gd name="connsiteY40" fmla="*/ 126407 h 146308"/>
                <a:gd name="connsiteX41" fmla="*/ 92626 w 132939"/>
                <a:gd name="connsiteY41" fmla="*/ 118097 h 146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32939" h="146308">
                  <a:moveTo>
                    <a:pt x="103985" y="128954"/>
                  </a:moveTo>
                  <a:cubicBezTo>
                    <a:pt x="98829" y="133844"/>
                    <a:pt x="92806" y="137731"/>
                    <a:pt x="86226" y="140414"/>
                  </a:cubicBezTo>
                  <a:cubicBezTo>
                    <a:pt x="79025" y="143290"/>
                    <a:pt x="71327" y="144713"/>
                    <a:pt x="63574" y="144602"/>
                  </a:cubicBezTo>
                  <a:cubicBezTo>
                    <a:pt x="54099" y="144780"/>
                    <a:pt x="44722" y="142676"/>
                    <a:pt x="36230" y="138470"/>
                  </a:cubicBezTo>
                  <a:cubicBezTo>
                    <a:pt x="28432" y="134586"/>
                    <a:pt x="21572" y="129052"/>
                    <a:pt x="16125" y="122252"/>
                  </a:cubicBezTo>
                  <a:cubicBezTo>
                    <a:pt x="10676" y="115361"/>
                    <a:pt x="6572" y="107506"/>
                    <a:pt x="4028" y="99097"/>
                  </a:cubicBezTo>
                  <a:cubicBezTo>
                    <a:pt x="-1343" y="81630"/>
                    <a:pt x="-1343" y="62951"/>
                    <a:pt x="4028" y="45483"/>
                  </a:cubicBezTo>
                  <a:cubicBezTo>
                    <a:pt x="6576" y="37066"/>
                    <a:pt x="10679" y="29201"/>
                    <a:pt x="16125" y="22295"/>
                  </a:cubicBezTo>
                  <a:cubicBezTo>
                    <a:pt x="21573" y="15505"/>
                    <a:pt x="28434" y="9982"/>
                    <a:pt x="36230" y="6110"/>
                  </a:cubicBezTo>
                  <a:cubicBezTo>
                    <a:pt x="44725" y="1916"/>
                    <a:pt x="54102" y="-176"/>
                    <a:pt x="63574" y="12"/>
                  </a:cubicBezTo>
                  <a:cubicBezTo>
                    <a:pt x="73034" y="-168"/>
                    <a:pt x="82399" y="1923"/>
                    <a:pt x="90883" y="6110"/>
                  </a:cubicBezTo>
                  <a:cubicBezTo>
                    <a:pt x="98680" y="9982"/>
                    <a:pt x="105541" y="15505"/>
                    <a:pt x="110989" y="22295"/>
                  </a:cubicBezTo>
                  <a:cubicBezTo>
                    <a:pt x="116426" y="29218"/>
                    <a:pt x="120528" y="37093"/>
                    <a:pt x="123085" y="45517"/>
                  </a:cubicBezTo>
                  <a:cubicBezTo>
                    <a:pt x="128164" y="62015"/>
                    <a:pt x="128478" y="79613"/>
                    <a:pt x="123990" y="96283"/>
                  </a:cubicBezTo>
                  <a:cubicBezTo>
                    <a:pt x="121956" y="103757"/>
                    <a:pt x="118768" y="110868"/>
                    <a:pt x="114541" y="117360"/>
                  </a:cubicBezTo>
                  <a:lnTo>
                    <a:pt x="129553" y="131970"/>
                  </a:lnTo>
                  <a:cubicBezTo>
                    <a:pt x="130521" y="132900"/>
                    <a:pt x="131355" y="133960"/>
                    <a:pt x="132032" y="135119"/>
                  </a:cubicBezTo>
                  <a:cubicBezTo>
                    <a:pt x="132656" y="136282"/>
                    <a:pt x="132967" y="137587"/>
                    <a:pt x="132937" y="138906"/>
                  </a:cubicBezTo>
                  <a:cubicBezTo>
                    <a:pt x="132908" y="140827"/>
                    <a:pt x="132140" y="142663"/>
                    <a:pt x="130792" y="144033"/>
                  </a:cubicBezTo>
                  <a:cubicBezTo>
                    <a:pt x="128128" y="146556"/>
                    <a:pt x="124123" y="147033"/>
                    <a:pt x="120941" y="145206"/>
                  </a:cubicBezTo>
                  <a:cubicBezTo>
                    <a:pt x="119990" y="144579"/>
                    <a:pt x="119104" y="143861"/>
                    <a:pt x="118294" y="143061"/>
                  </a:cubicBezTo>
                  <a:close/>
                  <a:moveTo>
                    <a:pt x="80529" y="106402"/>
                  </a:moveTo>
                  <a:cubicBezTo>
                    <a:pt x="79539" y="105460"/>
                    <a:pt x="78652" y="104416"/>
                    <a:pt x="77882" y="103286"/>
                  </a:cubicBezTo>
                  <a:cubicBezTo>
                    <a:pt x="77200" y="102229"/>
                    <a:pt x="76850" y="100992"/>
                    <a:pt x="76877" y="99734"/>
                  </a:cubicBezTo>
                  <a:cubicBezTo>
                    <a:pt x="76814" y="97578"/>
                    <a:pt x="77623" y="95488"/>
                    <a:pt x="79122" y="93937"/>
                  </a:cubicBezTo>
                  <a:cubicBezTo>
                    <a:pt x="80589" y="92385"/>
                    <a:pt x="82649" y="91532"/>
                    <a:pt x="84785" y="91591"/>
                  </a:cubicBezTo>
                  <a:cubicBezTo>
                    <a:pt x="87384" y="91741"/>
                    <a:pt x="89807" y="92953"/>
                    <a:pt x="91487" y="94942"/>
                  </a:cubicBezTo>
                  <a:lnTo>
                    <a:pt x="101539" y="104693"/>
                  </a:lnTo>
                  <a:cubicBezTo>
                    <a:pt x="103901" y="99761"/>
                    <a:pt x="105580" y="94530"/>
                    <a:pt x="106532" y="89145"/>
                  </a:cubicBezTo>
                  <a:cubicBezTo>
                    <a:pt x="108829" y="76858"/>
                    <a:pt x="108556" y="64227"/>
                    <a:pt x="105728" y="52051"/>
                  </a:cubicBezTo>
                  <a:cubicBezTo>
                    <a:pt x="104261" y="45545"/>
                    <a:pt x="101676" y="39343"/>
                    <a:pt x="98088" y="33722"/>
                  </a:cubicBezTo>
                  <a:cubicBezTo>
                    <a:pt x="94600" y="28312"/>
                    <a:pt x="89910" y="23782"/>
                    <a:pt x="84383" y="20486"/>
                  </a:cubicBezTo>
                  <a:cubicBezTo>
                    <a:pt x="78110" y="16930"/>
                    <a:pt x="70981" y="15168"/>
                    <a:pt x="63775" y="15392"/>
                  </a:cubicBezTo>
                  <a:cubicBezTo>
                    <a:pt x="56562" y="15165"/>
                    <a:pt x="49424" y="16915"/>
                    <a:pt x="43133" y="20452"/>
                  </a:cubicBezTo>
                  <a:cubicBezTo>
                    <a:pt x="37584" y="23805"/>
                    <a:pt x="32884" y="28392"/>
                    <a:pt x="29395" y="33856"/>
                  </a:cubicBezTo>
                  <a:cubicBezTo>
                    <a:pt x="25806" y="39473"/>
                    <a:pt x="23232" y="45677"/>
                    <a:pt x="21788" y="52185"/>
                  </a:cubicBezTo>
                  <a:cubicBezTo>
                    <a:pt x="18661" y="65531"/>
                    <a:pt x="18661" y="79419"/>
                    <a:pt x="21788" y="92764"/>
                  </a:cubicBezTo>
                  <a:cubicBezTo>
                    <a:pt x="23223" y="99264"/>
                    <a:pt x="25798" y="105459"/>
                    <a:pt x="29395" y="111060"/>
                  </a:cubicBezTo>
                  <a:cubicBezTo>
                    <a:pt x="32885" y="116479"/>
                    <a:pt x="37589" y="121010"/>
                    <a:pt x="43133" y="124296"/>
                  </a:cubicBezTo>
                  <a:cubicBezTo>
                    <a:pt x="49414" y="127859"/>
                    <a:pt x="56557" y="129622"/>
                    <a:pt x="63775" y="129389"/>
                  </a:cubicBezTo>
                  <a:cubicBezTo>
                    <a:pt x="69402" y="129491"/>
                    <a:pt x="74994" y="128478"/>
                    <a:pt x="80228" y="126407"/>
                  </a:cubicBezTo>
                  <a:cubicBezTo>
                    <a:pt x="84871" y="124487"/>
                    <a:pt x="89085" y="121662"/>
                    <a:pt x="92626" y="118097"/>
                  </a:cubicBezTo>
                  <a:close/>
                </a:path>
              </a:pathLst>
            </a:custGeom>
            <a:grpFill/>
            <a:ln w="3333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FD64392F-F198-4243-90B0-1A3DC6707EB4}"/>
                </a:ext>
              </a:extLst>
            </p:cNvPr>
            <p:cNvSpPr/>
            <p:nvPr/>
          </p:nvSpPr>
          <p:spPr>
            <a:xfrm>
              <a:off x="10293007" y="6269073"/>
              <a:ext cx="120303" cy="144737"/>
            </a:xfrm>
            <a:custGeom>
              <a:avLst/>
              <a:gdLst>
                <a:gd name="connsiteX0" fmla="*/ 17262 w 120303"/>
                <a:gd name="connsiteY0" fmla="*/ 138256 h 144737"/>
                <a:gd name="connsiteX1" fmla="*/ 14246 w 120303"/>
                <a:gd name="connsiteY1" fmla="*/ 142847 h 144737"/>
                <a:gd name="connsiteX2" fmla="*/ 8550 w 120303"/>
                <a:gd name="connsiteY2" fmla="*/ 144723 h 144737"/>
                <a:gd name="connsiteX3" fmla="*/ 2551 w 120303"/>
                <a:gd name="connsiteY3" fmla="*/ 142713 h 144737"/>
                <a:gd name="connsiteX4" fmla="*/ 5 w 120303"/>
                <a:gd name="connsiteY4" fmla="*/ 137318 h 144737"/>
                <a:gd name="connsiteX5" fmla="*/ 1010 w 120303"/>
                <a:gd name="connsiteY5" fmla="*/ 132727 h 144737"/>
                <a:gd name="connsiteX6" fmla="*/ 2451 w 120303"/>
                <a:gd name="connsiteY6" fmla="*/ 128505 h 144737"/>
                <a:gd name="connsiteX7" fmla="*/ 47353 w 120303"/>
                <a:gd name="connsiteY7" fmla="*/ 10788 h 144737"/>
                <a:gd name="connsiteX8" fmla="*/ 51910 w 120303"/>
                <a:gd name="connsiteY8" fmla="*/ 3115 h 144737"/>
                <a:gd name="connsiteX9" fmla="*/ 68396 w 120303"/>
                <a:gd name="connsiteY9" fmla="*/ 3115 h 144737"/>
                <a:gd name="connsiteX10" fmla="*/ 72954 w 120303"/>
                <a:gd name="connsiteY10" fmla="*/ 10788 h 144737"/>
                <a:gd name="connsiteX11" fmla="*/ 117889 w 120303"/>
                <a:gd name="connsiteY11" fmla="*/ 128505 h 144737"/>
                <a:gd name="connsiteX12" fmla="*/ 119296 w 120303"/>
                <a:gd name="connsiteY12" fmla="*/ 132727 h 144737"/>
                <a:gd name="connsiteX13" fmla="*/ 120302 w 120303"/>
                <a:gd name="connsiteY13" fmla="*/ 137318 h 144737"/>
                <a:gd name="connsiteX14" fmla="*/ 117788 w 120303"/>
                <a:gd name="connsiteY14" fmla="*/ 142713 h 144737"/>
                <a:gd name="connsiteX15" fmla="*/ 111790 w 120303"/>
                <a:gd name="connsiteY15" fmla="*/ 144723 h 144737"/>
                <a:gd name="connsiteX16" fmla="*/ 106094 w 120303"/>
                <a:gd name="connsiteY16" fmla="*/ 142847 h 144737"/>
                <a:gd name="connsiteX17" fmla="*/ 103045 w 120303"/>
                <a:gd name="connsiteY17" fmla="*/ 138256 h 144737"/>
                <a:gd name="connsiteX18" fmla="*/ 93696 w 120303"/>
                <a:gd name="connsiteY18" fmla="*/ 113191 h 144737"/>
                <a:gd name="connsiteX19" fmla="*/ 26678 w 120303"/>
                <a:gd name="connsiteY19" fmla="*/ 113191 h 144737"/>
                <a:gd name="connsiteX20" fmla="*/ 60354 w 120303"/>
                <a:gd name="connsiteY20" fmla="*/ 19501 h 144737"/>
                <a:gd name="connsiteX21" fmla="*/ 59952 w 120303"/>
                <a:gd name="connsiteY21" fmla="*/ 19501 h 144737"/>
                <a:gd name="connsiteX22" fmla="*/ 32207 w 120303"/>
                <a:gd name="connsiteY22" fmla="*/ 97744 h 144737"/>
                <a:gd name="connsiteX23" fmla="*/ 88301 w 120303"/>
                <a:gd name="connsiteY23" fmla="*/ 97744 h 144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0303" h="144737">
                  <a:moveTo>
                    <a:pt x="17262" y="138256"/>
                  </a:moveTo>
                  <a:cubicBezTo>
                    <a:pt x="16635" y="140005"/>
                    <a:pt x="15601" y="141577"/>
                    <a:pt x="14246" y="142847"/>
                  </a:cubicBezTo>
                  <a:cubicBezTo>
                    <a:pt x="12652" y="144167"/>
                    <a:pt x="10617" y="144837"/>
                    <a:pt x="8550" y="144723"/>
                  </a:cubicBezTo>
                  <a:cubicBezTo>
                    <a:pt x="6377" y="144774"/>
                    <a:pt x="4255" y="144063"/>
                    <a:pt x="2551" y="142713"/>
                  </a:cubicBezTo>
                  <a:cubicBezTo>
                    <a:pt x="874" y="141436"/>
                    <a:pt x="-76" y="139422"/>
                    <a:pt x="5" y="137318"/>
                  </a:cubicBezTo>
                  <a:cubicBezTo>
                    <a:pt x="80" y="135743"/>
                    <a:pt x="420" y="134191"/>
                    <a:pt x="1010" y="132727"/>
                  </a:cubicBezTo>
                  <a:cubicBezTo>
                    <a:pt x="1680" y="130851"/>
                    <a:pt x="2183" y="129376"/>
                    <a:pt x="2451" y="128505"/>
                  </a:cubicBezTo>
                  <a:lnTo>
                    <a:pt x="47353" y="10788"/>
                  </a:lnTo>
                  <a:cubicBezTo>
                    <a:pt x="48311" y="7937"/>
                    <a:pt x="49866" y="5321"/>
                    <a:pt x="51910" y="3115"/>
                  </a:cubicBezTo>
                  <a:cubicBezTo>
                    <a:pt x="56621" y="-1038"/>
                    <a:pt x="63685" y="-1038"/>
                    <a:pt x="68396" y="3115"/>
                  </a:cubicBezTo>
                  <a:cubicBezTo>
                    <a:pt x="70440" y="5321"/>
                    <a:pt x="71995" y="7937"/>
                    <a:pt x="72954" y="10788"/>
                  </a:cubicBezTo>
                  <a:lnTo>
                    <a:pt x="117889" y="128505"/>
                  </a:lnTo>
                  <a:cubicBezTo>
                    <a:pt x="118157" y="129443"/>
                    <a:pt x="118626" y="130851"/>
                    <a:pt x="119296" y="132727"/>
                  </a:cubicBezTo>
                  <a:cubicBezTo>
                    <a:pt x="119900" y="134185"/>
                    <a:pt x="120238" y="135740"/>
                    <a:pt x="120302" y="137318"/>
                  </a:cubicBezTo>
                  <a:cubicBezTo>
                    <a:pt x="120352" y="139409"/>
                    <a:pt x="119424" y="141406"/>
                    <a:pt x="117788" y="142713"/>
                  </a:cubicBezTo>
                  <a:cubicBezTo>
                    <a:pt x="116080" y="144053"/>
                    <a:pt x="113962" y="144764"/>
                    <a:pt x="111790" y="144723"/>
                  </a:cubicBezTo>
                  <a:cubicBezTo>
                    <a:pt x="109723" y="144847"/>
                    <a:pt x="107682" y="144177"/>
                    <a:pt x="106094" y="142847"/>
                  </a:cubicBezTo>
                  <a:cubicBezTo>
                    <a:pt x="104727" y="141580"/>
                    <a:pt x="103685" y="140005"/>
                    <a:pt x="103045" y="138256"/>
                  </a:cubicBezTo>
                  <a:lnTo>
                    <a:pt x="93696" y="113191"/>
                  </a:lnTo>
                  <a:lnTo>
                    <a:pt x="26678" y="113191"/>
                  </a:lnTo>
                  <a:close/>
                  <a:moveTo>
                    <a:pt x="60354" y="19501"/>
                  </a:moveTo>
                  <a:lnTo>
                    <a:pt x="59952" y="19501"/>
                  </a:lnTo>
                  <a:lnTo>
                    <a:pt x="32207" y="97744"/>
                  </a:lnTo>
                  <a:lnTo>
                    <a:pt x="88301" y="97744"/>
                  </a:lnTo>
                  <a:close/>
                </a:path>
              </a:pathLst>
            </a:custGeom>
            <a:grpFill/>
            <a:ln w="3333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09" name="Graphic 29">
            <a:extLst>
              <a:ext uri="{FF2B5EF4-FFF2-40B4-BE49-F238E27FC236}">
                <a16:creationId xmlns:a16="http://schemas.microsoft.com/office/drawing/2014/main" id="{409E551D-36BD-4D42-BA4F-4A7DF7C3D7CA}"/>
              </a:ext>
            </a:extLst>
          </p:cNvPr>
          <p:cNvGrpSpPr/>
          <p:nvPr userDrawn="1"/>
        </p:nvGrpSpPr>
        <p:grpSpPr>
          <a:xfrm>
            <a:off x="5689373" y="1415167"/>
            <a:ext cx="311374" cy="304732"/>
            <a:chOff x="7553511" y="1452871"/>
            <a:chExt cx="434711" cy="434711"/>
          </a:xfrm>
          <a:solidFill>
            <a:schemeClr val="bg1"/>
          </a:solidFill>
        </p:grpSpPr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C1604329-2110-D846-8EF4-E1250E7C8ED6}"/>
                </a:ext>
              </a:extLst>
            </p:cNvPr>
            <p:cNvSpPr/>
            <p:nvPr/>
          </p:nvSpPr>
          <p:spPr>
            <a:xfrm>
              <a:off x="7582995" y="1794934"/>
              <a:ext cx="383186" cy="71319"/>
            </a:xfrm>
            <a:custGeom>
              <a:avLst/>
              <a:gdLst>
                <a:gd name="connsiteX0" fmla="*/ 369906 w 383186"/>
                <a:gd name="connsiteY0" fmla="*/ 35592 h 71319"/>
                <a:gd name="connsiteX1" fmla="*/ 348496 w 383186"/>
                <a:gd name="connsiteY1" fmla="*/ 56947 h 71319"/>
                <a:gd name="connsiteX2" fmla="*/ 327141 w 383186"/>
                <a:gd name="connsiteY2" fmla="*/ 35538 h 71319"/>
                <a:gd name="connsiteX3" fmla="*/ 348524 w 383186"/>
                <a:gd name="connsiteY3" fmla="*/ 14182 h 71319"/>
                <a:gd name="connsiteX4" fmla="*/ 369906 w 383186"/>
                <a:gd name="connsiteY4" fmla="*/ 35592 h 71319"/>
                <a:gd name="connsiteX5" fmla="*/ 13334 w 383186"/>
                <a:gd name="connsiteY5" fmla="*/ 35592 h 71319"/>
                <a:gd name="connsiteX6" fmla="*/ 34717 w 383186"/>
                <a:gd name="connsiteY6" fmla="*/ 14155 h 71319"/>
                <a:gd name="connsiteX7" fmla="*/ 56153 w 383186"/>
                <a:gd name="connsiteY7" fmla="*/ 35538 h 71319"/>
                <a:gd name="connsiteX8" fmla="*/ 34771 w 383186"/>
                <a:gd name="connsiteY8" fmla="*/ 56974 h 71319"/>
                <a:gd name="connsiteX9" fmla="*/ 34717 w 383186"/>
                <a:gd name="connsiteY9" fmla="*/ 56974 h 71319"/>
                <a:gd name="connsiteX10" fmla="*/ 13334 w 383186"/>
                <a:gd name="connsiteY10" fmla="*/ 35592 h 71319"/>
                <a:gd name="connsiteX11" fmla="*/ 163282 w 383186"/>
                <a:gd name="connsiteY11" fmla="*/ 56974 h 71319"/>
                <a:gd name="connsiteX12" fmla="*/ 63054 w 383186"/>
                <a:gd name="connsiteY12" fmla="*/ 56974 h 71319"/>
                <a:gd name="connsiteX13" fmla="*/ 63054 w 383186"/>
                <a:gd name="connsiteY13" fmla="*/ 14182 h 71319"/>
                <a:gd name="connsiteX14" fmla="*/ 163228 w 383186"/>
                <a:gd name="connsiteY14" fmla="*/ 14182 h 71319"/>
                <a:gd name="connsiteX15" fmla="*/ 163228 w 383186"/>
                <a:gd name="connsiteY15" fmla="*/ 56974 h 71319"/>
                <a:gd name="connsiteX16" fmla="*/ 219931 w 383186"/>
                <a:gd name="connsiteY16" fmla="*/ 14264 h 71319"/>
                <a:gd name="connsiteX17" fmla="*/ 320159 w 383186"/>
                <a:gd name="connsiteY17" fmla="*/ 14264 h 71319"/>
                <a:gd name="connsiteX18" fmla="*/ 320159 w 383186"/>
                <a:gd name="connsiteY18" fmla="*/ 57056 h 71319"/>
                <a:gd name="connsiteX19" fmla="*/ 219931 w 383186"/>
                <a:gd name="connsiteY19" fmla="*/ 57056 h 71319"/>
                <a:gd name="connsiteX20" fmla="*/ 219931 w 383186"/>
                <a:gd name="connsiteY20" fmla="*/ 14264 h 71319"/>
                <a:gd name="connsiteX21" fmla="*/ 213002 w 383186"/>
                <a:gd name="connsiteY21" fmla="*/ 35673 h 71319"/>
                <a:gd name="connsiteX22" fmla="*/ 191593 w 383186"/>
                <a:gd name="connsiteY22" fmla="*/ 57083 h 71319"/>
                <a:gd name="connsiteX23" fmla="*/ 170183 w 383186"/>
                <a:gd name="connsiteY23" fmla="*/ 35673 h 71319"/>
                <a:gd name="connsiteX24" fmla="*/ 191593 w 383186"/>
                <a:gd name="connsiteY24" fmla="*/ 14264 h 71319"/>
                <a:gd name="connsiteX25" fmla="*/ 213002 w 383186"/>
                <a:gd name="connsiteY25" fmla="*/ 35673 h 71319"/>
                <a:gd name="connsiteX26" fmla="*/ 34689 w 383186"/>
                <a:gd name="connsiteY26" fmla="*/ 0 h 71319"/>
                <a:gd name="connsiteX27" fmla="*/ 14 w 383186"/>
                <a:gd name="connsiteY27" fmla="*/ 36643 h 71319"/>
                <a:gd name="connsiteX28" fmla="*/ 34689 w 383186"/>
                <a:gd name="connsiteY28" fmla="*/ 71320 h 71319"/>
                <a:gd name="connsiteX29" fmla="*/ 348496 w 383186"/>
                <a:gd name="connsiteY29" fmla="*/ 71320 h 71319"/>
                <a:gd name="connsiteX30" fmla="*/ 383173 w 383186"/>
                <a:gd name="connsiteY30" fmla="*/ 34676 h 71319"/>
                <a:gd name="connsiteX31" fmla="*/ 348496 w 383186"/>
                <a:gd name="connsiteY31" fmla="*/ 0 h 7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83186" h="71319">
                  <a:moveTo>
                    <a:pt x="369906" y="35592"/>
                  </a:moveTo>
                  <a:cubicBezTo>
                    <a:pt x="369890" y="47400"/>
                    <a:pt x="360304" y="56963"/>
                    <a:pt x="348496" y="56947"/>
                  </a:cubicBezTo>
                  <a:cubicBezTo>
                    <a:pt x="336689" y="56931"/>
                    <a:pt x="327125" y="47345"/>
                    <a:pt x="327141" y="35538"/>
                  </a:cubicBezTo>
                  <a:cubicBezTo>
                    <a:pt x="327158" y="23738"/>
                    <a:pt x="336724" y="14182"/>
                    <a:pt x="348524" y="14182"/>
                  </a:cubicBezTo>
                  <a:cubicBezTo>
                    <a:pt x="360337" y="14199"/>
                    <a:pt x="369906" y="23779"/>
                    <a:pt x="369906" y="35592"/>
                  </a:cubicBezTo>
                  <a:moveTo>
                    <a:pt x="13334" y="35592"/>
                  </a:moveTo>
                  <a:cubicBezTo>
                    <a:pt x="13319" y="23768"/>
                    <a:pt x="22892" y="14172"/>
                    <a:pt x="34717" y="14155"/>
                  </a:cubicBezTo>
                  <a:cubicBezTo>
                    <a:pt x="46541" y="14139"/>
                    <a:pt x="56138" y="23713"/>
                    <a:pt x="56153" y="35538"/>
                  </a:cubicBezTo>
                  <a:cubicBezTo>
                    <a:pt x="56168" y="47362"/>
                    <a:pt x="46595" y="56958"/>
                    <a:pt x="34771" y="56974"/>
                  </a:cubicBezTo>
                  <a:cubicBezTo>
                    <a:pt x="34753" y="56974"/>
                    <a:pt x="34735" y="56974"/>
                    <a:pt x="34717" y="56974"/>
                  </a:cubicBezTo>
                  <a:cubicBezTo>
                    <a:pt x="22914" y="56958"/>
                    <a:pt x="13349" y="47394"/>
                    <a:pt x="13334" y="35592"/>
                  </a:cubicBezTo>
                  <a:moveTo>
                    <a:pt x="163282" y="56974"/>
                  </a:moveTo>
                  <a:lnTo>
                    <a:pt x="63054" y="56974"/>
                  </a:lnTo>
                  <a:cubicBezTo>
                    <a:pt x="72801" y="44376"/>
                    <a:pt x="72801" y="26781"/>
                    <a:pt x="63054" y="14182"/>
                  </a:cubicBezTo>
                  <a:lnTo>
                    <a:pt x="163228" y="14182"/>
                  </a:lnTo>
                  <a:cubicBezTo>
                    <a:pt x="153500" y="26789"/>
                    <a:pt x="153500" y="44368"/>
                    <a:pt x="163228" y="56974"/>
                  </a:cubicBezTo>
                  <a:moveTo>
                    <a:pt x="219931" y="14264"/>
                  </a:moveTo>
                  <a:lnTo>
                    <a:pt x="320159" y="14264"/>
                  </a:lnTo>
                  <a:cubicBezTo>
                    <a:pt x="310372" y="26849"/>
                    <a:pt x="310372" y="44471"/>
                    <a:pt x="320159" y="57056"/>
                  </a:cubicBezTo>
                  <a:lnTo>
                    <a:pt x="219931" y="57056"/>
                  </a:lnTo>
                  <a:cubicBezTo>
                    <a:pt x="229716" y="44471"/>
                    <a:pt x="229716" y="26849"/>
                    <a:pt x="219931" y="14264"/>
                  </a:cubicBezTo>
                  <a:moveTo>
                    <a:pt x="213002" y="35673"/>
                  </a:moveTo>
                  <a:cubicBezTo>
                    <a:pt x="213002" y="47498"/>
                    <a:pt x="203417" y="57083"/>
                    <a:pt x="191593" y="57083"/>
                  </a:cubicBezTo>
                  <a:cubicBezTo>
                    <a:pt x="179769" y="57083"/>
                    <a:pt x="170183" y="47498"/>
                    <a:pt x="170183" y="35673"/>
                  </a:cubicBezTo>
                  <a:cubicBezTo>
                    <a:pt x="170183" y="23849"/>
                    <a:pt x="179769" y="14264"/>
                    <a:pt x="191593" y="14264"/>
                  </a:cubicBezTo>
                  <a:cubicBezTo>
                    <a:pt x="203417" y="14264"/>
                    <a:pt x="213002" y="23849"/>
                    <a:pt x="213002" y="35673"/>
                  </a:cubicBezTo>
                  <a:moveTo>
                    <a:pt x="34689" y="0"/>
                  </a:moveTo>
                  <a:cubicBezTo>
                    <a:pt x="14995" y="543"/>
                    <a:pt x="-530" y="16951"/>
                    <a:pt x="14" y="36643"/>
                  </a:cubicBezTo>
                  <a:cubicBezTo>
                    <a:pt x="537" y="55575"/>
                    <a:pt x="15759" y="70798"/>
                    <a:pt x="34689" y="71320"/>
                  </a:cubicBezTo>
                  <a:lnTo>
                    <a:pt x="348496" y="71320"/>
                  </a:lnTo>
                  <a:cubicBezTo>
                    <a:pt x="368192" y="70776"/>
                    <a:pt x="383716" y="54369"/>
                    <a:pt x="383173" y="34676"/>
                  </a:cubicBezTo>
                  <a:cubicBezTo>
                    <a:pt x="382648" y="15745"/>
                    <a:pt x="367425" y="522"/>
                    <a:pt x="348496" y="0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047CDCE2-0C6B-6F4A-B06B-4C7C7D633870}"/>
                </a:ext>
              </a:extLst>
            </p:cNvPr>
            <p:cNvSpPr/>
            <p:nvPr/>
          </p:nvSpPr>
          <p:spPr>
            <a:xfrm>
              <a:off x="7553510" y="1452599"/>
              <a:ext cx="443503" cy="442359"/>
            </a:xfrm>
            <a:custGeom>
              <a:avLst/>
              <a:gdLst>
                <a:gd name="connsiteX0" fmla="*/ 128376 w 443503"/>
                <a:gd name="connsiteY0" fmla="*/ 85611 h 442359"/>
                <a:gd name="connsiteX1" fmla="*/ 114112 w 443503"/>
                <a:gd name="connsiteY1" fmla="*/ 85611 h 442359"/>
                <a:gd name="connsiteX2" fmla="*/ 114112 w 443503"/>
                <a:gd name="connsiteY2" fmla="*/ 71347 h 442359"/>
                <a:gd name="connsiteX3" fmla="*/ 128376 w 443503"/>
                <a:gd name="connsiteY3" fmla="*/ 71347 h 442359"/>
                <a:gd name="connsiteX4" fmla="*/ 92702 w 443503"/>
                <a:gd name="connsiteY4" fmla="*/ 14291 h 442359"/>
                <a:gd name="connsiteX5" fmla="*/ 149758 w 443503"/>
                <a:gd name="connsiteY5" fmla="*/ 14291 h 442359"/>
                <a:gd name="connsiteX6" fmla="*/ 149758 w 443503"/>
                <a:gd name="connsiteY6" fmla="*/ 57083 h 442359"/>
                <a:gd name="connsiteX7" fmla="*/ 92702 w 443503"/>
                <a:gd name="connsiteY7" fmla="*/ 57083 h 442359"/>
                <a:gd name="connsiteX8" fmla="*/ 143998 w 443503"/>
                <a:gd name="connsiteY8" fmla="*/ 195348 h 442359"/>
                <a:gd name="connsiteX9" fmla="*/ 149812 w 443503"/>
                <a:gd name="connsiteY9" fmla="*/ 203499 h 442359"/>
                <a:gd name="connsiteX10" fmla="*/ 149812 w 443503"/>
                <a:gd name="connsiteY10" fmla="*/ 306743 h 442359"/>
                <a:gd name="connsiteX11" fmla="*/ 142694 w 443503"/>
                <a:gd name="connsiteY11" fmla="*/ 313861 h 442359"/>
                <a:gd name="connsiteX12" fmla="*/ 99821 w 443503"/>
                <a:gd name="connsiteY12" fmla="*/ 313861 h 442359"/>
                <a:gd name="connsiteX13" fmla="*/ 92702 w 443503"/>
                <a:gd name="connsiteY13" fmla="*/ 306743 h 442359"/>
                <a:gd name="connsiteX14" fmla="*/ 92702 w 443503"/>
                <a:gd name="connsiteY14" fmla="*/ 299597 h 442359"/>
                <a:gd name="connsiteX15" fmla="*/ 128376 w 443503"/>
                <a:gd name="connsiteY15" fmla="*/ 299597 h 442359"/>
                <a:gd name="connsiteX16" fmla="*/ 135494 w 443503"/>
                <a:gd name="connsiteY16" fmla="*/ 292479 h 442359"/>
                <a:gd name="connsiteX17" fmla="*/ 135494 w 443503"/>
                <a:gd name="connsiteY17" fmla="*/ 221105 h 442359"/>
                <a:gd name="connsiteX18" fmla="*/ 128376 w 443503"/>
                <a:gd name="connsiteY18" fmla="*/ 213987 h 442359"/>
                <a:gd name="connsiteX19" fmla="*/ 92702 w 443503"/>
                <a:gd name="connsiteY19" fmla="*/ 213987 h 442359"/>
                <a:gd name="connsiteX20" fmla="*/ 92702 w 443503"/>
                <a:gd name="connsiteY20" fmla="*/ 203418 h 442359"/>
                <a:gd name="connsiteX21" fmla="*/ 98544 w 443503"/>
                <a:gd name="connsiteY21" fmla="*/ 195267 h 442359"/>
                <a:gd name="connsiteX22" fmla="*/ 114112 w 443503"/>
                <a:gd name="connsiteY22" fmla="*/ 173531 h 442359"/>
                <a:gd name="connsiteX23" fmla="*/ 114112 w 443503"/>
                <a:gd name="connsiteY23" fmla="*/ 142667 h 442359"/>
                <a:gd name="connsiteX24" fmla="*/ 128376 w 443503"/>
                <a:gd name="connsiteY24" fmla="*/ 142667 h 442359"/>
                <a:gd name="connsiteX25" fmla="*/ 128376 w 443503"/>
                <a:gd name="connsiteY25" fmla="*/ 173721 h 442359"/>
                <a:gd name="connsiteX26" fmla="*/ 143944 w 443503"/>
                <a:gd name="connsiteY26" fmla="*/ 195457 h 442359"/>
                <a:gd name="connsiteX27" fmla="*/ 192550 w 443503"/>
                <a:gd name="connsiteY27" fmla="*/ 306852 h 442359"/>
                <a:gd name="connsiteX28" fmla="*/ 192550 w 443503"/>
                <a:gd name="connsiteY28" fmla="*/ 299706 h 442359"/>
                <a:gd name="connsiteX29" fmla="*/ 228223 w 443503"/>
                <a:gd name="connsiteY29" fmla="*/ 299706 h 442359"/>
                <a:gd name="connsiteX30" fmla="*/ 235396 w 443503"/>
                <a:gd name="connsiteY30" fmla="*/ 292588 h 442359"/>
                <a:gd name="connsiteX31" fmla="*/ 235396 w 443503"/>
                <a:gd name="connsiteY31" fmla="*/ 292588 h 442359"/>
                <a:gd name="connsiteX32" fmla="*/ 235396 w 443503"/>
                <a:gd name="connsiteY32" fmla="*/ 221105 h 442359"/>
                <a:gd name="connsiteX33" fmla="*/ 228223 w 443503"/>
                <a:gd name="connsiteY33" fmla="*/ 213987 h 442359"/>
                <a:gd name="connsiteX34" fmla="*/ 228223 w 443503"/>
                <a:gd name="connsiteY34" fmla="*/ 213987 h 442359"/>
                <a:gd name="connsiteX35" fmla="*/ 192550 w 443503"/>
                <a:gd name="connsiteY35" fmla="*/ 213987 h 442359"/>
                <a:gd name="connsiteX36" fmla="*/ 192550 w 443503"/>
                <a:gd name="connsiteY36" fmla="*/ 203418 h 442359"/>
                <a:gd name="connsiteX37" fmla="*/ 198364 w 443503"/>
                <a:gd name="connsiteY37" fmla="*/ 195267 h 442359"/>
                <a:gd name="connsiteX38" fmla="*/ 213932 w 443503"/>
                <a:gd name="connsiteY38" fmla="*/ 173531 h 442359"/>
                <a:gd name="connsiteX39" fmla="*/ 213932 w 443503"/>
                <a:gd name="connsiteY39" fmla="*/ 142667 h 442359"/>
                <a:gd name="connsiteX40" fmla="*/ 228223 w 443503"/>
                <a:gd name="connsiteY40" fmla="*/ 142667 h 442359"/>
                <a:gd name="connsiteX41" fmla="*/ 228223 w 443503"/>
                <a:gd name="connsiteY41" fmla="*/ 173721 h 442359"/>
                <a:gd name="connsiteX42" fmla="*/ 243819 w 443503"/>
                <a:gd name="connsiteY42" fmla="*/ 195457 h 442359"/>
                <a:gd name="connsiteX43" fmla="*/ 249633 w 443503"/>
                <a:gd name="connsiteY43" fmla="*/ 203608 h 442359"/>
                <a:gd name="connsiteX44" fmla="*/ 249633 w 443503"/>
                <a:gd name="connsiteY44" fmla="*/ 306852 h 442359"/>
                <a:gd name="connsiteX45" fmla="*/ 242514 w 443503"/>
                <a:gd name="connsiteY45" fmla="*/ 313970 h 442359"/>
                <a:gd name="connsiteX46" fmla="*/ 199695 w 443503"/>
                <a:gd name="connsiteY46" fmla="*/ 313970 h 442359"/>
                <a:gd name="connsiteX47" fmla="*/ 192550 w 443503"/>
                <a:gd name="connsiteY47" fmla="*/ 306852 h 442359"/>
                <a:gd name="connsiteX48" fmla="*/ 192550 w 443503"/>
                <a:gd name="connsiteY48" fmla="*/ 228386 h 442359"/>
                <a:gd name="connsiteX49" fmla="*/ 221078 w 443503"/>
                <a:gd name="connsiteY49" fmla="*/ 228386 h 442359"/>
                <a:gd name="connsiteX50" fmla="*/ 221078 w 443503"/>
                <a:gd name="connsiteY50" fmla="*/ 285442 h 442359"/>
                <a:gd name="connsiteX51" fmla="*/ 192550 w 443503"/>
                <a:gd name="connsiteY51" fmla="*/ 285442 h 442359"/>
                <a:gd name="connsiteX52" fmla="*/ 292398 w 443503"/>
                <a:gd name="connsiteY52" fmla="*/ 306852 h 442359"/>
                <a:gd name="connsiteX53" fmla="*/ 292398 w 443503"/>
                <a:gd name="connsiteY53" fmla="*/ 299706 h 442359"/>
                <a:gd name="connsiteX54" fmla="*/ 328044 w 443503"/>
                <a:gd name="connsiteY54" fmla="*/ 299706 h 442359"/>
                <a:gd name="connsiteX55" fmla="*/ 335189 w 443503"/>
                <a:gd name="connsiteY55" fmla="*/ 292615 h 442359"/>
                <a:gd name="connsiteX56" fmla="*/ 335189 w 443503"/>
                <a:gd name="connsiteY56" fmla="*/ 292588 h 442359"/>
                <a:gd name="connsiteX57" fmla="*/ 335189 w 443503"/>
                <a:gd name="connsiteY57" fmla="*/ 221105 h 442359"/>
                <a:gd name="connsiteX58" fmla="*/ 328071 w 443503"/>
                <a:gd name="connsiteY58" fmla="*/ 213987 h 442359"/>
                <a:gd name="connsiteX59" fmla="*/ 328044 w 443503"/>
                <a:gd name="connsiteY59" fmla="*/ 213987 h 442359"/>
                <a:gd name="connsiteX60" fmla="*/ 292398 w 443503"/>
                <a:gd name="connsiteY60" fmla="*/ 213987 h 442359"/>
                <a:gd name="connsiteX61" fmla="*/ 292398 w 443503"/>
                <a:gd name="connsiteY61" fmla="*/ 203418 h 442359"/>
                <a:gd name="connsiteX62" fmla="*/ 298239 w 443503"/>
                <a:gd name="connsiteY62" fmla="*/ 195267 h 442359"/>
                <a:gd name="connsiteX63" fmla="*/ 313807 w 443503"/>
                <a:gd name="connsiteY63" fmla="*/ 173531 h 442359"/>
                <a:gd name="connsiteX64" fmla="*/ 313807 w 443503"/>
                <a:gd name="connsiteY64" fmla="*/ 142667 h 442359"/>
                <a:gd name="connsiteX65" fmla="*/ 328044 w 443503"/>
                <a:gd name="connsiteY65" fmla="*/ 142667 h 442359"/>
                <a:gd name="connsiteX66" fmla="*/ 328044 w 443503"/>
                <a:gd name="connsiteY66" fmla="*/ 173721 h 442359"/>
                <a:gd name="connsiteX67" fmla="*/ 343639 w 443503"/>
                <a:gd name="connsiteY67" fmla="*/ 195457 h 442359"/>
                <a:gd name="connsiteX68" fmla="*/ 349453 w 443503"/>
                <a:gd name="connsiteY68" fmla="*/ 203608 h 442359"/>
                <a:gd name="connsiteX69" fmla="*/ 349453 w 443503"/>
                <a:gd name="connsiteY69" fmla="*/ 306852 h 442359"/>
                <a:gd name="connsiteX70" fmla="*/ 342308 w 443503"/>
                <a:gd name="connsiteY70" fmla="*/ 313970 h 442359"/>
                <a:gd name="connsiteX71" fmla="*/ 299543 w 443503"/>
                <a:gd name="connsiteY71" fmla="*/ 313970 h 442359"/>
                <a:gd name="connsiteX72" fmla="*/ 292398 w 443503"/>
                <a:gd name="connsiteY72" fmla="*/ 306852 h 442359"/>
                <a:gd name="connsiteX73" fmla="*/ 292398 w 443503"/>
                <a:gd name="connsiteY73" fmla="*/ 228386 h 442359"/>
                <a:gd name="connsiteX74" fmla="*/ 320898 w 443503"/>
                <a:gd name="connsiteY74" fmla="*/ 228386 h 442359"/>
                <a:gd name="connsiteX75" fmla="*/ 320898 w 443503"/>
                <a:gd name="connsiteY75" fmla="*/ 285442 h 442359"/>
                <a:gd name="connsiteX76" fmla="*/ 292398 w 443503"/>
                <a:gd name="connsiteY76" fmla="*/ 285442 h 442359"/>
                <a:gd name="connsiteX77" fmla="*/ 377981 w 443503"/>
                <a:gd name="connsiteY77" fmla="*/ 328234 h 442359"/>
                <a:gd name="connsiteX78" fmla="*/ 426740 w 443503"/>
                <a:gd name="connsiteY78" fmla="*/ 379323 h 442359"/>
                <a:gd name="connsiteX79" fmla="*/ 377981 w 443503"/>
                <a:gd name="connsiteY79" fmla="*/ 428082 h 442359"/>
                <a:gd name="connsiteX80" fmla="*/ 64174 w 443503"/>
                <a:gd name="connsiteY80" fmla="*/ 428082 h 442359"/>
                <a:gd name="connsiteX81" fmla="*/ 15415 w 443503"/>
                <a:gd name="connsiteY81" fmla="*/ 376992 h 442359"/>
                <a:gd name="connsiteX82" fmla="*/ 64174 w 443503"/>
                <a:gd name="connsiteY82" fmla="*/ 328234 h 442359"/>
                <a:gd name="connsiteX83" fmla="*/ 92702 w 443503"/>
                <a:gd name="connsiteY83" fmla="*/ 228223 h 442359"/>
                <a:gd name="connsiteX84" fmla="*/ 121230 w 443503"/>
                <a:gd name="connsiteY84" fmla="*/ 228223 h 442359"/>
                <a:gd name="connsiteX85" fmla="*/ 121230 w 443503"/>
                <a:gd name="connsiteY85" fmla="*/ 285279 h 442359"/>
                <a:gd name="connsiteX86" fmla="*/ 92702 w 443503"/>
                <a:gd name="connsiteY86" fmla="*/ 285279 h 442359"/>
                <a:gd name="connsiteX87" fmla="*/ 14264 w 443503"/>
                <a:gd name="connsiteY87" fmla="*/ 28555 h 442359"/>
                <a:gd name="connsiteX88" fmla="*/ 78438 w 443503"/>
                <a:gd name="connsiteY88" fmla="*/ 28555 h 442359"/>
                <a:gd name="connsiteX89" fmla="*/ 78438 w 443503"/>
                <a:gd name="connsiteY89" fmla="*/ 42819 h 442359"/>
                <a:gd name="connsiteX90" fmla="*/ 14264 w 443503"/>
                <a:gd name="connsiteY90" fmla="*/ 42819 h 442359"/>
                <a:gd name="connsiteX91" fmla="*/ 427891 w 443503"/>
                <a:gd name="connsiteY91" fmla="*/ 42819 h 442359"/>
                <a:gd name="connsiteX92" fmla="*/ 164022 w 443503"/>
                <a:gd name="connsiteY92" fmla="*/ 42819 h 442359"/>
                <a:gd name="connsiteX93" fmla="*/ 164022 w 443503"/>
                <a:gd name="connsiteY93" fmla="*/ 28555 h 442359"/>
                <a:gd name="connsiteX94" fmla="*/ 427891 w 443503"/>
                <a:gd name="connsiteY94" fmla="*/ 28555 h 442359"/>
                <a:gd name="connsiteX95" fmla="*/ 135494 w 443503"/>
                <a:gd name="connsiteY95" fmla="*/ 99875 h 442359"/>
                <a:gd name="connsiteX96" fmla="*/ 142640 w 443503"/>
                <a:gd name="connsiteY96" fmla="*/ 92730 h 442359"/>
                <a:gd name="connsiteX97" fmla="*/ 142640 w 443503"/>
                <a:gd name="connsiteY97" fmla="*/ 92648 h 442359"/>
                <a:gd name="connsiteX98" fmla="*/ 142640 w 443503"/>
                <a:gd name="connsiteY98" fmla="*/ 71347 h 442359"/>
                <a:gd name="connsiteX99" fmla="*/ 156876 w 443503"/>
                <a:gd name="connsiteY99" fmla="*/ 71347 h 442359"/>
                <a:gd name="connsiteX100" fmla="*/ 164022 w 443503"/>
                <a:gd name="connsiteY100" fmla="*/ 64201 h 442359"/>
                <a:gd name="connsiteX101" fmla="*/ 164022 w 443503"/>
                <a:gd name="connsiteY101" fmla="*/ 57056 h 442359"/>
                <a:gd name="connsiteX102" fmla="*/ 435037 w 443503"/>
                <a:gd name="connsiteY102" fmla="*/ 57056 h 442359"/>
                <a:gd name="connsiteX103" fmla="*/ 442183 w 443503"/>
                <a:gd name="connsiteY103" fmla="*/ 49965 h 442359"/>
                <a:gd name="connsiteX104" fmla="*/ 442183 w 443503"/>
                <a:gd name="connsiteY104" fmla="*/ 49937 h 442359"/>
                <a:gd name="connsiteX105" fmla="*/ 442183 w 443503"/>
                <a:gd name="connsiteY105" fmla="*/ 21410 h 442359"/>
                <a:gd name="connsiteX106" fmla="*/ 435064 w 443503"/>
                <a:gd name="connsiteY106" fmla="*/ 14291 h 442359"/>
                <a:gd name="connsiteX107" fmla="*/ 435037 w 443503"/>
                <a:gd name="connsiteY107" fmla="*/ 14291 h 442359"/>
                <a:gd name="connsiteX108" fmla="*/ 164022 w 443503"/>
                <a:gd name="connsiteY108" fmla="*/ 14291 h 442359"/>
                <a:gd name="connsiteX109" fmla="*/ 164022 w 443503"/>
                <a:gd name="connsiteY109" fmla="*/ 7173 h 442359"/>
                <a:gd name="connsiteX110" fmla="*/ 156904 w 443503"/>
                <a:gd name="connsiteY110" fmla="*/ 0 h 442359"/>
                <a:gd name="connsiteX111" fmla="*/ 156876 w 443503"/>
                <a:gd name="connsiteY111" fmla="*/ 0 h 442359"/>
                <a:gd name="connsiteX112" fmla="*/ 85584 w 443503"/>
                <a:gd name="connsiteY112" fmla="*/ 0 h 442359"/>
                <a:gd name="connsiteX113" fmla="*/ 78438 w 443503"/>
                <a:gd name="connsiteY113" fmla="*/ 7173 h 442359"/>
                <a:gd name="connsiteX114" fmla="*/ 78438 w 443503"/>
                <a:gd name="connsiteY114" fmla="*/ 14291 h 442359"/>
                <a:gd name="connsiteX115" fmla="*/ 7118 w 443503"/>
                <a:gd name="connsiteY115" fmla="*/ 14291 h 442359"/>
                <a:gd name="connsiteX116" fmla="*/ 0 w 443503"/>
                <a:gd name="connsiteY116" fmla="*/ 21410 h 442359"/>
                <a:gd name="connsiteX117" fmla="*/ 0 w 443503"/>
                <a:gd name="connsiteY117" fmla="*/ 49937 h 442359"/>
                <a:gd name="connsiteX118" fmla="*/ 7118 w 443503"/>
                <a:gd name="connsiteY118" fmla="*/ 57056 h 442359"/>
                <a:gd name="connsiteX119" fmla="*/ 78438 w 443503"/>
                <a:gd name="connsiteY119" fmla="*/ 57056 h 442359"/>
                <a:gd name="connsiteX120" fmla="*/ 78438 w 443503"/>
                <a:gd name="connsiteY120" fmla="*/ 64201 h 442359"/>
                <a:gd name="connsiteX121" fmla="*/ 85584 w 443503"/>
                <a:gd name="connsiteY121" fmla="*/ 71347 h 442359"/>
                <a:gd name="connsiteX122" fmla="*/ 99821 w 443503"/>
                <a:gd name="connsiteY122" fmla="*/ 71347 h 442359"/>
                <a:gd name="connsiteX123" fmla="*/ 99821 w 443503"/>
                <a:gd name="connsiteY123" fmla="*/ 92648 h 442359"/>
                <a:gd name="connsiteX124" fmla="*/ 106993 w 443503"/>
                <a:gd name="connsiteY124" fmla="*/ 99793 h 442359"/>
                <a:gd name="connsiteX125" fmla="*/ 114112 w 443503"/>
                <a:gd name="connsiteY125" fmla="*/ 99793 h 442359"/>
                <a:gd name="connsiteX126" fmla="*/ 114112 w 443503"/>
                <a:gd name="connsiteY126" fmla="*/ 128376 h 442359"/>
                <a:gd name="connsiteX127" fmla="*/ 106993 w 443503"/>
                <a:gd name="connsiteY127" fmla="*/ 128376 h 442359"/>
                <a:gd name="connsiteX128" fmla="*/ 99821 w 443503"/>
                <a:gd name="connsiteY128" fmla="*/ 135521 h 442359"/>
                <a:gd name="connsiteX129" fmla="*/ 99821 w 443503"/>
                <a:gd name="connsiteY129" fmla="*/ 173721 h 442359"/>
                <a:gd name="connsiteX130" fmla="*/ 94006 w 443503"/>
                <a:gd name="connsiteY130" fmla="*/ 181872 h 442359"/>
                <a:gd name="connsiteX131" fmla="*/ 78438 w 443503"/>
                <a:gd name="connsiteY131" fmla="*/ 203608 h 442359"/>
                <a:gd name="connsiteX132" fmla="*/ 78438 w 443503"/>
                <a:gd name="connsiteY132" fmla="*/ 306852 h 442359"/>
                <a:gd name="connsiteX133" fmla="*/ 79769 w 443503"/>
                <a:gd name="connsiteY133" fmla="*/ 313970 h 442359"/>
                <a:gd name="connsiteX134" fmla="*/ 64174 w 443503"/>
                <a:gd name="connsiteY134" fmla="*/ 313970 h 442359"/>
                <a:gd name="connsiteX135" fmla="*/ 1307 w 443503"/>
                <a:gd name="connsiteY135" fmla="*/ 379478 h 442359"/>
                <a:gd name="connsiteX136" fmla="*/ 64174 w 443503"/>
                <a:gd name="connsiteY136" fmla="*/ 442346 h 442359"/>
                <a:gd name="connsiteX137" fmla="*/ 377981 w 443503"/>
                <a:gd name="connsiteY137" fmla="*/ 442346 h 442359"/>
                <a:gd name="connsiteX138" fmla="*/ 443489 w 443503"/>
                <a:gd name="connsiteY138" fmla="*/ 379478 h 442359"/>
                <a:gd name="connsiteX139" fmla="*/ 380622 w 443503"/>
                <a:gd name="connsiteY139" fmla="*/ 313970 h 442359"/>
                <a:gd name="connsiteX140" fmla="*/ 377981 w 443503"/>
                <a:gd name="connsiteY140" fmla="*/ 313970 h 442359"/>
                <a:gd name="connsiteX141" fmla="*/ 362413 w 443503"/>
                <a:gd name="connsiteY141" fmla="*/ 313970 h 442359"/>
                <a:gd name="connsiteX142" fmla="*/ 363717 w 443503"/>
                <a:gd name="connsiteY142" fmla="*/ 306852 h 442359"/>
                <a:gd name="connsiteX143" fmla="*/ 363717 w 443503"/>
                <a:gd name="connsiteY143" fmla="*/ 203608 h 442359"/>
                <a:gd name="connsiteX144" fmla="*/ 348122 w 443503"/>
                <a:gd name="connsiteY144" fmla="*/ 181872 h 442359"/>
                <a:gd name="connsiteX145" fmla="*/ 342308 w 443503"/>
                <a:gd name="connsiteY145" fmla="*/ 173721 h 442359"/>
                <a:gd name="connsiteX146" fmla="*/ 342308 w 443503"/>
                <a:gd name="connsiteY146" fmla="*/ 135521 h 442359"/>
                <a:gd name="connsiteX147" fmla="*/ 335217 w 443503"/>
                <a:gd name="connsiteY147" fmla="*/ 128376 h 442359"/>
                <a:gd name="connsiteX148" fmla="*/ 335189 w 443503"/>
                <a:gd name="connsiteY148" fmla="*/ 128376 h 442359"/>
                <a:gd name="connsiteX149" fmla="*/ 306661 w 443503"/>
                <a:gd name="connsiteY149" fmla="*/ 128376 h 442359"/>
                <a:gd name="connsiteX150" fmla="*/ 299543 w 443503"/>
                <a:gd name="connsiteY150" fmla="*/ 135494 h 442359"/>
                <a:gd name="connsiteX151" fmla="*/ 299543 w 443503"/>
                <a:gd name="connsiteY151" fmla="*/ 135521 h 442359"/>
                <a:gd name="connsiteX152" fmla="*/ 299543 w 443503"/>
                <a:gd name="connsiteY152" fmla="*/ 173721 h 442359"/>
                <a:gd name="connsiteX153" fmla="*/ 293702 w 443503"/>
                <a:gd name="connsiteY153" fmla="*/ 181872 h 442359"/>
                <a:gd name="connsiteX154" fmla="*/ 278134 w 443503"/>
                <a:gd name="connsiteY154" fmla="*/ 203608 h 442359"/>
                <a:gd name="connsiteX155" fmla="*/ 278134 w 443503"/>
                <a:gd name="connsiteY155" fmla="*/ 306852 h 442359"/>
                <a:gd name="connsiteX156" fmla="*/ 279438 w 443503"/>
                <a:gd name="connsiteY156" fmla="*/ 313970 h 442359"/>
                <a:gd name="connsiteX157" fmla="*/ 262565 w 443503"/>
                <a:gd name="connsiteY157" fmla="*/ 313970 h 442359"/>
                <a:gd name="connsiteX158" fmla="*/ 263870 w 443503"/>
                <a:gd name="connsiteY158" fmla="*/ 306852 h 442359"/>
                <a:gd name="connsiteX159" fmla="*/ 263870 w 443503"/>
                <a:gd name="connsiteY159" fmla="*/ 203608 h 442359"/>
                <a:gd name="connsiteX160" fmla="*/ 248301 w 443503"/>
                <a:gd name="connsiteY160" fmla="*/ 181872 h 442359"/>
                <a:gd name="connsiteX161" fmla="*/ 242487 w 443503"/>
                <a:gd name="connsiteY161" fmla="*/ 173721 h 442359"/>
                <a:gd name="connsiteX162" fmla="*/ 242487 w 443503"/>
                <a:gd name="connsiteY162" fmla="*/ 135521 h 442359"/>
                <a:gd name="connsiteX163" fmla="*/ 235369 w 443503"/>
                <a:gd name="connsiteY163" fmla="*/ 128376 h 442359"/>
                <a:gd name="connsiteX164" fmla="*/ 206814 w 443503"/>
                <a:gd name="connsiteY164" fmla="*/ 128376 h 442359"/>
                <a:gd name="connsiteX165" fmla="*/ 199695 w 443503"/>
                <a:gd name="connsiteY165" fmla="*/ 135521 h 442359"/>
                <a:gd name="connsiteX166" fmla="*/ 199695 w 443503"/>
                <a:gd name="connsiteY166" fmla="*/ 173721 h 442359"/>
                <a:gd name="connsiteX167" fmla="*/ 193881 w 443503"/>
                <a:gd name="connsiteY167" fmla="*/ 181872 h 442359"/>
                <a:gd name="connsiteX168" fmla="*/ 178313 w 443503"/>
                <a:gd name="connsiteY168" fmla="*/ 203608 h 442359"/>
                <a:gd name="connsiteX169" fmla="*/ 178313 w 443503"/>
                <a:gd name="connsiteY169" fmla="*/ 306852 h 442359"/>
                <a:gd name="connsiteX170" fmla="*/ 179617 w 443503"/>
                <a:gd name="connsiteY170" fmla="*/ 313970 h 442359"/>
                <a:gd name="connsiteX171" fmla="*/ 162691 w 443503"/>
                <a:gd name="connsiteY171" fmla="*/ 313970 h 442359"/>
                <a:gd name="connsiteX172" fmla="*/ 164022 w 443503"/>
                <a:gd name="connsiteY172" fmla="*/ 306852 h 442359"/>
                <a:gd name="connsiteX173" fmla="*/ 164022 w 443503"/>
                <a:gd name="connsiteY173" fmla="*/ 203608 h 442359"/>
                <a:gd name="connsiteX174" fmla="*/ 148454 w 443503"/>
                <a:gd name="connsiteY174" fmla="*/ 181872 h 442359"/>
                <a:gd name="connsiteX175" fmla="*/ 142640 w 443503"/>
                <a:gd name="connsiteY175" fmla="*/ 173721 h 442359"/>
                <a:gd name="connsiteX176" fmla="*/ 142640 w 443503"/>
                <a:gd name="connsiteY176" fmla="*/ 135521 h 442359"/>
                <a:gd name="connsiteX177" fmla="*/ 135494 w 443503"/>
                <a:gd name="connsiteY177" fmla="*/ 128376 h 442359"/>
                <a:gd name="connsiteX178" fmla="*/ 128376 w 443503"/>
                <a:gd name="connsiteY178" fmla="*/ 128376 h 442359"/>
                <a:gd name="connsiteX179" fmla="*/ 128376 w 443503"/>
                <a:gd name="connsiteY179" fmla="*/ 99875 h 44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443503" h="442359">
                  <a:moveTo>
                    <a:pt x="128376" y="85611"/>
                  </a:moveTo>
                  <a:lnTo>
                    <a:pt x="114112" y="85611"/>
                  </a:lnTo>
                  <a:lnTo>
                    <a:pt x="114112" y="71347"/>
                  </a:lnTo>
                  <a:lnTo>
                    <a:pt x="128376" y="71347"/>
                  </a:lnTo>
                  <a:close/>
                  <a:moveTo>
                    <a:pt x="92702" y="14291"/>
                  </a:moveTo>
                  <a:lnTo>
                    <a:pt x="149758" y="14291"/>
                  </a:lnTo>
                  <a:lnTo>
                    <a:pt x="149758" y="57083"/>
                  </a:lnTo>
                  <a:lnTo>
                    <a:pt x="92702" y="57083"/>
                  </a:lnTo>
                  <a:close/>
                  <a:moveTo>
                    <a:pt x="143998" y="195348"/>
                  </a:moveTo>
                  <a:cubicBezTo>
                    <a:pt x="147505" y="196508"/>
                    <a:pt x="149857" y="199806"/>
                    <a:pt x="149812" y="203499"/>
                  </a:cubicBezTo>
                  <a:lnTo>
                    <a:pt x="149812" y="306743"/>
                  </a:lnTo>
                  <a:cubicBezTo>
                    <a:pt x="149797" y="310669"/>
                    <a:pt x="146619" y="313848"/>
                    <a:pt x="142694" y="313861"/>
                  </a:cubicBezTo>
                  <a:lnTo>
                    <a:pt x="99821" y="313861"/>
                  </a:lnTo>
                  <a:cubicBezTo>
                    <a:pt x="95895" y="313848"/>
                    <a:pt x="92717" y="310669"/>
                    <a:pt x="92702" y="306743"/>
                  </a:cubicBezTo>
                  <a:lnTo>
                    <a:pt x="92702" y="299597"/>
                  </a:lnTo>
                  <a:lnTo>
                    <a:pt x="128376" y="299597"/>
                  </a:lnTo>
                  <a:cubicBezTo>
                    <a:pt x="132307" y="299597"/>
                    <a:pt x="135494" y="296410"/>
                    <a:pt x="135494" y="292479"/>
                  </a:cubicBezTo>
                  <a:lnTo>
                    <a:pt x="135494" y="221105"/>
                  </a:lnTo>
                  <a:cubicBezTo>
                    <a:pt x="135494" y="217173"/>
                    <a:pt x="132307" y="213987"/>
                    <a:pt x="128376" y="213987"/>
                  </a:cubicBezTo>
                  <a:lnTo>
                    <a:pt x="92702" y="213987"/>
                  </a:lnTo>
                  <a:lnTo>
                    <a:pt x="92702" y="203418"/>
                  </a:lnTo>
                  <a:cubicBezTo>
                    <a:pt x="92661" y="199717"/>
                    <a:pt x="95026" y="196417"/>
                    <a:pt x="98544" y="195267"/>
                  </a:cubicBezTo>
                  <a:cubicBezTo>
                    <a:pt x="107883" y="192145"/>
                    <a:pt x="114162" y="183378"/>
                    <a:pt x="114112" y="173531"/>
                  </a:cubicBezTo>
                  <a:lnTo>
                    <a:pt x="114112" y="142667"/>
                  </a:lnTo>
                  <a:lnTo>
                    <a:pt x="128376" y="142667"/>
                  </a:lnTo>
                  <a:lnTo>
                    <a:pt x="128376" y="173721"/>
                  </a:lnTo>
                  <a:cubicBezTo>
                    <a:pt x="128317" y="183571"/>
                    <a:pt x="134599" y="192342"/>
                    <a:pt x="143944" y="195457"/>
                  </a:cubicBezTo>
                  <a:moveTo>
                    <a:pt x="192550" y="306852"/>
                  </a:moveTo>
                  <a:lnTo>
                    <a:pt x="192550" y="299706"/>
                  </a:lnTo>
                  <a:lnTo>
                    <a:pt x="228223" y="299706"/>
                  </a:lnTo>
                  <a:cubicBezTo>
                    <a:pt x="232170" y="299722"/>
                    <a:pt x="235381" y="296535"/>
                    <a:pt x="235396" y="292588"/>
                  </a:cubicBezTo>
                  <a:cubicBezTo>
                    <a:pt x="235396" y="292588"/>
                    <a:pt x="235396" y="292588"/>
                    <a:pt x="235396" y="292588"/>
                  </a:cubicBezTo>
                  <a:lnTo>
                    <a:pt x="235396" y="221105"/>
                  </a:lnTo>
                  <a:cubicBezTo>
                    <a:pt x="235381" y="217159"/>
                    <a:pt x="232170" y="213972"/>
                    <a:pt x="228223" y="213987"/>
                  </a:cubicBezTo>
                  <a:cubicBezTo>
                    <a:pt x="228223" y="213987"/>
                    <a:pt x="228223" y="213987"/>
                    <a:pt x="228223" y="213987"/>
                  </a:cubicBezTo>
                  <a:lnTo>
                    <a:pt x="192550" y="213987"/>
                  </a:lnTo>
                  <a:lnTo>
                    <a:pt x="192550" y="203418"/>
                  </a:lnTo>
                  <a:cubicBezTo>
                    <a:pt x="192514" y="199727"/>
                    <a:pt x="194862" y="196434"/>
                    <a:pt x="198364" y="195267"/>
                  </a:cubicBezTo>
                  <a:cubicBezTo>
                    <a:pt x="207714" y="192159"/>
                    <a:pt x="214000" y="183384"/>
                    <a:pt x="213932" y="173531"/>
                  </a:cubicBezTo>
                  <a:lnTo>
                    <a:pt x="213932" y="142667"/>
                  </a:lnTo>
                  <a:lnTo>
                    <a:pt x="228223" y="142667"/>
                  </a:lnTo>
                  <a:lnTo>
                    <a:pt x="228223" y="173721"/>
                  </a:lnTo>
                  <a:cubicBezTo>
                    <a:pt x="228177" y="183576"/>
                    <a:pt x="234468" y="192344"/>
                    <a:pt x="243819" y="195457"/>
                  </a:cubicBezTo>
                  <a:cubicBezTo>
                    <a:pt x="247326" y="196617"/>
                    <a:pt x="249678" y="199914"/>
                    <a:pt x="249633" y="203608"/>
                  </a:cubicBezTo>
                  <a:lnTo>
                    <a:pt x="249633" y="306852"/>
                  </a:lnTo>
                  <a:cubicBezTo>
                    <a:pt x="249618" y="310778"/>
                    <a:pt x="246440" y="313956"/>
                    <a:pt x="242514" y="313970"/>
                  </a:cubicBezTo>
                  <a:lnTo>
                    <a:pt x="199695" y="313970"/>
                  </a:lnTo>
                  <a:cubicBezTo>
                    <a:pt x="195760" y="313970"/>
                    <a:pt x="192565" y="310788"/>
                    <a:pt x="192550" y="306852"/>
                  </a:cubicBezTo>
                  <a:moveTo>
                    <a:pt x="192550" y="228386"/>
                  </a:moveTo>
                  <a:lnTo>
                    <a:pt x="221078" y="228386"/>
                  </a:lnTo>
                  <a:lnTo>
                    <a:pt x="221078" y="285442"/>
                  </a:lnTo>
                  <a:lnTo>
                    <a:pt x="192550" y="285442"/>
                  </a:lnTo>
                  <a:close/>
                  <a:moveTo>
                    <a:pt x="292398" y="306852"/>
                  </a:moveTo>
                  <a:lnTo>
                    <a:pt x="292398" y="299706"/>
                  </a:lnTo>
                  <a:lnTo>
                    <a:pt x="328044" y="299706"/>
                  </a:lnTo>
                  <a:cubicBezTo>
                    <a:pt x="331975" y="299722"/>
                    <a:pt x="335173" y="296546"/>
                    <a:pt x="335189" y="292615"/>
                  </a:cubicBezTo>
                  <a:cubicBezTo>
                    <a:pt x="335189" y="292607"/>
                    <a:pt x="335189" y="292596"/>
                    <a:pt x="335189" y="292588"/>
                  </a:cubicBezTo>
                  <a:lnTo>
                    <a:pt x="335189" y="221105"/>
                  </a:lnTo>
                  <a:cubicBezTo>
                    <a:pt x="335189" y="217173"/>
                    <a:pt x="332002" y="213987"/>
                    <a:pt x="328071" y="213987"/>
                  </a:cubicBezTo>
                  <a:cubicBezTo>
                    <a:pt x="328063" y="213987"/>
                    <a:pt x="328052" y="213987"/>
                    <a:pt x="328044" y="213987"/>
                  </a:cubicBezTo>
                  <a:lnTo>
                    <a:pt x="292398" y="213987"/>
                  </a:lnTo>
                  <a:lnTo>
                    <a:pt x="292398" y="203418"/>
                  </a:lnTo>
                  <a:cubicBezTo>
                    <a:pt x="292357" y="199717"/>
                    <a:pt x="294720" y="196417"/>
                    <a:pt x="298239" y="195267"/>
                  </a:cubicBezTo>
                  <a:cubicBezTo>
                    <a:pt x="307577" y="192145"/>
                    <a:pt x="313856" y="183378"/>
                    <a:pt x="313807" y="173531"/>
                  </a:cubicBezTo>
                  <a:lnTo>
                    <a:pt x="313807" y="142667"/>
                  </a:lnTo>
                  <a:lnTo>
                    <a:pt x="328044" y="142667"/>
                  </a:lnTo>
                  <a:lnTo>
                    <a:pt x="328044" y="173721"/>
                  </a:lnTo>
                  <a:cubicBezTo>
                    <a:pt x="327981" y="183581"/>
                    <a:pt x="334279" y="192359"/>
                    <a:pt x="343639" y="195457"/>
                  </a:cubicBezTo>
                  <a:cubicBezTo>
                    <a:pt x="347141" y="196624"/>
                    <a:pt x="349489" y="199917"/>
                    <a:pt x="349453" y="203608"/>
                  </a:cubicBezTo>
                  <a:lnTo>
                    <a:pt x="349453" y="306852"/>
                  </a:lnTo>
                  <a:cubicBezTo>
                    <a:pt x="349437" y="310788"/>
                    <a:pt x="346245" y="313970"/>
                    <a:pt x="342308" y="313970"/>
                  </a:cubicBezTo>
                  <a:lnTo>
                    <a:pt x="299543" y="313970"/>
                  </a:lnTo>
                  <a:cubicBezTo>
                    <a:pt x="295606" y="313970"/>
                    <a:pt x="292414" y="310788"/>
                    <a:pt x="292398" y="306852"/>
                  </a:cubicBezTo>
                  <a:moveTo>
                    <a:pt x="292398" y="228386"/>
                  </a:moveTo>
                  <a:lnTo>
                    <a:pt x="320898" y="228386"/>
                  </a:lnTo>
                  <a:lnTo>
                    <a:pt x="320898" y="285442"/>
                  </a:lnTo>
                  <a:lnTo>
                    <a:pt x="292398" y="285442"/>
                  </a:lnTo>
                  <a:close/>
                  <a:moveTo>
                    <a:pt x="377981" y="328234"/>
                  </a:moveTo>
                  <a:cubicBezTo>
                    <a:pt x="405553" y="328878"/>
                    <a:pt x="427383" y="351749"/>
                    <a:pt x="426740" y="379323"/>
                  </a:cubicBezTo>
                  <a:cubicBezTo>
                    <a:pt x="426117" y="405990"/>
                    <a:pt x="404648" y="427459"/>
                    <a:pt x="377981" y="428082"/>
                  </a:cubicBezTo>
                  <a:lnTo>
                    <a:pt x="64174" y="428082"/>
                  </a:lnTo>
                  <a:cubicBezTo>
                    <a:pt x="36602" y="427438"/>
                    <a:pt x="14772" y="404567"/>
                    <a:pt x="15415" y="376992"/>
                  </a:cubicBezTo>
                  <a:cubicBezTo>
                    <a:pt x="16037" y="350325"/>
                    <a:pt x="37507" y="328856"/>
                    <a:pt x="64174" y="328234"/>
                  </a:cubicBezTo>
                  <a:close/>
                  <a:moveTo>
                    <a:pt x="92702" y="228223"/>
                  </a:moveTo>
                  <a:lnTo>
                    <a:pt x="121230" y="228223"/>
                  </a:lnTo>
                  <a:lnTo>
                    <a:pt x="121230" y="285279"/>
                  </a:lnTo>
                  <a:lnTo>
                    <a:pt x="92702" y="285279"/>
                  </a:lnTo>
                  <a:close/>
                  <a:moveTo>
                    <a:pt x="14264" y="28555"/>
                  </a:moveTo>
                  <a:lnTo>
                    <a:pt x="78438" y="28555"/>
                  </a:lnTo>
                  <a:lnTo>
                    <a:pt x="78438" y="42819"/>
                  </a:lnTo>
                  <a:lnTo>
                    <a:pt x="14264" y="42819"/>
                  </a:lnTo>
                  <a:close/>
                  <a:moveTo>
                    <a:pt x="427891" y="42819"/>
                  </a:moveTo>
                  <a:lnTo>
                    <a:pt x="164022" y="42819"/>
                  </a:lnTo>
                  <a:lnTo>
                    <a:pt x="164022" y="28555"/>
                  </a:lnTo>
                  <a:lnTo>
                    <a:pt x="427891" y="28555"/>
                  </a:lnTo>
                  <a:close/>
                  <a:moveTo>
                    <a:pt x="135494" y="99875"/>
                  </a:moveTo>
                  <a:cubicBezTo>
                    <a:pt x="139440" y="99875"/>
                    <a:pt x="142640" y="96676"/>
                    <a:pt x="142640" y="92730"/>
                  </a:cubicBezTo>
                  <a:cubicBezTo>
                    <a:pt x="142640" y="92702"/>
                    <a:pt x="142640" y="92675"/>
                    <a:pt x="142640" y="92648"/>
                  </a:cubicBezTo>
                  <a:lnTo>
                    <a:pt x="142640" y="71347"/>
                  </a:lnTo>
                  <a:lnTo>
                    <a:pt x="156876" y="71347"/>
                  </a:lnTo>
                  <a:cubicBezTo>
                    <a:pt x="160823" y="71347"/>
                    <a:pt x="164022" y="68148"/>
                    <a:pt x="164022" y="64201"/>
                  </a:cubicBezTo>
                  <a:lnTo>
                    <a:pt x="164022" y="57056"/>
                  </a:lnTo>
                  <a:lnTo>
                    <a:pt x="435037" y="57056"/>
                  </a:lnTo>
                  <a:cubicBezTo>
                    <a:pt x="438968" y="57071"/>
                    <a:pt x="442166" y="53896"/>
                    <a:pt x="442183" y="49965"/>
                  </a:cubicBezTo>
                  <a:cubicBezTo>
                    <a:pt x="442183" y="49956"/>
                    <a:pt x="442183" y="49946"/>
                    <a:pt x="442183" y="49937"/>
                  </a:cubicBezTo>
                  <a:lnTo>
                    <a:pt x="442183" y="21410"/>
                  </a:lnTo>
                  <a:cubicBezTo>
                    <a:pt x="442183" y="17478"/>
                    <a:pt x="438996" y="14291"/>
                    <a:pt x="435064" y="14291"/>
                  </a:cubicBezTo>
                  <a:cubicBezTo>
                    <a:pt x="435056" y="14291"/>
                    <a:pt x="435045" y="14291"/>
                    <a:pt x="435037" y="14291"/>
                  </a:cubicBezTo>
                  <a:lnTo>
                    <a:pt x="164022" y="14291"/>
                  </a:lnTo>
                  <a:lnTo>
                    <a:pt x="164022" y="7173"/>
                  </a:lnTo>
                  <a:cubicBezTo>
                    <a:pt x="164037" y="3226"/>
                    <a:pt x="160850" y="15"/>
                    <a:pt x="156904" y="0"/>
                  </a:cubicBezTo>
                  <a:cubicBezTo>
                    <a:pt x="156895" y="0"/>
                    <a:pt x="156885" y="0"/>
                    <a:pt x="156876" y="0"/>
                  </a:cubicBezTo>
                  <a:lnTo>
                    <a:pt x="85584" y="0"/>
                  </a:lnTo>
                  <a:cubicBezTo>
                    <a:pt x="81633" y="15"/>
                    <a:pt x="78438" y="3222"/>
                    <a:pt x="78438" y="7173"/>
                  </a:cubicBezTo>
                  <a:lnTo>
                    <a:pt x="78438" y="14291"/>
                  </a:lnTo>
                  <a:lnTo>
                    <a:pt x="7118" y="14291"/>
                  </a:lnTo>
                  <a:cubicBezTo>
                    <a:pt x="3187" y="14291"/>
                    <a:pt x="0" y="17478"/>
                    <a:pt x="0" y="21410"/>
                  </a:cubicBezTo>
                  <a:lnTo>
                    <a:pt x="0" y="49937"/>
                  </a:lnTo>
                  <a:cubicBezTo>
                    <a:pt x="0" y="53869"/>
                    <a:pt x="3187" y="57056"/>
                    <a:pt x="7118" y="57056"/>
                  </a:cubicBezTo>
                  <a:lnTo>
                    <a:pt x="78438" y="57056"/>
                  </a:lnTo>
                  <a:lnTo>
                    <a:pt x="78438" y="64201"/>
                  </a:lnTo>
                  <a:cubicBezTo>
                    <a:pt x="78438" y="68148"/>
                    <a:pt x="81637" y="71347"/>
                    <a:pt x="85584" y="71347"/>
                  </a:cubicBezTo>
                  <a:lnTo>
                    <a:pt x="99821" y="71347"/>
                  </a:lnTo>
                  <a:lnTo>
                    <a:pt x="99821" y="92648"/>
                  </a:lnTo>
                  <a:cubicBezTo>
                    <a:pt x="99835" y="96598"/>
                    <a:pt x="103043" y="99793"/>
                    <a:pt x="106993" y="99793"/>
                  </a:cubicBezTo>
                  <a:lnTo>
                    <a:pt x="114112" y="99793"/>
                  </a:lnTo>
                  <a:lnTo>
                    <a:pt x="114112" y="128376"/>
                  </a:lnTo>
                  <a:lnTo>
                    <a:pt x="106993" y="128376"/>
                  </a:lnTo>
                  <a:cubicBezTo>
                    <a:pt x="103043" y="128376"/>
                    <a:pt x="99835" y="131570"/>
                    <a:pt x="99821" y="135521"/>
                  </a:cubicBezTo>
                  <a:lnTo>
                    <a:pt x="99821" y="173721"/>
                  </a:lnTo>
                  <a:cubicBezTo>
                    <a:pt x="99874" y="177418"/>
                    <a:pt x="97519" y="180720"/>
                    <a:pt x="94006" y="181872"/>
                  </a:cubicBezTo>
                  <a:cubicBezTo>
                    <a:pt x="84667" y="184994"/>
                    <a:pt x="78388" y="193760"/>
                    <a:pt x="78438" y="203608"/>
                  </a:cubicBezTo>
                  <a:lnTo>
                    <a:pt x="78438" y="306852"/>
                  </a:lnTo>
                  <a:cubicBezTo>
                    <a:pt x="78473" y="309283"/>
                    <a:pt x="78924" y="311691"/>
                    <a:pt x="79769" y="313970"/>
                  </a:cubicBezTo>
                  <a:lnTo>
                    <a:pt x="64174" y="313970"/>
                  </a:lnTo>
                  <a:cubicBezTo>
                    <a:pt x="28724" y="314698"/>
                    <a:pt x="578" y="344028"/>
                    <a:pt x="1307" y="379478"/>
                  </a:cubicBezTo>
                  <a:cubicBezTo>
                    <a:pt x="2015" y="413902"/>
                    <a:pt x="29751" y="441636"/>
                    <a:pt x="64174" y="442346"/>
                  </a:cubicBezTo>
                  <a:lnTo>
                    <a:pt x="377981" y="442346"/>
                  </a:lnTo>
                  <a:cubicBezTo>
                    <a:pt x="413432" y="443074"/>
                    <a:pt x="442761" y="414929"/>
                    <a:pt x="443489" y="379478"/>
                  </a:cubicBezTo>
                  <a:cubicBezTo>
                    <a:pt x="444220" y="344028"/>
                    <a:pt x="416073" y="314698"/>
                    <a:pt x="380622" y="313970"/>
                  </a:cubicBezTo>
                  <a:cubicBezTo>
                    <a:pt x="379742" y="313951"/>
                    <a:pt x="378862" y="313951"/>
                    <a:pt x="377981" y="313970"/>
                  </a:cubicBezTo>
                  <a:lnTo>
                    <a:pt x="362413" y="313970"/>
                  </a:lnTo>
                  <a:cubicBezTo>
                    <a:pt x="363250" y="311688"/>
                    <a:pt x="363690" y="309281"/>
                    <a:pt x="363717" y="306852"/>
                  </a:cubicBezTo>
                  <a:lnTo>
                    <a:pt x="363717" y="203608"/>
                  </a:lnTo>
                  <a:cubicBezTo>
                    <a:pt x="363780" y="193748"/>
                    <a:pt x="357482" y="184970"/>
                    <a:pt x="348122" y="181872"/>
                  </a:cubicBezTo>
                  <a:cubicBezTo>
                    <a:pt x="344620" y="180705"/>
                    <a:pt x="342272" y="177412"/>
                    <a:pt x="342308" y="173721"/>
                  </a:cubicBezTo>
                  <a:lnTo>
                    <a:pt x="342308" y="135521"/>
                  </a:lnTo>
                  <a:cubicBezTo>
                    <a:pt x="342324" y="131590"/>
                    <a:pt x="339148" y="128391"/>
                    <a:pt x="335217" y="128376"/>
                  </a:cubicBezTo>
                  <a:cubicBezTo>
                    <a:pt x="335208" y="128376"/>
                    <a:pt x="335198" y="128376"/>
                    <a:pt x="335189" y="128376"/>
                  </a:cubicBezTo>
                  <a:lnTo>
                    <a:pt x="306661" y="128376"/>
                  </a:lnTo>
                  <a:cubicBezTo>
                    <a:pt x="302730" y="128376"/>
                    <a:pt x="299543" y="131563"/>
                    <a:pt x="299543" y="135494"/>
                  </a:cubicBezTo>
                  <a:cubicBezTo>
                    <a:pt x="299543" y="135503"/>
                    <a:pt x="299543" y="135512"/>
                    <a:pt x="299543" y="135521"/>
                  </a:cubicBezTo>
                  <a:lnTo>
                    <a:pt x="299543" y="173721"/>
                  </a:lnTo>
                  <a:cubicBezTo>
                    <a:pt x="299584" y="177422"/>
                    <a:pt x="297220" y="180722"/>
                    <a:pt x="293702" y="181872"/>
                  </a:cubicBezTo>
                  <a:cubicBezTo>
                    <a:pt x="284363" y="184994"/>
                    <a:pt x="278085" y="193760"/>
                    <a:pt x="278134" y="203608"/>
                  </a:cubicBezTo>
                  <a:lnTo>
                    <a:pt x="278134" y="306852"/>
                  </a:lnTo>
                  <a:cubicBezTo>
                    <a:pt x="278161" y="309281"/>
                    <a:pt x="278601" y="311688"/>
                    <a:pt x="279438" y="313970"/>
                  </a:cubicBezTo>
                  <a:lnTo>
                    <a:pt x="262565" y="313970"/>
                  </a:lnTo>
                  <a:cubicBezTo>
                    <a:pt x="263403" y="311688"/>
                    <a:pt x="263843" y="309281"/>
                    <a:pt x="263870" y="306852"/>
                  </a:cubicBezTo>
                  <a:lnTo>
                    <a:pt x="263870" y="203608"/>
                  </a:lnTo>
                  <a:cubicBezTo>
                    <a:pt x="263920" y="193760"/>
                    <a:pt x="257641" y="184994"/>
                    <a:pt x="248301" y="181872"/>
                  </a:cubicBezTo>
                  <a:cubicBezTo>
                    <a:pt x="244789" y="180720"/>
                    <a:pt x="242434" y="177418"/>
                    <a:pt x="242487" y="173721"/>
                  </a:cubicBezTo>
                  <a:lnTo>
                    <a:pt x="242487" y="135521"/>
                  </a:lnTo>
                  <a:cubicBezTo>
                    <a:pt x="242487" y="131585"/>
                    <a:pt x="239305" y="128391"/>
                    <a:pt x="235369" y="128376"/>
                  </a:cubicBezTo>
                  <a:lnTo>
                    <a:pt x="206814" y="128376"/>
                  </a:lnTo>
                  <a:cubicBezTo>
                    <a:pt x="202878" y="128391"/>
                    <a:pt x="199695" y="131585"/>
                    <a:pt x="199695" y="135521"/>
                  </a:cubicBezTo>
                  <a:lnTo>
                    <a:pt x="199695" y="173721"/>
                  </a:lnTo>
                  <a:cubicBezTo>
                    <a:pt x="199732" y="177412"/>
                    <a:pt x="197383" y="180705"/>
                    <a:pt x="193881" y="181872"/>
                  </a:cubicBezTo>
                  <a:cubicBezTo>
                    <a:pt x="184531" y="184980"/>
                    <a:pt x="178246" y="193755"/>
                    <a:pt x="178313" y="203608"/>
                  </a:cubicBezTo>
                  <a:lnTo>
                    <a:pt x="178313" y="306852"/>
                  </a:lnTo>
                  <a:cubicBezTo>
                    <a:pt x="178326" y="309283"/>
                    <a:pt x="178767" y="311693"/>
                    <a:pt x="179617" y="313970"/>
                  </a:cubicBezTo>
                  <a:lnTo>
                    <a:pt x="162691" y="313970"/>
                  </a:lnTo>
                  <a:cubicBezTo>
                    <a:pt x="163549" y="311693"/>
                    <a:pt x="164000" y="309283"/>
                    <a:pt x="164022" y="306852"/>
                  </a:cubicBezTo>
                  <a:lnTo>
                    <a:pt x="164022" y="203608"/>
                  </a:lnTo>
                  <a:cubicBezTo>
                    <a:pt x="164081" y="193758"/>
                    <a:pt x="157798" y="184987"/>
                    <a:pt x="148454" y="181872"/>
                  </a:cubicBezTo>
                  <a:cubicBezTo>
                    <a:pt x="144947" y="180712"/>
                    <a:pt x="142595" y="177415"/>
                    <a:pt x="142640" y="173721"/>
                  </a:cubicBezTo>
                  <a:lnTo>
                    <a:pt x="142640" y="135521"/>
                  </a:lnTo>
                  <a:cubicBezTo>
                    <a:pt x="142640" y="131575"/>
                    <a:pt x="139440" y="128376"/>
                    <a:pt x="135494" y="128376"/>
                  </a:cubicBezTo>
                  <a:lnTo>
                    <a:pt x="128376" y="128376"/>
                  </a:lnTo>
                  <a:lnTo>
                    <a:pt x="128376" y="99875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12" name="Graphic 31">
            <a:extLst>
              <a:ext uri="{FF2B5EF4-FFF2-40B4-BE49-F238E27FC236}">
                <a16:creationId xmlns:a16="http://schemas.microsoft.com/office/drawing/2014/main" id="{74658FD6-F849-C149-8356-C4C00AC8831E}"/>
              </a:ext>
            </a:extLst>
          </p:cNvPr>
          <p:cNvGrpSpPr/>
          <p:nvPr userDrawn="1"/>
        </p:nvGrpSpPr>
        <p:grpSpPr>
          <a:xfrm>
            <a:off x="3974195" y="2698052"/>
            <a:ext cx="381806" cy="373662"/>
            <a:chOff x="5158943" y="3282950"/>
            <a:chExt cx="533041" cy="533041"/>
          </a:xfrm>
          <a:solidFill>
            <a:schemeClr val="bg1"/>
          </a:solidFill>
        </p:grpSpPr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17746832-6BC5-1C40-B3B1-237C93D73A3F}"/>
                </a:ext>
              </a:extLst>
            </p:cNvPr>
            <p:cNvSpPr/>
            <p:nvPr/>
          </p:nvSpPr>
          <p:spPr>
            <a:xfrm>
              <a:off x="5167205" y="3290912"/>
              <a:ext cx="227208" cy="204570"/>
            </a:xfrm>
            <a:custGeom>
              <a:avLst/>
              <a:gdLst>
                <a:gd name="connsiteX0" fmla="*/ 0 w 227208"/>
                <a:gd name="connsiteY0" fmla="*/ 34115 h 204570"/>
                <a:gd name="connsiteX1" fmla="*/ 0 w 227208"/>
                <a:gd name="connsiteY1" fmla="*/ 132627 h 204570"/>
                <a:gd name="connsiteX2" fmla="*/ 34081 w 227208"/>
                <a:gd name="connsiteY2" fmla="*/ 166709 h 204570"/>
                <a:gd name="connsiteX3" fmla="*/ 112672 w 227208"/>
                <a:gd name="connsiteY3" fmla="*/ 166709 h 204570"/>
                <a:gd name="connsiteX4" fmla="*/ 183799 w 227208"/>
                <a:gd name="connsiteY4" fmla="*/ 204121 h 204570"/>
                <a:gd name="connsiteX5" fmla="*/ 188897 w 227208"/>
                <a:gd name="connsiteY5" fmla="*/ 202586 h 204570"/>
                <a:gd name="connsiteX6" fmla="*/ 189263 w 227208"/>
                <a:gd name="connsiteY6" fmla="*/ 200024 h 204570"/>
                <a:gd name="connsiteX7" fmla="*/ 182600 w 227208"/>
                <a:gd name="connsiteY7" fmla="*/ 166709 h 204570"/>
                <a:gd name="connsiteX8" fmla="*/ 193127 w 227208"/>
                <a:gd name="connsiteY8" fmla="*/ 166709 h 204570"/>
                <a:gd name="connsiteX9" fmla="*/ 227209 w 227208"/>
                <a:gd name="connsiteY9" fmla="*/ 132561 h 204570"/>
                <a:gd name="connsiteX10" fmla="*/ 227209 w 227208"/>
                <a:gd name="connsiteY10" fmla="*/ 34115 h 204570"/>
                <a:gd name="connsiteX11" fmla="*/ 193127 w 227208"/>
                <a:gd name="connsiteY11" fmla="*/ 0 h 204570"/>
                <a:gd name="connsiteX12" fmla="*/ 34081 w 227208"/>
                <a:gd name="connsiteY12" fmla="*/ 0 h 204570"/>
                <a:gd name="connsiteX13" fmla="*/ 0 w 227208"/>
                <a:gd name="connsiteY13" fmla="*/ 34115 h 204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7208" h="204570">
                  <a:moveTo>
                    <a:pt x="0" y="34115"/>
                  </a:moveTo>
                  <a:lnTo>
                    <a:pt x="0" y="132627"/>
                  </a:lnTo>
                  <a:cubicBezTo>
                    <a:pt x="18" y="151442"/>
                    <a:pt x="15266" y="166690"/>
                    <a:pt x="34081" y="166709"/>
                  </a:cubicBezTo>
                  <a:lnTo>
                    <a:pt x="112672" y="166709"/>
                  </a:lnTo>
                  <a:lnTo>
                    <a:pt x="183799" y="204121"/>
                  </a:lnTo>
                  <a:cubicBezTo>
                    <a:pt x="185631" y="205105"/>
                    <a:pt x="187913" y="204418"/>
                    <a:pt x="188897" y="202586"/>
                  </a:cubicBezTo>
                  <a:cubicBezTo>
                    <a:pt x="189318" y="201802"/>
                    <a:pt x="189447" y="200894"/>
                    <a:pt x="189263" y="200024"/>
                  </a:cubicBezTo>
                  <a:lnTo>
                    <a:pt x="182600" y="166709"/>
                  </a:lnTo>
                  <a:lnTo>
                    <a:pt x="193127" y="166709"/>
                  </a:lnTo>
                  <a:cubicBezTo>
                    <a:pt x="211968" y="166690"/>
                    <a:pt x="227227" y="151402"/>
                    <a:pt x="227209" y="132561"/>
                  </a:cubicBezTo>
                  <a:lnTo>
                    <a:pt x="227209" y="34115"/>
                  </a:lnTo>
                  <a:cubicBezTo>
                    <a:pt x="227190" y="15294"/>
                    <a:pt x="211948" y="37"/>
                    <a:pt x="193127" y="0"/>
                  </a:cubicBezTo>
                  <a:lnTo>
                    <a:pt x="34081" y="0"/>
                  </a:lnTo>
                  <a:cubicBezTo>
                    <a:pt x="15261" y="37"/>
                    <a:pt x="18" y="15294"/>
                    <a:pt x="0" y="34115"/>
                  </a:cubicBezTo>
                  <a:close/>
                </a:path>
              </a:pathLst>
            </a:custGeom>
            <a:noFill/>
            <a:ln w="13097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4FF4ABA2-41F4-D844-A1FF-C449479FBA93}"/>
                </a:ext>
              </a:extLst>
            </p:cNvPr>
            <p:cNvSpPr/>
            <p:nvPr/>
          </p:nvSpPr>
          <p:spPr>
            <a:xfrm>
              <a:off x="5368564" y="3404135"/>
              <a:ext cx="312047" cy="396530"/>
            </a:xfrm>
            <a:custGeom>
              <a:avLst/>
              <a:gdLst>
                <a:gd name="connsiteX0" fmla="*/ 194424 w 312047"/>
                <a:gd name="connsiteY0" fmla="*/ 362149 h 396530"/>
                <a:gd name="connsiteX1" fmla="*/ 272981 w 312047"/>
                <a:gd name="connsiteY1" fmla="*/ 279961 h 396530"/>
                <a:gd name="connsiteX2" fmla="*/ 277345 w 312047"/>
                <a:gd name="connsiteY2" fmla="*/ 251210 h 396530"/>
                <a:gd name="connsiteX3" fmla="*/ 275146 w 312047"/>
                <a:gd name="connsiteY3" fmla="*/ 247345 h 396530"/>
                <a:gd name="connsiteX4" fmla="*/ 257789 w 312047"/>
                <a:gd name="connsiteY4" fmla="*/ 240916 h 396530"/>
                <a:gd name="connsiteX5" fmla="*/ 256390 w 312047"/>
                <a:gd name="connsiteY5" fmla="*/ 245047 h 396530"/>
                <a:gd name="connsiteX6" fmla="*/ 217911 w 312047"/>
                <a:gd name="connsiteY6" fmla="*/ 305780 h 396530"/>
                <a:gd name="connsiteX7" fmla="*/ 96859 w 312047"/>
                <a:gd name="connsiteY7" fmla="*/ 308588 h 396530"/>
                <a:gd name="connsiteX8" fmla="*/ 93546 w 312047"/>
                <a:gd name="connsiteY8" fmla="*/ 305247 h 396530"/>
                <a:gd name="connsiteX9" fmla="*/ 54301 w 312047"/>
                <a:gd name="connsiteY9" fmla="*/ 240949 h 396530"/>
                <a:gd name="connsiteX10" fmla="*/ 36410 w 312047"/>
                <a:gd name="connsiteY10" fmla="*/ 247045 h 396530"/>
                <a:gd name="connsiteX11" fmla="*/ 12723 w 312047"/>
                <a:gd name="connsiteY11" fmla="*/ 247479 h 396530"/>
                <a:gd name="connsiteX12" fmla="*/ 260 w 312047"/>
                <a:gd name="connsiteY12" fmla="*/ 234106 h 396530"/>
                <a:gd name="connsiteX13" fmla="*/ 297 w 312047"/>
                <a:gd name="connsiteY13" fmla="*/ 233486 h 396530"/>
                <a:gd name="connsiteX14" fmla="*/ 297 w 312047"/>
                <a:gd name="connsiteY14" fmla="*/ 203803 h 396530"/>
                <a:gd name="connsiteX15" fmla="*/ 1230 w 312047"/>
                <a:gd name="connsiteY15" fmla="*/ 135107 h 396530"/>
                <a:gd name="connsiteX16" fmla="*/ 85184 w 312047"/>
                <a:gd name="connsiteY16" fmla="*/ 15706 h 396530"/>
                <a:gd name="connsiteX17" fmla="*/ 237367 w 312047"/>
                <a:gd name="connsiteY17" fmla="*/ 20703 h 396530"/>
                <a:gd name="connsiteX18" fmla="*/ 310660 w 312047"/>
                <a:gd name="connsiteY18" fmla="*/ 131376 h 396530"/>
                <a:gd name="connsiteX19" fmla="*/ 311859 w 312047"/>
                <a:gd name="connsiteY19" fmla="*/ 199572 h 396530"/>
                <a:gd name="connsiteX20" fmla="*/ 311859 w 312047"/>
                <a:gd name="connsiteY20" fmla="*/ 231221 h 396530"/>
                <a:gd name="connsiteX21" fmla="*/ 296301 w 312047"/>
                <a:gd name="connsiteY21" fmla="*/ 247878 h 396530"/>
                <a:gd name="connsiteX22" fmla="*/ 294102 w 312047"/>
                <a:gd name="connsiteY22" fmla="*/ 248112 h 396530"/>
                <a:gd name="connsiteX23" fmla="*/ 291137 w 312047"/>
                <a:gd name="connsiteY23" fmla="*/ 271432 h 396530"/>
                <a:gd name="connsiteX24" fmla="*/ 198522 w 312047"/>
                <a:gd name="connsiteY24" fmla="*/ 377341 h 396530"/>
                <a:gd name="connsiteX25" fmla="*/ 193957 w 312047"/>
                <a:gd name="connsiteY25" fmla="*/ 382405 h 396530"/>
                <a:gd name="connsiteX26" fmla="*/ 179032 w 312047"/>
                <a:gd name="connsiteY26" fmla="*/ 396330 h 396530"/>
                <a:gd name="connsiteX27" fmla="*/ 133524 w 312047"/>
                <a:gd name="connsiteY27" fmla="*/ 396330 h 396530"/>
                <a:gd name="connsiteX28" fmla="*/ 118066 w 312047"/>
                <a:gd name="connsiteY28" fmla="*/ 380705 h 396530"/>
                <a:gd name="connsiteX29" fmla="*/ 118066 w 312047"/>
                <a:gd name="connsiteY29" fmla="*/ 363382 h 396530"/>
                <a:gd name="connsiteX30" fmla="*/ 133790 w 312047"/>
                <a:gd name="connsiteY30" fmla="*/ 347990 h 396530"/>
                <a:gd name="connsiteX31" fmla="*/ 178299 w 312047"/>
                <a:gd name="connsiteY31" fmla="*/ 347990 h 396530"/>
                <a:gd name="connsiteX32" fmla="*/ 194424 w 312047"/>
                <a:gd name="connsiteY32" fmla="*/ 362149 h 396530"/>
                <a:gd name="connsiteX33" fmla="*/ 64895 w 312047"/>
                <a:gd name="connsiteY33" fmla="*/ 176251 h 396530"/>
                <a:gd name="connsiteX34" fmla="*/ 64895 w 312047"/>
                <a:gd name="connsiteY34" fmla="*/ 204669 h 396530"/>
                <a:gd name="connsiteX35" fmla="*/ 107938 w 312047"/>
                <a:gd name="connsiteY35" fmla="*/ 296785 h 396530"/>
                <a:gd name="connsiteX36" fmla="*/ 203019 w 312047"/>
                <a:gd name="connsiteY36" fmla="*/ 297818 h 396530"/>
                <a:gd name="connsiteX37" fmla="*/ 241498 w 312047"/>
                <a:gd name="connsiteY37" fmla="*/ 239650 h 396530"/>
                <a:gd name="connsiteX38" fmla="*/ 247095 w 312047"/>
                <a:gd name="connsiteY38" fmla="*/ 188811 h 396530"/>
                <a:gd name="connsiteX39" fmla="*/ 132524 w 312047"/>
                <a:gd name="connsiteY39" fmla="*/ 142003 h 396530"/>
                <a:gd name="connsiteX40" fmla="*/ 64895 w 312047"/>
                <a:gd name="connsiteY40" fmla="*/ 176251 h 396530"/>
                <a:gd name="connsiteX41" fmla="*/ 295868 w 312047"/>
                <a:gd name="connsiteY41" fmla="*/ 160993 h 396530"/>
                <a:gd name="connsiteX42" fmla="*/ 295868 w 312047"/>
                <a:gd name="connsiteY42" fmla="*/ 141470 h 396530"/>
                <a:gd name="connsiteX43" fmla="*/ 227839 w 312047"/>
                <a:gd name="connsiteY43" fmla="*/ 33363 h 396530"/>
                <a:gd name="connsiteX44" fmla="*/ 128293 w 312047"/>
                <a:gd name="connsiteY44" fmla="*/ 19204 h 396530"/>
                <a:gd name="connsiteX45" fmla="*/ 17554 w 312047"/>
                <a:gd name="connsiteY45" fmla="*/ 129143 h 396530"/>
                <a:gd name="connsiteX46" fmla="*/ 15755 w 312047"/>
                <a:gd name="connsiteY46" fmla="*/ 160826 h 396530"/>
                <a:gd name="connsiteX47" fmla="*/ 48804 w 312047"/>
                <a:gd name="connsiteY47" fmla="*/ 164158 h 396530"/>
                <a:gd name="connsiteX48" fmla="*/ 75123 w 312047"/>
                <a:gd name="connsiteY48" fmla="*/ 85367 h 396530"/>
                <a:gd name="connsiteX49" fmla="*/ 151081 w 312047"/>
                <a:gd name="connsiteY49" fmla="*/ 48221 h 396530"/>
                <a:gd name="connsiteX50" fmla="*/ 221975 w 312047"/>
                <a:gd name="connsiteY50" fmla="*/ 71042 h 396530"/>
                <a:gd name="connsiteX51" fmla="*/ 263286 w 312047"/>
                <a:gd name="connsiteY51" fmla="*/ 164324 h 396530"/>
                <a:gd name="connsiteX52" fmla="*/ 247428 w 312047"/>
                <a:gd name="connsiteY52" fmla="*/ 172986 h 396530"/>
                <a:gd name="connsiteX53" fmla="*/ 247428 w 312047"/>
                <a:gd name="connsiteY53" fmla="*/ 156329 h 396530"/>
                <a:gd name="connsiteX54" fmla="*/ 155978 w 312047"/>
                <a:gd name="connsiteY54" fmla="*/ 65079 h 396530"/>
                <a:gd name="connsiteX55" fmla="*/ 64728 w 312047"/>
                <a:gd name="connsiteY55" fmla="*/ 156528 h 396530"/>
                <a:gd name="connsiteX56" fmla="*/ 67560 w 312047"/>
                <a:gd name="connsiteY56" fmla="*/ 160526 h 396530"/>
                <a:gd name="connsiteX57" fmla="*/ 110203 w 312047"/>
                <a:gd name="connsiteY57" fmla="*/ 146667 h 396530"/>
                <a:gd name="connsiteX58" fmla="*/ 123529 w 312047"/>
                <a:gd name="connsiteY58" fmla="*/ 121448 h 396530"/>
                <a:gd name="connsiteX59" fmla="*/ 131225 w 312047"/>
                <a:gd name="connsiteY59" fmla="*/ 114318 h 396530"/>
                <a:gd name="connsiteX60" fmla="*/ 139587 w 312047"/>
                <a:gd name="connsiteY60" fmla="*/ 120715 h 396530"/>
                <a:gd name="connsiteX61" fmla="*/ 147983 w 312047"/>
                <a:gd name="connsiteY61" fmla="*/ 135740 h 396530"/>
                <a:gd name="connsiteX62" fmla="*/ 247428 w 312047"/>
                <a:gd name="connsiteY62" fmla="*/ 172986 h 396530"/>
                <a:gd name="connsiteX63" fmla="*/ 16355 w 312047"/>
                <a:gd name="connsiteY63" fmla="*/ 231287 h 396530"/>
                <a:gd name="connsiteX64" fmla="*/ 36177 w 312047"/>
                <a:gd name="connsiteY64" fmla="*/ 231121 h 396530"/>
                <a:gd name="connsiteX65" fmla="*/ 48670 w 312047"/>
                <a:gd name="connsiteY65" fmla="*/ 215596 h 396530"/>
                <a:gd name="connsiteX66" fmla="*/ 48670 w 312047"/>
                <a:gd name="connsiteY66" fmla="*/ 193375 h 396530"/>
                <a:gd name="connsiteX67" fmla="*/ 37477 w 312047"/>
                <a:gd name="connsiteY67" fmla="*/ 178883 h 396530"/>
                <a:gd name="connsiteX68" fmla="*/ 16455 w 312047"/>
                <a:gd name="connsiteY68" fmla="*/ 177550 h 396530"/>
                <a:gd name="connsiteX69" fmla="*/ 295735 w 312047"/>
                <a:gd name="connsiteY69" fmla="*/ 177983 h 396530"/>
                <a:gd name="connsiteX70" fmla="*/ 278444 w 312047"/>
                <a:gd name="connsiteY70" fmla="*/ 177983 h 396530"/>
                <a:gd name="connsiteX71" fmla="*/ 263286 w 312047"/>
                <a:gd name="connsiteY71" fmla="*/ 194441 h 396530"/>
                <a:gd name="connsiteX72" fmla="*/ 263286 w 312047"/>
                <a:gd name="connsiteY72" fmla="*/ 215696 h 396530"/>
                <a:gd name="connsiteX73" fmla="*/ 276612 w 312047"/>
                <a:gd name="connsiteY73" fmla="*/ 231254 h 396530"/>
                <a:gd name="connsiteX74" fmla="*/ 295835 w 312047"/>
                <a:gd name="connsiteY74" fmla="*/ 231254 h 396530"/>
                <a:gd name="connsiteX75" fmla="*/ 133890 w 312047"/>
                <a:gd name="connsiteY75" fmla="*/ 380239 h 396530"/>
                <a:gd name="connsiteX76" fmla="*/ 177933 w 312047"/>
                <a:gd name="connsiteY76" fmla="*/ 380239 h 396530"/>
                <a:gd name="connsiteX77" fmla="*/ 177933 w 312047"/>
                <a:gd name="connsiteY77" fmla="*/ 364281 h 396530"/>
                <a:gd name="connsiteX78" fmla="*/ 133890 w 312047"/>
                <a:gd name="connsiteY78" fmla="*/ 364281 h 396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312047" h="396530">
                  <a:moveTo>
                    <a:pt x="194424" y="362149"/>
                  </a:moveTo>
                  <a:cubicBezTo>
                    <a:pt x="233619" y="351098"/>
                    <a:pt x="263712" y="319616"/>
                    <a:pt x="272981" y="279961"/>
                  </a:cubicBezTo>
                  <a:cubicBezTo>
                    <a:pt x="275026" y="270476"/>
                    <a:pt x="276482" y="260875"/>
                    <a:pt x="277345" y="251210"/>
                  </a:cubicBezTo>
                  <a:cubicBezTo>
                    <a:pt x="277278" y="249644"/>
                    <a:pt x="276459" y="248205"/>
                    <a:pt x="275146" y="247345"/>
                  </a:cubicBezTo>
                  <a:cubicBezTo>
                    <a:pt x="269616" y="245047"/>
                    <a:pt x="263919" y="243148"/>
                    <a:pt x="257789" y="240916"/>
                  </a:cubicBezTo>
                  <a:lnTo>
                    <a:pt x="256390" y="245047"/>
                  </a:lnTo>
                  <a:cubicBezTo>
                    <a:pt x="248861" y="268197"/>
                    <a:pt x="235628" y="289082"/>
                    <a:pt x="217911" y="305780"/>
                  </a:cubicBezTo>
                  <a:cubicBezTo>
                    <a:pt x="185259" y="339984"/>
                    <a:pt x="131062" y="341240"/>
                    <a:pt x="96859" y="308588"/>
                  </a:cubicBezTo>
                  <a:cubicBezTo>
                    <a:pt x="95724" y="307506"/>
                    <a:pt x="94620" y="306390"/>
                    <a:pt x="93546" y="305247"/>
                  </a:cubicBezTo>
                  <a:cubicBezTo>
                    <a:pt x="75150" y="287547"/>
                    <a:pt x="61632" y="265402"/>
                    <a:pt x="54301" y="240949"/>
                  </a:cubicBezTo>
                  <a:cubicBezTo>
                    <a:pt x="48550" y="243557"/>
                    <a:pt x="42558" y="245600"/>
                    <a:pt x="36410" y="247045"/>
                  </a:cubicBezTo>
                  <a:cubicBezTo>
                    <a:pt x="28546" y="247942"/>
                    <a:pt x="20615" y="248085"/>
                    <a:pt x="12723" y="247479"/>
                  </a:cubicBezTo>
                  <a:cubicBezTo>
                    <a:pt x="5589" y="247229"/>
                    <a:pt x="9" y="241239"/>
                    <a:pt x="260" y="234106"/>
                  </a:cubicBezTo>
                  <a:cubicBezTo>
                    <a:pt x="268" y="233899"/>
                    <a:pt x="280" y="233693"/>
                    <a:pt x="297" y="233486"/>
                  </a:cubicBezTo>
                  <a:cubicBezTo>
                    <a:pt x="297" y="223492"/>
                    <a:pt x="297" y="213697"/>
                    <a:pt x="297" y="203803"/>
                  </a:cubicBezTo>
                  <a:cubicBezTo>
                    <a:pt x="297" y="180915"/>
                    <a:pt x="-802" y="157861"/>
                    <a:pt x="1230" y="135107"/>
                  </a:cubicBezTo>
                  <a:cubicBezTo>
                    <a:pt x="3520" y="82335"/>
                    <a:pt x="36299" y="35716"/>
                    <a:pt x="85184" y="15706"/>
                  </a:cubicBezTo>
                  <a:cubicBezTo>
                    <a:pt x="133830" y="-6874"/>
                    <a:pt x="190306" y="-5019"/>
                    <a:pt x="237367" y="20703"/>
                  </a:cubicBezTo>
                  <a:cubicBezTo>
                    <a:pt x="279564" y="42133"/>
                    <a:pt x="307399" y="84160"/>
                    <a:pt x="310660" y="131376"/>
                  </a:cubicBezTo>
                  <a:cubicBezTo>
                    <a:pt x="312992" y="153897"/>
                    <a:pt x="311626" y="176817"/>
                    <a:pt x="311859" y="199572"/>
                  </a:cubicBezTo>
                  <a:cubicBezTo>
                    <a:pt x="311859" y="210099"/>
                    <a:pt x="311859" y="220660"/>
                    <a:pt x="311859" y="231221"/>
                  </a:cubicBezTo>
                  <a:cubicBezTo>
                    <a:pt x="311859" y="242581"/>
                    <a:pt x="307528" y="247145"/>
                    <a:pt x="296301" y="247878"/>
                  </a:cubicBezTo>
                  <a:cubicBezTo>
                    <a:pt x="295668" y="247878"/>
                    <a:pt x="295035" y="247878"/>
                    <a:pt x="294102" y="248112"/>
                  </a:cubicBezTo>
                  <a:cubicBezTo>
                    <a:pt x="293103" y="255974"/>
                    <a:pt x="292537" y="263836"/>
                    <a:pt x="291137" y="271432"/>
                  </a:cubicBezTo>
                  <a:cubicBezTo>
                    <a:pt x="284168" y="322054"/>
                    <a:pt x="247761" y="363685"/>
                    <a:pt x="198522" y="377341"/>
                  </a:cubicBezTo>
                  <a:cubicBezTo>
                    <a:pt x="195723" y="378240"/>
                    <a:pt x="194257" y="379040"/>
                    <a:pt x="193957" y="382405"/>
                  </a:cubicBezTo>
                  <a:cubicBezTo>
                    <a:pt x="193248" y="390167"/>
                    <a:pt x="186825" y="396160"/>
                    <a:pt x="179032" y="396330"/>
                  </a:cubicBezTo>
                  <a:cubicBezTo>
                    <a:pt x="163864" y="396597"/>
                    <a:pt x="148692" y="396597"/>
                    <a:pt x="133524" y="396330"/>
                  </a:cubicBezTo>
                  <a:cubicBezTo>
                    <a:pt x="124999" y="396150"/>
                    <a:pt x="118154" y="389234"/>
                    <a:pt x="118066" y="380705"/>
                  </a:cubicBezTo>
                  <a:cubicBezTo>
                    <a:pt x="117799" y="374942"/>
                    <a:pt x="117799" y="369145"/>
                    <a:pt x="118066" y="363382"/>
                  </a:cubicBezTo>
                  <a:cubicBezTo>
                    <a:pt x="118383" y="354886"/>
                    <a:pt x="125292" y="348127"/>
                    <a:pt x="133790" y="347990"/>
                  </a:cubicBezTo>
                  <a:cubicBezTo>
                    <a:pt x="148616" y="347790"/>
                    <a:pt x="163474" y="347757"/>
                    <a:pt x="178299" y="347990"/>
                  </a:cubicBezTo>
                  <a:cubicBezTo>
                    <a:pt x="186402" y="348157"/>
                    <a:pt x="193211" y="354133"/>
                    <a:pt x="194424" y="362149"/>
                  </a:cubicBezTo>
                  <a:close/>
                  <a:moveTo>
                    <a:pt x="64895" y="176251"/>
                  </a:moveTo>
                  <a:cubicBezTo>
                    <a:pt x="64895" y="186245"/>
                    <a:pt x="64895" y="195474"/>
                    <a:pt x="64895" y="204669"/>
                  </a:cubicBezTo>
                  <a:cubicBezTo>
                    <a:pt x="65251" y="240153"/>
                    <a:pt x="80948" y="273747"/>
                    <a:pt x="107938" y="296785"/>
                  </a:cubicBezTo>
                  <a:cubicBezTo>
                    <a:pt x="134170" y="322707"/>
                    <a:pt x="176230" y="323164"/>
                    <a:pt x="203019" y="297818"/>
                  </a:cubicBezTo>
                  <a:cubicBezTo>
                    <a:pt x="221049" y="282423"/>
                    <a:pt x="234382" y="262264"/>
                    <a:pt x="241498" y="239650"/>
                  </a:cubicBezTo>
                  <a:cubicBezTo>
                    <a:pt x="246675" y="223232"/>
                    <a:pt x="248577" y="205960"/>
                    <a:pt x="247095" y="188811"/>
                  </a:cubicBezTo>
                  <a:cubicBezTo>
                    <a:pt x="203286" y="194787"/>
                    <a:pt x="159616" y="176946"/>
                    <a:pt x="132524" y="142003"/>
                  </a:cubicBezTo>
                  <a:cubicBezTo>
                    <a:pt x="120892" y="167952"/>
                    <a:pt x="92696" y="182231"/>
                    <a:pt x="64895" y="176251"/>
                  </a:cubicBezTo>
                  <a:close/>
                  <a:moveTo>
                    <a:pt x="295868" y="160993"/>
                  </a:moveTo>
                  <a:cubicBezTo>
                    <a:pt x="295868" y="154629"/>
                    <a:pt x="296235" y="148033"/>
                    <a:pt x="295868" y="141470"/>
                  </a:cubicBezTo>
                  <a:cubicBezTo>
                    <a:pt x="294799" y="95665"/>
                    <a:pt x="268673" y="54145"/>
                    <a:pt x="227839" y="33363"/>
                  </a:cubicBezTo>
                  <a:cubicBezTo>
                    <a:pt x="197116" y="17828"/>
                    <a:pt x="162128" y="12852"/>
                    <a:pt x="128293" y="19204"/>
                  </a:cubicBezTo>
                  <a:cubicBezTo>
                    <a:pt x="70548" y="26142"/>
                    <a:pt x="24911" y="71449"/>
                    <a:pt x="17554" y="129143"/>
                  </a:cubicBezTo>
                  <a:cubicBezTo>
                    <a:pt x="15955" y="139738"/>
                    <a:pt x="16288" y="150665"/>
                    <a:pt x="15755" y="160826"/>
                  </a:cubicBezTo>
                  <a:lnTo>
                    <a:pt x="48804" y="164158"/>
                  </a:lnTo>
                  <a:cubicBezTo>
                    <a:pt x="46793" y="135445"/>
                    <a:pt x="56259" y="107108"/>
                    <a:pt x="75123" y="85367"/>
                  </a:cubicBezTo>
                  <a:cubicBezTo>
                    <a:pt x="94087" y="62848"/>
                    <a:pt x="121662" y="49363"/>
                    <a:pt x="151081" y="48221"/>
                  </a:cubicBezTo>
                  <a:cubicBezTo>
                    <a:pt x="176743" y="46625"/>
                    <a:pt x="202063" y="54775"/>
                    <a:pt x="221975" y="71042"/>
                  </a:cubicBezTo>
                  <a:cubicBezTo>
                    <a:pt x="250590" y="93183"/>
                    <a:pt x="266121" y="128254"/>
                    <a:pt x="263286" y="164324"/>
                  </a:cubicBezTo>
                  <a:close/>
                  <a:moveTo>
                    <a:pt x="247428" y="172986"/>
                  </a:moveTo>
                  <a:cubicBezTo>
                    <a:pt x="247428" y="167056"/>
                    <a:pt x="247428" y="161659"/>
                    <a:pt x="247428" y="156329"/>
                  </a:cubicBezTo>
                  <a:cubicBezTo>
                    <a:pt x="247371" y="105878"/>
                    <a:pt x="206431" y="65023"/>
                    <a:pt x="155978" y="65079"/>
                  </a:cubicBezTo>
                  <a:cubicBezTo>
                    <a:pt x="105527" y="65134"/>
                    <a:pt x="64673" y="106077"/>
                    <a:pt x="64728" y="156528"/>
                  </a:cubicBezTo>
                  <a:cubicBezTo>
                    <a:pt x="64728" y="157928"/>
                    <a:pt x="66427" y="160360"/>
                    <a:pt x="67560" y="160526"/>
                  </a:cubicBezTo>
                  <a:cubicBezTo>
                    <a:pt x="83226" y="163785"/>
                    <a:pt x="99447" y="158513"/>
                    <a:pt x="110203" y="146667"/>
                  </a:cubicBezTo>
                  <a:cubicBezTo>
                    <a:pt x="116479" y="139366"/>
                    <a:pt x="121034" y="130747"/>
                    <a:pt x="123529" y="121448"/>
                  </a:cubicBezTo>
                  <a:cubicBezTo>
                    <a:pt x="124695" y="117483"/>
                    <a:pt x="126861" y="114518"/>
                    <a:pt x="131225" y="114318"/>
                  </a:cubicBezTo>
                  <a:cubicBezTo>
                    <a:pt x="135589" y="114118"/>
                    <a:pt x="137888" y="117017"/>
                    <a:pt x="139587" y="120715"/>
                  </a:cubicBezTo>
                  <a:cubicBezTo>
                    <a:pt x="141869" y="125995"/>
                    <a:pt x="144681" y="131029"/>
                    <a:pt x="147983" y="135740"/>
                  </a:cubicBezTo>
                  <a:cubicBezTo>
                    <a:pt x="172486" y="164478"/>
                    <a:pt x="210075" y="178556"/>
                    <a:pt x="247428" y="172986"/>
                  </a:cubicBezTo>
                  <a:close/>
                  <a:moveTo>
                    <a:pt x="16355" y="231287"/>
                  </a:moveTo>
                  <a:cubicBezTo>
                    <a:pt x="22959" y="231651"/>
                    <a:pt x="29580" y="231594"/>
                    <a:pt x="36177" y="231121"/>
                  </a:cubicBezTo>
                  <a:cubicBezTo>
                    <a:pt x="43684" y="229878"/>
                    <a:pt x="49061" y="223195"/>
                    <a:pt x="48670" y="215596"/>
                  </a:cubicBezTo>
                  <a:cubicBezTo>
                    <a:pt x="48670" y="208200"/>
                    <a:pt x="48670" y="200771"/>
                    <a:pt x="48670" y="193375"/>
                  </a:cubicBezTo>
                  <a:cubicBezTo>
                    <a:pt x="48825" y="186509"/>
                    <a:pt x="44159" y="180468"/>
                    <a:pt x="37477" y="178883"/>
                  </a:cubicBezTo>
                  <a:cubicBezTo>
                    <a:pt x="30503" y="178015"/>
                    <a:pt x="23483" y="177570"/>
                    <a:pt x="16455" y="177550"/>
                  </a:cubicBezTo>
                  <a:close/>
                  <a:moveTo>
                    <a:pt x="295735" y="177983"/>
                  </a:moveTo>
                  <a:cubicBezTo>
                    <a:pt x="289605" y="177983"/>
                    <a:pt x="284008" y="177650"/>
                    <a:pt x="278444" y="177983"/>
                  </a:cubicBezTo>
                  <a:cubicBezTo>
                    <a:pt x="269779" y="178484"/>
                    <a:pt x="263073" y="185765"/>
                    <a:pt x="263286" y="194441"/>
                  </a:cubicBezTo>
                  <a:cubicBezTo>
                    <a:pt x="263286" y="201537"/>
                    <a:pt x="263286" y="208600"/>
                    <a:pt x="263286" y="215696"/>
                  </a:cubicBezTo>
                  <a:cubicBezTo>
                    <a:pt x="263069" y="223535"/>
                    <a:pt x="268833" y="230265"/>
                    <a:pt x="276612" y="231254"/>
                  </a:cubicBezTo>
                  <a:cubicBezTo>
                    <a:pt x="283015" y="231637"/>
                    <a:pt x="289432" y="231637"/>
                    <a:pt x="295835" y="231254"/>
                  </a:cubicBezTo>
                  <a:close/>
                  <a:moveTo>
                    <a:pt x="133890" y="380239"/>
                  </a:moveTo>
                  <a:lnTo>
                    <a:pt x="177933" y="380239"/>
                  </a:lnTo>
                  <a:lnTo>
                    <a:pt x="177933" y="364281"/>
                  </a:lnTo>
                  <a:lnTo>
                    <a:pt x="133890" y="364281"/>
                  </a:ln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625C42C8-2E4D-734D-8A30-8816D42C2D53}"/>
                </a:ext>
              </a:extLst>
            </p:cNvPr>
            <p:cNvSpPr/>
            <p:nvPr/>
          </p:nvSpPr>
          <p:spPr>
            <a:xfrm>
              <a:off x="5193849" y="3363786"/>
              <a:ext cx="171083" cy="14344"/>
            </a:xfrm>
            <a:custGeom>
              <a:avLst/>
              <a:gdLst>
                <a:gd name="connsiteX0" fmla="*/ 85994 w 171083"/>
                <a:gd name="connsiteY0" fmla="*/ 52 h 14344"/>
                <a:gd name="connsiteX1" fmla="*/ 162019 w 171083"/>
                <a:gd name="connsiteY1" fmla="*/ 52 h 14344"/>
                <a:gd name="connsiteX2" fmla="*/ 171081 w 171083"/>
                <a:gd name="connsiteY2" fmla="*/ 6882 h 14344"/>
                <a:gd name="connsiteX3" fmla="*/ 161986 w 171083"/>
                <a:gd name="connsiteY3" fmla="*/ 14345 h 14344"/>
                <a:gd name="connsiteX4" fmla="*/ 8736 w 171083"/>
                <a:gd name="connsiteY4" fmla="*/ 14345 h 14344"/>
                <a:gd name="connsiteX5" fmla="*/ 274 w 171083"/>
                <a:gd name="connsiteY5" fmla="*/ 8648 h 14344"/>
                <a:gd name="connsiteX6" fmla="*/ 3972 w 171083"/>
                <a:gd name="connsiteY6" fmla="*/ 852 h 14344"/>
                <a:gd name="connsiteX7" fmla="*/ 9636 w 171083"/>
                <a:gd name="connsiteY7" fmla="*/ 19 h 14344"/>
                <a:gd name="connsiteX8" fmla="*/ 86261 w 171083"/>
                <a:gd name="connsiteY8" fmla="*/ 19 h 14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083" h="14344">
                  <a:moveTo>
                    <a:pt x="85994" y="52"/>
                  </a:moveTo>
                  <a:lnTo>
                    <a:pt x="162019" y="52"/>
                  </a:lnTo>
                  <a:cubicBezTo>
                    <a:pt x="167949" y="52"/>
                    <a:pt x="170981" y="2351"/>
                    <a:pt x="171081" y="6882"/>
                  </a:cubicBezTo>
                  <a:cubicBezTo>
                    <a:pt x="171181" y="11413"/>
                    <a:pt x="167949" y="14345"/>
                    <a:pt x="161986" y="14345"/>
                  </a:cubicBezTo>
                  <a:lnTo>
                    <a:pt x="8736" y="14345"/>
                  </a:lnTo>
                  <a:cubicBezTo>
                    <a:pt x="4605" y="14345"/>
                    <a:pt x="1274" y="13045"/>
                    <a:pt x="274" y="8648"/>
                  </a:cubicBezTo>
                  <a:cubicBezTo>
                    <a:pt x="-678" y="5485"/>
                    <a:pt x="920" y="2115"/>
                    <a:pt x="3972" y="852"/>
                  </a:cubicBezTo>
                  <a:cubicBezTo>
                    <a:pt x="5787" y="204"/>
                    <a:pt x="7712" y="-79"/>
                    <a:pt x="9636" y="19"/>
                  </a:cubicBezTo>
                  <a:lnTo>
                    <a:pt x="86261" y="19"/>
                  </a:ln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29DE8277-DC52-0543-BF78-2906FE63C992}"/>
                </a:ext>
              </a:extLst>
            </p:cNvPr>
            <p:cNvSpPr/>
            <p:nvPr/>
          </p:nvSpPr>
          <p:spPr>
            <a:xfrm>
              <a:off x="5193806" y="3331209"/>
              <a:ext cx="171052" cy="14393"/>
            </a:xfrm>
            <a:custGeom>
              <a:avLst/>
              <a:gdLst>
                <a:gd name="connsiteX0" fmla="*/ 85537 w 171052"/>
                <a:gd name="connsiteY0" fmla="*/ 14306 h 14393"/>
                <a:gd name="connsiteX1" fmla="*/ 10878 w 171052"/>
                <a:gd name="connsiteY1" fmla="*/ 14306 h 14393"/>
                <a:gd name="connsiteX2" fmla="*/ 5981 w 171052"/>
                <a:gd name="connsiteY2" fmla="*/ 14306 h 14393"/>
                <a:gd name="connsiteX3" fmla="*/ 84 w 171052"/>
                <a:gd name="connsiteY3" fmla="*/ 8010 h 14393"/>
                <a:gd name="connsiteX4" fmla="*/ 5114 w 171052"/>
                <a:gd name="connsiteY4" fmla="*/ 480 h 14393"/>
                <a:gd name="connsiteX5" fmla="*/ 9978 w 171052"/>
                <a:gd name="connsiteY5" fmla="*/ 14 h 14393"/>
                <a:gd name="connsiteX6" fmla="*/ 161062 w 171052"/>
                <a:gd name="connsiteY6" fmla="*/ 14 h 14393"/>
                <a:gd name="connsiteX7" fmla="*/ 165926 w 171052"/>
                <a:gd name="connsiteY7" fmla="*/ 514 h 14393"/>
                <a:gd name="connsiteX8" fmla="*/ 170957 w 171052"/>
                <a:gd name="connsiteY8" fmla="*/ 7910 h 14393"/>
                <a:gd name="connsiteX9" fmla="*/ 165027 w 171052"/>
                <a:gd name="connsiteY9" fmla="*/ 14140 h 14393"/>
                <a:gd name="connsiteX10" fmla="*/ 160562 w 171052"/>
                <a:gd name="connsiteY10" fmla="*/ 14140 h 1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1052" h="14393">
                  <a:moveTo>
                    <a:pt x="85537" y="14306"/>
                  </a:moveTo>
                  <a:lnTo>
                    <a:pt x="10878" y="14306"/>
                  </a:lnTo>
                  <a:cubicBezTo>
                    <a:pt x="9247" y="14423"/>
                    <a:pt x="7611" y="14423"/>
                    <a:pt x="5981" y="14306"/>
                  </a:cubicBezTo>
                  <a:cubicBezTo>
                    <a:pt x="2697" y="14018"/>
                    <a:pt x="156" y="11305"/>
                    <a:pt x="84" y="8010"/>
                  </a:cubicBezTo>
                  <a:cubicBezTo>
                    <a:pt x="-464" y="4571"/>
                    <a:pt x="1728" y="1290"/>
                    <a:pt x="5114" y="480"/>
                  </a:cubicBezTo>
                  <a:cubicBezTo>
                    <a:pt x="6707" y="107"/>
                    <a:pt x="8343" y="-50"/>
                    <a:pt x="9978" y="14"/>
                  </a:cubicBezTo>
                  <a:cubicBezTo>
                    <a:pt x="60351" y="14"/>
                    <a:pt x="110712" y="14"/>
                    <a:pt x="161062" y="14"/>
                  </a:cubicBezTo>
                  <a:cubicBezTo>
                    <a:pt x="162699" y="-40"/>
                    <a:pt x="164335" y="129"/>
                    <a:pt x="165926" y="514"/>
                  </a:cubicBezTo>
                  <a:cubicBezTo>
                    <a:pt x="169324" y="1218"/>
                    <a:pt x="171550" y="4491"/>
                    <a:pt x="170957" y="7910"/>
                  </a:cubicBezTo>
                  <a:cubicBezTo>
                    <a:pt x="170865" y="11197"/>
                    <a:pt x="168306" y="13885"/>
                    <a:pt x="165027" y="14140"/>
                  </a:cubicBezTo>
                  <a:cubicBezTo>
                    <a:pt x="163541" y="14257"/>
                    <a:pt x="162048" y="14257"/>
                    <a:pt x="160562" y="14140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17" name="Freeform 116">
              <a:extLst>
                <a:ext uri="{FF2B5EF4-FFF2-40B4-BE49-F238E27FC236}">
                  <a16:creationId xmlns:a16="http://schemas.microsoft.com/office/drawing/2014/main" id="{00BC7C86-E41E-3B4A-A4CE-6CB826DF82B3}"/>
                </a:ext>
              </a:extLst>
            </p:cNvPr>
            <p:cNvSpPr/>
            <p:nvPr/>
          </p:nvSpPr>
          <p:spPr>
            <a:xfrm>
              <a:off x="5193736" y="3396287"/>
              <a:ext cx="117679" cy="14274"/>
            </a:xfrm>
            <a:custGeom>
              <a:avLst/>
              <a:gdLst>
                <a:gd name="connsiteX0" fmla="*/ 59089 w 117679"/>
                <a:gd name="connsiteY0" fmla="*/ 14259 h 14274"/>
                <a:gd name="connsiteX1" fmla="*/ 8516 w 117679"/>
                <a:gd name="connsiteY1" fmla="*/ 14259 h 14274"/>
                <a:gd name="connsiteX2" fmla="*/ 154 w 117679"/>
                <a:gd name="connsiteY2" fmla="*/ 8562 h 14274"/>
                <a:gd name="connsiteX3" fmla="*/ 8350 w 117679"/>
                <a:gd name="connsiteY3" fmla="*/ 0 h 14274"/>
                <a:gd name="connsiteX4" fmla="*/ 70482 w 117679"/>
                <a:gd name="connsiteY4" fmla="*/ 0 h 14274"/>
                <a:gd name="connsiteX5" fmla="*/ 110327 w 117679"/>
                <a:gd name="connsiteY5" fmla="*/ 0 h 14274"/>
                <a:gd name="connsiteX6" fmla="*/ 117657 w 117679"/>
                <a:gd name="connsiteY6" fmla="*/ 5131 h 14274"/>
                <a:gd name="connsiteX7" fmla="*/ 115291 w 117679"/>
                <a:gd name="connsiteY7" fmla="*/ 12560 h 14274"/>
                <a:gd name="connsiteX8" fmla="*/ 109161 w 117679"/>
                <a:gd name="connsiteY8" fmla="*/ 14226 h 14274"/>
                <a:gd name="connsiteX9" fmla="*/ 59089 w 117679"/>
                <a:gd name="connsiteY9" fmla="*/ 14259 h 14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679" h="14274">
                  <a:moveTo>
                    <a:pt x="59089" y="14259"/>
                  </a:moveTo>
                  <a:lnTo>
                    <a:pt x="8516" y="14259"/>
                  </a:lnTo>
                  <a:cubicBezTo>
                    <a:pt x="3686" y="14259"/>
                    <a:pt x="821" y="12227"/>
                    <a:pt x="154" y="8562"/>
                  </a:cubicBezTo>
                  <a:cubicBezTo>
                    <a:pt x="-778" y="3598"/>
                    <a:pt x="2586" y="0"/>
                    <a:pt x="8350" y="0"/>
                  </a:cubicBezTo>
                  <a:cubicBezTo>
                    <a:pt x="29039" y="0"/>
                    <a:pt x="49761" y="0"/>
                    <a:pt x="70482" y="0"/>
                  </a:cubicBezTo>
                  <a:lnTo>
                    <a:pt x="110327" y="0"/>
                  </a:lnTo>
                  <a:cubicBezTo>
                    <a:pt x="114025" y="0"/>
                    <a:pt x="117190" y="1499"/>
                    <a:pt x="117657" y="5131"/>
                  </a:cubicBezTo>
                  <a:cubicBezTo>
                    <a:pt x="117831" y="7816"/>
                    <a:pt x="116987" y="10469"/>
                    <a:pt x="115291" y="12560"/>
                  </a:cubicBezTo>
                  <a:cubicBezTo>
                    <a:pt x="113528" y="13862"/>
                    <a:pt x="111341" y="14457"/>
                    <a:pt x="109161" y="14226"/>
                  </a:cubicBezTo>
                  <a:cubicBezTo>
                    <a:pt x="92470" y="14292"/>
                    <a:pt x="75780" y="14259"/>
                    <a:pt x="59089" y="14259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18" name="Freeform 117">
              <a:extLst>
                <a:ext uri="{FF2B5EF4-FFF2-40B4-BE49-F238E27FC236}">
                  <a16:creationId xmlns:a16="http://schemas.microsoft.com/office/drawing/2014/main" id="{36523241-7CB4-744C-BBA6-9A1B586119DB}"/>
                </a:ext>
              </a:extLst>
            </p:cNvPr>
            <p:cNvSpPr/>
            <p:nvPr/>
          </p:nvSpPr>
          <p:spPr>
            <a:xfrm>
              <a:off x="5497174" y="3669850"/>
              <a:ext cx="54713" cy="23673"/>
            </a:xfrm>
            <a:custGeom>
              <a:avLst/>
              <a:gdLst>
                <a:gd name="connsiteX0" fmla="*/ 27534 w 54713"/>
                <a:gd name="connsiteY0" fmla="*/ 23674 h 23673"/>
                <a:gd name="connsiteX1" fmla="*/ 3181 w 54713"/>
                <a:gd name="connsiteY1" fmla="*/ 14246 h 23673"/>
                <a:gd name="connsiteX2" fmla="*/ 1498 w 54713"/>
                <a:gd name="connsiteY2" fmla="*/ 3398 h 23673"/>
                <a:gd name="connsiteX3" fmla="*/ 1582 w 54713"/>
                <a:gd name="connsiteY3" fmla="*/ 3285 h 23673"/>
                <a:gd name="connsiteX4" fmla="*/ 11839 w 54713"/>
                <a:gd name="connsiteY4" fmla="*/ 1250 h 23673"/>
                <a:gd name="connsiteX5" fmla="*/ 12509 w 54713"/>
                <a:gd name="connsiteY5" fmla="*/ 1753 h 23673"/>
                <a:gd name="connsiteX6" fmla="*/ 42493 w 54713"/>
                <a:gd name="connsiteY6" fmla="*/ 1753 h 23673"/>
                <a:gd name="connsiteX7" fmla="*/ 52754 w 54713"/>
                <a:gd name="connsiteY7" fmla="*/ 2825 h 23673"/>
                <a:gd name="connsiteX8" fmla="*/ 53054 w 54713"/>
                <a:gd name="connsiteY8" fmla="*/ 3219 h 23673"/>
                <a:gd name="connsiteX9" fmla="*/ 51754 w 54713"/>
                <a:gd name="connsiteY9" fmla="*/ 14279 h 23673"/>
                <a:gd name="connsiteX10" fmla="*/ 27534 w 54713"/>
                <a:gd name="connsiteY10" fmla="*/ 23674 h 23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713" h="23673">
                  <a:moveTo>
                    <a:pt x="27534" y="23674"/>
                  </a:moveTo>
                  <a:cubicBezTo>
                    <a:pt x="18576" y="23414"/>
                    <a:pt x="9977" y="20086"/>
                    <a:pt x="3181" y="14246"/>
                  </a:cubicBezTo>
                  <a:cubicBezTo>
                    <a:pt x="-281" y="11714"/>
                    <a:pt x="-1033" y="6860"/>
                    <a:pt x="1498" y="3398"/>
                  </a:cubicBezTo>
                  <a:cubicBezTo>
                    <a:pt x="1525" y="3358"/>
                    <a:pt x="1552" y="3322"/>
                    <a:pt x="1582" y="3285"/>
                  </a:cubicBezTo>
                  <a:cubicBezTo>
                    <a:pt x="3854" y="-110"/>
                    <a:pt x="8445" y="-1022"/>
                    <a:pt x="11839" y="1250"/>
                  </a:cubicBezTo>
                  <a:cubicBezTo>
                    <a:pt x="12073" y="1403"/>
                    <a:pt x="12296" y="1573"/>
                    <a:pt x="12509" y="1753"/>
                  </a:cubicBezTo>
                  <a:cubicBezTo>
                    <a:pt x="20948" y="9642"/>
                    <a:pt x="34054" y="9642"/>
                    <a:pt x="42493" y="1753"/>
                  </a:cubicBezTo>
                  <a:cubicBezTo>
                    <a:pt x="45621" y="-786"/>
                    <a:pt x="50218" y="-306"/>
                    <a:pt x="52754" y="2825"/>
                  </a:cubicBezTo>
                  <a:cubicBezTo>
                    <a:pt x="52860" y="2952"/>
                    <a:pt x="52957" y="3082"/>
                    <a:pt x="53054" y="3219"/>
                  </a:cubicBezTo>
                  <a:cubicBezTo>
                    <a:pt x="55699" y="6647"/>
                    <a:pt x="55122" y="11557"/>
                    <a:pt x="51754" y="14279"/>
                  </a:cubicBezTo>
                  <a:cubicBezTo>
                    <a:pt x="44991" y="20089"/>
                    <a:pt x="36446" y="23404"/>
                    <a:pt x="27534" y="23674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FED7C5D0-ED97-C440-B6B6-59A482B71610}"/>
                </a:ext>
              </a:extLst>
            </p:cNvPr>
            <p:cNvSpPr/>
            <p:nvPr/>
          </p:nvSpPr>
          <p:spPr>
            <a:xfrm>
              <a:off x="5474297" y="3610300"/>
              <a:ext cx="21696" cy="21691"/>
            </a:xfrm>
            <a:custGeom>
              <a:avLst/>
              <a:gdLst>
                <a:gd name="connsiteX0" fmla="*/ 6 w 21696"/>
                <a:gd name="connsiteY0" fmla="*/ 10531 h 21691"/>
                <a:gd name="connsiteX1" fmla="*/ 10464 w 21696"/>
                <a:gd name="connsiteY1" fmla="*/ 0 h 21691"/>
                <a:gd name="connsiteX2" fmla="*/ 10767 w 21696"/>
                <a:gd name="connsiteY2" fmla="*/ 3 h 21691"/>
                <a:gd name="connsiteX3" fmla="*/ 21694 w 21696"/>
                <a:gd name="connsiteY3" fmla="*/ 10728 h 21691"/>
                <a:gd name="connsiteX4" fmla="*/ 21694 w 21696"/>
                <a:gd name="connsiteY4" fmla="*/ 11031 h 21691"/>
                <a:gd name="connsiteX5" fmla="*/ 10767 w 21696"/>
                <a:gd name="connsiteY5" fmla="*/ 21692 h 21691"/>
                <a:gd name="connsiteX6" fmla="*/ 0 w 21696"/>
                <a:gd name="connsiteY6" fmla="*/ 10871 h 21691"/>
                <a:gd name="connsiteX7" fmla="*/ 6 w 21696"/>
                <a:gd name="connsiteY7" fmla="*/ 10531 h 21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696" h="21691">
                  <a:moveTo>
                    <a:pt x="6" y="10531"/>
                  </a:moveTo>
                  <a:cubicBezTo>
                    <a:pt x="-14" y="4735"/>
                    <a:pt x="4668" y="20"/>
                    <a:pt x="10464" y="0"/>
                  </a:cubicBezTo>
                  <a:cubicBezTo>
                    <a:pt x="10565" y="0"/>
                    <a:pt x="10666" y="1"/>
                    <a:pt x="10767" y="3"/>
                  </a:cubicBezTo>
                  <a:cubicBezTo>
                    <a:pt x="16747" y="-53"/>
                    <a:pt x="21641" y="4749"/>
                    <a:pt x="21694" y="10728"/>
                  </a:cubicBezTo>
                  <a:cubicBezTo>
                    <a:pt x="21698" y="10831"/>
                    <a:pt x="21698" y="10931"/>
                    <a:pt x="21694" y="11031"/>
                  </a:cubicBezTo>
                  <a:cubicBezTo>
                    <a:pt x="21431" y="16911"/>
                    <a:pt x="16651" y="21575"/>
                    <a:pt x="10767" y="21692"/>
                  </a:cubicBezTo>
                  <a:cubicBezTo>
                    <a:pt x="4806" y="21678"/>
                    <a:pt x="-15" y="16831"/>
                    <a:pt x="0" y="10871"/>
                  </a:cubicBezTo>
                  <a:cubicBezTo>
                    <a:pt x="0" y="10757"/>
                    <a:pt x="2" y="10644"/>
                    <a:pt x="6" y="10531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20" name="Freeform 119">
              <a:extLst>
                <a:ext uri="{FF2B5EF4-FFF2-40B4-BE49-F238E27FC236}">
                  <a16:creationId xmlns:a16="http://schemas.microsoft.com/office/drawing/2014/main" id="{DCCE2B52-8E67-EC4E-AEAB-F4C460AC059A}"/>
                </a:ext>
              </a:extLst>
            </p:cNvPr>
            <p:cNvSpPr/>
            <p:nvPr/>
          </p:nvSpPr>
          <p:spPr>
            <a:xfrm>
              <a:off x="5553389" y="3610301"/>
              <a:ext cx="21695" cy="21690"/>
            </a:xfrm>
            <a:custGeom>
              <a:avLst/>
              <a:gdLst>
                <a:gd name="connsiteX0" fmla="*/ 4 w 21695"/>
                <a:gd name="connsiteY0" fmla="*/ 10530 h 21690"/>
                <a:gd name="connsiteX1" fmla="*/ 10595 w 21695"/>
                <a:gd name="connsiteY1" fmla="*/ 0 h 21690"/>
                <a:gd name="connsiteX2" fmla="*/ 10798 w 21695"/>
                <a:gd name="connsiteY2" fmla="*/ 3 h 21690"/>
                <a:gd name="connsiteX3" fmla="*/ 21695 w 21695"/>
                <a:gd name="connsiteY3" fmla="*/ 10694 h 21690"/>
                <a:gd name="connsiteX4" fmla="*/ 21692 w 21695"/>
                <a:gd name="connsiteY4" fmla="*/ 11030 h 21690"/>
                <a:gd name="connsiteX5" fmla="*/ 10765 w 21695"/>
                <a:gd name="connsiteY5" fmla="*/ 21691 h 21690"/>
                <a:gd name="connsiteX6" fmla="*/ 0 w 21695"/>
                <a:gd name="connsiteY6" fmla="*/ 10733 h 21690"/>
                <a:gd name="connsiteX7" fmla="*/ 4 w 21695"/>
                <a:gd name="connsiteY7" fmla="*/ 10530 h 21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695" h="21690">
                  <a:moveTo>
                    <a:pt x="4" y="10530"/>
                  </a:moveTo>
                  <a:cubicBezTo>
                    <a:pt x="20" y="4698"/>
                    <a:pt x="4761" y="-17"/>
                    <a:pt x="10595" y="0"/>
                  </a:cubicBezTo>
                  <a:cubicBezTo>
                    <a:pt x="10661" y="0"/>
                    <a:pt x="10731" y="1"/>
                    <a:pt x="10798" y="3"/>
                  </a:cubicBezTo>
                  <a:cubicBezTo>
                    <a:pt x="16758" y="-54"/>
                    <a:pt x="21639" y="4733"/>
                    <a:pt x="21695" y="10694"/>
                  </a:cubicBezTo>
                  <a:cubicBezTo>
                    <a:pt x="21695" y="10807"/>
                    <a:pt x="21695" y="10917"/>
                    <a:pt x="21692" y="11030"/>
                  </a:cubicBezTo>
                  <a:cubicBezTo>
                    <a:pt x="21445" y="16917"/>
                    <a:pt x="16655" y="21591"/>
                    <a:pt x="10765" y="21691"/>
                  </a:cubicBezTo>
                  <a:cubicBezTo>
                    <a:pt x="4768" y="21638"/>
                    <a:pt x="-53" y="16734"/>
                    <a:pt x="0" y="10733"/>
                  </a:cubicBezTo>
                  <a:cubicBezTo>
                    <a:pt x="0" y="10667"/>
                    <a:pt x="0" y="10597"/>
                    <a:pt x="4" y="10530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120BFC2B-0AB3-244F-9DD2-B397ED31FA2B}"/>
                </a:ext>
              </a:extLst>
            </p:cNvPr>
            <p:cNvSpPr/>
            <p:nvPr/>
          </p:nvSpPr>
          <p:spPr>
            <a:xfrm>
              <a:off x="5198110" y="3534299"/>
              <a:ext cx="109351" cy="104320"/>
            </a:xfrm>
            <a:custGeom>
              <a:avLst/>
              <a:gdLst>
                <a:gd name="connsiteX0" fmla="*/ 79101 w 109351"/>
                <a:gd name="connsiteY0" fmla="*/ 846 h 104320"/>
                <a:gd name="connsiteX1" fmla="*/ 68745 w 109351"/>
                <a:gd name="connsiteY1" fmla="*/ 4193 h 104320"/>
                <a:gd name="connsiteX2" fmla="*/ 67974 w 109351"/>
                <a:gd name="connsiteY2" fmla="*/ 6642 h 104320"/>
                <a:gd name="connsiteX3" fmla="*/ 64210 w 109351"/>
                <a:gd name="connsiteY3" fmla="*/ 33295 h 104320"/>
                <a:gd name="connsiteX4" fmla="*/ 45087 w 109351"/>
                <a:gd name="connsiteY4" fmla="*/ 33295 h 104320"/>
                <a:gd name="connsiteX5" fmla="*/ 40789 w 109351"/>
                <a:gd name="connsiteY5" fmla="*/ 6709 h 104320"/>
                <a:gd name="connsiteX6" fmla="*/ 31942 w 109351"/>
                <a:gd name="connsiteY6" fmla="*/ 290 h 104320"/>
                <a:gd name="connsiteX7" fmla="*/ 29695 w 109351"/>
                <a:gd name="connsiteY7" fmla="*/ 1012 h 104320"/>
                <a:gd name="connsiteX8" fmla="*/ 6055 w 109351"/>
                <a:gd name="connsiteY8" fmla="*/ 74625 h 104320"/>
                <a:gd name="connsiteX9" fmla="*/ 79668 w 109351"/>
                <a:gd name="connsiteY9" fmla="*/ 98266 h 104320"/>
                <a:gd name="connsiteX10" fmla="*/ 109351 w 109351"/>
                <a:gd name="connsiteY10" fmla="*/ 49752 h 104320"/>
                <a:gd name="connsiteX11" fmla="*/ 109351 w 109351"/>
                <a:gd name="connsiteY11" fmla="*/ 49752 h 104320"/>
                <a:gd name="connsiteX12" fmla="*/ 79101 w 109351"/>
                <a:gd name="connsiteY12" fmla="*/ 846 h 104320"/>
                <a:gd name="connsiteX13" fmla="*/ 94093 w 109351"/>
                <a:gd name="connsiteY13" fmla="*/ 49819 h 104320"/>
                <a:gd name="connsiteX14" fmla="*/ 54782 w 109351"/>
                <a:gd name="connsiteY14" fmla="*/ 89330 h 104320"/>
                <a:gd name="connsiteX15" fmla="*/ 15270 w 109351"/>
                <a:gd name="connsiteY15" fmla="*/ 50019 h 104320"/>
                <a:gd name="connsiteX16" fmla="*/ 26830 w 109351"/>
                <a:gd name="connsiteY16" fmla="*/ 22034 h 104320"/>
                <a:gd name="connsiteX17" fmla="*/ 27463 w 109351"/>
                <a:gd name="connsiteY17" fmla="*/ 21201 h 104320"/>
                <a:gd name="connsiteX18" fmla="*/ 30794 w 109351"/>
                <a:gd name="connsiteY18" fmla="*/ 42090 h 104320"/>
                <a:gd name="connsiteX19" fmla="*/ 38424 w 109351"/>
                <a:gd name="connsiteY19" fmla="*/ 48753 h 104320"/>
                <a:gd name="connsiteX20" fmla="*/ 70773 w 109351"/>
                <a:gd name="connsiteY20" fmla="*/ 48753 h 104320"/>
                <a:gd name="connsiteX21" fmla="*/ 78402 w 109351"/>
                <a:gd name="connsiteY21" fmla="*/ 42090 h 104320"/>
                <a:gd name="connsiteX22" fmla="*/ 81367 w 109351"/>
                <a:gd name="connsiteY22" fmla="*/ 21334 h 104320"/>
                <a:gd name="connsiteX23" fmla="*/ 94093 w 109351"/>
                <a:gd name="connsiteY23" fmla="*/ 49819 h 10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09351" h="104320">
                  <a:moveTo>
                    <a:pt x="79101" y="846"/>
                  </a:moveTo>
                  <a:cubicBezTo>
                    <a:pt x="75317" y="-1090"/>
                    <a:pt x="70681" y="409"/>
                    <a:pt x="68745" y="4193"/>
                  </a:cubicBezTo>
                  <a:cubicBezTo>
                    <a:pt x="68353" y="4961"/>
                    <a:pt x="68092" y="5789"/>
                    <a:pt x="67974" y="6642"/>
                  </a:cubicBezTo>
                  <a:lnTo>
                    <a:pt x="64210" y="33295"/>
                  </a:lnTo>
                  <a:lnTo>
                    <a:pt x="45087" y="33295"/>
                  </a:lnTo>
                  <a:lnTo>
                    <a:pt x="40789" y="6709"/>
                  </a:lnTo>
                  <a:cubicBezTo>
                    <a:pt x="40118" y="2493"/>
                    <a:pt x="36158" y="-380"/>
                    <a:pt x="31942" y="290"/>
                  </a:cubicBezTo>
                  <a:cubicBezTo>
                    <a:pt x="31160" y="414"/>
                    <a:pt x="30403" y="658"/>
                    <a:pt x="29695" y="1012"/>
                  </a:cubicBezTo>
                  <a:cubicBezTo>
                    <a:pt x="2840" y="14812"/>
                    <a:pt x="-7744" y="47769"/>
                    <a:pt x="6055" y="74625"/>
                  </a:cubicBezTo>
                  <a:cubicBezTo>
                    <a:pt x="19855" y="101480"/>
                    <a:pt x="52812" y="112065"/>
                    <a:pt x="79668" y="98266"/>
                  </a:cubicBezTo>
                  <a:cubicBezTo>
                    <a:pt x="97857" y="88917"/>
                    <a:pt x="109309" y="70202"/>
                    <a:pt x="109351" y="49752"/>
                  </a:cubicBezTo>
                  <a:lnTo>
                    <a:pt x="109351" y="49752"/>
                  </a:lnTo>
                  <a:cubicBezTo>
                    <a:pt x="109256" y="29062"/>
                    <a:pt x="97572" y="10171"/>
                    <a:pt x="79101" y="846"/>
                  </a:cubicBezTo>
                  <a:close/>
                  <a:moveTo>
                    <a:pt x="94093" y="49819"/>
                  </a:moveTo>
                  <a:cubicBezTo>
                    <a:pt x="94148" y="71585"/>
                    <a:pt x="76548" y="89274"/>
                    <a:pt x="54782" y="89330"/>
                  </a:cubicBezTo>
                  <a:cubicBezTo>
                    <a:pt x="33015" y="89387"/>
                    <a:pt x="15325" y="71786"/>
                    <a:pt x="15270" y="50019"/>
                  </a:cubicBezTo>
                  <a:cubicBezTo>
                    <a:pt x="15243" y="39524"/>
                    <a:pt x="19404" y="29451"/>
                    <a:pt x="26830" y="22034"/>
                  </a:cubicBezTo>
                  <a:lnTo>
                    <a:pt x="27463" y="21201"/>
                  </a:lnTo>
                  <a:lnTo>
                    <a:pt x="30794" y="42090"/>
                  </a:lnTo>
                  <a:cubicBezTo>
                    <a:pt x="31325" y="45900"/>
                    <a:pt x="34577" y="48740"/>
                    <a:pt x="38424" y="48753"/>
                  </a:cubicBezTo>
                  <a:lnTo>
                    <a:pt x="70773" y="48753"/>
                  </a:lnTo>
                  <a:cubicBezTo>
                    <a:pt x="74619" y="48740"/>
                    <a:pt x="77871" y="45900"/>
                    <a:pt x="78402" y="42090"/>
                  </a:cubicBezTo>
                  <a:lnTo>
                    <a:pt x="81367" y="21334"/>
                  </a:lnTo>
                  <a:cubicBezTo>
                    <a:pt x="89291" y="28714"/>
                    <a:pt x="93884" y="38992"/>
                    <a:pt x="94093" y="49819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9462069E-4C25-6F42-AFA2-F78936CB6310}"/>
                </a:ext>
              </a:extLst>
            </p:cNvPr>
            <p:cNvSpPr/>
            <p:nvPr/>
          </p:nvSpPr>
          <p:spPr>
            <a:xfrm>
              <a:off x="5217977" y="3622763"/>
              <a:ext cx="69295" cy="174804"/>
            </a:xfrm>
            <a:custGeom>
              <a:avLst/>
              <a:gdLst>
                <a:gd name="connsiteX0" fmla="*/ 53870 w 69295"/>
                <a:gd name="connsiteY0" fmla="*/ 0 h 174804"/>
                <a:gd name="connsiteX1" fmla="*/ 53870 w 69295"/>
                <a:gd name="connsiteY1" fmla="*/ 140090 h 174804"/>
                <a:gd name="connsiteX2" fmla="*/ 34648 w 69295"/>
                <a:gd name="connsiteY2" fmla="*/ 159313 h 174804"/>
                <a:gd name="connsiteX3" fmla="*/ 15425 w 69295"/>
                <a:gd name="connsiteY3" fmla="*/ 140090 h 174804"/>
                <a:gd name="connsiteX4" fmla="*/ 15425 w 69295"/>
                <a:gd name="connsiteY4" fmla="*/ 433 h 174804"/>
                <a:gd name="connsiteX5" fmla="*/ 0 w 69295"/>
                <a:gd name="connsiteY5" fmla="*/ 433 h 174804"/>
                <a:gd name="connsiteX6" fmla="*/ 0 w 69295"/>
                <a:gd name="connsiteY6" fmla="*/ 140156 h 174804"/>
                <a:gd name="connsiteX7" fmla="*/ 34648 w 69295"/>
                <a:gd name="connsiteY7" fmla="*/ 174804 h 174804"/>
                <a:gd name="connsiteX8" fmla="*/ 69295 w 69295"/>
                <a:gd name="connsiteY8" fmla="*/ 140156 h 174804"/>
                <a:gd name="connsiteX9" fmla="*/ 69295 w 69295"/>
                <a:gd name="connsiteY9" fmla="*/ 0 h 17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295" h="174804">
                  <a:moveTo>
                    <a:pt x="53870" y="0"/>
                  </a:moveTo>
                  <a:lnTo>
                    <a:pt x="53870" y="140090"/>
                  </a:lnTo>
                  <a:cubicBezTo>
                    <a:pt x="53870" y="150707"/>
                    <a:pt x="45264" y="159313"/>
                    <a:pt x="34648" y="159313"/>
                  </a:cubicBezTo>
                  <a:cubicBezTo>
                    <a:pt x="24031" y="159313"/>
                    <a:pt x="15425" y="150707"/>
                    <a:pt x="15425" y="140090"/>
                  </a:cubicBezTo>
                  <a:lnTo>
                    <a:pt x="15425" y="433"/>
                  </a:lnTo>
                  <a:lnTo>
                    <a:pt x="0" y="433"/>
                  </a:lnTo>
                  <a:lnTo>
                    <a:pt x="0" y="140156"/>
                  </a:lnTo>
                  <a:cubicBezTo>
                    <a:pt x="0" y="159293"/>
                    <a:pt x="15512" y="174804"/>
                    <a:pt x="34648" y="174804"/>
                  </a:cubicBezTo>
                  <a:cubicBezTo>
                    <a:pt x="53783" y="174804"/>
                    <a:pt x="69295" y="159293"/>
                    <a:pt x="69295" y="140156"/>
                  </a:cubicBezTo>
                  <a:lnTo>
                    <a:pt x="69295" y="0"/>
                  </a:ln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19144FEA-8CFD-314B-8D9F-F5FAAB7A5831}"/>
                </a:ext>
              </a:extLst>
            </p:cNvPr>
            <p:cNvSpPr/>
            <p:nvPr/>
          </p:nvSpPr>
          <p:spPr>
            <a:xfrm>
              <a:off x="5241128" y="3750526"/>
              <a:ext cx="22319" cy="22454"/>
            </a:xfrm>
            <a:custGeom>
              <a:avLst/>
              <a:gdLst>
                <a:gd name="connsiteX0" fmla="*/ 11096 w 22319"/>
                <a:gd name="connsiteY0" fmla="*/ 0 h 22454"/>
                <a:gd name="connsiteX1" fmla="*/ 2 w 22319"/>
                <a:gd name="connsiteY1" fmla="*/ 10961 h 22454"/>
                <a:gd name="connsiteX2" fmla="*/ 2 w 22319"/>
                <a:gd name="connsiteY2" fmla="*/ 11094 h 22454"/>
                <a:gd name="connsiteX3" fmla="*/ 3334 w 22319"/>
                <a:gd name="connsiteY3" fmla="*/ 19123 h 22454"/>
                <a:gd name="connsiteX4" fmla="*/ 11363 w 22319"/>
                <a:gd name="connsiteY4" fmla="*/ 22455 h 22454"/>
                <a:gd name="connsiteX5" fmla="*/ 19358 w 22319"/>
                <a:gd name="connsiteY5" fmla="*/ 19123 h 22454"/>
                <a:gd name="connsiteX6" fmla="*/ 22257 w 22319"/>
                <a:gd name="connsiteY6" fmla="*/ 11094 h 22454"/>
                <a:gd name="connsiteX7" fmla="*/ 11297 w 22319"/>
                <a:gd name="connsiteY7" fmla="*/ 0 h 22454"/>
                <a:gd name="connsiteX8" fmla="*/ 11096 w 22319"/>
                <a:gd name="connsiteY8" fmla="*/ 0 h 22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319" h="22454">
                  <a:moveTo>
                    <a:pt x="11096" y="0"/>
                  </a:moveTo>
                  <a:cubicBezTo>
                    <a:pt x="5006" y="-36"/>
                    <a:pt x="39" y="4871"/>
                    <a:pt x="2" y="10961"/>
                  </a:cubicBezTo>
                  <a:cubicBezTo>
                    <a:pt x="2" y="11004"/>
                    <a:pt x="2" y="11051"/>
                    <a:pt x="2" y="11094"/>
                  </a:cubicBezTo>
                  <a:cubicBezTo>
                    <a:pt x="-62" y="14119"/>
                    <a:pt x="1147" y="17031"/>
                    <a:pt x="3334" y="19123"/>
                  </a:cubicBezTo>
                  <a:cubicBezTo>
                    <a:pt x="5465" y="21252"/>
                    <a:pt x="8352" y="22448"/>
                    <a:pt x="11363" y="22455"/>
                  </a:cubicBezTo>
                  <a:cubicBezTo>
                    <a:pt x="14370" y="22475"/>
                    <a:pt x="17255" y="21272"/>
                    <a:pt x="19358" y="19123"/>
                  </a:cubicBezTo>
                  <a:cubicBezTo>
                    <a:pt x="21528" y="17048"/>
                    <a:pt x="22600" y="14076"/>
                    <a:pt x="22257" y="11094"/>
                  </a:cubicBezTo>
                  <a:cubicBezTo>
                    <a:pt x="22294" y="5004"/>
                    <a:pt x="17387" y="37"/>
                    <a:pt x="11297" y="0"/>
                  </a:cubicBezTo>
                  <a:cubicBezTo>
                    <a:pt x="11230" y="0"/>
                    <a:pt x="11163" y="0"/>
                    <a:pt x="11096" y="0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24" name="Graphic 33">
            <a:extLst>
              <a:ext uri="{FF2B5EF4-FFF2-40B4-BE49-F238E27FC236}">
                <a16:creationId xmlns:a16="http://schemas.microsoft.com/office/drawing/2014/main" id="{559760BE-9243-6C4C-B554-00869944F98C}"/>
              </a:ext>
            </a:extLst>
          </p:cNvPr>
          <p:cNvGrpSpPr/>
          <p:nvPr userDrawn="1"/>
        </p:nvGrpSpPr>
        <p:grpSpPr>
          <a:xfrm>
            <a:off x="6531886" y="3971665"/>
            <a:ext cx="343909" cy="336573"/>
            <a:chOff x="8729747" y="5099802"/>
            <a:chExt cx="480133" cy="480133"/>
          </a:xfrm>
          <a:solidFill>
            <a:schemeClr val="bg1"/>
          </a:solidFill>
        </p:grpSpPr>
        <p:sp>
          <p:nvSpPr>
            <p:cNvPr id="125" name="Freeform 124">
              <a:extLst>
                <a:ext uri="{FF2B5EF4-FFF2-40B4-BE49-F238E27FC236}">
                  <a16:creationId xmlns:a16="http://schemas.microsoft.com/office/drawing/2014/main" id="{F7623940-81E7-164F-8C47-00576B8E4929}"/>
                </a:ext>
              </a:extLst>
            </p:cNvPr>
            <p:cNvSpPr/>
            <p:nvPr/>
          </p:nvSpPr>
          <p:spPr>
            <a:xfrm>
              <a:off x="9007959" y="5286550"/>
              <a:ext cx="89487" cy="48756"/>
            </a:xfrm>
            <a:custGeom>
              <a:avLst/>
              <a:gdLst>
                <a:gd name="connsiteX0" fmla="*/ 865 w 89487"/>
                <a:gd name="connsiteY0" fmla="*/ 44315 h 48756"/>
                <a:gd name="connsiteX1" fmla="*/ 8127 w 89487"/>
                <a:gd name="connsiteY1" fmla="*/ 48757 h 48756"/>
                <a:gd name="connsiteX2" fmla="*/ 11788 w 89487"/>
                <a:gd name="connsiteY2" fmla="*/ 47886 h 48756"/>
                <a:gd name="connsiteX3" fmla="*/ 83808 w 89487"/>
                <a:gd name="connsiteY3" fmla="*/ 15897 h 48756"/>
                <a:gd name="connsiteX4" fmla="*/ 89104 w 89487"/>
                <a:gd name="connsiteY4" fmla="*/ 5680 h 48756"/>
                <a:gd name="connsiteX5" fmla="*/ 78887 w 89487"/>
                <a:gd name="connsiteY5" fmla="*/ 383 h 48756"/>
                <a:gd name="connsiteX6" fmla="*/ 4556 w 89487"/>
                <a:gd name="connsiteY6" fmla="*/ 33392 h 48756"/>
                <a:gd name="connsiteX7" fmla="*/ 820 w 89487"/>
                <a:gd name="connsiteY7" fmla="*/ 44224 h 48756"/>
                <a:gd name="connsiteX8" fmla="*/ 865 w 89487"/>
                <a:gd name="connsiteY8" fmla="*/ 44315 h 48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487" h="48756">
                  <a:moveTo>
                    <a:pt x="865" y="44315"/>
                  </a:moveTo>
                  <a:cubicBezTo>
                    <a:pt x="2256" y="47045"/>
                    <a:pt x="5063" y="48763"/>
                    <a:pt x="8127" y="48757"/>
                  </a:cubicBezTo>
                  <a:cubicBezTo>
                    <a:pt x="9399" y="48761"/>
                    <a:pt x="10654" y="48463"/>
                    <a:pt x="11788" y="47886"/>
                  </a:cubicBezTo>
                  <a:cubicBezTo>
                    <a:pt x="35171" y="35872"/>
                    <a:pt x="59216" y="25192"/>
                    <a:pt x="83808" y="15897"/>
                  </a:cubicBezTo>
                  <a:cubicBezTo>
                    <a:pt x="88093" y="14538"/>
                    <a:pt x="90464" y="9964"/>
                    <a:pt x="89104" y="5680"/>
                  </a:cubicBezTo>
                  <a:cubicBezTo>
                    <a:pt x="87745" y="1395"/>
                    <a:pt x="83172" y="-976"/>
                    <a:pt x="78887" y="383"/>
                  </a:cubicBezTo>
                  <a:cubicBezTo>
                    <a:pt x="53488" y="9930"/>
                    <a:pt x="28671" y="20952"/>
                    <a:pt x="4556" y="33392"/>
                  </a:cubicBezTo>
                  <a:cubicBezTo>
                    <a:pt x="533" y="35352"/>
                    <a:pt x="-1140" y="40201"/>
                    <a:pt x="820" y="44224"/>
                  </a:cubicBezTo>
                  <a:cubicBezTo>
                    <a:pt x="835" y="44255"/>
                    <a:pt x="850" y="44285"/>
                    <a:pt x="865" y="44315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8EB934F4-A14A-004B-B8A3-5B7C862A21CE}"/>
                </a:ext>
              </a:extLst>
            </p:cNvPr>
            <p:cNvSpPr/>
            <p:nvPr/>
          </p:nvSpPr>
          <p:spPr>
            <a:xfrm>
              <a:off x="9008115" y="5188962"/>
              <a:ext cx="89738" cy="48877"/>
            </a:xfrm>
            <a:custGeom>
              <a:avLst/>
              <a:gdLst>
                <a:gd name="connsiteX0" fmla="*/ 8031 w 89738"/>
                <a:gd name="connsiteY0" fmla="*/ 48878 h 48877"/>
                <a:gd name="connsiteX1" fmla="*/ 11692 w 89738"/>
                <a:gd name="connsiteY1" fmla="*/ 47978 h 48877"/>
                <a:gd name="connsiteX2" fmla="*/ 83712 w 89738"/>
                <a:gd name="connsiteY2" fmla="*/ 15989 h 48877"/>
                <a:gd name="connsiteX3" fmla="*/ 89459 w 89738"/>
                <a:gd name="connsiteY3" fmla="*/ 6027 h 48877"/>
                <a:gd name="connsiteX4" fmla="*/ 79499 w 89738"/>
                <a:gd name="connsiteY4" fmla="*/ 280 h 48877"/>
                <a:gd name="connsiteX5" fmla="*/ 78791 w 89738"/>
                <a:gd name="connsiteY5" fmla="*/ 505 h 48877"/>
                <a:gd name="connsiteX6" fmla="*/ 4460 w 89738"/>
                <a:gd name="connsiteY6" fmla="*/ 33514 h 48877"/>
                <a:gd name="connsiteX7" fmla="*/ 868 w 89738"/>
                <a:gd name="connsiteY7" fmla="*/ 44394 h 48877"/>
                <a:gd name="connsiteX8" fmla="*/ 889 w 89738"/>
                <a:gd name="connsiteY8" fmla="*/ 44437 h 48877"/>
                <a:gd name="connsiteX9" fmla="*/ 8031 w 89738"/>
                <a:gd name="connsiteY9" fmla="*/ 48878 h 48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738" h="48877">
                  <a:moveTo>
                    <a:pt x="8031" y="48878"/>
                  </a:moveTo>
                  <a:cubicBezTo>
                    <a:pt x="9306" y="48872"/>
                    <a:pt x="10560" y="48564"/>
                    <a:pt x="11692" y="47978"/>
                  </a:cubicBezTo>
                  <a:cubicBezTo>
                    <a:pt x="35075" y="35964"/>
                    <a:pt x="59120" y="25283"/>
                    <a:pt x="83712" y="15989"/>
                  </a:cubicBezTo>
                  <a:cubicBezTo>
                    <a:pt x="88051" y="14825"/>
                    <a:pt x="90623" y="10365"/>
                    <a:pt x="89459" y="6027"/>
                  </a:cubicBezTo>
                  <a:cubicBezTo>
                    <a:pt x="88297" y="1689"/>
                    <a:pt x="83835" y="-884"/>
                    <a:pt x="79499" y="280"/>
                  </a:cubicBezTo>
                  <a:cubicBezTo>
                    <a:pt x="79259" y="344"/>
                    <a:pt x="79022" y="419"/>
                    <a:pt x="78791" y="505"/>
                  </a:cubicBezTo>
                  <a:cubicBezTo>
                    <a:pt x="53386" y="10038"/>
                    <a:pt x="28566" y="21061"/>
                    <a:pt x="4460" y="33514"/>
                  </a:cubicBezTo>
                  <a:cubicBezTo>
                    <a:pt x="463" y="35526"/>
                    <a:pt x="-1145" y="40398"/>
                    <a:pt x="868" y="44394"/>
                  </a:cubicBezTo>
                  <a:cubicBezTo>
                    <a:pt x="875" y="44408"/>
                    <a:pt x="882" y="44423"/>
                    <a:pt x="889" y="44437"/>
                  </a:cubicBezTo>
                  <a:cubicBezTo>
                    <a:pt x="2270" y="47119"/>
                    <a:pt x="5014" y="48826"/>
                    <a:pt x="8031" y="48878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C50243BC-8F8A-FF41-A633-9B2A6077717F}"/>
                </a:ext>
              </a:extLst>
            </p:cNvPr>
            <p:cNvSpPr/>
            <p:nvPr/>
          </p:nvSpPr>
          <p:spPr>
            <a:xfrm>
              <a:off x="8731382" y="5099801"/>
              <a:ext cx="487860" cy="487455"/>
            </a:xfrm>
            <a:custGeom>
              <a:avLst/>
              <a:gdLst>
                <a:gd name="connsiteX0" fmla="*/ 479728 w 487860"/>
                <a:gd name="connsiteY0" fmla="*/ 121864 h 487455"/>
                <a:gd name="connsiteX1" fmla="*/ 471596 w 487860"/>
                <a:gd name="connsiteY1" fmla="*/ 129997 h 487455"/>
                <a:gd name="connsiteX2" fmla="*/ 471596 w 487860"/>
                <a:gd name="connsiteY2" fmla="*/ 446824 h 487455"/>
                <a:gd name="connsiteX3" fmla="*/ 447229 w 487860"/>
                <a:gd name="connsiteY3" fmla="*/ 471191 h 487455"/>
                <a:gd name="connsiteX4" fmla="*/ 252175 w 487860"/>
                <a:gd name="connsiteY4" fmla="*/ 471191 h 487455"/>
                <a:gd name="connsiteX5" fmla="*/ 252175 w 487860"/>
                <a:gd name="connsiteY5" fmla="*/ 452526 h 487455"/>
                <a:gd name="connsiteX6" fmla="*/ 325275 w 487860"/>
                <a:gd name="connsiteY6" fmla="*/ 438722 h 487455"/>
                <a:gd name="connsiteX7" fmla="*/ 444588 w 487860"/>
                <a:gd name="connsiteY7" fmla="*/ 454536 h 487455"/>
                <a:gd name="connsiteX8" fmla="*/ 454848 w 487860"/>
                <a:gd name="connsiteY8" fmla="*/ 449438 h 487455"/>
                <a:gd name="connsiteX9" fmla="*/ 455271 w 487860"/>
                <a:gd name="connsiteY9" fmla="*/ 446824 h 487455"/>
                <a:gd name="connsiteX10" fmla="*/ 455271 w 487860"/>
                <a:gd name="connsiteY10" fmla="*/ 89365 h 487455"/>
                <a:gd name="connsiteX11" fmla="*/ 448909 w 487860"/>
                <a:gd name="connsiteY11" fmla="*/ 81443 h 487455"/>
                <a:gd name="connsiteX12" fmla="*/ 431655 w 487860"/>
                <a:gd name="connsiteY12" fmla="*/ 78022 h 487455"/>
                <a:gd name="connsiteX13" fmla="*/ 422172 w 487860"/>
                <a:gd name="connsiteY13" fmla="*/ 84504 h 487455"/>
                <a:gd name="connsiteX14" fmla="*/ 428654 w 487860"/>
                <a:gd name="connsiteY14" fmla="*/ 93987 h 487455"/>
                <a:gd name="connsiteX15" fmla="*/ 438947 w 487860"/>
                <a:gd name="connsiteY15" fmla="*/ 95967 h 487455"/>
                <a:gd name="connsiteX16" fmla="*/ 438947 w 487860"/>
                <a:gd name="connsiteY16" fmla="*/ 436021 h 487455"/>
                <a:gd name="connsiteX17" fmla="*/ 325215 w 487860"/>
                <a:gd name="connsiteY17" fmla="*/ 422458 h 487455"/>
                <a:gd name="connsiteX18" fmla="*/ 244193 w 487860"/>
                <a:gd name="connsiteY18" fmla="*/ 438032 h 487455"/>
                <a:gd name="connsiteX19" fmla="*/ 170762 w 487860"/>
                <a:gd name="connsiteY19" fmla="*/ 422458 h 487455"/>
                <a:gd name="connsiteX20" fmla="*/ 48899 w 487860"/>
                <a:gd name="connsiteY20" fmla="*/ 436381 h 487455"/>
                <a:gd name="connsiteX21" fmla="*/ 48899 w 487860"/>
                <a:gd name="connsiteY21" fmla="*/ 95667 h 487455"/>
                <a:gd name="connsiteX22" fmla="*/ 170762 w 487860"/>
                <a:gd name="connsiteY22" fmla="*/ 81233 h 487455"/>
                <a:gd name="connsiteX23" fmla="*/ 235760 w 487860"/>
                <a:gd name="connsiteY23" fmla="*/ 94647 h 487455"/>
                <a:gd name="connsiteX24" fmla="*/ 235760 w 487860"/>
                <a:gd name="connsiteY24" fmla="*/ 414325 h 487455"/>
                <a:gd name="connsiteX25" fmla="*/ 239871 w 487860"/>
                <a:gd name="connsiteY25" fmla="*/ 421407 h 487455"/>
                <a:gd name="connsiteX26" fmla="*/ 248064 w 487860"/>
                <a:gd name="connsiteY26" fmla="*/ 421407 h 487455"/>
                <a:gd name="connsiteX27" fmla="*/ 400806 w 487860"/>
                <a:gd name="connsiteY27" fmla="*/ 349057 h 487455"/>
                <a:gd name="connsiteX28" fmla="*/ 406358 w 487860"/>
                <a:gd name="connsiteY28" fmla="*/ 341345 h 487455"/>
                <a:gd name="connsiteX29" fmla="*/ 406358 w 487860"/>
                <a:gd name="connsiteY29" fmla="*/ 8133 h 487455"/>
                <a:gd name="connsiteX30" fmla="*/ 402877 w 487860"/>
                <a:gd name="connsiteY30" fmla="*/ 1441 h 487455"/>
                <a:gd name="connsiteX31" fmla="*/ 395375 w 487860"/>
                <a:gd name="connsiteY31" fmla="*/ 511 h 487455"/>
                <a:gd name="connsiteX32" fmla="*/ 263968 w 487860"/>
                <a:gd name="connsiteY32" fmla="*/ 66229 h 487455"/>
                <a:gd name="connsiteX33" fmla="*/ 260835 w 487860"/>
                <a:gd name="connsiteY33" fmla="*/ 77295 h 487455"/>
                <a:gd name="connsiteX34" fmla="*/ 271901 w 487860"/>
                <a:gd name="connsiteY34" fmla="*/ 80428 h 487455"/>
                <a:gd name="connsiteX35" fmla="*/ 272581 w 487860"/>
                <a:gd name="connsiteY35" fmla="*/ 80003 h 487455"/>
                <a:gd name="connsiteX36" fmla="*/ 390123 w 487860"/>
                <a:gd name="connsiteY36" fmla="*/ 19986 h 487455"/>
                <a:gd name="connsiteX37" fmla="*/ 390123 w 487860"/>
                <a:gd name="connsiteY37" fmla="*/ 335373 h 487455"/>
                <a:gd name="connsiteX38" fmla="*/ 252085 w 487860"/>
                <a:gd name="connsiteY38" fmla="*/ 400191 h 487455"/>
                <a:gd name="connsiteX39" fmla="*/ 252085 w 487860"/>
                <a:gd name="connsiteY39" fmla="*/ 89365 h 487455"/>
                <a:gd name="connsiteX40" fmla="*/ 247584 w 487860"/>
                <a:gd name="connsiteY40" fmla="*/ 82103 h 487455"/>
                <a:gd name="connsiteX41" fmla="*/ 170822 w 487860"/>
                <a:gd name="connsiteY41" fmla="*/ 64999 h 487455"/>
                <a:gd name="connsiteX42" fmla="*/ 38606 w 487860"/>
                <a:gd name="connsiteY42" fmla="*/ 81563 h 487455"/>
                <a:gd name="connsiteX43" fmla="*/ 32604 w 487860"/>
                <a:gd name="connsiteY43" fmla="*/ 89365 h 487455"/>
                <a:gd name="connsiteX44" fmla="*/ 32604 w 487860"/>
                <a:gd name="connsiteY44" fmla="*/ 446824 h 487455"/>
                <a:gd name="connsiteX45" fmla="*/ 40797 w 487860"/>
                <a:gd name="connsiteY45" fmla="*/ 454957 h 487455"/>
                <a:gd name="connsiteX46" fmla="*/ 42957 w 487860"/>
                <a:gd name="connsiteY46" fmla="*/ 454657 h 487455"/>
                <a:gd name="connsiteX47" fmla="*/ 170702 w 487860"/>
                <a:gd name="connsiteY47" fmla="*/ 438722 h 487455"/>
                <a:gd name="connsiteX48" fmla="*/ 235700 w 487860"/>
                <a:gd name="connsiteY48" fmla="*/ 452106 h 487455"/>
                <a:gd name="connsiteX49" fmla="*/ 235700 w 487860"/>
                <a:gd name="connsiteY49" fmla="*/ 471131 h 487455"/>
                <a:gd name="connsiteX50" fmla="*/ 40646 w 487860"/>
                <a:gd name="connsiteY50" fmla="*/ 471131 h 487455"/>
                <a:gd name="connsiteX51" fmla="*/ 16250 w 487860"/>
                <a:gd name="connsiteY51" fmla="*/ 446734 h 487455"/>
                <a:gd name="connsiteX52" fmla="*/ 16250 w 487860"/>
                <a:gd name="connsiteY52" fmla="*/ 129997 h 487455"/>
                <a:gd name="connsiteX53" fmla="*/ 8626 w 487860"/>
                <a:gd name="connsiteY53" fmla="*/ 121386 h 487455"/>
                <a:gd name="connsiteX54" fmla="*/ 15 w 487860"/>
                <a:gd name="connsiteY54" fmla="*/ 129009 h 487455"/>
                <a:gd name="connsiteX55" fmla="*/ 15 w 487860"/>
                <a:gd name="connsiteY55" fmla="*/ 129997 h 487455"/>
                <a:gd name="connsiteX56" fmla="*/ 15 w 487860"/>
                <a:gd name="connsiteY56" fmla="*/ 446824 h 487455"/>
                <a:gd name="connsiteX57" fmla="*/ 40646 w 487860"/>
                <a:gd name="connsiteY57" fmla="*/ 487456 h 487455"/>
                <a:gd name="connsiteX58" fmla="*/ 447229 w 487860"/>
                <a:gd name="connsiteY58" fmla="*/ 487456 h 487455"/>
                <a:gd name="connsiteX59" fmla="*/ 487860 w 487860"/>
                <a:gd name="connsiteY59" fmla="*/ 446824 h 487455"/>
                <a:gd name="connsiteX60" fmla="*/ 487860 w 487860"/>
                <a:gd name="connsiteY60" fmla="*/ 129997 h 487455"/>
                <a:gd name="connsiteX61" fmla="*/ 479728 w 487860"/>
                <a:gd name="connsiteY61" fmla="*/ 121864 h 48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487860" h="487455">
                  <a:moveTo>
                    <a:pt x="479728" y="121864"/>
                  </a:moveTo>
                  <a:cubicBezTo>
                    <a:pt x="475236" y="121864"/>
                    <a:pt x="471596" y="125505"/>
                    <a:pt x="471596" y="129997"/>
                  </a:cubicBezTo>
                  <a:lnTo>
                    <a:pt x="471596" y="446824"/>
                  </a:lnTo>
                  <a:cubicBezTo>
                    <a:pt x="471578" y="460274"/>
                    <a:pt x="460679" y="471173"/>
                    <a:pt x="447229" y="471191"/>
                  </a:cubicBezTo>
                  <a:lnTo>
                    <a:pt x="252175" y="471191"/>
                  </a:lnTo>
                  <a:lnTo>
                    <a:pt x="252175" y="452526"/>
                  </a:lnTo>
                  <a:cubicBezTo>
                    <a:pt x="275669" y="444127"/>
                    <a:pt x="300335" y="439469"/>
                    <a:pt x="325275" y="438722"/>
                  </a:cubicBezTo>
                  <a:cubicBezTo>
                    <a:pt x="365600" y="438239"/>
                    <a:pt x="405781" y="443565"/>
                    <a:pt x="444588" y="454536"/>
                  </a:cubicBezTo>
                  <a:cubicBezTo>
                    <a:pt x="448828" y="455962"/>
                    <a:pt x="453423" y="453678"/>
                    <a:pt x="454848" y="449438"/>
                  </a:cubicBezTo>
                  <a:cubicBezTo>
                    <a:pt x="455133" y="448595"/>
                    <a:pt x="455274" y="447713"/>
                    <a:pt x="455271" y="446824"/>
                  </a:cubicBezTo>
                  <a:lnTo>
                    <a:pt x="455271" y="89365"/>
                  </a:lnTo>
                  <a:cubicBezTo>
                    <a:pt x="455274" y="85558"/>
                    <a:pt x="452627" y="82261"/>
                    <a:pt x="448909" y="81443"/>
                  </a:cubicBezTo>
                  <a:cubicBezTo>
                    <a:pt x="448909" y="81443"/>
                    <a:pt x="442548" y="80033"/>
                    <a:pt x="431655" y="78022"/>
                  </a:cubicBezTo>
                  <a:cubicBezTo>
                    <a:pt x="427246" y="77194"/>
                    <a:pt x="423000" y="80095"/>
                    <a:pt x="422172" y="84504"/>
                  </a:cubicBezTo>
                  <a:cubicBezTo>
                    <a:pt x="421344" y="88912"/>
                    <a:pt x="424246" y="93158"/>
                    <a:pt x="428654" y="93987"/>
                  </a:cubicBezTo>
                  <a:lnTo>
                    <a:pt x="438947" y="95967"/>
                  </a:lnTo>
                  <a:lnTo>
                    <a:pt x="438947" y="436021"/>
                  </a:lnTo>
                  <a:cubicBezTo>
                    <a:pt x="401748" y="426779"/>
                    <a:pt x="363542" y="422224"/>
                    <a:pt x="325215" y="422458"/>
                  </a:cubicBezTo>
                  <a:cubicBezTo>
                    <a:pt x="297543" y="423229"/>
                    <a:pt x="270179" y="428489"/>
                    <a:pt x="244193" y="438032"/>
                  </a:cubicBezTo>
                  <a:cubicBezTo>
                    <a:pt x="220995" y="428009"/>
                    <a:pt x="196031" y="422716"/>
                    <a:pt x="170762" y="422458"/>
                  </a:cubicBezTo>
                  <a:cubicBezTo>
                    <a:pt x="129748" y="422521"/>
                    <a:pt x="88870" y="427193"/>
                    <a:pt x="48899" y="436381"/>
                  </a:cubicBezTo>
                  <a:lnTo>
                    <a:pt x="48899" y="95667"/>
                  </a:lnTo>
                  <a:cubicBezTo>
                    <a:pt x="88831" y="86193"/>
                    <a:pt x="129722" y="81350"/>
                    <a:pt x="170762" y="81233"/>
                  </a:cubicBezTo>
                  <a:cubicBezTo>
                    <a:pt x="193083" y="81541"/>
                    <a:pt x="215141" y="86093"/>
                    <a:pt x="235760" y="94647"/>
                  </a:cubicBezTo>
                  <a:lnTo>
                    <a:pt x="235760" y="414325"/>
                  </a:lnTo>
                  <a:cubicBezTo>
                    <a:pt x="235762" y="417251"/>
                    <a:pt x="237330" y="419955"/>
                    <a:pt x="239871" y="421407"/>
                  </a:cubicBezTo>
                  <a:cubicBezTo>
                    <a:pt x="242401" y="422890"/>
                    <a:pt x="245534" y="422890"/>
                    <a:pt x="248064" y="421407"/>
                  </a:cubicBezTo>
                  <a:cubicBezTo>
                    <a:pt x="296675" y="392701"/>
                    <a:pt x="347799" y="368485"/>
                    <a:pt x="400806" y="349057"/>
                  </a:cubicBezTo>
                  <a:cubicBezTo>
                    <a:pt x="404122" y="347947"/>
                    <a:pt x="406358" y="344841"/>
                    <a:pt x="406358" y="341345"/>
                  </a:cubicBezTo>
                  <a:lnTo>
                    <a:pt x="406358" y="8133"/>
                  </a:lnTo>
                  <a:cubicBezTo>
                    <a:pt x="406364" y="5466"/>
                    <a:pt x="405064" y="2966"/>
                    <a:pt x="402877" y="1441"/>
                  </a:cubicBezTo>
                  <a:cubicBezTo>
                    <a:pt x="400674" y="-68"/>
                    <a:pt x="397877" y="-415"/>
                    <a:pt x="395375" y="511"/>
                  </a:cubicBezTo>
                  <a:cubicBezTo>
                    <a:pt x="349792" y="18659"/>
                    <a:pt x="305833" y="40644"/>
                    <a:pt x="263968" y="66229"/>
                  </a:cubicBezTo>
                  <a:cubicBezTo>
                    <a:pt x="260047" y="68420"/>
                    <a:pt x="258644" y="73374"/>
                    <a:pt x="260835" y="77295"/>
                  </a:cubicBezTo>
                  <a:cubicBezTo>
                    <a:pt x="263025" y="81216"/>
                    <a:pt x="267980" y="82618"/>
                    <a:pt x="271901" y="80428"/>
                  </a:cubicBezTo>
                  <a:cubicBezTo>
                    <a:pt x="272134" y="80297"/>
                    <a:pt x="272361" y="80155"/>
                    <a:pt x="272581" y="80003"/>
                  </a:cubicBezTo>
                  <a:cubicBezTo>
                    <a:pt x="310184" y="57045"/>
                    <a:pt x="349477" y="36982"/>
                    <a:pt x="390123" y="19986"/>
                  </a:cubicBezTo>
                  <a:lnTo>
                    <a:pt x="390123" y="335373"/>
                  </a:lnTo>
                  <a:cubicBezTo>
                    <a:pt x="342377" y="353078"/>
                    <a:pt x="296202" y="374759"/>
                    <a:pt x="252085" y="400191"/>
                  </a:cubicBezTo>
                  <a:lnTo>
                    <a:pt x="252085" y="89365"/>
                  </a:lnTo>
                  <a:cubicBezTo>
                    <a:pt x="252079" y="86288"/>
                    <a:pt x="250337" y="83477"/>
                    <a:pt x="247584" y="82103"/>
                  </a:cubicBezTo>
                  <a:cubicBezTo>
                    <a:pt x="223487" y="71059"/>
                    <a:pt x="197329" y="65230"/>
                    <a:pt x="170822" y="64999"/>
                  </a:cubicBezTo>
                  <a:cubicBezTo>
                    <a:pt x="126227" y="64902"/>
                    <a:pt x="81799" y="70468"/>
                    <a:pt x="38606" y="81563"/>
                  </a:cubicBezTo>
                  <a:cubicBezTo>
                    <a:pt x="35073" y="82511"/>
                    <a:pt x="32615" y="85708"/>
                    <a:pt x="32604" y="89365"/>
                  </a:cubicBezTo>
                  <a:lnTo>
                    <a:pt x="32604" y="446824"/>
                  </a:lnTo>
                  <a:cubicBezTo>
                    <a:pt x="32621" y="451332"/>
                    <a:pt x="36289" y="454972"/>
                    <a:pt x="40797" y="454957"/>
                  </a:cubicBezTo>
                  <a:cubicBezTo>
                    <a:pt x="41527" y="454954"/>
                    <a:pt x="42254" y="454852"/>
                    <a:pt x="42957" y="454657"/>
                  </a:cubicBezTo>
                  <a:cubicBezTo>
                    <a:pt x="84714" y="444076"/>
                    <a:pt x="127625" y="438722"/>
                    <a:pt x="170702" y="438722"/>
                  </a:cubicBezTo>
                  <a:cubicBezTo>
                    <a:pt x="193021" y="439019"/>
                    <a:pt x="215079" y="443562"/>
                    <a:pt x="235700" y="452106"/>
                  </a:cubicBezTo>
                  <a:lnTo>
                    <a:pt x="235700" y="471131"/>
                  </a:lnTo>
                  <a:lnTo>
                    <a:pt x="40646" y="471131"/>
                  </a:lnTo>
                  <a:cubicBezTo>
                    <a:pt x="27179" y="471113"/>
                    <a:pt x="16266" y="460202"/>
                    <a:pt x="16250" y="446734"/>
                  </a:cubicBezTo>
                  <a:lnTo>
                    <a:pt x="16250" y="129997"/>
                  </a:lnTo>
                  <a:cubicBezTo>
                    <a:pt x="16522" y="125514"/>
                    <a:pt x="13109" y="121658"/>
                    <a:pt x="8626" y="121386"/>
                  </a:cubicBezTo>
                  <a:cubicBezTo>
                    <a:pt x="4143" y="121113"/>
                    <a:pt x="288" y="124526"/>
                    <a:pt x="15" y="129009"/>
                  </a:cubicBezTo>
                  <a:cubicBezTo>
                    <a:pt x="-5" y="129338"/>
                    <a:pt x="-5" y="129668"/>
                    <a:pt x="15" y="129997"/>
                  </a:cubicBezTo>
                  <a:lnTo>
                    <a:pt x="15" y="446824"/>
                  </a:lnTo>
                  <a:cubicBezTo>
                    <a:pt x="32" y="469259"/>
                    <a:pt x="18213" y="487438"/>
                    <a:pt x="40646" y="487456"/>
                  </a:cubicBezTo>
                  <a:lnTo>
                    <a:pt x="447229" y="487456"/>
                  </a:lnTo>
                  <a:cubicBezTo>
                    <a:pt x="469663" y="487438"/>
                    <a:pt x="487842" y="469259"/>
                    <a:pt x="487860" y="446824"/>
                  </a:cubicBezTo>
                  <a:lnTo>
                    <a:pt x="487860" y="129997"/>
                  </a:lnTo>
                  <a:cubicBezTo>
                    <a:pt x="487860" y="125505"/>
                    <a:pt x="484220" y="121864"/>
                    <a:pt x="479728" y="121864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061819BA-3322-6642-B0FE-99963C5F1E77}"/>
                </a:ext>
              </a:extLst>
            </p:cNvPr>
            <p:cNvSpPr/>
            <p:nvPr/>
          </p:nvSpPr>
          <p:spPr>
            <a:xfrm>
              <a:off x="9007959" y="5237907"/>
              <a:ext cx="89487" cy="48756"/>
            </a:xfrm>
            <a:custGeom>
              <a:avLst/>
              <a:gdLst>
                <a:gd name="connsiteX0" fmla="*/ 865 w 89487"/>
                <a:gd name="connsiteY0" fmla="*/ 44315 h 48756"/>
                <a:gd name="connsiteX1" fmla="*/ 8127 w 89487"/>
                <a:gd name="connsiteY1" fmla="*/ 48757 h 48756"/>
                <a:gd name="connsiteX2" fmla="*/ 11788 w 89487"/>
                <a:gd name="connsiteY2" fmla="*/ 47856 h 48756"/>
                <a:gd name="connsiteX3" fmla="*/ 83808 w 89487"/>
                <a:gd name="connsiteY3" fmla="*/ 15897 h 48756"/>
                <a:gd name="connsiteX4" fmla="*/ 89104 w 89487"/>
                <a:gd name="connsiteY4" fmla="*/ 5680 h 48756"/>
                <a:gd name="connsiteX5" fmla="*/ 78887 w 89487"/>
                <a:gd name="connsiteY5" fmla="*/ 383 h 48756"/>
                <a:gd name="connsiteX6" fmla="*/ 4556 w 89487"/>
                <a:gd name="connsiteY6" fmla="*/ 33392 h 48756"/>
                <a:gd name="connsiteX7" fmla="*/ 820 w 89487"/>
                <a:gd name="connsiteY7" fmla="*/ 44224 h 48756"/>
                <a:gd name="connsiteX8" fmla="*/ 865 w 89487"/>
                <a:gd name="connsiteY8" fmla="*/ 44315 h 48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487" h="48756">
                  <a:moveTo>
                    <a:pt x="865" y="44315"/>
                  </a:moveTo>
                  <a:cubicBezTo>
                    <a:pt x="2256" y="47045"/>
                    <a:pt x="5063" y="48763"/>
                    <a:pt x="8127" y="48757"/>
                  </a:cubicBezTo>
                  <a:cubicBezTo>
                    <a:pt x="9401" y="48751"/>
                    <a:pt x="10656" y="48442"/>
                    <a:pt x="11788" y="47856"/>
                  </a:cubicBezTo>
                  <a:cubicBezTo>
                    <a:pt x="35174" y="35856"/>
                    <a:pt x="59219" y="25186"/>
                    <a:pt x="83808" y="15897"/>
                  </a:cubicBezTo>
                  <a:cubicBezTo>
                    <a:pt x="88093" y="14538"/>
                    <a:pt x="90464" y="9964"/>
                    <a:pt x="89104" y="5680"/>
                  </a:cubicBezTo>
                  <a:cubicBezTo>
                    <a:pt x="87745" y="1395"/>
                    <a:pt x="83172" y="-976"/>
                    <a:pt x="78887" y="383"/>
                  </a:cubicBezTo>
                  <a:cubicBezTo>
                    <a:pt x="53488" y="9930"/>
                    <a:pt x="28671" y="20952"/>
                    <a:pt x="4556" y="33392"/>
                  </a:cubicBezTo>
                  <a:cubicBezTo>
                    <a:pt x="533" y="35352"/>
                    <a:pt x="-1140" y="40201"/>
                    <a:pt x="820" y="44224"/>
                  </a:cubicBezTo>
                  <a:cubicBezTo>
                    <a:pt x="835" y="44255"/>
                    <a:pt x="850" y="44285"/>
                    <a:pt x="865" y="44315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54EF100A-C5E4-6541-983F-656410FAEE7B}"/>
                </a:ext>
              </a:extLst>
            </p:cNvPr>
            <p:cNvSpPr/>
            <p:nvPr/>
          </p:nvSpPr>
          <p:spPr>
            <a:xfrm>
              <a:off x="9007959" y="5335508"/>
              <a:ext cx="89128" cy="48652"/>
            </a:xfrm>
            <a:custGeom>
              <a:avLst/>
              <a:gdLst>
                <a:gd name="connsiteX0" fmla="*/ 865 w 89128"/>
                <a:gd name="connsiteY0" fmla="*/ 44211 h 48652"/>
                <a:gd name="connsiteX1" fmla="*/ 8127 w 89128"/>
                <a:gd name="connsiteY1" fmla="*/ 48653 h 48652"/>
                <a:gd name="connsiteX2" fmla="*/ 11788 w 89128"/>
                <a:gd name="connsiteY2" fmla="*/ 47752 h 48652"/>
                <a:gd name="connsiteX3" fmla="*/ 83808 w 89128"/>
                <a:gd name="connsiteY3" fmla="*/ 15763 h 48652"/>
                <a:gd name="connsiteX4" fmla="*/ 88624 w 89128"/>
                <a:gd name="connsiteY4" fmla="*/ 5319 h 48652"/>
                <a:gd name="connsiteX5" fmla="*/ 78887 w 89128"/>
                <a:gd name="connsiteY5" fmla="*/ 279 h 48652"/>
                <a:gd name="connsiteX6" fmla="*/ 4556 w 89128"/>
                <a:gd name="connsiteY6" fmla="*/ 33288 h 48652"/>
                <a:gd name="connsiteX7" fmla="*/ 820 w 89128"/>
                <a:gd name="connsiteY7" fmla="*/ 44120 h 48652"/>
                <a:gd name="connsiteX8" fmla="*/ 865 w 89128"/>
                <a:gd name="connsiteY8" fmla="*/ 44211 h 48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128" h="48652">
                  <a:moveTo>
                    <a:pt x="865" y="44211"/>
                  </a:moveTo>
                  <a:cubicBezTo>
                    <a:pt x="2256" y="46942"/>
                    <a:pt x="5063" y="48659"/>
                    <a:pt x="8127" y="48653"/>
                  </a:cubicBezTo>
                  <a:cubicBezTo>
                    <a:pt x="9401" y="48647"/>
                    <a:pt x="10656" y="48338"/>
                    <a:pt x="11788" y="47752"/>
                  </a:cubicBezTo>
                  <a:cubicBezTo>
                    <a:pt x="35177" y="35751"/>
                    <a:pt x="59222" y="25071"/>
                    <a:pt x="83808" y="15763"/>
                  </a:cubicBezTo>
                  <a:cubicBezTo>
                    <a:pt x="88021" y="14209"/>
                    <a:pt x="90179" y="9533"/>
                    <a:pt x="88624" y="5319"/>
                  </a:cubicBezTo>
                  <a:cubicBezTo>
                    <a:pt x="87169" y="1375"/>
                    <a:pt x="82947" y="-810"/>
                    <a:pt x="78887" y="279"/>
                  </a:cubicBezTo>
                  <a:cubicBezTo>
                    <a:pt x="53488" y="9826"/>
                    <a:pt x="28671" y="20848"/>
                    <a:pt x="4556" y="33288"/>
                  </a:cubicBezTo>
                  <a:cubicBezTo>
                    <a:pt x="533" y="35248"/>
                    <a:pt x="-1140" y="40098"/>
                    <a:pt x="820" y="44120"/>
                  </a:cubicBezTo>
                  <a:cubicBezTo>
                    <a:pt x="835" y="44151"/>
                    <a:pt x="850" y="44181"/>
                    <a:pt x="865" y="44211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F486D382-FB27-584F-ABBB-8BB56D31FBD8}"/>
                </a:ext>
              </a:extLst>
            </p:cNvPr>
            <p:cNvSpPr/>
            <p:nvPr/>
          </p:nvSpPr>
          <p:spPr>
            <a:xfrm>
              <a:off x="8812899" y="5246453"/>
              <a:ext cx="121440" cy="23947"/>
            </a:xfrm>
            <a:custGeom>
              <a:avLst/>
              <a:gdLst>
                <a:gd name="connsiteX0" fmla="*/ 115712 w 121440"/>
                <a:gd name="connsiteY0" fmla="*/ 4110 h 23947"/>
                <a:gd name="connsiteX1" fmla="*/ 6152 w 121440"/>
                <a:gd name="connsiteY1" fmla="*/ 7981 h 23947"/>
                <a:gd name="connsiteX2" fmla="*/ 241 w 121440"/>
                <a:gd name="connsiteY2" fmla="*/ 17797 h 23947"/>
                <a:gd name="connsiteX3" fmla="*/ 8253 w 121440"/>
                <a:gd name="connsiteY3" fmla="*/ 23946 h 23947"/>
                <a:gd name="connsiteX4" fmla="*/ 10353 w 121440"/>
                <a:gd name="connsiteY4" fmla="*/ 23676 h 23947"/>
                <a:gd name="connsiteX5" fmla="*/ 111901 w 121440"/>
                <a:gd name="connsiteY5" fmla="*/ 19925 h 23947"/>
                <a:gd name="connsiteX6" fmla="*/ 121317 w 121440"/>
                <a:gd name="connsiteY6" fmla="*/ 13320 h 23947"/>
                <a:gd name="connsiteX7" fmla="*/ 115592 w 121440"/>
                <a:gd name="connsiteY7" fmla="*/ 4110 h 23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440" h="23947">
                  <a:moveTo>
                    <a:pt x="115712" y="4110"/>
                  </a:moveTo>
                  <a:cubicBezTo>
                    <a:pt x="79337" y="-2461"/>
                    <a:pt x="41973" y="-1141"/>
                    <a:pt x="6152" y="7981"/>
                  </a:cubicBezTo>
                  <a:cubicBezTo>
                    <a:pt x="1809" y="9059"/>
                    <a:pt x="-838" y="13454"/>
                    <a:pt x="241" y="17797"/>
                  </a:cubicBezTo>
                  <a:cubicBezTo>
                    <a:pt x="1151" y="21464"/>
                    <a:pt x="4475" y="24015"/>
                    <a:pt x="8253" y="23946"/>
                  </a:cubicBezTo>
                  <a:cubicBezTo>
                    <a:pt x="8961" y="23945"/>
                    <a:pt x="9667" y="23854"/>
                    <a:pt x="10353" y="23676"/>
                  </a:cubicBezTo>
                  <a:cubicBezTo>
                    <a:pt x="43569" y="15346"/>
                    <a:pt x="78161" y="14068"/>
                    <a:pt x="111901" y="19925"/>
                  </a:cubicBezTo>
                  <a:cubicBezTo>
                    <a:pt x="116325" y="20701"/>
                    <a:pt x="120540" y="17744"/>
                    <a:pt x="121317" y="13320"/>
                  </a:cubicBezTo>
                  <a:cubicBezTo>
                    <a:pt x="122033" y="9240"/>
                    <a:pt x="119568" y="5274"/>
                    <a:pt x="115592" y="4110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2DDE1C57-93C9-8E46-BCF0-454D4565BE9C}"/>
                </a:ext>
              </a:extLst>
            </p:cNvPr>
            <p:cNvSpPr/>
            <p:nvPr/>
          </p:nvSpPr>
          <p:spPr>
            <a:xfrm>
              <a:off x="8813104" y="5295205"/>
              <a:ext cx="121235" cy="23957"/>
            </a:xfrm>
            <a:custGeom>
              <a:avLst/>
              <a:gdLst>
                <a:gd name="connsiteX0" fmla="*/ 115507 w 121235"/>
                <a:gd name="connsiteY0" fmla="*/ 4122 h 23957"/>
                <a:gd name="connsiteX1" fmla="*/ 5947 w 121235"/>
                <a:gd name="connsiteY1" fmla="*/ 7993 h 23957"/>
                <a:gd name="connsiteX2" fmla="*/ 302 w 121235"/>
                <a:gd name="connsiteY2" fmla="*/ 18013 h 23957"/>
                <a:gd name="connsiteX3" fmla="*/ 8048 w 121235"/>
                <a:gd name="connsiteY3" fmla="*/ 23957 h 23957"/>
                <a:gd name="connsiteX4" fmla="*/ 10148 w 121235"/>
                <a:gd name="connsiteY4" fmla="*/ 23687 h 23957"/>
                <a:gd name="connsiteX5" fmla="*/ 111696 w 121235"/>
                <a:gd name="connsiteY5" fmla="*/ 19936 h 23957"/>
                <a:gd name="connsiteX6" fmla="*/ 121112 w 121235"/>
                <a:gd name="connsiteY6" fmla="*/ 13332 h 23957"/>
                <a:gd name="connsiteX7" fmla="*/ 115387 w 121235"/>
                <a:gd name="connsiteY7" fmla="*/ 4122 h 23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235" h="23957">
                  <a:moveTo>
                    <a:pt x="115507" y="4122"/>
                  </a:moveTo>
                  <a:cubicBezTo>
                    <a:pt x="79133" y="-2465"/>
                    <a:pt x="41766" y="-1145"/>
                    <a:pt x="5947" y="7993"/>
                  </a:cubicBezTo>
                  <a:cubicBezTo>
                    <a:pt x="1621" y="9201"/>
                    <a:pt x="-906" y="13687"/>
                    <a:pt x="302" y="18013"/>
                  </a:cubicBezTo>
                  <a:cubicBezTo>
                    <a:pt x="1274" y="21496"/>
                    <a:pt x="4431" y="23919"/>
                    <a:pt x="8048" y="23957"/>
                  </a:cubicBezTo>
                  <a:cubicBezTo>
                    <a:pt x="8756" y="23956"/>
                    <a:pt x="9462" y="23865"/>
                    <a:pt x="10148" y="23687"/>
                  </a:cubicBezTo>
                  <a:cubicBezTo>
                    <a:pt x="43362" y="15341"/>
                    <a:pt x="77958" y="14063"/>
                    <a:pt x="111696" y="19936"/>
                  </a:cubicBezTo>
                  <a:cubicBezTo>
                    <a:pt x="116120" y="20713"/>
                    <a:pt x="120336" y="17756"/>
                    <a:pt x="121112" y="13332"/>
                  </a:cubicBezTo>
                  <a:cubicBezTo>
                    <a:pt x="121828" y="9252"/>
                    <a:pt x="119363" y="5286"/>
                    <a:pt x="115387" y="412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34C73FA7-69AF-6B45-A7E6-EA2A44F8CC82}"/>
                </a:ext>
              </a:extLst>
            </p:cNvPr>
            <p:cNvSpPr/>
            <p:nvPr/>
          </p:nvSpPr>
          <p:spPr>
            <a:xfrm>
              <a:off x="9007959" y="5384137"/>
              <a:ext cx="89487" cy="48756"/>
            </a:xfrm>
            <a:custGeom>
              <a:avLst/>
              <a:gdLst>
                <a:gd name="connsiteX0" fmla="*/ 865 w 89487"/>
                <a:gd name="connsiteY0" fmla="*/ 44315 h 48756"/>
                <a:gd name="connsiteX1" fmla="*/ 8127 w 89487"/>
                <a:gd name="connsiteY1" fmla="*/ 48757 h 48756"/>
                <a:gd name="connsiteX2" fmla="*/ 11788 w 89487"/>
                <a:gd name="connsiteY2" fmla="*/ 47886 h 48756"/>
                <a:gd name="connsiteX3" fmla="*/ 83808 w 89487"/>
                <a:gd name="connsiteY3" fmla="*/ 15897 h 48756"/>
                <a:gd name="connsiteX4" fmla="*/ 89104 w 89487"/>
                <a:gd name="connsiteY4" fmla="*/ 5680 h 48756"/>
                <a:gd name="connsiteX5" fmla="*/ 78887 w 89487"/>
                <a:gd name="connsiteY5" fmla="*/ 383 h 48756"/>
                <a:gd name="connsiteX6" fmla="*/ 4556 w 89487"/>
                <a:gd name="connsiteY6" fmla="*/ 33392 h 48756"/>
                <a:gd name="connsiteX7" fmla="*/ 820 w 89487"/>
                <a:gd name="connsiteY7" fmla="*/ 44225 h 48756"/>
                <a:gd name="connsiteX8" fmla="*/ 865 w 89487"/>
                <a:gd name="connsiteY8" fmla="*/ 44315 h 48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487" h="48756">
                  <a:moveTo>
                    <a:pt x="865" y="44315"/>
                  </a:moveTo>
                  <a:cubicBezTo>
                    <a:pt x="2256" y="47046"/>
                    <a:pt x="5063" y="48763"/>
                    <a:pt x="8127" y="48757"/>
                  </a:cubicBezTo>
                  <a:cubicBezTo>
                    <a:pt x="9399" y="48763"/>
                    <a:pt x="10654" y="48462"/>
                    <a:pt x="11788" y="47886"/>
                  </a:cubicBezTo>
                  <a:cubicBezTo>
                    <a:pt x="35165" y="35859"/>
                    <a:pt x="59210" y="25179"/>
                    <a:pt x="83808" y="15897"/>
                  </a:cubicBezTo>
                  <a:cubicBezTo>
                    <a:pt x="88093" y="14538"/>
                    <a:pt x="90464" y="9964"/>
                    <a:pt x="89104" y="5680"/>
                  </a:cubicBezTo>
                  <a:cubicBezTo>
                    <a:pt x="87745" y="1395"/>
                    <a:pt x="83172" y="-976"/>
                    <a:pt x="78887" y="383"/>
                  </a:cubicBezTo>
                  <a:cubicBezTo>
                    <a:pt x="53488" y="9930"/>
                    <a:pt x="28671" y="20951"/>
                    <a:pt x="4556" y="33392"/>
                  </a:cubicBezTo>
                  <a:cubicBezTo>
                    <a:pt x="533" y="35352"/>
                    <a:pt x="-1140" y="40201"/>
                    <a:pt x="820" y="44225"/>
                  </a:cubicBezTo>
                  <a:cubicBezTo>
                    <a:pt x="835" y="44255"/>
                    <a:pt x="850" y="44285"/>
                    <a:pt x="865" y="44315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CFE5A8C1-B61F-7B4E-9627-6757A83DF99A}"/>
                </a:ext>
              </a:extLst>
            </p:cNvPr>
            <p:cNvSpPr/>
            <p:nvPr/>
          </p:nvSpPr>
          <p:spPr>
            <a:xfrm>
              <a:off x="8812995" y="5343913"/>
              <a:ext cx="121344" cy="23952"/>
            </a:xfrm>
            <a:custGeom>
              <a:avLst/>
              <a:gdLst>
                <a:gd name="connsiteX0" fmla="*/ 115616 w 121344"/>
                <a:gd name="connsiteY0" fmla="*/ 4147 h 23952"/>
                <a:gd name="connsiteX1" fmla="*/ 6056 w 121344"/>
                <a:gd name="connsiteY1" fmla="*/ 7958 h 23952"/>
                <a:gd name="connsiteX2" fmla="*/ 272 w 121344"/>
                <a:gd name="connsiteY2" fmla="*/ 17898 h 23952"/>
                <a:gd name="connsiteX3" fmla="*/ 8156 w 121344"/>
                <a:gd name="connsiteY3" fmla="*/ 23952 h 23952"/>
                <a:gd name="connsiteX4" fmla="*/ 10257 w 121344"/>
                <a:gd name="connsiteY4" fmla="*/ 23652 h 23952"/>
                <a:gd name="connsiteX5" fmla="*/ 111805 w 121344"/>
                <a:gd name="connsiteY5" fmla="*/ 19961 h 23952"/>
                <a:gd name="connsiteX6" fmla="*/ 121221 w 121344"/>
                <a:gd name="connsiteY6" fmla="*/ 13357 h 23952"/>
                <a:gd name="connsiteX7" fmla="*/ 115496 w 121344"/>
                <a:gd name="connsiteY7" fmla="*/ 4147 h 23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344" h="23952">
                  <a:moveTo>
                    <a:pt x="115616" y="4147"/>
                  </a:moveTo>
                  <a:cubicBezTo>
                    <a:pt x="79246" y="-2460"/>
                    <a:pt x="41879" y="-1160"/>
                    <a:pt x="6056" y="7958"/>
                  </a:cubicBezTo>
                  <a:cubicBezTo>
                    <a:pt x="1714" y="9106"/>
                    <a:pt x="-876" y="13556"/>
                    <a:pt x="272" y="17898"/>
                  </a:cubicBezTo>
                  <a:cubicBezTo>
                    <a:pt x="1217" y="21475"/>
                    <a:pt x="4457" y="23962"/>
                    <a:pt x="8156" y="23952"/>
                  </a:cubicBezTo>
                  <a:cubicBezTo>
                    <a:pt x="8866" y="23941"/>
                    <a:pt x="9572" y="23840"/>
                    <a:pt x="10257" y="23652"/>
                  </a:cubicBezTo>
                  <a:cubicBezTo>
                    <a:pt x="43477" y="15343"/>
                    <a:pt x="78070" y="14085"/>
                    <a:pt x="111805" y="19961"/>
                  </a:cubicBezTo>
                  <a:cubicBezTo>
                    <a:pt x="116229" y="20737"/>
                    <a:pt x="120444" y="17781"/>
                    <a:pt x="121221" y="13357"/>
                  </a:cubicBezTo>
                  <a:cubicBezTo>
                    <a:pt x="121937" y="9277"/>
                    <a:pt x="119472" y="5311"/>
                    <a:pt x="115496" y="4147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912DB3BA-037A-8D41-8246-F8DE891BC3C0}"/>
                </a:ext>
              </a:extLst>
            </p:cNvPr>
            <p:cNvSpPr/>
            <p:nvPr/>
          </p:nvSpPr>
          <p:spPr>
            <a:xfrm>
              <a:off x="8813104" y="5441436"/>
              <a:ext cx="121235" cy="23957"/>
            </a:xfrm>
            <a:custGeom>
              <a:avLst/>
              <a:gdLst>
                <a:gd name="connsiteX0" fmla="*/ 115507 w 121235"/>
                <a:gd name="connsiteY0" fmla="*/ 4122 h 23957"/>
                <a:gd name="connsiteX1" fmla="*/ 5947 w 121235"/>
                <a:gd name="connsiteY1" fmla="*/ 7993 h 23957"/>
                <a:gd name="connsiteX2" fmla="*/ 302 w 121235"/>
                <a:gd name="connsiteY2" fmla="*/ 18013 h 23957"/>
                <a:gd name="connsiteX3" fmla="*/ 8048 w 121235"/>
                <a:gd name="connsiteY3" fmla="*/ 23957 h 23957"/>
                <a:gd name="connsiteX4" fmla="*/ 10148 w 121235"/>
                <a:gd name="connsiteY4" fmla="*/ 23687 h 23957"/>
                <a:gd name="connsiteX5" fmla="*/ 111696 w 121235"/>
                <a:gd name="connsiteY5" fmla="*/ 19936 h 23957"/>
                <a:gd name="connsiteX6" fmla="*/ 121112 w 121235"/>
                <a:gd name="connsiteY6" fmla="*/ 13331 h 23957"/>
                <a:gd name="connsiteX7" fmla="*/ 115387 w 121235"/>
                <a:gd name="connsiteY7" fmla="*/ 4122 h 23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235" h="23957">
                  <a:moveTo>
                    <a:pt x="115507" y="4122"/>
                  </a:moveTo>
                  <a:cubicBezTo>
                    <a:pt x="79133" y="-2465"/>
                    <a:pt x="41766" y="-1145"/>
                    <a:pt x="5947" y="7993"/>
                  </a:cubicBezTo>
                  <a:cubicBezTo>
                    <a:pt x="1621" y="9202"/>
                    <a:pt x="-906" y="13685"/>
                    <a:pt x="302" y="18013"/>
                  </a:cubicBezTo>
                  <a:cubicBezTo>
                    <a:pt x="1274" y="21497"/>
                    <a:pt x="4431" y="23918"/>
                    <a:pt x="8048" y="23957"/>
                  </a:cubicBezTo>
                  <a:cubicBezTo>
                    <a:pt x="8756" y="23957"/>
                    <a:pt x="9462" y="23864"/>
                    <a:pt x="10148" y="23687"/>
                  </a:cubicBezTo>
                  <a:cubicBezTo>
                    <a:pt x="43364" y="15357"/>
                    <a:pt x="77957" y="14078"/>
                    <a:pt x="111696" y="19936"/>
                  </a:cubicBezTo>
                  <a:cubicBezTo>
                    <a:pt x="116120" y="20713"/>
                    <a:pt x="120336" y="17755"/>
                    <a:pt x="121112" y="13331"/>
                  </a:cubicBezTo>
                  <a:cubicBezTo>
                    <a:pt x="121828" y="9253"/>
                    <a:pt x="119363" y="5286"/>
                    <a:pt x="115387" y="412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5EC84F9A-5F68-184D-A7D3-3E03AF1B70EC}"/>
                </a:ext>
              </a:extLst>
            </p:cNvPr>
            <p:cNvSpPr/>
            <p:nvPr/>
          </p:nvSpPr>
          <p:spPr>
            <a:xfrm>
              <a:off x="8812995" y="5392755"/>
              <a:ext cx="121189" cy="23964"/>
            </a:xfrm>
            <a:custGeom>
              <a:avLst/>
              <a:gdLst>
                <a:gd name="connsiteX0" fmla="*/ 115616 w 121189"/>
                <a:gd name="connsiteY0" fmla="*/ 4129 h 23964"/>
                <a:gd name="connsiteX1" fmla="*/ 6056 w 121189"/>
                <a:gd name="connsiteY1" fmla="*/ 7970 h 23964"/>
                <a:gd name="connsiteX2" fmla="*/ 272 w 121189"/>
                <a:gd name="connsiteY2" fmla="*/ 17912 h 23964"/>
                <a:gd name="connsiteX3" fmla="*/ 8156 w 121189"/>
                <a:gd name="connsiteY3" fmla="*/ 23964 h 23964"/>
                <a:gd name="connsiteX4" fmla="*/ 10257 w 121189"/>
                <a:gd name="connsiteY4" fmla="*/ 23664 h 23964"/>
                <a:gd name="connsiteX5" fmla="*/ 111805 w 121189"/>
                <a:gd name="connsiteY5" fmla="*/ 19883 h 23964"/>
                <a:gd name="connsiteX6" fmla="*/ 121092 w 121189"/>
                <a:gd name="connsiteY6" fmla="*/ 13098 h 23964"/>
                <a:gd name="connsiteX7" fmla="*/ 115616 w 121189"/>
                <a:gd name="connsiteY7" fmla="*/ 4129 h 2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189" h="23964">
                  <a:moveTo>
                    <a:pt x="115616" y="4129"/>
                  </a:moveTo>
                  <a:cubicBezTo>
                    <a:pt x="79243" y="-2460"/>
                    <a:pt x="41878" y="-1150"/>
                    <a:pt x="6056" y="7970"/>
                  </a:cubicBezTo>
                  <a:cubicBezTo>
                    <a:pt x="1714" y="9116"/>
                    <a:pt x="-876" y="13569"/>
                    <a:pt x="272" y="17912"/>
                  </a:cubicBezTo>
                  <a:cubicBezTo>
                    <a:pt x="1217" y="21486"/>
                    <a:pt x="4457" y="23973"/>
                    <a:pt x="8156" y="23964"/>
                  </a:cubicBezTo>
                  <a:cubicBezTo>
                    <a:pt x="8868" y="23967"/>
                    <a:pt x="9575" y="23865"/>
                    <a:pt x="10257" y="23664"/>
                  </a:cubicBezTo>
                  <a:cubicBezTo>
                    <a:pt x="43469" y="15316"/>
                    <a:pt x="78064" y="14026"/>
                    <a:pt x="111805" y="19883"/>
                  </a:cubicBezTo>
                  <a:cubicBezTo>
                    <a:pt x="116243" y="20573"/>
                    <a:pt x="120401" y="17536"/>
                    <a:pt x="121092" y="13098"/>
                  </a:cubicBezTo>
                  <a:cubicBezTo>
                    <a:pt x="121704" y="9173"/>
                    <a:pt x="119388" y="5380"/>
                    <a:pt x="115616" y="4129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36" name="Graphic 35">
            <a:extLst>
              <a:ext uri="{FF2B5EF4-FFF2-40B4-BE49-F238E27FC236}">
                <a16:creationId xmlns:a16="http://schemas.microsoft.com/office/drawing/2014/main" id="{15CF5FD3-625C-5C48-8826-E214CC0DB908}"/>
              </a:ext>
            </a:extLst>
          </p:cNvPr>
          <p:cNvGrpSpPr/>
          <p:nvPr userDrawn="1"/>
        </p:nvGrpSpPr>
        <p:grpSpPr>
          <a:xfrm>
            <a:off x="7466953" y="2035554"/>
            <a:ext cx="343910" cy="336574"/>
            <a:chOff x="10035198" y="2337874"/>
            <a:chExt cx="480134" cy="480134"/>
          </a:xfrm>
          <a:solidFill>
            <a:schemeClr val="bg1"/>
          </a:solidFill>
        </p:grpSpPr>
        <p:sp>
          <p:nvSpPr>
            <p:cNvPr id="137" name="Freeform 136">
              <a:extLst>
                <a:ext uri="{FF2B5EF4-FFF2-40B4-BE49-F238E27FC236}">
                  <a16:creationId xmlns:a16="http://schemas.microsoft.com/office/drawing/2014/main" id="{0002727C-DA0E-8646-9957-5B4273A5F75F}"/>
                </a:ext>
              </a:extLst>
            </p:cNvPr>
            <p:cNvSpPr/>
            <p:nvPr/>
          </p:nvSpPr>
          <p:spPr>
            <a:xfrm>
              <a:off x="10180828" y="2511322"/>
              <a:ext cx="201116" cy="201236"/>
            </a:xfrm>
            <a:custGeom>
              <a:avLst/>
              <a:gdLst>
                <a:gd name="connsiteX0" fmla="*/ 181071 w 201116"/>
                <a:gd name="connsiteY0" fmla="*/ 125015 h 201236"/>
                <a:gd name="connsiteX1" fmla="*/ 135098 w 201116"/>
                <a:gd name="connsiteY1" fmla="*/ 125015 h 201236"/>
                <a:gd name="connsiteX2" fmla="*/ 125015 w 201116"/>
                <a:gd name="connsiteY2" fmla="*/ 135038 h 201236"/>
                <a:gd name="connsiteX3" fmla="*/ 125015 w 201116"/>
                <a:gd name="connsiteY3" fmla="*/ 135098 h 201236"/>
                <a:gd name="connsiteX4" fmla="*/ 125015 w 201116"/>
                <a:gd name="connsiteY4" fmla="*/ 181071 h 201236"/>
                <a:gd name="connsiteX5" fmla="*/ 76101 w 201116"/>
                <a:gd name="connsiteY5" fmla="*/ 181071 h 201236"/>
                <a:gd name="connsiteX6" fmla="*/ 76101 w 201116"/>
                <a:gd name="connsiteY6" fmla="*/ 135098 h 201236"/>
                <a:gd name="connsiteX7" fmla="*/ 66078 w 201116"/>
                <a:gd name="connsiteY7" fmla="*/ 125015 h 201236"/>
                <a:gd name="connsiteX8" fmla="*/ 66048 w 201116"/>
                <a:gd name="connsiteY8" fmla="*/ 125015 h 201236"/>
                <a:gd name="connsiteX9" fmla="*/ 20076 w 201116"/>
                <a:gd name="connsiteY9" fmla="*/ 125015 h 201236"/>
                <a:gd name="connsiteX10" fmla="*/ 20076 w 201116"/>
                <a:gd name="connsiteY10" fmla="*/ 76191 h 201236"/>
                <a:gd name="connsiteX11" fmla="*/ 66048 w 201116"/>
                <a:gd name="connsiteY11" fmla="*/ 76191 h 201236"/>
                <a:gd name="connsiteX12" fmla="*/ 76101 w 201116"/>
                <a:gd name="connsiteY12" fmla="*/ 66138 h 201236"/>
                <a:gd name="connsiteX13" fmla="*/ 76101 w 201116"/>
                <a:gd name="connsiteY13" fmla="*/ 20046 h 201236"/>
                <a:gd name="connsiteX14" fmla="*/ 124925 w 201116"/>
                <a:gd name="connsiteY14" fmla="*/ 20046 h 201236"/>
                <a:gd name="connsiteX15" fmla="*/ 124925 w 201116"/>
                <a:gd name="connsiteY15" fmla="*/ 66018 h 201236"/>
                <a:gd name="connsiteX16" fmla="*/ 134948 w 201116"/>
                <a:gd name="connsiteY16" fmla="*/ 76101 h 201236"/>
                <a:gd name="connsiteX17" fmla="*/ 134978 w 201116"/>
                <a:gd name="connsiteY17" fmla="*/ 76101 h 201236"/>
                <a:gd name="connsiteX18" fmla="*/ 181071 w 201116"/>
                <a:gd name="connsiteY18" fmla="*/ 76101 h 201236"/>
                <a:gd name="connsiteX19" fmla="*/ 186202 w 201116"/>
                <a:gd name="connsiteY19" fmla="*/ 55996 h 201236"/>
                <a:gd name="connsiteX20" fmla="*/ 145151 w 201116"/>
                <a:gd name="connsiteY20" fmla="*/ 55996 h 201236"/>
                <a:gd name="connsiteX21" fmla="*/ 145151 w 201116"/>
                <a:gd name="connsiteY21" fmla="*/ 15004 h 201236"/>
                <a:gd name="connsiteX22" fmla="*/ 130146 w 201116"/>
                <a:gd name="connsiteY22" fmla="*/ 0 h 201236"/>
                <a:gd name="connsiteX23" fmla="*/ 70970 w 201116"/>
                <a:gd name="connsiteY23" fmla="*/ 0 h 201236"/>
                <a:gd name="connsiteX24" fmla="*/ 55966 w 201116"/>
                <a:gd name="connsiteY24" fmla="*/ 15004 h 201236"/>
                <a:gd name="connsiteX25" fmla="*/ 55966 w 201116"/>
                <a:gd name="connsiteY25" fmla="*/ 55966 h 201236"/>
                <a:gd name="connsiteX26" fmla="*/ 15004 w 201116"/>
                <a:gd name="connsiteY26" fmla="*/ 55966 h 201236"/>
                <a:gd name="connsiteX27" fmla="*/ 0 w 201116"/>
                <a:gd name="connsiteY27" fmla="*/ 70970 h 201236"/>
                <a:gd name="connsiteX28" fmla="*/ 0 w 201116"/>
                <a:gd name="connsiteY28" fmla="*/ 130236 h 201236"/>
                <a:gd name="connsiteX29" fmla="*/ 15004 w 201116"/>
                <a:gd name="connsiteY29" fmla="*/ 145241 h 201236"/>
                <a:gd name="connsiteX30" fmla="*/ 55996 w 201116"/>
                <a:gd name="connsiteY30" fmla="*/ 145241 h 201236"/>
                <a:gd name="connsiteX31" fmla="*/ 55996 w 201116"/>
                <a:gd name="connsiteY31" fmla="*/ 186232 h 201236"/>
                <a:gd name="connsiteX32" fmla="*/ 71000 w 201116"/>
                <a:gd name="connsiteY32" fmla="*/ 201236 h 201236"/>
                <a:gd name="connsiteX33" fmla="*/ 130056 w 201116"/>
                <a:gd name="connsiteY33" fmla="*/ 201236 h 201236"/>
                <a:gd name="connsiteX34" fmla="*/ 145060 w 201116"/>
                <a:gd name="connsiteY34" fmla="*/ 186232 h 201236"/>
                <a:gd name="connsiteX35" fmla="*/ 145060 w 201116"/>
                <a:gd name="connsiteY35" fmla="*/ 145121 h 201236"/>
                <a:gd name="connsiteX36" fmla="*/ 186112 w 201116"/>
                <a:gd name="connsiteY36" fmla="*/ 145121 h 201236"/>
                <a:gd name="connsiteX37" fmla="*/ 201116 w 201116"/>
                <a:gd name="connsiteY37" fmla="*/ 130116 h 201236"/>
                <a:gd name="connsiteX38" fmla="*/ 201116 w 201116"/>
                <a:gd name="connsiteY38" fmla="*/ 71060 h 201236"/>
                <a:gd name="connsiteX39" fmla="*/ 186112 w 201116"/>
                <a:gd name="connsiteY39" fmla="*/ 56056 h 20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01116" h="201236">
                  <a:moveTo>
                    <a:pt x="181071" y="125015"/>
                  </a:moveTo>
                  <a:lnTo>
                    <a:pt x="135098" y="125015"/>
                  </a:lnTo>
                  <a:cubicBezTo>
                    <a:pt x="129546" y="124998"/>
                    <a:pt x="125031" y="129486"/>
                    <a:pt x="125015" y="135038"/>
                  </a:cubicBezTo>
                  <a:cubicBezTo>
                    <a:pt x="125015" y="135059"/>
                    <a:pt x="125015" y="135077"/>
                    <a:pt x="125015" y="135098"/>
                  </a:cubicBezTo>
                  <a:lnTo>
                    <a:pt x="125015" y="181071"/>
                  </a:lnTo>
                  <a:lnTo>
                    <a:pt x="76101" y="181071"/>
                  </a:lnTo>
                  <a:lnTo>
                    <a:pt x="76101" y="135098"/>
                  </a:lnTo>
                  <a:cubicBezTo>
                    <a:pt x="76118" y="129546"/>
                    <a:pt x="71631" y="125031"/>
                    <a:pt x="66078" y="125015"/>
                  </a:cubicBezTo>
                  <a:cubicBezTo>
                    <a:pt x="66069" y="125015"/>
                    <a:pt x="66058" y="125015"/>
                    <a:pt x="66048" y="125015"/>
                  </a:cubicBezTo>
                  <a:lnTo>
                    <a:pt x="20076" y="125015"/>
                  </a:lnTo>
                  <a:lnTo>
                    <a:pt x="20076" y="76191"/>
                  </a:lnTo>
                  <a:lnTo>
                    <a:pt x="66048" y="76191"/>
                  </a:lnTo>
                  <a:cubicBezTo>
                    <a:pt x="71601" y="76191"/>
                    <a:pt x="76101" y="71691"/>
                    <a:pt x="76101" y="66138"/>
                  </a:cubicBezTo>
                  <a:lnTo>
                    <a:pt x="76101" y="20046"/>
                  </a:lnTo>
                  <a:lnTo>
                    <a:pt x="124925" y="20046"/>
                  </a:lnTo>
                  <a:lnTo>
                    <a:pt x="124925" y="66018"/>
                  </a:lnTo>
                  <a:cubicBezTo>
                    <a:pt x="124908" y="71570"/>
                    <a:pt x="129396" y="76085"/>
                    <a:pt x="134948" y="76101"/>
                  </a:cubicBezTo>
                  <a:cubicBezTo>
                    <a:pt x="134958" y="76101"/>
                    <a:pt x="134968" y="76101"/>
                    <a:pt x="134978" y="76101"/>
                  </a:cubicBezTo>
                  <a:lnTo>
                    <a:pt x="181071" y="76101"/>
                  </a:lnTo>
                  <a:close/>
                  <a:moveTo>
                    <a:pt x="186202" y="55996"/>
                  </a:moveTo>
                  <a:lnTo>
                    <a:pt x="145151" y="55996"/>
                  </a:lnTo>
                  <a:lnTo>
                    <a:pt x="145151" y="15004"/>
                  </a:lnTo>
                  <a:cubicBezTo>
                    <a:pt x="145151" y="6718"/>
                    <a:pt x="138433" y="0"/>
                    <a:pt x="130146" y="0"/>
                  </a:cubicBezTo>
                  <a:lnTo>
                    <a:pt x="70970" y="0"/>
                  </a:lnTo>
                  <a:cubicBezTo>
                    <a:pt x="62683" y="0"/>
                    <a:pt x="55966" y="6718"/>
                    <a:pt x="55966" y="15004"/>
                  </a:cubicBezTo>
                  <a:lnTo>
                    <a:pt x="55966" y="55966"/>
                  </a:lnTo>
                  <a:lnTo>
                    <a:pt x="15004" y="55966"/>
                  </a:lnTo>
                  <a:cubicBezTo>
                    <a:pt x="6718" y="55966"/>
                    <a:pt x="0" y="62683"/>
                    <a:pt x="0" y="70970"/>
                  </a:cubicBezTo>
                  <a:lnTo>
                    <a:pt x="0" y="130236"/>
                  </a:lnTo>
                  <a:cubicBezTo>
                    <a:pt x="0" y="138522"/>
                    <a:pt x="6718" y="145241"/>
                    <a:pt x="15004" y="145241"/>
                  </a:cubicBezTo>
                  <a:lnTo>
                    <a:pt x="55996" y="145241"/>
                  </a:lnTo>
                  <a:lnTo>
                    <a:pt x="55996" y="186232"/>
                  </a:lnTo>
                  <a:cubicBezTo>
                    <a:pt x="55996" y="194517"/>
                    <a:pt x="62713" y="201236"/>
                    <a:pt x="71000" y="201236"/>
                  </a:cubicBezTo>
                  <a:lnTo>
                    <a:pt x="130056" y="201236"/>
                  </a:lnTo>
                  <a:cubicBezTo>
                    <a:pt x="138343" y="201236"/>
                    <a:pt x="145060" y="194517"/>
                    <a:pt x="145060" y="186232"/>
                  </a:cubicBezTo>
                  <a:lnTo>
                    <a:pt x="145060" y="145121"/>
                  </a:lnTo>
                  <a:lnTo>
                    <a:pt x="186112" y="145121"/>
                  </a:lnTo>
                  <a:cubicBezTo>
                    <a:pt x="194397" y="145121"/>
                    <a:pt x="201116" y="138402"/>
                    <a:pt x="201116" y="130116"/>
                  </a:cubicBezTo>
                  <a:lnTo>
                    <a:pt x="201116" y="71060"/>
                  </a:lnTo>
                  <a:cubicBezTo>
                    <a:pt x="201116" y="62773"/>
                    <a:pt x="194397" y="56056"/>
                    <a:pt x="186112" y="56056"/>
                  </a:cubicBezTo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38" name="Freeform 137">
              <a:extLst>
                <a:ext uri="{FF2B5EF4-FFF2-40B4-BE49-F238E27FC236}">
                  <a16:creationId xmlns:a16="http://schemas.microsoft.com/office/drawing/2014/main" id="{8EB50C82-14C1-4246-AA40-5FFC166F9C2E}"/>
                </a:ext>
              </a:extLst>
            </p:cNvPr>
            <p:cNvSpPr/>
            <p:nvPr/>
          </p:nvSpPr>
          <p:spPr>
            <a:xfrm>
              <a:off x="10036701" y="2370271"/>
              <a:ext cx="489402" cy="423424"/>
            </a:xfrm>
            <a:custGeom>
              <a:avLst/>
              <a:gdLst>
                <a:gd name="connsiteX0" fmla="*/ 469118 w 489402"/>
                <a:gd name="connsiteY0" fmla="*/ 353810 h 423424"/>
                <a:gd name="connsiteX1" fmla="*/ 428451 w 489402"/>
                <a:gd name="connsiteY1" fmla="*/ 403114 h 423424"/>
                <a:gd name="connsiteX2" fmla="*/ 419814 w 489402"/>
                <a:gd name="connsiteY2" fmla="*/ 403114 h 423424"/>
                <a:gd name="connsiteX3" fmla="*/ 69556 w 489402"/>
                <a:gd name="connsiteY3" fmla="*/ 403114 h 423424"/>
                <a:gd name="connsiteX4" fmla="*/ 20253 w 489402"/>
                <a:gd name="connsiteY4" fmla="*/ 362311 h 423424"/>
                <a:gd name="connsiteX5" fmla="*/ 20253 w 489402"/>
                <a:gd name="connsiteY5" fmla="*/ 353810 h 423424"/>
                <a:gd name="connsiteX6" fmla="*/ 20253 w 489402"/>
                <a:gd name="connsiteY6" fmla="*/ 135139 h 423424"/>
                <a:gd name="connsiteX7" fmla="*/ 60954 w 489402"/>
                <a:gd name="connsiteY7" fmla="*/ 85808 h 423424"/>
                <a:gd name="connsiteX8" fmla="*/ 69556 w 489402"/>
                <a:gd name="connsiteY8" fmla="*/ 85805 h 423424"/>
                <a:gd name="connsiteX9" fmla="*/ 419814 w 489402"/>
                <a:gd name="connsiteY9" fmla="*/ 85805 h 423424"/>
                <a:gd name="connsiteX10" fmla="*/ 469121 w 489402"/>
                <a:gd name="connsiteY10" fmla="*/ 126603 h 423424"/>
                <a:gd name="connsiteX11" fmla="*/ 469118 w 489402"/>
                <a:gd name="connsiteY11" fmla="*/ 135139 h 423424"/>
                <a:gd name="connsiteX12" fmla="*/ 172545 w 489402"/>
                <a:gd name="connsiteY12" fmla="*/ 30260 h 423424"/>
                <a:gd name="connsiteX13" fmla="*/ 180460 w 489402"/>
                <a:gd name="connsiteY13" fmla="*/ 19487 h 423424"/>
                <a:gd name="connsiteX14" fmla="*/ 183318 w 489402"/>
                <a:gd name="connsiteY14" fmla="*/ 19487 h 423424"/>
                <a:gd name="connsiteX15" fmla="*/ 306082 w 489402"/>
                <a:gd name="connsiteY15" fmla="*/ 19487 h 423424"/>
                <a:gd name="connsiteX16" fmla="*/ 316855 w 489402"/>
                <a:gd name="connsiteY16" fmla="*/ 30260 h 423424"/>
                <a:gd name="connsiteX17" fmla="*/ 316855 w 489402"/>
                <a:gd name="connsiteY17" fmla="*/ 65460 h 423424"/>
                <a:gd name="connsiteX18" fmla="*/ 172545 w 489402"/>
                <a:gd name="connsiteY18" fmla="*/ 65460 h 423424"/>
                <a:gd name="connsiteX19" fmla="*/ 419724 w 489402"/>
                <a:gd name="connsiteY19" fmla="*/ 65670 h 423424"/>
                <a:gd name="connsiteX20" fmla="*/ 336871 w 489402"/>
                <a:gd name="connsiteY20" fmla="*/ 65670 h 423424"/>
                <a:gd name="connsiteX21" fmla="*/ 336871 w 489402"/>
                <a:gd name="connsiteY21" fmla="*/ 30260 h 423424"/>
                <a:gd name="connsiteX22" fmla="*/ 308606 w 489402"/>
                <a:gd name="connsiteY22" fmla="*/ 42 h 423424"/>
                <a:gd name="connsiteX23" fmla="*/ 308573 w 489402"/>
                <a:gd name="connsiteY23" fmla="*/ 41 h 423424"/>
                <a:gd name="connsiteX24" fmla="*/ 306082 w 489402"/>
                <a:gd name="connsiteY24" fmla="*/ 41 h 423424"/>
                <a:gd name="connsiteX25" fmla="*/ 183288 w 489402"/>
                <a:gd name="connsiteY25" fmla="*/ 41 h 423424"/>
                <a:gd name="connsiteX26" fmla="*/ 152531 w 489402"/>
                <a:gd name="connsiteY26" fmla="*/ 27719 h 423424"/>
                <a:gd name="connsiteX27" fmla="*/ 152530 w 489402"/>
                <a:gd name="connsiteY27" fmla="*/ 27739 h 423424"/>
                <a:gd name="connsiteX28" fmla="*/ 152530 w 489402"/>
                <a:gd name="connsiteY28" fmla="*/ 30230 h 423424"/>
                <a:gd name="connsiteX29" fmla="*/ 152530 w 489402"/>
                <a:gd name="connsiteY29" fmla="*/ 65460 h 423424"/>
                <a:gd name="connsiteX30" fmla="*/ 69556 w 489402"/>
                <a:gd name="connsiteY30" fmla="*/ 65460 h 423424"/>
                <a:gd name="connsiteX31" fmla="*/ 143 w 489402"/>
                <a:gd name="connsiteY31" fmla="*/ 126301 h 423424"/>
                <a:gd name="connsiteX32" fmla="*/ 147 w 489402"/>
                <a:gd name="connsiteY32" fmla="*/ 134929 h 423424"/>
                <a:gd name="connsiteX33" fmla="*/ 147 w 489402"/>
                <a:gd name="connsiteY33" fmla="*/ 353810 h 423424"/>
                <a:gd name="connsiteX34" fmla="*/ 60929 w 489402"/>
                <a:gd name="connsiteY34" fmla="*/ 423276 h 423424"/>
                <a:gd name="connsiteX35" fmla="*/ 69556 w 489402"/>
                <a:gd name="connsiteY35" fmla="*/ 423279 h 423424"/>
                <a:gd name="connsiteX36" fmla="*/ 419814 w 489402"/>
                <a:gd name="connsiteY36" fmla="*/ 423279 h 423424"/>
                <a:gd name="connsiteX37" fmla="*/ 489257 w 489402"/>
                <a:gd name="connsiteY37" fmla="*/ 362470 h 423424"/>
                <a:gd name="connsiteX38" fmla="*/ 489254 w 489402"/>
                <a:gd name="connsiteY38" fmla="*/ 353810 h 423424"/>
                <a:gd name="connsiteX39" fmla="*/ 489254 w 489402"/>
                <a:gd name="connsiteY39" fmla="*/ 135139 h 423424"/>
                <a:gd name="connsiteX40" fmla="*/ 428538 w 489402"/>
                <a:gd name="connsiteY40" fmla="*/ 65671 h 423424"/>
                <a:gd name="connsiteX41" fmla="*/ 419814 w 489402"/>
                <a:gd name="connsiteY41" fmla="*/ 65670 h 42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89402" h="423424">
                  <a:moveTo>
                    <a:pt x="469118" y="353810"/>
                  </a:moveTo>
                  <a:cubicBezTo>
                    <a:pt x="471504" y="378654"/>
                    <a:pt x="453295" y="400728"/>
                    <a:pt x="428451" y="403114"/>
                  </a:cubicBezTo>
                  <a:cubicBezTo>
                    <a:pt x="425579" y="403390"/>
                    <a:pt x="422686" y="403390"/>
                    <a:pt x="419814" y="403114"/>
                  </a:cubicBezTo>
                  <a:lnTo>
                    <a:pt x="69556" y="403114"/>
                  </a:lnTo>
                  <a:cubicBezTo>
                    <a:pt x="44675" y="405460"/>
                    <a:pt x="22601" y="387194"/>
                    <a:pt x="20253" y="362311"/>
                  </a:cubicBezTo>
                  <a:cubicBezTo>
                    <a:pt x="19986" y="359485"/>
                    <a:pt x="19986" y="356637"/>
                    <a:pt x="20253" y="353810"/>
                  </a:cubicBezTo>
                  <a:lnTo>
                    <a:pt x="20253" y="135139"/>
                  </a:lnTo>
                  <a:cubicBezTo>
                    <a:pt x="17870" y="110277"/>
                    <a:pt x="36092" y="88191"/>
                    <a:pt x="60954" y="85808"/>
                  </a:cubicBezTo>
                  <a:cubicBezTo>
                    <a:pt x="63815" y="85534"/>
                    <a:pt x="66695" y="85533"/>
                    <a:pt x="69556" y="85805"/>
                  </a:cubicBezTo>
                  <a:lnTo>
                    <a:pt x="419814" y="85805"/>
                  </a:lnTo>
                  <a:cubicBezTo>
                    <a:pt x="444697" y="83456"/>
                    <a:pt x="466771" y="101722"/>
                    <a:pt x="469121" y="126603"/>
                  </a:cubicBezTo>
                  <a:cubicBezTo>
                    <a:pt x="469388" y="129442"/>
                    <a:pt x="469388" y="132300"/>
                    <a:pt x="469118" y="135139"/>
                  </a:cubicBezTo>
                  <a:close/>
                  <a:moveTo>
                    <a:pt x="172545" y="30260"/>
                  </a:moveTo>
                  <a:cubicBezTo>
                    <a:pt x="171756" y="25099"/>
                    <a:pt x="175300" y="20276"/>
                    <a:pt x="180460" y="19487"/>
                  </a:cubicBezTo>
                  <a:cubicBezTo>
                    <a:pt x="181407" y="19342"/>
                    <a:pt x="182371" y="19342"/>
                    <a:pt x="183318" y="19487"/>
                  </a:cubicBezTo>
                  <a:lnTo>
                    <a:pt x="306082" y="19487"/>
                  </a:lnTo>
                  <a:cubicBezTo>
                    <a:pt x="316855" y="19487"/>
                    <a:pt x="316855" y="27229"/>
                    <a:pt x="316855" y="30260"/>
                  </a:cubicBezTo>
                  <a:lnTo>
                    <a:pt x="316855" y="65460"/>
                  </a:lnTo>
                  <a:lnTo>
                    <a:pt x="172545" y="65460"/>
                  </a:lnTo>
                  <a:close/>
                  <a:moveTo>
                    <a:pt x="419724" y="65670"/>
                  </a:moveTo>
                  <a:lnTo>
                    <a:pt x="336871" y="65670"/>
                  </a:lnTo>
                  <a:lnTo>
                    <a:pt x="336871" y="30260"/>
                  </a:lnTo>
                  <a:cubicBezTo>
                    <a:pt x="337411" y="14110"/>
                    <a:pt x="324754" y="581"/>
                    <a:pt x="308606" y="42"/>
                  </a:cubicBezTo>
                  <a:cubicBezTo>
                    <a:pt x="308594" y="42"/>
                    <a:pt x="308585" y="42"/>
                    <a:pt x="308573" y="41"/>
                  </a:cubicBezTo>
                  <a:cubicBezTo>
                    <a:pt x="307745" y="-4"/>
                    <a:pt x="306911" y="-4"/>
                    <a:pt x="306082" y="41"/>
                  </a:cubicBezTo>
                  <a:lnTo>
                    <a:pt x="183288" y="41"/>
                  </a:lnTo>
                  <a:cubicBezTo>
                    <a:pt x="167152" y="-809"/>
                    <a:pt x="153381" y="11583"/>
                    <a:pt x="152531" y="27719"/>
                  </a:cubicBezTo>
                  <a:cubicBezTo>
                    <a:pt x="152530" y="27726"/>
                    <a:pt x="152530" y="27732"/>
                    <a:pt x="152530" y="27739"/>
                  </a:cubicBezTo>
                  <a:cubicBezTo>
                    <a:pt x="152485" y="28569"/>
                    <a:pt x="152485" y="29400"/>
                    <a:pt x="152530" y="30230"/>
                  </a:cubicBezTo>
                  <a:lnTo>
                    <a:pt x="152530" y="65460"/>
                  </a:lnTo>
                  <a:lnTo>
                    <a:pt x="69556" y="65460"/>
                  </a:lnTo>
                  <a:cubicBezTo>
                    <a:pt x="33588" y="63092"/>
                    <a:pt x="2510" y="90332"/>
                    <a:pt x="143" y="126301"/>
                  </a:cubicBezTo>
                  <a:cubicBezTo>
                    <a:pt x="-46" y="129174"/>
                    <a:pt x="-44" y="132056"/>
                    <a:pt x="147" y="134929"/>
                  </a:cubicBezTo>
                  <a:lnTo>
                    <a:pt x="147" y="353810"/>
                  </a:lnTo>
                  <a:cubicBezTo>
                    <a:pt x="-2251" y="389778"/>
                    <a:pt x="24962" y="420879"/>
                    <a:pt x="60929" y="423276"/>
                  </a:cubicBezTo>
                  <a:cubicBezTo>
                    <a:pt x="63801" y="423468"/>
                    <a:pt x="66683" y="423468"/>
                    <a:pt x="69556" y="423279"/>
                  </a:cubicBezTo>
                  <a:lnTo>
                    <a:pt x="419814" y="423279"/>
                  </a:lnTo>
                  <a:cubicBezTo>
                    <a:pt x="455782" y="425662"/>
                    <a:pt x="486871" y="398438"/>
                    <a:pt x="489257" y="362470"/>
                  </a:cubicBezTo>
                  <a:cubicBezTo>
                    <a:pt x="489446" y="359587"/>
                    <a:pt x="489446" y="356694"/>
                    <a:pt x="489254" y="353810"/>
                  </a:cubicBezTo>
                  <a:lnTo>
                    <a:pt x="489254" y="135139"/>
                  </a:lnTo>
                  <a:cubicBezTo>
                    <a:pt x="491669" y="99190"/>
                    <a:pt x="464488" y="68088"/>
                    <a:pt x="428538" y="65671"/>
                  </a:cubicBezTo>
                  <a:cubicBezTo>
                    <a:pt x="425633" y="65476"/>
                    <a:pt x="422719" y="65475"/>
                    <a:pt x="419814" y="65670"/>
                  </a:cubicBezTo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39" name="Graphic 37">
            <a:extLst>
              <a:ext uri="{FF2B5EF4-FFF2-40B4-BE49-F238E27FC236}">
                <a16:creationId xmlns:a16="http://schemas.microsoft.com/office/drawing/2014/main" id="{82CE9AA6-183F-3C44-BB40-71A8122479A1}"/>
              </a:ext>
            </a:extLst>
          </p:cNvPr>
          <p:cNvGrpSpPr/>
          <p:nvPr userDrawn="1"/>
        </p:nvGrpSpPr>
        <p:grpSpPr>
          <a:xfrm>
            <a:off x="5627555" y="2735141"/>
            <a:ext cx="429887" cy="336573"/>
            <a:chOff x="7467206" y="3335858"/>
            <a:chExt cx="600167" cy="480133"/>
          </a:xfrm>
          <a:solidFill>
            <a:schemeClr val="bg1"/>
          </a:solidFill>
        </p:grpSpPr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747D3E42-74BA-9A44-953C-0B9E5097F775}"/>
                </a:ext>
              </a:extLst>
            </p:cNvPr>
            <p:cNvSpPr/>
            <p:nvPr/>
          </p:nvSpPr>
          <p:spPr>
            <a:xfrm>
              <a:off x="7663660" y="3634444"/>
              <a:ext cx="60473" cy="14912"/>
            </a:xfrm>
            <a:custGeom>
              <a:avLst/>
              <a:gdLst>
                <a:gd name="connsiteX0" fmla="*/ 52929 w 60473"/>
                <a:gd name="connsiteY0" fmla="*/ 14912 h 14912"/>
                <a:gd name="connsiteX1" fmla="*/ 7545 w 60473"/>
                <a:gd name="connsiteY1" fmla="*/ 14912 h 14912"/>
                <a:gd name="connsiteX2" fmla="*/ 0 w 60473"/>
                <a:gd name="connsiteY2" fmla="*/ 7456 h 14912"/>
                <a:gd name="connsiteX3" fmla="*/ 7545 w 60473"/>
                <a:gd name="connsiteY3" fmla="*/ 0 h 14912"/>
                <a:gd name="connsiteX4" fmla="*/ 52929 w 60473"/>
                <a:gd name="connsiteY4" fmla="*/ 0 h 14912"/>
                <a:gd name="connsiteX5" fmla="*/ 60474 w 60473"/>
                <a:gd name="connsiteY5" fmla="*/ 7456 h 14912"/>
                <a:gd name="connsiteX6" fmla="*/ 52929 w 60473"/>
                <a:gd name="connsiteY6" fmla="*/ 14912 h 14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473" h="14912">
                  <a:moveTo>
                    <a:pt x="52929" y="14912"/>
                  </a:moveTo>
                  <a:lnTo>
                    <a:pt x="7545" y="14912"/>
                  </a:lnTo>
                  <a:cubicBezTo>
                    <a:pt x="3378" y="14912"/>
                    <a:pt x="0" y="11574"/>
                    <a:pt x="0" y="7456"/>
                  </a:cubicBezTo>
                  <a:cubicBezTo>
                    <a:pt x="0" y="3338"/>
                    <a:pt x="3378" y="0"/>
                    <a:pt x="7545" y="0"/>
                  </a:cubicBezTo>
                  <a:lnTo>
                    <a:pt x="52929" y="0"/>
                  </a:lnTo>
                  <a:cubicBezTo>
                    <a:pt x="57096" y="0"/>
                    <a:pt x="60474" y="3338"/>
                    <a:pt x="60474" y="7456"/>
                  </a:cubicBezTo>
                  <a:cubicBezTo>
                    <a:pt x="60474" y="11574"/>
                    <a:pt x="57096" y="14912"/>
                    <a:pt x="52929" y="14912"/>
                  </a:cubicBez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1ED13277-BA34-0C4C-9D83-F699B886CF67}"/>
                </a:ext>
              </a:extLst>
            </p:cNvPr>
            <p:cNvSpPr/>
            <p:nvPr/>
          </p:nvSpPr>
          <p:spPr>
            <a:xfrm>
              <a:off x="7569091" y="3431550"/>
              <a:ext cx="224819" cy="122669"/>
            </a:xfrm>
            <a:custGeom>
              <a:avLst/>
              <a:gdLst>
                <a:gd name="connsiteX0" fmla="*/ 195569 w 224819"/>
                <a:gd name="connsiteY0" fmla="*/ 532 h 122669"/>
                <a:gd name="connsiteX1" fmla="*/ 167247 w 224819"/>
                <a:gd name="connsiteY1" fmla="*/ 28549 h 122669"/>
                <a:gd name="connsiteX2" fmla="*/ 170104 w 224819"/>
                <a:gd name="connsiteY2" fmla="*/ 40468 h 122669"/>
                <a:gd name="connsiteX3" fmla="*/ 141525 w 224819"/>
                <a:gd name="connsiteY3" fmla="*/ 68711 h 122669"/>
                <a:gd name="connsiteX4" fmla="*/ 129436 w 224819"/>
                <a:gd name="connsiteY4" fmla="*/ 65887 h 122669"/>
                <a:gd name="connsiteX5" fmla="*/ 117347 w 224819"/>
                <a:gd name="connsiteY5" fmla="*/ 68711 h 122669"/>
                <a:gd name="connsiteX6" fmla="*/ 88768 w 224819"/>
                <a:gd name="connsiteY6" fmla="*/ 40468 h 122669"/>
                <a:gd name="connsiteX7" fmla="*/ 91625 w 224819"/>
                <a:gd name="connsiteY7" fmla="*/ 28521 h 122669"/>
                <a:gd name="connsiteX8" fmla="*/ 63789 w 224819"/>
                <a:gd name="connsiteY8" fmla="*/ 5 h 122669"/>
                <a:gd name="connsiteX9" fmla="*/ 34933 w 224819"/>
                <a:gd name="connsiteY9" fmla="*/ 27513 h 122669"/>
                <a:gd name="connsiteX10" fmla="*/ 37868 w 224819"/>
                <a:gd name="connsiteY10" fmla="*/ 40440 h 122669"/>
                <a:gd name="connsiteX11" fmla="*/ 0 w 224819"/>
                <a:gd name="connsiteY11" fmla="*/ 77947 h 122669"/>
                <a:gd name="connsiteX12" fmla="*/ 13347 w 224819"/>
                <a:gd name="connsiteY12" fmla="*/ 91136 h 122669"/>
                <a:gd name="connsiteX13" fmla="*/ 51300 w 224819"/>
                <a:gd name="connsiteY13" fmla="*/ 53658 h 122669"/>
                <a:gd name="connsiteX14" fmla="*/ 75364 w 224819"/>
                <a:gd name="connsiteY14" fmla="*/ 53658 h 122669"/>
                <a:gd name="connsiteX15" fmla="*/ 103943 w 224819"/>
                <a:gd name="connsiteY15" fmla="*/ 81901 h 122669"/>
                <a:gd name="connsiteX16" fmla="*/ 101085 w 224819"/>
                <a:gd name="connsiteY16" fmla="*/ 93763 h 122669"/>
                <a:gd name="connsiteX17" fmla="*/ 128521 w 224819"/>
                <a:gd name="connsiteY17" fmla="*/ 122655 h 122669"/>
                <a:gd name="connsiteX18" fmla="*/ 157758 w 224819"/>
                <a:gd name="connsiteY18" fmla="*/ 95542 h 122669"/>
                <a:gd name="connsiteX19" fmla="*/ 157758 w 224819"/>
                <a:gd name="connsiteY19" fmla="*/ 93763 h 122669"/>
                <a:gd name="connsiteX20" fmla="*/ 154900 w 224819"/>
                <a:gd name="connsiteY20" fmla="*/ 81872 h 122669"/>
                <a:gd name="connsiteX21" fmla="*/ 183480 w 224819"/>
                <a:gd name="connsiteY21" fmla="*/ 53629 h 122669"/>
                <a:gd name="connsiteX22" fmla="*/ 195512 w 224819"/>
                <a:gd name="connsiteY22" fmla="*/ 56454 h 122669"/>
                <a:gd name="connsiteX23" fmla="*/ 224805 w 224819"/>
                <a:gd name="connsiteY23" fmla="*/ 29284 h 122669"/>
                <a:gd name="connsiteX24" fmla="*/ 197312 w 224819"/>
                <a:gd name="connsiteY24" fmla="*/ 335 h 122669"/>
                <a:gd name="connsiteX25" fmla="*/ 195512 w 224819"/>
                <a:gd name="connsiteY25" fmla="*/ 335 h 122669"/>
                <a:gd name="connsiteX26" fmla="*/ 53901 w 224819"/>
                <a:gd name="connsiteY26" fmla="*/ 28578 h 122669"/>
                <a:gd name="connsiteX27" fmla="*/ 63332 w 224819"/>
                <a:gd name="connsiteY27" fmla="*/ 19201 h 122669"/>
                <a:gd name="connsiteX28" fmla="*/ 72820 w 224819"/>
                <a:gd name="connsiteY28" fmla="*/ 28521 h 122669"/>
                <a:gd name="connsiteX29" fmla="*/ 63389 w 224819"/>
                <a:gd name="connsiteY29" fmla="*/ 37898 h 122669"/>
                <a:gd name="connsiteX30" fmla="*/ 63389 w 224819"/>
                <a:gd name="connsiteY30" fmla="*/ 37898 h 122669"/>
                <a:gd name="connsiteX31" fmla="*/ 53901 w 224819"/>
                <a:gd name="connsiteY31" fmla="*/ 28578 h 122669"/>
                <a:gd name="connsiteX32" fmla="*/ 129608 w 224819"/>
                <a:gd name="connsiteY32" fmla="*/ 103224 h 122669"/>
                <a:gd name="connsiteX33" fmla="*/ 120148 w 224819"/>
                <a:gd name="connsiteY33" fmla="*/ 93876 h 122669"/>
                <a:gd name="connsiteX34" fmla="*/ 129608 w 224819"/>
                <a:gd name="connsiteY34" fmla="*/ 84527 h 122669"/>
                <a:gd name="connsiteX35" fmla="*/ 139067 w 224819"/>
                <a:gd name="connsiteY35" fmla="*/ 93876 h 122669"/>
                <a:gd name="connsiteX36" fmla="*/ 129608 w 224819"/>
                <a:gd name="connsiteY36" fmla="*/ 103224 h 122669"/>
                <a:gd name="connsiteX37" fmla="*/ 195712 w 224819"/>
                <a:gd name="connsiteY37" fmla="*/ 37870 h 122669"/>
                <a:gd name="connsiteX38" fmla="*/ 186252 w 224819"/>
                <a:gd name="connsiteY38" fmla="*/ 28521 h 122669"/>
                <a:gd name="connsiteX39" fmla="*/ 195712 w 224819"/>
                <a:gd name="connsiteY39" fmla="*/ 19173 h 122669"/>
                <a:gd name="connsiteX40" fmla="*/ 205171 w 224819"/>
                <a:gd name="connsiteY40" fmla="*/ 28521 h 122669"/>
                <a:gd name="connsiteX41" fmla="*/ 205171 w 224819"/>
                <a:gd name="connsiteY41" fmla="*/ 28521 h 122669"/>
                <a:gd name="connsiteX42" fmla="*/ 195740 w 224819"/>
                <a:gd name="connsiteY42" fmla="*/ 37841 h 12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24819" h="122669">
                  <a:moveTo>
                    <a:pt x="195569" y="532"/>
                  </a:moveTo>
                  <a:cubicBezTo>
                    <a:pt x="179929" y="563"/>
                    <a:pt x="167262" y="13093"/>
                    <a:pt x="167247" y="28549"/>
                  </a:cubicBezTo>
                  <a:cubicBezTo>
                    <a:pt x="167273" y="32685"/>
                    <a:pt x="168250" y="36761"/>
                    <a:pt x="170104" y="40468"/>
                  </a:cubicBezTo>
                  <a:lnTo>
                    <a:pt x="141525" y="68711"/>
                  </a:lnTo>
                  <a:cubicBezTo>
                    <a:pt x="137754" y="66905"/>
                    <a:pt x="133627" y="65941"/>
                    <a:pt x="129436" y="65887"/>
                  </a:cubicBezTo>
                  <a:cubicBezTo>
                    <a:pt x="125242" y="65912"/>
                    <a:pt x="121109" y="66878"/>
                    <a:pt x="117347" y="68711"/>
                  </a:cubicBezTo>
                  <a:lnTo>
                    <a:pt x="88768" y="40468"/>
                  </a:lnTo>
                  <a:cubicBezTo>
                    <a:pt x="90622" y="36751"/>
                    <a:pt x="91599" y="32666"/>
                    <a:pt x="91625" y="28521"/>
                  </a:cubicBezTo>
                  <a:cubicBezTo>
                    <a:pt x="91907" y="13050"/>
                    <a:pt x="79444" y="283"/>
                    <a:pt x="63789" y="5"/>
                  </a:cubicBezTo>
                  <a:cubicBezTo>
                    <a:pt x="48134" y="-274"/>
                    <a:pt x="35215" y="12043"/>
                    <a:pt x="34933" y="27513"/>
                  </a:cubicBezTo>
                  <a:cubicBezTo>
                    <a:pt x="34852" y="31992"/>
                    <a:pt x="35858" y="36425"/>
                    <a:pt x="37868" y="40440"/>
                  </a:cubicBezTo>
                  <a:lnTo>
                    <a:pt x="0" y="77947"/>
                  </a:lnTo>
                  <a:lnTo>
                    <a:pt x="13347" y="91136"/>
                  </a:lnTo>
                  <a:lnTo>
                    <a:pt x="51300" y="53658"/>
                  </a:lnTo>
                  <a:cubicBezTo>
                    <a:pt x="58858" y="57470"/>
                    <a:pt x="67806" y="57470"/>
                    <a:pt x="75364" y="53658"/>
                  </a:cubicBezTo>
                  <a:lnTo>
                    <a:pt x="103943" y="81901"/>
                  </a:lnTo>
                  <a:cubicBezTo>
                    <a:pt x="102103" y="85593"/>
                    <a:pt x="101126" y="89647"/>
                    <a:pt x="101085" y="93763"/>
                  </a:cubicBezTo>
                  <a:cubicBezTo>
                    <a:pt x="100588" y="109228"/>
                    <a:pt x="112872" y="122164"/>
                    <a:pt x="128521" y="122655"/>
                  </a:cubicBezTo>
                  <a:cubicBezTo>
                    <a:pt x="144171" y="123147"/>
                    <a:pt x="157261" y="111008"/>
                    <a:pt x="157758" y="95542"/>
                  </a:cubicBezTo>
                  <a:cubicBezTo>
                    <a:pt x="157758" y="94940"/>
                    <a:pt x="157758" y="94347"/>
                    <a:pt x="157758" y="93763"/>
                  </a:cubicBezTo>
                  <a:cubicBezTo>
                    <a:pt x="157704" y="89640"/>
                    <a:pt x="156728" y="85579"/>
                    <a:pt x="154900" y="81872"/>
                  </a:cubicBezTo>
                  <a:lnTo>
                    <a:pt x="183480" y="53629"/>
                  </a:lnTo>
                  <a:cubicBezTo>
                    <a:pt x="187226" y="55448"/>
                    <a:pt x="191339" y="56414"/>
                    <a:pt x="195512" y="56454"/>
                  </a:cubicBezTo>
                  <a:cubicBezTo>
                    <a:pt x="211193" y="56945"/>
                    <a:pt x="224308" y="44780"/>
                    <a:pt x="224805" y="29284"/>
                  </a:cubicBezTo>
                  <a:cubicBezTo>
                    <a:pt x="225303" y="13787"/>
                    <a:pt x="212994" y="826"/>
                    <a:pt x="197312" y="335"/>
                  </a:cubicBezTo>
                  <a:lnTo>
                    <a:pt x="195512" y="335"/>
                  </a:lnTo>
                  <a:close/>
                  <a:moveTo>
                    <a:pt x="53901" y="28578"/>
                  </a:moveTo>
                  <a:cubicBezTo>
                    <a:pt x="53885" y="23414"/>
                    <a:pt x="58107" y="19216"/>
                    <a:pt x="63332" y="19201"/>
                  </a:cubicBezTo>
                  <a:cubicBezTo>
                    <a:pt x="68557" y="19185"/>
                    <a:pt x="72805" y="23358"/>
                    <a:pt x="72820" y="28521"/>
                  </a:cubicBezTo>
                  <a:cubicBezTo>
                    <a:pt x="72836" y="33684"/>
                    <a:pt x="68613" y="37882"/>
                    <a:pt x="63389" y="37898"/>
                  </a:cubicBezTo>
                  <a:lnTo>
                    <a:pt x="63389" y="37898"/>
                  </a:lnTo>
                  <a:cubicBezTo>
                    <a:pt x="58171" y="37898"/>
                    <a:pt x="53932" y="33734"/>
                    <a:pt x="53901" y="28578"/>
                  </a:cubicBezTo>
                  <a:close/>
                  <a:moveTo>
                    <a:pt x="129608" y="103224"/>
                  </a:moveTo>
                  <a:cubicBezTo>
                    <a:pt x="124383" y="103224"/>
                    <a:pt x="120148" y="99039"/>
                    <a:pt x="120148" y="93876"/>
                  </a:cubicBezTo>
                  <a:cubicBezTo>
                    <a:pt x="120148" y="88713"/>
                    <a:pt x="124383" y="84527"/>
                    <a:pt x="129608" y="84527"/>
                  </a:cubicBezTo>
                  <a:cubicBezTo>
                    <a:pt x="134832" y="84527"/>
                    <a:pt x="139067" y="88713"/>
                    <a:pt x="139067" y="93876"/>
                  </a:cubicBezTo>
                  <a:cubicBezTo>
                    <a:pt x="139067" y="99039"/>
                    <a:pt x="134832" y="103224"/>
                    <a:pt x="129608" y="103224"/>
                  </a:cubicBezTo>
                  <a:close/>
                  <a:moveTo>
                    <a:pt x="195712" y="37870"/>
                  </a:moveTo>
                  <a:cubicBezTo>
                    <a:pt x="190487" y="37870"/>
                    <a:pt x="186252" y="33684"/>
                    <a:pt x="186252" y="28521"/>
                  </a:cubicBezTo>
                  <a:cubicBezTo>
                    <a:pt x="186252" y="23358"/>
                    <a:pt x="190487" y="19173"/>
                    <a:pt x="195712" y="19173"/>
                  </a:cubicBezTo>
                  <a:cubicBezTo>
                    <a:pt x="200936" y="19173"/>
                    <a:pt x="205171" y="23358"/>
                    <a:pt x="205171" y="28521"/>
                  </a:cubicBezTo>
                  <a:lnTo>
                    <a:pt x="205171" y="28521"/>
                  </a:lnTo>
                  <a:cubicBezTo>
                    <a:pt x="205171" y="33668"/>
                    <a:pt x="200950" y="37841"/>
                    <a:pt x="195740" y="37841"/>
                  </a:cubicBez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443F4A2F-2D7F-CC40-89BE-63E28FDAF9F2}"/>
                </a:ext>
              </a:extLst>
            </p:cNvPr>
            <p:cNvSpPr/>
            <p:nvPr/>
          </p:nvSpPr>
          <p:spPr>
            <a:xfrm>
              <a:off x="7467205" y="3335857"/>
              <a:ext cx="453354" cy="433012"/>
            </a:xfrm>
            <a:custGeom>
              <a:avLst/>
              <a:gdLst>
                <a:gd name="connsiteX0" fmla="*/ 324890 w 453354"/>
                <a:gd name="connsiteY0" fmla="*/ 388286 h 433012"/>
                <a:gd name="connsiteX1" fmla="*/ 309801 w 453354"/>
                <a:gd name="connsiteY1" fmla="*/ 388286 h 433012"/>
                <a:gd name="connsiteX2" fmla="*/ 272219 w 453354"/>
                <a:gd name="connsiteY2" fmla="*/ 343493 h 433012"/>
                <a:gd name="connsiteX3" fmla="*/ 304656 w 453354"/>
                <a:gd name="connsiteY3" fmla="*/ 343493 h 433012"/>
                <a:gd name="connsiteX4" fmla="*/ 298369 w 453354"/>
                <a:gd name="connsiteY4" fmla="*/ 328552 h 433012"/>
                <a:gd name="connsiteX5" fmla="*/ 30237 w 453354"/>
                <a:gd name="connsiteY5" fmla="*/ 328552 h 433012"/>
                <a:gd name="connsiteX6" fmla="*/ 15118 w 453354"/>
                <a:gd name="connsiteY6" fmla="*/ 313612 h 433012"/>
                <a:gd name="connsiteX7" fmla="*/ 15118 w 453354"/>
                <a:gd name="connsiteY7" fmla="*/ 313499 h 433012"/>
                <a:gd name="connsiteX8" fmla="*/ 15118 w 453354"/>
                <a:gd name="connsiteY8" fmla="*/ 313499 h 433012"/>
                <a:gd name="connsiteX9" fmla="*/ 15118 w 453354"/>
                <a:gd name="connsiteY9" fmla="*/ 283759 h 433012"/>
                <a:gd name="connsiteX10" fmla="*/ 292053 w 453354"/>
                <a:gd name="connsiteY10" fmla="*/ 283759 h 433012"/>
                <a:gd name="connsiteX11" fmla="*/ 293710 w 453354"/>
                <a:gd name="connsiteY11" fmla="*/ 268818 h 433012"/>
                <a:gd name="connsiteX12" fmla="*/ 45327 w 453354"/>
                <a:gd name="connsiteY12" fmla="*/ 268818 h 433012"/>
                <a:gd name="connsiteX13" fmla="*/ 45327 w 453354"/>
                <a:gd name="connsiteY13" fmla="*/ 44850 h 433012"/>
                <a:gd name="connsiteX14" fmla="*/ 408028 w 453354"/>
                <a:gd name="connsiteY14" fmla="*/ 44850 h 433012"/>
                <a:gd name="connsiteX15" fmla="*/ 408028 w 453354"/>
                <a:gd name="connsiteY15" fmla="*/ 168188 h 433012"/>
                <a:gd name="connsiteX16" fmla="*/ 415001 w 453354"/>
                <a:gd name="connsiteY16" fmla="*/ 167990 h 433012"/>
                <a:gd name="connsiteX17" fmla="*/ 423146 w 453354"/>
                <a:gd name="connsiteY17" fmla="*/ 168273 h 433012"/>
                <a:gd name="connsiteX18" fmla="*/ 423146 w 453354"/>
                <a:gd name="connsiteY18" fmla="*/ 37337 h 433012"/>
                <a:gd name="connsiteX19" fmla="*/ 415573 w 453354"/>
                <a:gd name="connsiteY19" fmla="*/ 29881 h 433012"/>
                <a:gd name="connsiteX20" fmla="*/ 37896 w 453354"/>
                <a:gd name="connsiteY20" fmla="*/ 29881 h 433012"/>
                <a:gd name="connsiteX21" fmla="*/ 30323 w 453354"/>
                <a:gd name="connsiteY21" fmla="*/ 37337 h 433012"/>
                <a:gd name="connsiteX22" fmla="*/ 30323 w 453354"/>
                <a:gd name="connsiteY22" fmla="*/ 268931 h 433012"/>
                <a:gd name="connsiteX23" fmla="*/ 15033 w 453354"/>
                <a:gd name="connsiteY23" fmla="*/ 268931 h 433012"/>
                <a:gd name="connsiteX24" fmla="*/ 15033 w 453354"/>
                <a:gd name="connsiteY24" fmla="*/ 29881 h 433012"/>
                <a:gd name="connsiteX25" fmla="*/ 30151 w 453354"/>
                <a:gd name="connsiteY25" fmla="*/ 14941 h 433012"/>
                <a:gd name="connsiteX26" fmla="*/ 423118 w 453354"/>
                <a:gd name="connsiteY26" fmla="*/ 14941 h 433012"/>
                <a:gd name="connsiteX27" fmla="*/ 438236 w 453354"/>
                <a:gd name="connsiteY27" fmla="*/ 29881 h 433012"/>
                <a:gd name="connsiteX28" fmla="*/ 438236 w 453354"/>
                <a:gd name="connsiteY28" fmla="*/ 170108 h 433012"/>
                <a:gd name="connsiteX29" fmla="*/ 453355 w 453354"/>
                <a:gd name="connsiteY29" fmla="*/ 173978 h 433012"/>
                <a:gd name="connsiteX30" fmla="*/ 453355 w 453354"/>
                <a:gd name="connsiteY30" fmla="*/ 29938 h 433012"/>
                <a:gd name="connsiteX31" fmla="*/ 423118 w 453354"/>
                <a:gd name="connsiteY31" fmla="*/ 0 h 433012"/>
                <a:gd name="connsiteX32" fmla="*/ 30237 w 453354"/>
                <a:gd name="connsiteY32" fmla="*/ 0 h 433012"/>
                <a:gd name="connsiteX33" fmla="*/ 0 w 453354"/>
                <a:gd name="connsiteY33" fmla="*/ 29881 h 433012"/>
                <a:gd name="connsiteX34" fmla="*/ 0 w 453354"/>
                <a:gd name="connsiteY34" fmla="*/ 313499 h 433012"/>
                <a:gd name="connsiteX35" fmla="*/ 30237 w 453354"/>
                <a:gd name="connsiteY35" fmla="*/ 343380 h 433012"/>
                <a:gd name="connsiteX36" fmla="*/ 181108 w 453354"/>
                <a:gd name="connsiteY36" fmla="*/ 343380 h 433012"/>
                <a:gd name="connsiteX37" fmla="*/ 143554 w 453354"/>
                <a:gd name="connsiteY37" fmla="*/ 388173 h 433012"/>
                <a:gd name="connsiteX38" fmla="*/ 128436 w 453354"/>
                <a:gd name="connsiteY38" fmla="*/ 388173 h 433012"/>
                <a:gd name="connsiteX39" fmla="*/ 106563 w 453354"/>
                <a:gd name="connsiteY39" fmla="*/ 411381 h 433012"/>
                <a:gd name="connsiteX40" fmla="*/ 128436 w 453354"/>
                <a:gd name="connsiteY40" fmla="*/ 432995 h 433012"/>
                <a:gd name="connsiteX41" fmla="*/ 324890 w 453354"/>
                <a:gd name="connsiteY41" fmla="*/ 432995 h 433012"/>
                <a:gd name="connsiteX42" fmla="*/ 348454 w 453354"/>
                <a:gd name="connsiteY42" fmla="*/ 411466 h 433012"/>
                <a:gd name="connsiteX43" fmla="*/ 326668 w 453354"/>
                <a:gd name="connsiteY43" fmla="*/ 388179 h 433012"/>
                <a:gd name="connsiteX44" fmla="*/ 326491 w 453354"/>
                <a:gd name="connsiteY44" fmla="*/ 388173 h 433012"/>
                <a:gd name="connsiteX45" fmla="*/ 196283 w 453354"/>
                <a:gd name="connsiteY45" fmla="*/ 343493 h 433012"/>
                <a:gd name="connsiteX46" fmla="*/ 257214 w 453354"/>
                <a:gd name="connsiteY46" fmla="*/ 343493 h 433012"/>
                <a:gd name="connsiteX47" fmla="*/ 273105 w 453354"/>
                <a:gd name="connsiteY47" fmla="*/ 388286 h 433012"/>
                <a:gd name="connsiteX48" fmla="*/ 180364 w 453354"/>
                <a:gd name="connsiteY48" fmla="*/ 388286 h 433012"/>
                <a:gd name="connsiteX49" fmla="*/ 196255 w 453354"/>
                <a:gd name="connsiteY49" fmla="*/ 343493 h 433012"/>
                <a:gd name="connsiteX50" fmla="*/ 324890 w 453354"/>
                <a:gd name="connsiteY50" fmla="*/ 418168 h 433012"/>
                <a:gd name="connsiteX51" fmla="*/ 128436 w 453354"/>
                <a:gd name="connsiteY51" fmla="*/ 418168 h 433012"/>
                <a:gd name="connsiteX52" fmla="*/ 121341 w 453354"/>
                <a:gd name="connsiteY52" fmla="*/ 410237 h 433012"/>
                <a:gd name="connsiteX53" fmla="*/ 128436 w 453354"/>
                <a:gd name="connsiteY53" fmla="*/ 403227 h 433012"/>
                <a:gd name="connsiteX54" fmla="*/ 324890 w 453354"/>
                <a:gd name="connsiteY54" fmla="*/ 403227 h 433012"/>
                <a:gd name="connsiteX55" fmla="*/ 332921 w 453354"/>
                <a:gd name="connsiteY55" fmla="*/ 410231 h 433012"/>
                <a:gd name="connsiteX56" fmla="*/ 325834 w 453354"/>
                <a:gd name="connsiteY56" fmla="*/ 418168 h 433012"/>
                <a:gd name="connsiteX57" fmla="*/ 324890 w 453354"/>
                <a:gd name="connsiteY57" fmla="*/ 418168 h 43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53354" h="433012">
                  <a:moveTo>
                    <a:pt x="324890" y="388286"/>
                  </a:moveTo>
                  <a:lnTo>
                    <a:pt x="309801" y="388286"/>
                  </a:lnTo>
                  <a:cubicBezTo>
                    <a:pt x="286594" y="388286"/>
                    <a:pt x="273991" y="373233"/>
                    <a:pt x="272219" y="343493"/>
                  </a:cubicBezTo>
                  <a:lnTo>
                    <a:pt x="304656" y="343493"/>
                  </a:lnTo>
                  <a:cubicBezTo>
                    <a:pt x="302218" y="338660"/>
                    <a:pt x="300118" y="333667"/>
                    <a:pt x="298369" y="328552"/>
                  </a:cubicBezTo>
                  <a:lnTo>
                    <a:pt x="30237" y="328552"/>
                  </a:lnTo>
                  <a:cubicBezTo>
                    <a:pt x="21887" y="328552"/>
                    <a:pt x="15118" y="321864"/>
                    <a:pt x="15118" y="313612"/>
                  </a:cubicBezTo>
                  <a:cubicBezTo>
                    <a:pt x="15118" y="313575"/>
                    <a:pt x="15118" y="313535"/>
                    <a:pt x="15118" y="313499"/>
                  </a:cubicBezTo>
                  <a:lnTo>
                    <a:pt x="15118" y="313499"/>
                  </a:lnTo>
                  <a:lnTo>
                    <a:pt x="15118" y="283759"/>
                  </a:lnTo>
                  <a:lnTo>
                    <a:pt x="292053" y="283759"/>
                  </a:lnTo>
                  <a:cubicBezTo>
                    <a:pt x="292304" y="278750"/>
                    <a:pt x="292859" y="273761"/>
                    <a:pt x="293710" y="268818"/>
                  </a:cubicBezTo>
                  <a:lnTo>
                    <a:pt x="45327" y="268818"/>
                  </a:lnTo>
                  <a:lnTo>
                    <a:pt x="45327" y="44850"/>
                  </a:lnTo>
                  <a:lnTo>
                    <a:pt x="408028" y="44850"/>
                  </a:lnTo>
                  <a:lnTo>
                    <a:pt x="408028" y="168188"/>
                  </a:lnTo>
                  <a:cubicBezTo>
                    <a:pt x="410343" y="168188"/>
                    <a:pt x="412658" y="167990"/>
                    <a:pt x="415001" y="167990"/>
                  </a:cubicBezTo>
                  <a:cubicBezTo>
                    <a:pt x="417719" y="167949"/>
                    <a:pt x="420437" y="168044"/>
                    <a:pt x="423146" y="168273"/>
                  </a:cubicBezTo>
                  <a:lnTo>
                    <a:pt x="423146" y="37337"/>
                  </a:lnTo>
                  <a:cubicBezTo>
                    <a:pt x="423129" y="33215"/>
                    <a:pt x="419745" y="29881"/>
                    <a:pt x="415573" y="29881"/>
                  </a:cubicBezTo>
                  <a:lnTo>
                    <a:pt x="37896" y="29881"/>
                  </a:lnTo>
                  <a:cubicBezTo>
                    <a:pt x="33725" y="29881"/>
                    <a:pt x="30338" y="33215"/>
                    <a:pt x="30323" y="37337"/>
                  </a:cubicBezTo>
                  <a:lnTo>
                    <a:pt x="30323" y="268931"/>
                  </a:lnTo>
                  <a:lnTo>
                    <a:pt x="15033" y="268931"/>
                  </a:lnTo>
                  <a:lnTo>
                    <a:pt x="15033" y="29881"/>
                  </a:lnTo>
                  <a:cubicBezTo>
                    <a:pt x="15033" y="21630"/>
                    <a:pt x="21802" y="14941"/>
                    <a:pt x="30151" y="14941"/>
                  </a:cubicBezTo>
                  <a:lnTo>
                    <a:pt x="423118" y="14941"/>
                  </a:lnTo>
                  <a:cubicBezTo>
                    <a:pt x="431469" y="14941"/>
                    <a:pt x="438236" y="21630"/>
                    <a:pt x="438236" y="29881"/>
                  </a:cubicBezTo>
                  <a:lnTo>
                    <a:pt x="438236" y="170108"/>
                  </a:lnTo>
                  <a:cubicBezTo>
                    <a:pt x="443355" y="171072"/>
                    <a:pt x="448405" y="172364"/>
                    <a:pt x="453355" y="173978"/>
                  </a:cubicBezTo>
                  <a:lnTo>
                    <a:pt x="453355" y="29938"/>
                  </a:lnTo>
                  <a:cubicBezTo>
                    <a:pt x="453355" y="13426"/>
                    <a:pt x="439825" y="31"/>
                    <a:pt x="423118" y="0"/>
                  </a:cubicBezTo>
                  <a:lnTo>
                    <a:pt x="30237" y="0"/>
                  </a:lnTo>
                  <a:cubicBezTo>
                    <a:pt x="13551" y="31"/>
                    <a:pt x="31" y="13391"/>
                    <a:pt x="0" y="29881"/>
                  </a:cubicBezTo>
                  <a:lnTo>
                    <a:pt x="0" y="313499"/>
                  </a:lnTo>
                  <a:cubicBezTo>
                    <a:pt x="31" y="329990"/>
                    <a:pt x="13551" y="343349"/>
                    <a:pt x="30237" y="343380"/>
                  </a:cubicBezTo>
                  <a:lnTo>
                    <a:pt x="181108" y="343380"/>
                  </a:lnTo>
                  <a:cubicBezTo>
                    <a:pt x="179364" y="373120"/>
                    <a:pt x="166818" y="388173"/>
                    <a:pt x="143554" y="388173"/>
                  </a:cubicBezTo>
                  <a:lnTo>
                    <a:pt x="128436" y="388173"/>
                  </a:lnTo>
                  <a:cubicBezTo>
                    <a:pt x="115911" y="388614"/>
                    <a:pt x="106118" y="399002"/>
                    <a:pt x="106563" y="411381"/>
                  </a:cubicBezTo>
                  <a:cubicBezTo>
                    <a:pt x="106986" y="423141"/>
                    <a:pt x="116535" y="432577"/>
                    <a:pt x="128436" y="432995"/>
                  </a:cubicBezTo>
                  <a:lnTo>
                    <a:pt x="324890" y="432995"/>
                  </a:lnTo>
                  <a:cubicBezTo>
                    <a:pt x="337414" y="433481"/>
                    <a:pt x="347963" y="423842"/>
                    <a:pt x="348454" y="411466"/>
                  </a:cubicBezTo>
                  <a:cubicBezTo>
                    <a:pt x="348946" y="399092"/>
                    <a:pt x="339192" y="388665"/>
                    <a:pt x="326668" y="388179"/>
                  </a:cubicBezTo>
                  <a:cubicBezTo>
                    <a:pt x="326611" y="388176"/>
                    <a:pt x="326551" y="388176"/>
                    <a:pt x="326491" y="388173"/>
                  </a:cubicBezTo>
                  <a:close/>
                  <a:moveTo>
                    <a:pt x="196283" y="343493"/>
                  </a:moveTo>
                  <a:lnTo>
                    <a:pt x="257214" y="343493"/>
                  </a:lnTo>
                  <a:cubicBezTo>
                    <a:pt x="257182" y="359778"/>
                    <a:pt x="262789" y="375585"/>
                    <a:pt x="273105" y="388286"/>
                  </a:cubicBezTo>
                  <a:lnTo>
                    <a:pt x="180364" y="388286"/>
                  </a:lnTo>
                  <a:cubicBezTo>
                    <a:pt x="190655" y="375571"/>
                    <a:pt x="196259" y="359775"/>
                    <a:pt x="196255" y="343493"/>
                  </a:cubicBezTo>
                  <a:close/>
                  <a:moveTo>
                    <a:pt x="324890" y="418168"/>
                  </a:moveTo>
                  <a:lnTo>
                    <a:pt x="128436" y="418168"/>
                  </a:lnTo>
                  <a:cubicBezTo>
                    <a:pt x="124261" y="417913"/>
                    <a:pt x="121085" y="414363"/>
                    <a:pt x="121341" y="410237"/>
                  </a:cubicBezTo>
                  <a:cubicBezTo>
                    <a:pt x="121576" y="406466"/>
                    <a:pt x="124619" y="403459"/>
                    <a:pt x="128436" y="403227"/>
                  </a:cubicBezTo>
                  <a:lnTo>
                    <a:pt x="324890" y="403227"/>
                  </a:lnTo>
                  <a:cubicBezTo>
                    <a:pt x="329066" y="402970"/>
                    <a:pt x="332661" y="406105"/>
                    <a:pt x="332921" y="410231"/>
                  </a:cubicBezTo>
                  <a:cubicBezTo>
                    <a:pt x="333181" y="414358"/>
                    <a:pt x="330009" y="417911"/>
                    <a:pt x="325834" y="418168"/>
                  </a:cubicBezTo>
                  <a:cubicBezTo>
                    <a:pt x="325519" y="418196"/>
                    <a:pt x="325205" y="418196"/>
                    <a:pt x="324890" y="418168"/>
                  </a:cubicBez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BD5B90CA-CAAF-624E-8DDA-6D3926386A84}"/>
                </a:ext>
              </a:extLst>
            </p:cNvPr>
            <p:cNvSpPr/>
            <p:nvPr/>
          </p:nvSpPr>
          <p:spPr>
            <a:xfrm>
              <a:off x="7778687" y="3523840"/>
              <a:ext cx="283833" cy="280853"/>
            </a:xfrm>
            <a:custGeom>
              <a:avLst/>
              <a:gdLst>
                <a:gd name="connsiteX0" fmla="*/ 281083 w 283833"/>
                <a:gd name="connsiteY0" fmla="*/ 238686 h 280853"/>
                <a:gd name="connsiteX1" fmla="*/ 221810 w 283833"/>
                <a:gd name="connsiteY1" fmla="*/ 180110 h 280853"/>
                <a:gd name="connsiteX2" fmla="*/ 208435 w 283833"/>
                <a:gd name="connsiteY2" fmla="*/ 180110 h 280853"/>
                <a:gd name="connsiteX3" fmla="*/ 201947 w 283833"/>
                <a:gd name="connsiteY3" fmla="*/ 186521 h 280853"/>
                <a:gd name="connsiteX4" fmla="*/ 181942 w 283833"/>
                <a:gd name="connsiteY4" fmla="*/ 166751 h 280853"/>
                <a:gd name="connsiteX5" fmla="*/ 168735 w 283833"/>
                <a:gd name="connsiteY5" fmla="*/ 23554 h 280853"/>
                <a:gd name="connsiteX6" fmla="*/ 23835 w 283833"/>
                <a:gd name="connsiteY6" fmla="*/ 36604 h 280853"/>
                <a:gd name="connsiteX7" fmla="*/ 37038 w 283833"/>
                <a:gd name="connsiteY7" fmla="*/ 179802 h 280853"/>
                <a:gd name="connsiteX8" fmla="*/ 168566 w 283833"/>
                <a:gd name="connsiteY8" fmla="*/ 179941 h 280853"/>
                <a:gd name="connsiteX9" fmla="*/ 188572 w 283833"/>
                <a:gd name="connsiteY9" fmla="*/ 199711 h 280853"/>
                <a:gd name="connsiteX10" fmla="*/ 182056 w 283833"/>
                <a:gd name="connsiteY10" fmla="*/ 206150 h 280853"/>
                <a:gd name="connsiteX11" fmla="*/ 182047 w 283833"/>
                <a:gd name="connsiteY11" fmla="*/ 219331 h 280853"/>
                <a:gd name="connsiteX12" fmla="*/ 182056 w 283833"/>
                <a:gd name="connsiteY12" fmla="*/ 219340 h 280853"/>
                <a:gd name="connsiteX13" fmla="*/ 182056 w 283833"/>
                <a:gd name="connsiteY13" fmla="*/ 219340 h 280853"/>
                <a:gd name="connsiteX14" fmla="*/ 241358 w 283833"/>
                <a:gd name="connsiteY14" fmla="*/ 278029 h 280853"/>
                <a:gd name="connsiteX15" fmla="*/ 248017 w 283833"/>
                <a:gd name="connsiteY15" fmla="*/ 280853 h 280853"/>
                <a:gd name="connsiteX16" fmla="*/ 254705 w 283833"/>
                <a:gd name="connsiteY16" fmla="*/ 278029 h 280853"/>
                <a:gd name="connsiteX17" fmla="*/ 281055 w 283833"/>
                <a:gd name="connsiteY17" fmla="*/ 251989 h 280853"/>
                <a:gd name="connsiteX18" fmla="*/ 281103 w 283833"/>
                <a:gd name="connsiteY18" fmla="*/ 238847 h 280853"/>
                <a:gd name="connsiteX19" fmla="*/ 281055 w 283833"/>
                <a:gd name="connsiteY19" fmla="*/ 238799 h 280853"/>
                <a:gd name="connsiteX20" fmla="*/ 103063 w 283833"/>
                <a:gd name="connsiteY20" fmla="*/ 184827 h 280853"/>
                <a:gd name="connsiteX21" fmla="*/ 19354 w 283833"/>
                <a:gd name="connsiteY21" fmla="*/ 102046 h 280853"/>
                <a:gd name="connsiteX22" fmla="*/ 103120 w 283833"/>
                <a:gd name="connsiteY22" fmla="*/ 19322 h 280853"/>
                <a:gd name="connsiteX23" fmla="*/ 186829 w 283833"/>
                <a:gd name="connsiteY23" fmla="*/ 102103 h 280853"/>
                <a:gd name="connsiteX24" fmla="*/ 186829 w 283833"/>
                <a:gd name="connsiteY24" fmla="*/ 102103 h 280853"/>
                <a:gd name="connsiteX25" fmla="*/ 103063 w 283833"/>
                <a:gd name="connsiteY25" fmla="*/ 184827 h 280853"/>
                <a:gd name="connsiteX26" fmla="*/ 248046 w 283833"/>
                <a:gd name="connsiteY26" fmla="*/ 258259 h 280853"/>
                <a:gd name="connsiteX27" fmla="*/ 202119 w 283833"/>
                <a:gd name="connsiteY27" fmla="*/ 212731 h 280853"/>
                <a:gd name="connsiteX28" fmla="*/ 215122 w 283833"/>
                <a:gd name="connsiteY28" fmla="*/ 199908 h 280853"/>
                <a:gd name="connsiteX29" fmla="*/ 261049 w 283833"/>
                <a:gd name="connsiteY29" fmla="*/ 245295 h 280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83833" h="280853">
                  <a:moveTo>
                    <a:pt x="281083" y="238686"/>
                  </a:moveTo>
                  <a:lnTo>
                    <a:pt x="221810" y="180110"/>
                  </a:lnTo>
                  <a:cubicBezTo>
                    <a:pt x="218115" y="176461"/>
                    <a:pt x="212130" y="176461"/>
                    <a:pt x="208435" y="180110"/>
                  </a:cubicBezTo>
                  <a:lnTo>
                    <a:pt x="201947" y="186521"/>
                  </a:lnTo>
                  <a:lnTo>
                    <a:pt x="181942" y="166751"/>
                  </a:lnTo>
                  <a:cubicBezTo>
                    <a:pt x="218309" y="123604"/>
                    <a:pt x="212396" y="59493"/>
                    <a:pt x="168735" y="23554"/>
                  </a:cubicBezTo>
                  <a:cubicBezTo>
                    <a:pt x="125074" y="-12385"/>
                    <a:pt x="60202" y="-6542"/>
                    <a:pt x="23835" y="36604"/>
                  </a:cubicBezTo>
                  <a:cubicBezTo>
                    <a:pt x="-12533" y="79751"/>
                    <a:pt x="-6619" y="143863"/>
                    <a:pt x="37038" y="179802"/>
                  </a:cubicBezTo>
                  <a:cubicBezTo>
                    <a:pt x="75123" y="211152"/>
                    <a:pt x="130413" y="211209"/>
                    <a:pt x="168566" y="179941"/>
                  </a:cubicBezTo>
                  <a:lnTo>
                    <a:pt x="188572" y="199711"/>
                  </a:lnTo>
                  <a:lnTo>
                    <a:pt x="182056" y="206150"/>
                  </a:lnTo>
                  <a:cubicBezTo>
                    <a:pt x="178369" y="209788"/>
                    <a:pt x="178366" y="215688"/>
                    <a:pt x="182047" y="219331"/>
                  </a:cubicBezTo>
                  <a:cubicBezTo>
                    <a:pt x="182050" y="219334"/>
                    <a:pt x="182053" y="219337"/>
                    <a:pt x="182056" y="219340"/>
                  </a:cubicBezTo>
                  <a:lnTo>
                    <a:pt x="182056" y="219340"/>
                  </a:lnTo>
                  <a:lnTo>
                    <a:pt x="241358" y="278029"/>
                  </a:lnTo>
                  <a:cubicBezTo>
                    <a:pt x="243110" y="279808"/>
                    <a:pt x="245505" y="280825"/>
                    <a:pt x="248017" y="280853"/>
                  </a:cubicBezTo>
                  <a:cubicBezTo>
                    <a:pt x="250535" y="280822"/>
                    <a:pt x="252941" y="279805"/>
                    <a:pt x="254705" y="278029"/>
                  </a:cubicBezTo>
                  <a:lnTo>
                    <a:pt x="281055" y="251989"/>
                  </a:lnTo>
                  <a:cubicBezTo>
                    <a:pt x="284742" y="248374"/>
                    <a:pt x="284762" y="242491"/>
                    <a:pt x="281103" y="238847"/>
                  </a:cubicBezTo>
                  <a:cubicBezTo>
                    <a:pt x="281089" y="238830"/>
                    <a:pt x="281072" y="238816"/>
                    <a:pt x="281055" y="238799"/>
                  </a:cubicBezTo>
                  <a:close/>
                  <a:moveTo>
                    <a:pt x="103063" y="184827"/>
                  </a:moveTo>
                  <a:cubicBezTo>
                    <a:pt x="56815" y="184810"/>
                    <a:pt x="19336" y="147749"/>
                    <a:pt x="19354" y="102046"/>
                  </a:cubicBezTo>
                  <a:cubicBezTo>
                    <a:pt x="19371" y="56343"/>
                    <a:pt x="56873" y="19306"/>
                    <a:pt x="103120" y="19322"/>
                  </a:cubicBezTo>
                  <a:cubicBezTo>
                    <a:pt x="149367" y="19337"/>
                    <a:pt x="186846" y="56400"/>
                    <a:pt x="186829" y="102103"/>
                  </a:cubicBezTo>
                  <a:lnTo>
                    <a:pt x="186829" y="102103"/>
                  </a:lnTo>
                  <a:cubicBezTo>
                    <a:pt x="186812" y="147806"/>
                    <a:pt x="149310" y="184844"/>
                    <a:pt x="103063" y="184827"/>
                  </a:cubicBezTo>
                  <a:close/>
                  <a:moveTo>
                    <a:pt x="248046" y="258259"/>
                  </a:moveTo>
                  <a:lnTo>
                    <a:pt x="202119" y="212731"/>
                  </a:lnTo>
                  <a:lnTo>
                    <a:pt x="215122" y="199908"/>
                  </a:lnTo>
                  <a:lnTo>
                    <a:pt x="261049" y="245295"/>
                  </a:ln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44" name="Freeform 143">
              <a:extLst>
                <a:ext uri="{FF2B5EF4-FFF2-40B4-BE49-F238E27FC236}">
                  <a16:creationId xmlns:a16="http://schemas.microsoft.com/office/drawing/2014/main" id="{8056DF86-AC90-CB40-9064-B16702CE0476}"/>
                </a:ext>
              </a:extLst>
            </p:cNvPr>
            <p:cNvSpPr/>
            <p:nvPr/>
          </p:nvSpPr>
          <p:spPr>
            <a:xfrm>
              <a:off x="7883093" y="3561802"/>
              <a:ext cx="65989" cy="65382"/>
            </a:xfrm>
            <a:custGeom>
              <a:avLst/>
              <a:gdLst>
                <a:gd name="connsiteX0" fmla="*/ 0 w 65989"/>
                <a:gd name="connsiteY0" fmla="*/ 0 h 65382"/>
                <a:gd name="connsiteX1" fmla="*/ 0 w 65989"/>
                <a:gd name="connsiteY1" fmla="*/ 18669 h 65382"/>
                <a:gd name="connsiteX2" fmla="*/ 47099 w 65989"/>
                <a:gd name="connsiteY2" fmla="*/ 65383 h 65382"/>
                <a:gd name="connsiteX3" fmla="*/ 65990 w 65989"/>
                <a:gd name="connsiteY3" fmla="*/ 65383 h 65382"/>
                <a:gd name="connsiteX4" fmla="*/ 0 w 65989"/>
                <a:gd name="connsiteY4" fmla="*/ 0 h 65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89" h="65382">
                  <a:moveTo>
                    <a:pt x="0" y="0"/>
                  </a:moveTo>
                  <a:lnTo>
                    <a:pt x="0" y="18669"/>
                  </a:lnTo>
                  <a:cubicBezTo>
                    <a:pt x="26033" y="18777"/>
                    <a:pt x="47085" y="39656"/>
                    <a:pt x="47099" y="65383"/>
                  </a:cubicBezTo>
                  <a:lnTo>
                    <a:pt x="65990" y="65383"/>
                  </a:lnTo>
                  <a:cubicBezTo>
                    <a:pt x="65976" y="29345"/>
                    <a:pt x="36467" y="109"/>
                    <a:pt x="0" y="0"/>
                  </a:cubicBez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45" name="Graphic 39">
            <a:extLst>
              <a:ext uri="{FF2B5EF4-FFF2-40B4-BE49-F238E27FC236}">
                <a16:creationId xmlns:a16="http://schemas.microsoft.com/office/drawing/2014/main" id="{1504534E-04FE-B543-BBB8-7CA8629C9E77}"/>
              </a:ext>
            </a:extLst>
          </p:cNvPr>
          <p:cNvGrpSpPr/>
          <p:nvPr userDrawn="1"/>
        </p:nvGrpSpPr>
        <p:grpSpPr>
          <a:xfrm>
            <a:off x="3976806" y="4605866"/>
            <a:ext cx="343909" cy="336573"/>
            <a:chOff x="5162588" y="6004511"/>
            <a:chExt cx="480133" cy="480133"/>
          </a:xfrm>
          <a:solidFill>
            <a:schemeClr val="bg1"/>
          </a:solidFill>
        </p:grpSpPr>
        <p:sp>
          <p:nvSpPr>
            <p:cNvPr id="146" name="Freeform 145">
              <a:extLst>
                <a:ext uri="{FF2B5EF4-FFF2-40B4-BE49-F238E27FC236}">
                  <a16:creationId xmlns:a16="http://schemas.microsoft.com/office/drawing/2014/main" id="{2162D97B-ED7B-DD42-BCFA-E07C502B35F9}"/>
                </a:ext>
              </a:extLst>
            </p:cNvPr>
            <p:cNvSpPr/>
            <p:nvPr/>
          </p:nvSpPr>
          <p:spPr>
            <a:xfrm>
              <a:off x="5165889" y="6022957"/>
              <a:ext cx="485923" cy="458641"/>
            </a:xfrm>
            <a:custGeom>
              <a:avLst/>
              <a:gdLst>
                <a:gd name="connsiteX0" fmla="*/ 477791 w 485923"/>
                <a:gd name="connsiteY0" fmla="*/ 443352 h 458641"/>
                <a:gd name="connsiteX1" fmla="*/ 445382 w 485923"/>
                <a:gd name="connsiteY1" fmla="*/ 443352 h 458641"/>
                <a:gd name="connsiteX2" fmla="*/ 445382 w 485923"/>
                <a:gd name="connsiteY2" fmla="*/ 229302 h 458641"/>
                <a:gd name="connsiteX3" fmla="*/ 421106 w 485923"/>
                <a:gd name="connsiteY3" fmla="*/ 206376 h 458641"/>
                <a:gd name="connsiteX4" fmla="*/ 421106 w 485923"/>
                <a:gd name="connsiteY4" fmla="*/ 160523 h 458641"/>
                <a:gd name="connsiteX5" fmla="*/ 396799 w 485923"/>
                <a:gd name="connsiteY5" fmla="*/ 137597 h 458641"/>
                <a:gd name="connsiteX6" fmla="*/ 396799 w 485923"/>
                <a:gd name="connsiteY6" fmla="*/ 91714 h 458641"/>
                <a:gd name="connsiteX7" fmla="*/ 372522 w 485923"/>
                <a:gd name="connsiteY7" fmla="*/ 68788 h 458641"/>
                <a:gd name="connsiteX8" fmla="*/ 372522 w 485923"/>
                <a:gd name="connsiteY8" fmla="*/ 22935 h 458641"/>
                <a:gd name="connsiteX9" fmla="*/ 348216 w 485923"/>
                <a:gd name="connsiteY9" fmla="*/ 9 h 458641"/>
                <a:gd name="connsiteX10" fmla="*/ 137737 w 485923"/>
                <a:gd name="connsiteY10" fmla="*/ 9 h 458641"/>
                <a:gd name="connsiteX11" fmla="*/ 113461 w 485923"/>
                <a:gd name="connsiteY11" fmla="*/ 22935 h 458641"/>
                <a:gd name="connsiteX12" fmla="*/ 113461 w 485923"/>
                <a:gd name="connsiteY12" fmla="*/ 68788 h 458641"/>
                <a:gd name="connsiteX13" fmla="*/ 89154 w 485923"/>
                <a:gd name="connsiteY13" fmla="*/ 91714 h 458641"/>
                <a:gd name="connsiteX14" fmla="*/ 89154 w 485923"/>
                <a:gd name="connsiteY14" fmla="*/ 137597 h 458641"/>
                <a:gd name="connsiteX15" fmla="*/ 64877 w 485923"/>
                <a:gd name="connsiteY15" fmla="*/ 160523 h 458641"/>
                <a:gd name="connsiteX16" fmla="*/ 64877 w 485923"/>
                <a:gd name="connsiteY16" fmla="*/ 206376 h 458641"/>
                <a:gd name="connsiteX17" fmla="*/ 40570 w 485923"/>
                <a:gd name="connsiteY17" fmla="*/ 229302 h 458641"/>
                <a:gd name="connsiteX18" fmla="*/ 40570 w 485923"/>
                <a:gd name="connsiteY18" fmla="*/ 443352 h 458641"/>
                <a:gd name="connsiteX19" fmla="*/ 8131 w 485923"/>
                <a:gd name="connsiteY19" fmla="*/ 443352 h 458641"/>
                <a:gd name="connsiteX20" fmla="*/ 15 w 485923"/>
                <a:gd name="connsiteY20" fmla="*/ 450509 h 458641"/>
                <a:gd name="connsiteX21" fmla="*/ 7173 w 485923"/>
                <a:gd name="connsiteY21" fmla="*/ 458626 h 458641"/>
                <a:gd name="connsiteX22" fmla="*/ 8131 w 485923"/>
                <a:gd name="connsiteY22" fmla="*/ 458626 h 458641"/>
                <a:gd name="connsiteX23" fmla="*/ 477791 w 485923"/>
                <a:gd name="connsiteY23" fmla="*/ 458626 h 458641"/>
                <a:gd name="connsiteX24" fmla="*/ 485909 w 485923"/>
                <a:gd name="connsiteY24" fmla="*/ 451469 h 458641"/>
                <a:gd name="connsiteX25" fmla="*/ 478749 w 485923"/>
                <a:gd name="connsiteY25" fmla="*/ 443352 h 458641"/>
                <a:gd name="connsiteX26" fmla="*/ 477791 w 485923"/>
                <a:gd name="connsiteY26" fmla="*/ 443352 h 458641"/>
                <a:gd name="connsiteX27" fmla="*/ 129605 w 485923"/>
                <a:gd name="connsiteY27" fmla="*/ 22935 h 458641"/>
                <a:gd name="connsiteX28" fmla="*/ 137670 w 485923"/>
                <a:gd name="connsiteY28" fmla="*/ 15281 h 458641"/>
                <a:gd name="connsiteX29" fmla="*/ 137737 w 485923"/>
                <a:gd name="connsiteY29" fmla="*/ 15283 h 458641"/>
                <a:gd name="connsiteX30" fmla="*/ 348276 w 485923"/>
                <a:gd name="connsiteY30" fmla="*/ 15283 h 458641"/>
                <a:gd name="connsiteX31" fmla="*/ 356378 w 485923"/>
                <a:gd name="connsiteY31" fmla="*/ 22935 h 458641"/>
                <a:gd name="connsiteX32" fmla="*/ 356378 w 485923"/>
                <a:gd name="connsiteY32" fmla="*/ 68788 h 458641"/>
                <a:gd name="connsiteX33" fmla="*/ 234034 w 485923"/>
                <a:gd name="connsiteY33" fmla="*/ 68788 h 458641"/>
                <a:gd name="connsiteX34" fmla="*/ 183924 w 485923"/>
                <a:gd name="connsiteY34" fmla="*/ 39556 h 458641"/>
                <a:gd name="connsiteX35" fmla="*/ 154692 w 485923"/>
                <a:gd name="connsiteY35" fmla="*/ 68788 h 458641"/>
                <a:gd name="connsiteX36" fmla="*/ 129605 w 485923"/>
                <a:gd name="connsiteY36" fmla="*/ 68788 h 458641"/>
                <a:gd name="connsiteX37" fmla="*/ 129605 w 485923"/>
                <a:gd name="connsiteY37" fmla="*/ 22935 h 458641"/>
                <a:gd name="connsiteX38" fmla="*/ 217169 w 485923"/>
                <a:gd name="connsiteY38" fmla="*/ 68788 h 458641"/>
                <a:gd name="connsiteX39" fmla="*/ 171587 w 485923"/>
                <a:gd name="connsiteY39" fmla="*/ 68788 h 458641"/>
                <a:gd name="connsiteX40" fmla="*/ 203734 w 485923"/>
                <a:gd name="connsiteY40" fmla="*/ 55352 h 458641"/>
                <a:gd name="connsiteX41" fmla="*/ 217169 w 485923"/>
                <a:gd name="connsiteY41" fmla="*/ 68788 h 458641"/>
                <a:gd name="connsiteX42" fmla="*/ 105298 w 485923"/>
                <a:gd name="connsiteY42" fmla="*/ 91714 h 458641"/>
                <a:gd name="connsiteX43" fmla="*/ 113401 w 485923"/>
                <a:gd name="connsiteY43" fmla="*/ 84092 h 458641"/>
                <a:gd name="connsiteX44" fmla="*/ 372522 w 485923"/>
                <a:gd name="connsiteY44" fmla="*/ 84092 h 458641"/>
                <a:gd name="connsiteX45" fmla="*/ 380625 w 485923"/>
                <a:gd name="connsiteY45" fmla="*/ 91714 h 458641"/>
                <a:gd name="connsiteX46" fmla="*/ 380625 w 485923"/>
                <a:gd name="connsiteY46" fmla="*/ 137597 h 458641"/>
                <a:gd name="connsiteX47" fmla="*/ 209757 w 485923"/>
                <a:gd name="connsiteY47" fmla="*/ 137597 h 458641"/>
                <a:gd name="connsiteX48" fmla="*/ 159648 w 485923"/>
                <a:gd name="connsiteY48" fmla="*/ 108365 h 458641"/>
                <a:gd name="connsiteX49" fmla="*/ 130415 w 485923"/>
                <a:gd name="connsiteY49" fmla="*/ 137597 h 458641"/>
                <a:gd name="connsiteX50" fmla="*/ 105298 w 485923"/>
                <a:gd name="connsiteY50" fmla="*/ 137597 h 458641"/>
                <a:gd name="connsiteX51" fmla="*/ 105298 w 485923"/>
                <a:gd name="connsiteY51" fmla="*/ 91714 h 458641"/>
                <a:gd name="connsiteX52" fmla="*/ 192893 w 485923"/>
                <a:gd name="connsiteY52" fmla="*/ 137597 h 458641"/>
                <a:gd name="connsiteX53" fmla="*/ 147280 w 485923"/>
                <a:gd name="connsiteY53" fmla="*/ 137597 h 458641"/>
                <a:gd name="connsiteX54" fmla="*/ 179405 w 485923"/>
                <a:gd name="connsiteY54" fmla="*/ 124110 h 458641"/>
                <a:gd name="connsiteX55" fmla="*/ 192893 w 485923"/>
                <a:gd name="connsiteY55" fmla="*/ 137597 h 458641"/>
                <a:gd name="connsiteX56" fmla="*/ 81022 w 485923"/>
                <a:gd name="connsiteY56" fmla="*/ 160523 h 458641"/>
                <a:gd name="connsiteX57" fmla="*/ 89088 w 485923"/>
                <a:gd name="connsiteY57" fmla="*/ 152871 h 458641"/>
                <a:gd name="connsiteX58" fmla="*/ 89094 w 485923"/>
                <a:gd name="connsiteY58" fmla="*/ 152871 h 458641"/>
                <a:gd name="connsiteX59" fmla="*/ 396799 w 485923"/>
                <a:gd name="connsiteY59" fmla="*/ 152871 h 458641"/>
                <a:gd name="connsiteX60" fmla="*/ 404901 w 485923"/>
                <a:gd name="connsiteY60" fmla="*/ 160523 h 458641"/>
                <a:gd name="connsiteX61" fmla="*/ 404901 w 485923"/>
                <a:gd name="connsiteY61" fmla="*/ 206376 h 458641"/>
                <a:gd name="connsiteX62" fmla="*/ 185450 w 485923"/>
                <a:gd name="connsiteY62" fmla="*/ 206376 h 458641"/>
                <a:gd name="connsiteX63" fmla="*/ 145779 w 485923"/>
                <a:gd name="connsiteY63" fmla="*/ 175798 h 458641"/>
                <a:gd name="connsiteX64" fmla="*/ 106108 w 485923"/>
                <a:gd name="connsiteY64" fmla="*/ 206376 h 458641"/>
                <a:gd name="connsiteX65" fmla="*/ 81022 w 485923"/>
                <a:gd name="connsiteY65" fmla="*/ 206376 h 458641"/>
                <a:gd name="connsiteX66" fmla="*/ 168586 w 485923"/>
                <a:gd name="connsiteY66" fmla="*/ 206376 h 458641"/>
                <a:gd name="connsiteX67" fmla="*/ 122973 w 485923"/>
                <a:gd name="connsiteY67" fmla="*/ 206376 h 458641"/>
                <a:gd name="connsiteX68" fmla="*/ 155177 w 485923"/>
                <a:gd name="connsiteY68" fmla="*/ 192968 h 458641"/>
                <a:gd name="connsiteX69" fmla="*/ 168586 w 485923"/>
                <a:gd name="connsiteY69" fmla="*/ 206376 h 458641"/>
                <a:gd name="connsiteX70" fmla="*/ 429208 w 485923"/>
                <a:gd name="connsiteY70" fmla="*/ 443442 h 458641"/>
                <a:gd name="connsiteX71" fmla="*/ 56715 w 485923"/>
                <a:gd name="connsiteY71" fmla="*/ 443442 h 458641"/>
                <a:gd name="connsiteX72" fmla="*/ 56715 w 485923"/>
                <a:gd name="connsiteY72" fmla="*/ 229302 h 458641"/>
                <a:gd name="connsiteX73" fmla="*/ 64811 w 485923"/>
                <a:gd name="connsiteY73" fmla="*/ 221620 h 458641"/>
                <a:gd name="connsiteX74" fmla="*/ 64817 w 485923"/>
                <a:gd name="connsiteY74" fmla="*/ 221620 h 458641"/>
                <a:gd name="connsiteX75" fmla="*/ 421106 w 485923"/>
                <a:gd name="connsiteY75" fmla="*/ 221620 h 458641"/>
                <a:gd name="connsiteX76" fmla="*/ 429208 w 485923"/>
                <a:gd name="connsiteY76" fmla="*/ 229242 h 458641"/>
                <a:gd name="connsiteX77" fmla="*/ 429208 w 485923"/>
                <a:gd name="connsiteY77" fmla="*/ 443292 h 45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485923" h="458641">
                  <a:moveTo>
                    <a:pt x="477791" y="443352"/>
                  </a:moveTo>
                  <a:lnTo>
                    <a:pt x="445382" y="443352"/>
                  </a:lnTo>
                  <a:lnTo>
                    <a:pt x="445382" y="229302"/>
                  </a:lnTo>
                  <a:cubicBezTo>
                    <a:pt x="444974" y="216284"/>
                    <a:pt x="434126" y="206039"/>
                    <a:pt x="421106" y="206376"/>
                  </a:cubicBezTo>
                  <a:lnTo>
                    <a:pt x="421106" y="160523"/>
                  </a:lnTo>
                  <a:cubicBezTo>
                    <a:pt x="420698" y="147493"/>
                    <a:pt x="409832" y="137243"/>
                    <a:pt x="396799" y="137597"/>
                  </a:cubicBezTo>
                  <a:lnTo>
                    <a:pt x="396799" y="91714"/>
                  </a:lnTo>
                  <a:cubicBezTo>
                    <a:pt x="396406" y="78688"/>
                    <a:pt x="385549" y="68435"/>
                    <a:pt x="372522" y="68788"/>
                  </a:cubicBezTo>
                  <a:lnTo>
                    <a:pt x="372522" y="22935"/>
                  </a:lnTo>
                  <a:cubicBezTo>
                    <a:pt x="372114" y="9904"/>
                    <a:pt x="361248" y="-345"/>
                    <a:pt x="348216" y="9"/>
                  </a:cubicBezTo>
                  <a:lnTo>
                    <a:pt x="137737" y="9"/>
                  </a:lnTo>
                  <a:cubicBezTo>
                    <a:pt x="124710" y="-344"/>
                    <a:pt x="113853" y="9909"/>
                    <a:pt x="113461" y="22935"/>
                  </a:cubicBezTo>
                  <a:lnTo>
                    <a:pt x="113461" y="68788"/>
                  </a:lnTo>
                  <a:cubicBezTo>
                    <a:pt x="100428" y="68434"/>
                    <a:pt x="89562" y="78683"/>
                    <a:pt x="89154" y="91714"/>
                  </a:cubicBezTo>
                  <a:lnTo>
                    <a:pt x="89154" y="137597"/>
                  </a:lnTo>
                  <a:cubicBezTo>
                    <a:pt x="76127" y="137244"/>
                    <a:pt x="65269" y="147497"/>
                    <a:pt x="64877" y="160523"/>
                  </a:cubicBezTo>
                  <a:lnTo>
                    <a:pt x="64877" y="206376"/>
                  </a:lnTo>
                  <a:cubicBezTo>
                    <a:pt x="51851" y="206039"/>
                    <a:pt x="40995" y="216279"/>
                    <a:pt x="40570" y="229302"/>
                  </a:cubicBezTo>
                  <a:lnTo>
                    <a:pt x="40570" y="443352"/>
                  </a:lnTo>
                  <a:lnTo>
                    <a:pt x="8131" y="443352"/>
                  </a:lnTo>
                  <a:cubicBezTo>
                    <a:pt x="3913" y="443088"/>
                    <a:pt x="280" y="446293"/>
                    <a:pt x="15" y="450509"/>
                  </a:cubicBezTo>
                  <a:cubicBezTo>
                    <a:pt x="-249" y="454728"/>
                    <a:pt x="2956" y="458362"/>
                    <a:pt x="7173" y="458626"/>
                  </a:cubicBezTo>
                  <a:cubicBezTo>
                    <a:pt x="7492" y="458647"/>
                    <a:pt x="7812" y="458647"/>
                    <a:pt x="8131" y="458626"/>
                  </a:cubicBezTo>
                  <a:lnTo>
                    <a:pt x="477791" y="458626"/>
                  </a:lnTo>
                  <a:cubicBezTo>
                    <a:pt x="482011" y="458890"/>
                    <a:pt x="485642" y="455685"/>
                    <a:pt x="485909" y="451469"/>
                  </a:cubicBezTo>
                  <a:cubicBezTo>
                    <a:pt x="486173" y="447250"/>
                    <a:pt x="482968" y="443616"/>
                    <a:pt x="478749" y="443352"/>
                  </a:cubicBezTo>
                  <a:cubicBezTo>
                    <a:pt x="478431" y="443331"/>
                    <a:pt x="478110" y="443331"/>
                    <a:pt x="477791" y="443352"/>
                  </a:cubicBezTo>
                  <a:close/>
                  <a:moveTo>
                    <a:pt x="129605" y="22935"/>
                  </a:moveTo>
                  <a:cubicBezTo>
                    <a:pt x="129718" y="18595"/>
                    <a:pt x="133329" y="15168"/>
                    <a:pt x="137670" y="15281"/>
                  </a:cubicBezTo>
                  <a:cubicBezTo>
                    <a:pt x="137692" y="15282"/>
                    <a:pt x="137715" y="15282"/>
                    <a:pt x="137737" y="15283"/>
                  </a:cubicBezTo>
                  <a:lnTo>
                    <a:pt x="348276" y="15283"/>
                  </a:lnTo>
                  <a:cubicBezTo>
                    <a:pt x="352624" y="15165"/>
                    <a:pt x="356246" y="18588"/>
                    <a:pt x="356378" y="22935"/>
                  </a:cubicBezTo>
                  <a:lnTo>
                    <a:pt x="356378" y="68788"/>
                  </a:lnTo>
                  <a:lnTo>
                    <a:pt x="234034" y="68788"/>
                  </a:lnTo>
                  <a:cubicBezTo>
                    <a:pt x="228269" y="46878"/>
                    <a:pt x="205834" y="33790"/>
                    <a:pt x="183924" y="39556"/>
                  </a:cubicBezTo>
                  <a:cubicBezTo>
                    <a:pt x="169623" y="43318"/>
                    <a:pt x="158455" y="54487"/>
                    <a:pt x="154692" y="68788"/>
                  </a:cubicBezTo>
                  <a:lnTo>
                    <a:pt x="129605" y="68788"/>
                  </a:lnTo>
                  <a:lnTo>
                    <a:pt x="129605" y="22935"/>
                  </a:lnTo>
                  <a:close/>
                  <a:moveTo>
                    <a:pt x="217169" y="68788"/>
                  </a:moveTo>
                  <a:lnTo>
                    <a:pt x="171587" y="68788"/>
                  </a:lnTo>
                  <a:cubicBezTo>
                    <a:pt x="176754" y="56201"/>
                    <a:pt x="191146" y="50185"/>
                    <a:pt x="203734" y="55352"/>
                  </a:cubicBezTo>
                  <a:cubicBezTo>
                    <a:pt x="209829" y="57854"/>
                    <a:pt x="214667" y="62693"/>
                    <a:pt x="217169" y="68788"/>
                  </a:cubicBezTo>
                  <a:close/>
                  <a:moveTo>
                    <a:pt x="105298" y="91714"/>
                  </a:moveTo>
                  <a:cubicBezTo>
                    <a:pt x="105445" y="87379"/>
                    <a:pt x="109064" y="83974"/>
                    <a:pt x="113401" y="84092"/>
                  </a:cubicBezTo>
                  <a:lnTo>
                    <a:pt x="372522" y="84092"/>
                  </a:lnTo>
                  <a:cubicBezTo>
                    <a:pt x="376858" y="83974"/>
                    <a:pt x="380477" y="87379"/>
                    <a:pt x="380625" y="91714"/>
                  </a:cubicBezTo>
                  <a:lnTo>
                    <a:pt x="380625" y="137597"/>
                  </a:lnTo>
                  <a:lnTo>
                    <a:pt x="209757" y="137597"/>
                  </a:lnTo>
                  <a:cubicBezTo>
                    <a:pt x="203992" y="115687"/>
                    <a:pt x="181557" y="102599"/>
                    <a:pt x="159648" y="108365"/>
                  </a:cubicBezTo>
                  <a:cubicBezTo>
                    <a:pt x="145347" y="112127"/>
                    <a:pt x="134178" y="123296"/>
                    <a:pt x="130415" y="137597"/>
                  </a:cubicBezTo>
                  <a:lnTo>
                    <a:pt x="105298" y="137597"/>
                  </a:lnTo>
                  <a:lnTo>
                    <a:pt x="105298" y="91714"/>
                  </a:lnTo>
                  <a:close/>
                  <a:moveTo>
                    <a:pt x="192893" y="137597"/>
                  </a:moveTo>
                  <a:lnTo>
                    <a:pt x="147280" y="137597"/>
                  </a:lnTo>
                  <a:cubicBezTo>
                    <a:pt x="152427" y="125001"/>
                    <a:pt x="166810" y="118963"/>
                    <a:pt x="179405" y="124110"/>
                  </a:cubicBezTo>
                  <a:cubicBezTo>
                    <a:pt x="185530" y="126612"/>
                    <a:pt x="190390" y="131473"/>
                    <a:pt x="192893" y="137597"/>
                  </a:cubicBezTo>
                  <a:close/>
                  <a:moveTo>
                    <a:pt x="81022" y="160523"/>
                  </a:moveTo>
                  <a:cubicBezTo>
                    <a:pt x="81136" y="156183"/>
                    <a:pt x="84747" y="152757"/>
                    <a:pt x="89088" y="152871"/>
                  </a:cubicBezTo>
                  <a:cubicBezTo>
                    <a:pt x="89090" y="152871"/>
                    <a:pt x="89092" y="152871"/>
                    <a:pt x="89094" y="152871"/>
                  </a:cubicBezTo>
                  <a:lnTo>
                    <a:pt x="396799" y="152871"/>
                  </a:lnTo>
                  <a:cubicBezTo>
                    <a:pt x="401147" y="152754"/>
                    <a:pt x="404769" y="156176"/>
                    <a:pt x="404901" y="160523"/>
                  </a:cubicBezTo>
                  <a:lnTo>
                    <a:pt x="404901" y="206376"/>
                  </a:lnTo>
                  <a:lnTo>
                    <a:pt x="185450" y="206376"/>
                  </a:lnTo>
                  <a:cubicBezTo>
                    <a:pt x="181034" y="188141"/>
                    <a:pt x="164538" y="175425"/>
                    <a:pt x="145779" y="175798"/>
                  </a:cubicBezTo>
                  <a:cubicBezTo>
                    <a:pt x="127025" y="175437"/>
                    <a:pt x="110534" y="188147"/>
                    <a:pt x="106108" y="206376"/>
                  </a:cubicBezTo>
                  <a:lnTo>
                    <a:pt x="81022" y="206376"/>
                  </a:lnTo>
                  <a:close/>
                  <a:moveTo>
                    <a:pt x="168586" y="206376"/>
                  </a:moveTo>
                  <a:lnTo>
                    <a:pt x="122973" y="206376"/>
                  </a:lnTo>
                  <a:cubicBezTo>
                    <a:pt x="128164" y="193780"/>
                    <a:pt x="142582" y="187777"/>
                    <a:pt x="155177" y="192968"/>
                  </a:cubicBezTo>
                  <a:cubicBezTo>
                    <a:pt x="161255" y="195472"/>
                    <a:pt x="166081" y="200299"/>
                    <a:pt x="168586" y="206376"/>
                  </a:cubicBezTo>
                  <a:close/>
                  <a:moveTo>
                    <a:pt x="429208" y="443442"/>
                  </a:moveTo>
                  <a:lnTo>
                    <a:pt x="56715" y="443442"/>
                  </a:lnTo>
                  <a:lnTo>
                    <a:pt x="56715" y="229302"/>
                  </a:lnTo>
                  <a:cubicBezTo>
                    <a:pt x="56829" y="224945"/>
                    <a:pt x="60454" y="221506"/>
                    <a:pt x="64811" y="221620"/>
                  </a:cubicBezTo>
                  <a:cubicBezTo>
                    <a:pt x="64813" y="221620"/>
                    <a:pt x="64815" y="221620"/>
                    <a:pt x="64817" y="221620"/>
                  </a:cubicBezTo>
                  <a:lnTo>
                    <a:pt x="421106" y="221620"/>
                  </a:lnTo>
                  <a:cubicBezTo>
                    <a:pt x="425442" y="221502"/>
                    <a:pt x="429061" y="224907"/>
                    <a:pt x="429208" y="229242"/>
                  </a:cubicBezTo>
                  <a:lnTo>
                    <a:pt x="429208" y="44329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47" name="Freeform 146">
              <a:extLst>
                <a:ext uri="{FF2B5EF4-FFF2-40B4-BE49-F238E27FC236}">
                  <a16:creationId xmlns:a16="http://schemas.microsoft.com/office/drawing/2014/main" id="{BEF9A27C-8E89-D246-957E-63A961FA9D03}"/>
                </a:ext>
              </a:extLst>
            </p:cNvPr>
            <p:cNvSpPr/>
            <p:nvPr/>
          </p:nvSpPr>
          <p:spPr>
            <a:xfrm>
              <a:off x="5254808" y="6275124"/>
              <a:ext cx="97638" cy="91888"/>
            </a:xfrm>
            <a:custGeom>
              <a:avLst/>
              <a:gdLst>
                <a:gd name="connsiteX0" fmla="*/ 48819 w 97638"/>
                <a:gd name="connsiteY0" fmla="*/ 91797 h 91888"/>
                <a:gd name="connsiteX1" fmla="*/ 97547 w 97638"/>
                <a:gd name="connsiteY1" fmla="*/ 48819 h 91888"/>
                <a:gd name="connsiteX2" fmla="*/ 54568 w 97638"/>
                <a:gd name="connsiteY2" fmla="*/ 92 h 91888"/>
                <a:gd name="connsiteX3" fmla="*/ 48819 w 97638"/>
                <a:gd name="connsiteY3" fmla="*/ 92 h 91888"/>
                <a:gd name="connsiteX4" fmla="*/ 92 w 97638"/>
                <a:gd name="connsiteY4" fmla="*/ 43070 h 91888"/>
                <a:gd name="connsiteX5" fmla="*/ 43070 w 97638"/>
                <a:gd name="connsiteY5" fmla="*/ 91797 h 91888"/>
                <a:gd name="connsiteX6" fmla="*/ 48819 w 97638"/>
                <a:gd name="connsiteY6" fmla="*/ 91797 h 91888"/>
                <a:gd name="connsiteX7" fmla="*/ 48819 w 97638"/>
                <a:gd name="connsiteY7" fmla="*/ 15366 h 91888"/>
                <a:gd name="connsiteX8" fmla="*/ 81314 w 97638"/>
                <a:gd name="connsiteY8" fmla="*/ 44027 h 91888"/>
                <a:gd name="connsiteX9" fmla="*/ 52653 w 97638"/>
                <a:gd name="connsiteY9" fmla="*/ 76523 h 91888"/>
                <a:gd name="connsiteX10" fmla="*/ 48819 w 97638"/>
                <a:gd name="connsiteY10" fmla="*/ 76523 h 91888"/>
                <a:gd name="connsiteX11" fmla="*/ 16324 w 97638"/>
                <a:gd name="connsiteY11" fmla="*/ 47862 h 91888"/>
                <a:gd name="connsiteX12" fmla="*/ 44986 w 97638"/>
                <a:gd name="connsiteY12" fmla="*/ 15366 h 91888"/>
                <a:gd name="connsiteX13" fmla="*/ 48819 w 97638"/>
                <a:gd name="connsiteY13" fmla="*/ 15366 h 9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638" h="91888">
                  <a:moveTo>
                    <a:pt x="48819" y="91797"/>
                  </a:moveTo>
                  <a:cubicBezTo>
                    <a:pt x="74143" y="93384"/>
                    <a:pt x="95959" y="74143"/>
                    <a:pt x="97547" y="48819"/>
                  </a:cubicBezTo>
                  <a:cubicBezTo>
                    <a:pt x="99134" y="23495"/>
                    <a:pt x="79892" y="1679"/>
                    <a:pt x="54568" y="92"/>
                  </a:cubicBezTo>
                  <a:cubicBezTo>
                    <a:pt x="52654" y="-28"/>
                    <a:pt x="50734" y="-28"/>
                    <a:pt x="48819" y="92"/>
                  </a:cubicBezTo>
                  <a:cubicBezTo>
                    <a:pt x="23495" y="-1496"/>
                    <a:pt x="1679" y="17746"/>
                    <a:pt x="92" y="43070"/>
                  </a:cubicBezTo>
                  <a:cubicBezTo>
                    <a:pt x="-1496" y="68394"/>
                    <a:pt x="17746" y="90210"/>
                    <a:pt x="43070" y="91797"/>
                  </a:cubicBezTo>
                  <a:cubicBezTo>
                    <a:pt x="44984" y="91917"/>
                    <a:pt x="46905" y="91917"/>
                    <a:pt x="48819" y="91797"/>
                  </a:cubicBezTo>
                  <a:close/>
                  <a:moveTo>
                    <a:pt x="48819" y="15366"/>
                  </a:moveTo>
                  <a:cubicBezTo>
                    <a:pt x="65707" y="14307"/>
                    <a:pt x="80256" y="27140"/>
                    <a:pt x="81314" y="44027"/>
                  </a:cubicBezTo>
                  <a:cubicBezTo>
                    <a:pt x="82373" y="60915"/>
                    <a:pt x="69541" y="75463"/>
                    <a:pt x="52653" y="76523"/>
                  </a:cubicBezTo>
                  <a:cubicBezTo>
                    <a:pt x="51376" y="76604"/>
                    <a:pt x="50096" y="76604"/>
                    <a:pt x="48819" y="76523"/>
                  </a:cubicBezTo>
                  <a:cubicBezTo>
                    <a:pt x="31931" y="77582"/>
                    <a:pt x="17382" y="64751"/>
                    <a:pt x="16324" y="47862"/>
                  </a:cubicBezTo>
                  <a:cubicBezTo>
                    <a:pt x="15265" y="30973"/>
                    <a:pt x="28097" y="16425"/>
                    <a:pt x="44986" y="15366"/>
                  </a:cubicBezTo>
                  <a:cubicBezTo>
                    <a:pt x="46262" y="15286"/>
                    <a:pt x="47543" y="15286"/>
                    <a:pt x="48819" y="15366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7ADEA74B-0C1B-6D4E-87B0-A4B01D068CEF}"/>
                </a:ext>
              </a:extLst>
            </p:cNvPr>
            <p:cNvSpPr/>
            <p:nvPr/>
          </p:nvSpPr>
          <p:spPr>
            <a:xfrm>
              <a:off x="5376518" y="6275200"/>
              <a:ext cx="186290" cy="15304"/>
            </a:xfrm>
            <a:custGeom>
              <a:avLst/>
              <a:gdLst>
                <a:gd name="connsiteX0" fmla="*/ 178068 w 186290"/>
                <a:gd name="connsiteY0" fmla="*/ 15 h 15304"/>
                <a:gd name="connsiteX1" fmla="*/ 8131 w 186290"/>
                <a:gd name="connsiteY1" fmla="*/ 15 h 15304"/>
                <a:gd name="connsiteX2" fmla="*/ 15 w 186290"/>
                <a:gd name="connsiteY2" fmla="*/ 7173 h 15304"/>
                <a:gd name="connsiteX3" fmla="*/ 7173 w 186290"/>
                <a:gd name="connsiteY3" fmla="*/ 15289 h 15304"/>
                <a:gd name="connsiteX4" fmla="*/ 8131 w 186290"/>
                <a:gd name="connsiteY4" fmla="*/ 15289 h 15304"/>
                <a:gd name="connsiteX5" fmla="*/ 178158 w 186290"/>
                <a:gd name="connsiteY5" fmla="*/ 15289 h 15304"/>
                <a:gd name="connsiteX6" fmla="*/ 186276 w 186290"/>
                <a:gd name="connsiteY6" fmla="*/ 8131 h 15304"/>
                <a:gd name="connsiteX7" fmla="*/ 179116 w 186290"/>
                <a:gd name="connsiteY7" fmla="*/ 15 h 15304"/>
                <a:gd name="connsiteX8" fmla="*/ 178158 w 186290"/>
                <a:gd name="connsiteY8" fmla="*/ 15 h 1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290" h="15304">
                  <a:moveTo>
                    <a:pt x="178068" y="15"/>
                  </a:moveTo>
                  <a:lnTo>
                    <a:pt x="8131" y="15"/>
                  </a:lnTo>
                  <a:cubicBezTo>
                    <a:pt x="3913" y="-249"/>
                    <a:pt x="280" y="2955"/>
                    <a:pt x="15" y="7173"/>
                  </a:cubicBezTo>
                  <a:cubicBezTo>
                    <a:pt x="-249" y="11391"/>
                    <a:pt x="2955" y="15025"/>
                    <a:pt x="7173" y="15289"/>
                  </a:cubicBezTo>
                  <a:cubicBezTo>
                    <a:pt x="7492" y="15310"/>
                    <a:pt x="7812" y="15310"/>
                    <a:pt x="8131" y="15289"/>
                  </a:cubicBezTo>
                  <a:lnTo>
                    <a:pt x="178158" y="15289"/>
                  </a:lnTo>
                  <a:cubicBezTo>
                    <a:pt x="182378" y="15554"/>
                    <a:pt x="186009" y="12349"/>
                    <a:pt x="186276" y="8131"/>
                  </a:cubicBezTo>
                  <a:cubicBezTo>
                    <a:pt x="186540" y="3913"/>
                    <a:pt x="183335" y="280"/>
                    <a:pt x="179116" y="15"/>
                  </a:cubicBezTo>
                  <a:cubicBezTo>
                    <a:pt x="178798" y="-5"/>
                    <a:pt x="178477" y="-5"/>
                    <a:pt x="178158" y="15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EAC55FA7-0336-EA45-B484-7DB20A4A8464}"/>
                </a:ext>
              </a:extLst>
            </p:cNvPr>
            <p:cNvSpPr/>
            <p:nvPr/>
          </p:nvSpPr>
          <p:spPr>
            <a:xfrm>
              <a:off x="5376997" y="6313416"/>
              <a:ext cx="185331" cy="15304"/>
            </a:xfrm>
            <a:custGeom>
              <a:avLst/>
              <a:gdLst>
                <a:gd name="connsiteX0" fmla="*/ 177589 w 185331"/>
                <a:gd name="connsiteY0" fmla="*/ 0 h 15304"/>
                <a:gd name="connsiteX1" fmla="*/ 7652 w 185331"/>
                <a:gd name="connsiteY1" fmla="*/ 0 h 15304"/>
                <a:gd name="connsiteX2" fmla="*/ 0 w 185331"/>
                <a:gd name="connsiteY2" fmla="*/ 7652 h 15304"/>
                <a:gd name="connsiteX3" fmla="*/ 7652 w 185331"/>
                <a:gd name="connsiteY3" fmla="*/ 15304 h 15304"/>
                <a:gd name="connsiteX4" fmla="*/ 177679 w 185331"/>
                <a:gd name="connsiteY4" fmla="*/ 15304 h 15304"/>
                <a:gd name="connsiteX5" fmla="*/ 185331 w 185331"/>
                <a:gd name="connsiteY5" fmla="*/ 7652 h 15304"/>
                <a:gd name="connsiteX6" fmla="*/ 177679 w 185331"/>
                <a:gd name="connsiteY6" fmla="*/ 0 h 1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331" h="15304">
                  <a:moveTo>
                    <a:pt x="177589" y="0"/>
                  </a:moveTo>
                  <a:lnTo>
                    <a:pt x="7652" y="0"/>
                  </a:lnTo>
                  <a:cubicBezTo>
                    <a:pt x="3426" y="0"/>
                    <a:pt x="0" y="3427"/>
                    <a:pt x="0" y="7652"/>
                  </a:cubicBezTo>
                  <a:cubicBezTo>
                    <a:pt x="0" y="11877"/>
                    <a:pt x="3426" y="15304"/>
                    <a:pt x="7652" y="15304"/>
                  </a:cubicBezTo>
                  <a:lnTo>
                    <a:pt x="177679" y="15304"/>
                  </a:lnTo>
                  <a:cubicBezTo>
                    <a:pt x="181904" y="15304"/>
                    <a:pt x="185331" y="11877"/>
                    <a:pt x="185331" y="7652"/>
                  </a:cubicBezTo>
                  <a:cubicBezTo>
                    <a:pt x="185331" y="3427"/>
                    <a:pt x="181904" y="0"/>
                    <a:pt x="177679" y="0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50233271-2387-544B-A338-D484B77A1858}"/>
                </a:ext>
              </a:extLst>
            </p:cNvPr>
            <p:cNvSpPr/>
            <p:nvPr/>
          </p:nvSpPr>
          <p:spPr>
            <a:xfrm>
              <a:off x="5376518" y="6351631"/>
              <a:ext cx="186290" cy="15305"/>
            </a:xfrm>
            <a:custGeom>
              <a:avLst/>
              <a:gdLst>
                <a:gd name="connsiteX0" fmla="*/ 178068 w 186290"/>
                <a:gd name="connsiteY0" fmla="*/ 16 h 15305"/>
                <a:gd name="connsiteX1" fmla="*/ 8131 w 186290"/>
                <a:gd name="connsiteY1" fmla="*/ 16 h 15305"/>
                <a:gd name="connsiteX2" fmla="*/ 15 w 186290"/>
                <a:gd name="connsiteY2" fmla="*/ 7173 h 15305"/>
                <a:gd name="connsiteX3" fmla="*/ 7173 w 186290"/>
                <a:gd name="connsiteY3" fmla="*/ 15290 h 15305"/>
                <a:gd name="connsiteX4" fmla="*/ 8131 w 186290"/>
                <a:gd name="connsiteY4" fmla="*/ 15290 h 15305"/>
                <a:gd name="connsiteX5" fmla="*/ 178158 w 186290"/>
                <a:gd name="connsiteY5" fmla="*/ 15290 h 15305"/>
                <a:gd name="connsiteX6" fmla="*/ 186276 w 186290"/>
                <a:gd name="connsiteY6" fmla="*/ 8133 h 15305"/>
                <a:gd name="connsiteX7" fmla="*/ 179116 w 186290"/>
                <a:gd name="connsiteY7" fmla="*/ 16 h 15305"/>
                <a:gd name="connsiteX8" fmla="*/ 178158 w 186290"/>
                <a:gd name="connsiteY8" fmla="*/ 16 h 15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290" h="15305">
                  <a:moveTo>
                    <a:pt x="178068" y="16"/>
                  </a:moveTo>
                  <a:lnTo>
                    <a:pt x="8131" y="16"/>
                  </a:lnTo>
                  <a:cubicBezTo>
                    <a:pt x="3913" y="-248"/>
                    <a:pt x="280" y="2957"/>
                    <a:pt x="15" y="7173"/>
                  </a:cubicBezTo>
                  <a:cubicBezTo>
                    <a:pt x="-249" y="11392"/>
                    <a:pt x="2955" y="15026"/>
                    <a:pt x="7173" y="15290"/>
                  </a:cubicBezTo>
                  <a:cubicBezTo>
                    <a:pt x="7492" y="15311"/>
                    <a:pt x="7812" y="15311"/>
                    <a:pt x="8131" y="15290"/>
                  </a:cubicBezTo>
                  <a:lnTo>
                    <a:pt x="178158" y="15290"/>
                  </a:lnTo>
                  <a:cubicBezTo>
                    <a:pt x="182378" y="15554"/>
                    <a:pt x="186009" y="12349"/>
                    <a:pt x="186276" y="8133"/>
                  </a:cubicBezTo>
                  <a:cubicBezTo>
                    <a:pt x="186540" y="3914"/>
                    <a:pt x="183335" y="280"/>
                    <a:pt x="179116" y="16"/>
                  </a:cubicBezTo>
                  <a:cubicBezTo>
                    <a:pt x="178798" y="-5"/>
                    <a:pt x="178477" y="-5"/>
                    <a:pt x="178158" y="16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F636F035-AF3D-0743-8E08-5DC71DD6C8C3}"/>
                </a:ext>
              </a:extLst>
            </p:cNvPr>
            <p:cNvSpPr/>
            <p:nvPr/>
          </p:nvSpPr>
          <p:spPr>
            <a:xfrm>
              <a:off x="5255433" y="6389847"/>
              <a:ext cx="306804" cy="15304"/>
            </a:xfrm>
            <a:custGeom>
              <a:avLst/>
              <a:gdLst>
                <a:gd name="connsiteX0" fmla="*/ 299153 w 306804"/>
                <a:gd name="connsiteY0" fmla="*/ 0 h 15304"/>
                <a:gd name="connsiteX1" fmla="*/ 7652 w 306804"/>
                <a:gd name="connsiteY1" fmla="*/ 0 h 15304"/>
                <a:gd name="connsiteX2" fmla="*/ 0 w 306804"/>
                <a:gd name="connsiteY2" fmla="*/ 7652 h 15304"/>
                <a:gd name="connsiteX3" fmla="*/ 7652 w 306804"/>
                <a:gd name="connsiteY3" fmla="*/ 15304 h 15304"/>
                <a:gd name="connsiteX4" fmla="*/ 299153 w 306804"/>
                <a:gd name="connsiteY4" fmla="*/ 15304 h 15304"/>
                <a:gd name="connsiteX5" fmla="*/ 306805 w 306804"/>
                <a:gd name="connsiteY5" fmla="*/ 7652 h 15304"/>
                <a:gd name="connsiteX6" fmla="*/ 299153 w 306804"/>
                <a:gd name="connsiteY6" fmla="*/ 0 h 1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6804" h="15304">
                  <a:moveTo>
                    <a:pt x="299153" y="0"/>
                  </a:moveTo>
                  <a:lnTo>
                    <a:pt x="7652" y="0"/>
                  </a:lnTo>
                  <a:cubicBezTo>
                    <a:pt x="3426" y="0"/>
                    <a:pt x="0" y="3427"/>
                    <a:pt x="0" y="7652"/>
                  </a:cubicBezTo>
                  <a:cubicBezTo>
                    <a:pt x="0" y="11877"/>
                    <a:pt x="3426" y="15304"/>
                    <a:pt x="7652" y="15304"/>
                  </a:cubicBezTo>
                  <a:lnTo>
                    <a:pt x="299153" y="15304"/>
                  </a:lnTo>
                  <a:cubicBezTo>
                    <a:pt x="303378" y="15304"/>
                    <a:pt x="306805" y="11877"/>
                    <a:pt x="306805" y="7652"/>
                  </a:cubicBezTo>
                  <a:cubicBezTo>
                    <a:pt x="306805" y="3427"/>
                    <a:pt x="303378" y="0"/>
                    <a:pt x="299153" y="0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52" name="Freeform 151">
              <a:extLst>
                <a:ext uri="{FF2B5EF4-FFF2-40B4-BE49-F238E27FC236}">
                  <a16:creationId xmlns:a16="http://schemas.microsoft.com/office/drawing/2014/main" id="{BAD08CD2-B126-C64A-865F-8BCA5AD442D8}"/>
                </a:ext>
              </a:extLst>
            </p:cNvPr>
            <p:cNvSpPr/>
            <p:nvPr/>
          </p:nvSpPr>
          <p:spPr>
            <a:xfrm>
              <a:off x="5255433" y="6428078"/>
              <a:ext cx="306804" cy="15304"/>
            </a:xfrm>
            <a:custGeom>
              <a:avLst/>
              <a:gdLst>
                <a:gd name="connsiteX0" fmla="*/ 299153 w 306804"/>
                <a:gd name="connsiteY0" fmla="*/ 0 h 15304"/>
                <a:gd name="connsiteX1" fmla="*/ 7652 w 306804"/>
                <a:gd name="connsiteY1" fmla="*/ 0 h 15304"/>
                <a:gd name="connsiteX2" fmla="*/ 0 w 306804"/>
                <a:gd name="connsiteY2" fmla="*/ 7652 h 15304"/>
                <a:gd name="connsiteX3" fmla="*/ 7652 w 306804"/>
                <a:gd name="connsiteY3" fmla="*/ 15304 h 15304"/>
                <a:gd name="connsiteX4" fmla="*/ 299153 w 306804"/>
                <a:gd name="connsiteY4" fmla="*/ 15304 h 15304"/>
                <a:gd name="connsiteX5" fmla="*/ 306805 w 306804"/>
                <a:gd name="connsiteY5" fmla="*/ 7652 h 15304"/>
                <a:gd name="connsiteX6" fmla="*/ 299153 w 306804"/>
                <a:gd name="connsiteY6" fmla="*/ 0 h 1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6804" h="15304">
                  <a:moveTo>
                    <a:pt x="299153" y="0"/>
                  </a:moveTo>
                  <a:lnTo>
                    <a:pt x="7652" y="0"/>
                  </a:lnTo>
                  <a:cubicBezTo>
                    <a:pt x="3426" y="0"/>
                    <a:pt x="0" y="3427"/>
                    <a:pt x="0" y="7652"/>
                  </a:cubicBezTo>
                  <a:cubicBezTo>
                    <a:pt x="0" y="11877"/>
                    <a:pt x="3426" y="15304"/>
                    <a:pt x="7652" y="15304"/>
                  </a:cubicBezTo>
                  <a:lnTo>
                    <a:pt x="299153" y="15304"/>
                  </a:lnTo>
                  <a:cubicBezTo>
                    <a:pt x="303378" y="15304"/>
                    <a:pt x="306805" y="11877"/>
                    <a:pt x="306805" y="7652"/>
                  </a:cubicBezTo>
                  <a:cubicBezTo>
                    <a:pt x="306805" y="3427"/>
                    <a:pt x="303378" y="0"/>
                    <a:pt x="299153" y="0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53" name="Graphic 41">
            <a:extLst>
              <a:ext uri="{FF2B5EF4-FFF2-40B4-BE49-F238E27FC236}">
                <a16:creationId xmlns:a16="http://schemas.microsoft.com/office/drawing/2014/main" id="{A3A1307E-6BD9-BD42-95B1-A2E3A8C7FD18}"/>
              </a:ext>
            </a:extLst>
          </p:cNvPr>
          <p:cNvGrpSpPr/>
          <p:nvPr userDrawn="1"/>
        </p:nvGrpSpPr>
        <p:grpSpPr>
          <a:xfrm>
            <a:off x="4726830" y="2678246"/>
            <a:ext cx="373977" cy="366000"/>
            <a:chOff x="6209700" y="3254696"/>
            <a:chExt cx="522111" cy="522111"/>
          </a:xfrm>
          <a:solidFill>
            <a:schemeClr val="bg1"/>
          </a:solidFill>
        </p:grpSpPr>
        <p:sp>
          <p:nvSpPr>
            <p:cNvPr id="154" name="Freeform 153">
              <a:extLst>
                <a:ext uri="{FF2B5EF4-FFF2-40B4-BE49-F238E27FC236}">
                  <a16:creationId xmlns:a16="http://schemas.microsoft.com/office/drawing/2014/main" id="{42C61E60-66C0-DA47-9A9F-1F104AE36E55}"/>
                </a:ext>
              </a:extLst>
            </p:cNvPr>
            <p:cNvSpPr/>
            <p:nvPr/>
          </p:nvSpPr>
          <p:spPr>
            <a:xfrm>
              <a:off x="6253002" y="3334158"/>
              <a:ext cx="438834" cy="438830"/>
            </a:xfrm>
            <a:custGeom>
              <a:avLst/>
              <a:gdLst>
                <a:gd name="connsiteX0" fmla="*/ 435800 w 438834"/>
                <a:gd name="connsiteY0" fmla="*/ 162340 h 438830"/>
                <a:gd name="connsiteX1" fmla="*/ 394814 w 438834"/>
                <a:gd name="connsiteY1" fmla="*/ 131274 h 438830"/>
                <a:gd name="connsiteX2" fmla="*/ 394814 w 438834"/>
                <a:gd name="connsiteY2" fmla="*/ 51065 h 438830"/>
                <a:gd name="connsiteX3" fmla="*/ 387504 w 438834"/>
                <a:gd name="connsiteY3" fmla="*/ 43756 h 438830"/>
                <a:gd name="connsiteX4" fmla="*/ 279754 w 438834"/>
                <a:gd name="connsiteY4" fmla="*/ 43756 h 438830"/>
                <a:gd name="connsiteX5" fmla="*/ 223757 w 438834"/>
                <a:gd name="connsiteY5" fmla="*/ 1465 h 438830"/>
                <a:gd name="connsiteX6" fmla="*/ 214914 w 438834"/>
                <a:gd name="connsiteY6" fmla="*/ 1465 h 438830"/>
                <a:gd name="connsiteX7" fmla="*/ 159015 w 438834"/>
                <a:gd name="connsiteY7" fmla="*/ 43886 h 438830"/>
                <a:gd name="connsiteX8" fmla="*/ 51330 w 438834"/>
                <a:gd name="connsiteY8" fmla="*/ 43886 h 438830"/>
                <a:gd name="connsiteX9" fmla="*/ 43857 w 438834"/>
                <a:gd name="connsiteY9" fmla="*/ 51065 h 438830"/>
                <a:gd name="connsiteX10" fmla="*/ 43857 w 438834"/>
                <a:gd name="connsiteY10" fmla="*/ 131242 h 438830"/>
                <a:gd name="connsiteX11" fmla="*/ 2937 w 438834"/>
                <a:gd name="connsiteY11" fmla="*/ 162340 h 438830"/>
                <a:gd name="connsiteX12" fmla="*/ 0 w 438834"/>
                <a:gd name="connsiteY12" fmla="*/ 168181 h 438830"/>
                <a:gd name="connsiteX13" fmla="*/ 0 w 438834"/>
                <a:gd name="connsiteY13" fmla="*/ 431553 h 438830"/>
                <a:gd name="connsiteX14" fmla="*/ 7277 w 438834"/>
                <a:gd name="connsiteY14" fmla="*/ 438830 h 438830"/>
                <a:gd name="connsiteX15" fmla="*/ 7310 w 438834"/>
                <a:gd name="connsiteY15" fmla="*/ 438830 h 438830"/>
                <a:gd name="connsiteX16" fmla="*/ 431525 w 438834"/>
                <a:gd name="connsiteY16" fmla="*/ 438830 h 438830"/>
                <a:gd name="connsiteX17" fmla="*/ 438834 w 438834"/>
                <a:gd name="connsiteY17" fmla="*/ 431586 h 438830"/>
                <a:gd name="connsiteX18" fmla="*/ 438834 w 438834"/>
                <a:gd name="connsiteY18" fmla="*/ 431586 h 438830"/>
                <a:gd name="connsiteX19" fmla="*/ 438834 w 438834"/>
                <a:gd name="connsiteY19" fmla="*/ 431586 h 438830"/>
                <a:gd name="connsiteX20" fmla="*/ 438834 w 438834"/>
                <a:gd name="connsiteY20" fmla="*/ 168181 h 438830"/>
                <a:gd name="connsiteX21" fmla="*/ 435800 w 438834"/>
                <a:gd name="connsiteY21" fmla="*/ 162340 h 438830"/>
                <a:gd name="connsiteX22" fmla="*/ 14619 w 438834"/>
                <a:gd name="connsiteY22" fmla="*/ 182800 h 438830"/>
                <a:gd name="connsiteX23" fmla="*/ 168805 w 438834"/>
                <a:gd name="connsiteY23" fmla="*/ 299688 h 438830"/>
                <a:gd name="connsiteX24" fmla="*/ 14619 w 438834"/>
                <a:gd name="connsiteY24" fmla="*/ 416706 h 438830"/>
                <a:gd name="connsiteX25" fmla="*/ 219385 w 438834"/>
                <a:gd name="connsiteY25" fmla="*/ 279489 h 438830"/>
                <a:gd name="connsiteX26" fmla="*/ 409694 w 438834"/>
                <a:gd name="connsiteY26" fmla="*/ 424081 h 438830"/>
                <a:gd name="connsiteX27" fmla="*/ 29042 w 438834"/>
                <a:gd name="connsiteY27" fmla="*/ 424081 h 438830"/>
                <a:gd name="connsiteX28" fmla="*/ 270029 w 438834"/>
                <a:gd name="connsiteY28" fmla="*/ 299557 h 438830"/>
                <a:gd name="connsiteX29" fmla="*/ 424117 w 438834"/>
                <a:gd name="connsiteY29" fmla="*/ 182670 h 438830"/>
                <a:gd name="connsiteX30" fmla="*/ 424117 w 438834"/>
                <a:gd name="connsiteY30" fmla="*/ 416543 h 438830"/>
                <a:gd name="connsiteX31" fmla="*/ 419320 w 438834"/>
                <a:gd name="connsiteY31" fmla="*/ 167887 h 438830"/>
                <a:gd name="connsiteX32" fmla="*/ 394879 w 438834"/>
                <a:gd name="connsiteY32" fmla="*/ 186422 h 438830"/>
                <a:gd name="connsiteX33" fmla="*/ 394879 w 438834"/>
                <a:gd name="connsiteY33" fmla="*/ 149646 h 438830"/>
                <a:gd name="connsiteX34" fmla="*/ 219385 w 438834"/>
                <a:gd name="connsiteY34" fmla="*/ 16475 h 438830"/>
                <a:gd name="connsiteX35" fmla="*/ 255475 w 438834"/>
                <a:gd name="connsiteY35" fmla="*/ 43919 h 438830"/>
                <a:gd name="connsiteX36" fmla="*/ 183294 w 438834"/>
                <a:gd name="connsiteY36" fmla="*/ 43919 h 438830"/>
                <a:gd name="connsiteX37" fmla="*/ 380260 w 438834"/>
                <a:gd name="connsiteY37" fmla="*/ 58505 h 438830"/>
                <a:gd name="connsiteX38" fmla="*/ 380260 w 438834"/>
                <a:gd name="connsiteY38" fmla="*/ 197909 h 438830"/>
                <a:gd name="connsiteX39" fmla="*/ 257890 w 438834"/>
                <a:gd name="connsiteY39" fmla="*/ 290616 h 438830"/>
                <a:gd name="connsiteX40" fmla="*/ 223757 w 438834"/>
                <a:gd name="connsiteY40" fmla="*/ 264706 h 438830"/>
                <a:gd name="connsiteX41" fmla="*/ 214914 w 438834"/>
                <a:gd name="connsiteY41" fmla="*/ 264706 h 438830"/>
                <a:gd name="connsiteX42" fmla="*/ 180846 w 438834"/>
                <a:gd name="connsiteY42" fmla="*/ 290584 h 438830"/>
                <a:gd name="connsiteX43" fmla="*/ 58476 w 438834"/>
                <a:gd name="connsiteY43" fmla="*/ 197909 h 438830"/>
                <a:gd name="connsiteX44" fmla="*/ 58476 w 438834"/>
                <a:gd name="connsiteY44" fmla="*/ 58505 h 438830"/>
                <a:gd name="connsiteX45" fmla="*/ 43857 w 438834"/>
                <a:gd name="connsiteY45" fmla="*/ 186716 h 438830"/>
                <a:gd name="connsiteX46" fmla="*/ 19416 w 438834"/>
                <a:gd name="connsiteY46" fmla="*/ 168181 h 438830"/>
                <a:gd name="connsiteX47" fmla="*/ 43857 w 438834"/>
                <a:gd name="connsiteY47" fmla="*/ 149646 h 43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38834" h="438830">
                  <a:moveTo>
                    <a:pt x="435800" y="162340"/>
                  </a:moveTo>
                  <a:lnTo>
                    <a:pt x="394814" y="131274"/>
                  </a:lnTo>
                  <a:lnTo>
                    <a:pt x="394814" y="51065"/>
                  </a:lnTo>
                  <a:cubicBezTo>
                    <a:pt x="394814" y="47028"/>
                    <a:pt x="391541" y="43756"/>
                    <a:pt x="387504" y="43756"/>
                  </a:cubicBezTo>
                  <a:lnTo>
                    <a:pt x="279754" y="43756"/>
                  </a:lnTo>
                  <a:lnTo>
                    <a:pt x="223757" y="1465"/>
                  </a:lnTo>
                  <a:cubicBezTo>
                    <a:pt x="221133" y="-488"/>
                    <a:pt x="217538" y="-488"/>
                    <a:pt x="214914" y="1465"/>
                  </a:cubicBezTo>
                  <a:lnTo>
                    <a:pt x="159015" y="43886"/>
                  </a:lnTo>
                  <a:lnTo>
                    <a:pt x="51330" y="43886"/>
                  </a:lnTo>
                  <a:cubicBezTo>
                    <a:pt x="47287" y="43813"/>
                    <a:pt x="43946" y="47023"/>
                    <a:pt x="43857" y="51065"/>
                  </a:cubicBezTo>
                  <a:lnTo>
                    <a:pt x="43857" y="131242"/>
                  </a:lnTo>
                  <a:lnTo>
                    <a:pt x="2937" y="162340"/>
                  </a:lnTo>
                  <a:cubicBezTo>
                    <a:pt x="1097" y="163720"/>
                    <a:pt x="10" y="165882"/>
                    <a:pt x="0" y="168181"/>
                  </a:cubicBezTo>
                  <a:lnTo>
                    <a:pt x="0" y="431553"/>
                  </a:lnTo>
                  <a:cubicBezTo>
                    <a:pt x="0" y="435574"/>
                    <a:pt x="3258" y="438830"/>
                    <a:pt x="7277" y="438830"/>
                  </a:cubicBezTo>
                  <a:cubicBezTo>
                    <a:pt x="7288" y="438830"/>
                    <a:pt x="7299" y="438830"/>
                    <a:pt x="7310" y="438830"/>
                  </a:cubicBezTo>
                  <a:lnTo>
                    <a:pt x="431525" y="438830"/>
                  </a:lnTo>
                  <a:cubicBezTo>
                    <a:pt x="435545" y="438850"/>
                    <a:pt x="438815" y="435606"/>
                    <a:pt x="438834" y="431586"/>
                  </a:cubicBezTo>
                  <a:cubicBezTo>
                    <a:pt x="438834" y="431586"/>
                    <a:pt x="438834" y="431586"/>
                    <a:pt x="438834" y="431586"/>
                  </a:cubicBezTo>
                  <a:lnTo>
                    <a:pt x="438834" y="431586"/>
                  </a:lnTo>
                  <a:lnTo>
                    <a:pt x="438834" y="168181"/>
                  </a:lnTo>
                  <a:cubicBezTo>
                    <a:pt x="438811" y="165862"/>
                    <a:pt x="437686" y="163692"/>
                    <a:pt x="435800" y="162340"/>
                  </a:cubicBezTo>
                  <a:close/>
                  <a:moveTo>
                    <a:pt x="14619" y="182800"/>
                  </a:moveTo>
                  <a:lnTo>
                    <a:pt x="168805" y="299688"/>
                  </a:lnTo>
                  <a:lnTo>
                    <a:pt x="14619" y="416706"/>
                  </a:lnTo>
                  <a:close/>
                  <a:moveTo>
                    <a:pt x="219385" y="279489"/>
                  </a:moveTo>
                  <a:lnTo>
                    <a:pt x="409694" y="424081"/>
                  </a:lnTo>
                  <a:lnTo>
                    <a:pt x="29042" y="424081"/>
                  </a:lnTo>
                  <a:close/>
                  <a:moveTo>
                    <a:pt x="270029" y="299557"/>
                  </a:moveTo>
                  <a:lnTo>
                    <a:pt x="424117" y="182670"/>
                  </a:lnTo>
                  <a:lnTo>
                    <a:pt x="424117" y="416543"/>
                  </a:lnTo>
                  <a:close/>
                  <a:moveTo>
                    <a:pt x="419320" y="167887"/>
                  </a:moveTo>
                  <a:lnTo>
                    <a:pt x="394879" y="186422"/>
                  </a:lnTo>
                  <a:lnTo>
                    <a:pt x="394879" y="149646"/>
                  </a:lnTo>
                  <a:close/>
                  <a:moveTo>
                    <a:pt x="219385" y="16475"/>
                  </a:moveTo>
                  <a:lnTo>
                    <a:pt x="255475" y="43919"/>
                  </a:lnTo>
                  <a:lnTo>
                    <a:pt x="183294" y="43919"/>
                  </a:lnTo>
                  <a:close/>
                  <a:moveTo>
                    <a:pt x="380260" y="58505"/>
                  </a:moveTo>
                  <a:lnTo>
                    <a:pt x="380260" y="197909"/>
                  </a:lnTo>
                  <a:lnTo>
                    <a:pt x="257890" y="290616"/>
                  </a:lnTo>
                  <a:lnTo>
                    <a:pt x="223757" y="264706"/>
                  </a:lnTo>
                  <a:cubicBezTo>
                    <a:pt x="221144" y="262722"/>
                    <a:pt x="217527" y="262722"/>
                    <a:pt x="214914" y="264706"/>
                  </a:cubicBezTo>
                  <a:lnTo>
                    <a:pt x="180846" y="290584"/>
                  </a:lnTo>
                  <a:lnTo>
                    <a:pt x="58476" y="197909"/>
                  </a:lnTo>
                  <a:lnTo>
                    <a:pt x="58476" y="58505"/>
                  </a:lnTo>
                  <a:close/>
                  <a:moveTo>
                    <a:pt x="43857" y="186716"/>
                  </a:moveTo>
                  <a:lnTo>
                    <a:pt x="19416" y="168181"/>
                  </a:lnTo>
                  <a:lnTo>
                    <a:pt x="43857" y="149646"/>
                  </a:ln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55" name="Freeform 154">
              <a:extLst>
                <a:ext uri="{FF2B5EF4-FFF2-40B4-BE49-F238E27FC236}">
                  <a16:creationId xmlns:a16="http://schemas.microsoft.com/office/drawing/2014/main" id="{23D88F2C-3067-124A-B036-EA98A556C8ED}"/>
                </a:ext>
              </a:extLst>
            </p:cNvPr>
            <p:cNvSpPr/>
            <p:nvPr/>
          </p:nvSpPr>
          <p:spPr>
            <a:xfrm>
              <a:off x="6400042" y="3417855"/>
              <a:ext cx="127558" cy="72769"/>
            </a:xfrm>
            <a:custGeom>
              <a:avLst/>
              <a:gdLst>
                <a:gd name="connsiteX0" fmla="*/ 9104 w 127558"/>
                <a:gd name="connsiteY0" fmla="*/ 72769 h 72769"/>
                <a:gd name="connsiteX1" fmla="*/ 118421 w 127558"/>
                <a:gd name="connsiteY1" fmla="*/ 72769 h 72769"/>
                <a:gd name="connsiteX2" fmla="*/ 127558 w 127558"/>
                <a:gd name="connsiteY2" fmla="*/ 63698 h 72769"/>
                <a:gd name="connsiteX3" fmla="*/ 127558 w 127558"/>
                <a:gd name="connsiteY3" fmla="*/ 63665 h 72769"/>
                <a:gd name="connsiteX4" fmla="*/ 127558 w 127558"/>
                <a:gd name="connsiteY4" fmla="*/ 9006 h 72769"/>
                <a:gd name="connsiteX5" fmla="*/ 118421 w 127558"/>
                <a:gd name="connsiteY5" fmla="*/ 0 h 72769"/>
                <a:gd name="connsiteX6" fmla="*/ 9104 w 127558"/>
                <a:gd name="connsiteY6" fmla="*/ 0 h 72769"/>
                <a:gd name="connsiteX7" fmla="*/ 0 w 127558"/>
                <a:gd name="connsiteY7" fmla="*/ 9039 h 72769"/>
                <a:gd name="connsiteX8" fmla="*/ 0 w 127558"/>
                <a:gd name="connsiteY8" fmla="*/ 9104 h 72769"/>
                <a:gd name="connsiteX9" fmla="*/ 0 w 127558"/>
                <a:gd name="connsiteY9" fmla="*/ 63665 h 72769"/>
                <a:gd name="connsiteX10" fmla="*/ 9104 w 127558"/>
                <a:gd name="connsiteY10" fmla="*/ 72769 h 72769"/>
                <a:gd name="connsiteX11" fmla="*/ 18209 w 127558"/>
                <a:gd name="connsiteY11" fmla="*/ 18111 h 72769"/>
                <a:gd name="connsiteX12" fmla="*/ 109317 w 127558"/>
                <a:gd name="connsiteY12" fmla="*/ 18111 h 72769"/>
                <a:gd name="connsiteX13" fmla="*/ 109317 w 127558"/>
                <a:gd name="connsiteY13" fmla="*/ 54561 h 72769"/>
                <a:gd name="connsiteX14" fmla="*/ 18209 w 127558"/>
                <a:gd name="connsiteY14" fmla="*/ 54561 h 72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7558" h="72769">
                  <a:moveTo>
                    <a:pt x="9104" y="72769"/>
                  </a:moveTo>
                  <a:lnTo>
                    <a:pt x="118421" y="72769"/>
                  </a:lnTo>
                  <a:cubicBezTo>
                    <a:pt x="123450" y="72787"/>
                    <a:pt x="127540" y="68726"/>
                    <a:pt x="127558" y="63698"/>
                  </a:cubicBezTo>
                  <a:cubicBezTo>
                    <a:pt x="127558" y="63687"/>
                    <a:pt x="127558" y="63676"/>
                    <a:pt x="127558" y="63665"/>
                  </a:cubicBezTo>
                  <a:lnTo>
                    <a:pt x="127558" y="9006"/>
                  </a:lnTo>
                  <a:cubicBezTo>
                    <a:pt x="127504" y="4004"/>
                    <a:pt x="123424" y="-18"/>
                    <a:pt x="118421" y="0"/>
                  </a:cubicBezTo>
                  <a:lnTo>
                    <a:pt x="9104" y="0"/>
                  </a:lnTo>
                  <a:cubicBezTo>
                    <a:pt x="4094" y="-18"/>
                    <a:pt x="18" y="4029"/>
                    <a:pt x="0" y="9039"/>
                  </a:cubicBezTo>
                  <a:cubicBezTo>
                    <a:pt x="0" y="9061"/>
                    <a:pt x="0" y="9083"/>
                    <a:pt x="0" y="9104"/>
                  </a:cubicBezTo>
                  <a:lnTo>
                    <a:pt x="0" y="63665"/>
                  </a:lnTo>
                  <a:cubicBezTo>
                    <a:pt x="0" y="68693"/>
                    <a:pt x="4076" y="72769"/>
                    <a:pt x="9104" y="72769"/>
                  </a:cubicBezTo>
                  <a:close/>
                  <a:moveTo>
                    <a:pt x="18209" y="18111"/>
                  </a:moveTo>
                  <a:lnTo>
                    <a:pt x="109317" y="18111"/>
                  </a:lnTo>
                  <a:lnTo>
                    <a:pt x="109317" y="54561"/>
                  </a:lnTo>
                  <a:lnTo>
                    <a:pt x="18209" y="54561"/>
                  </a:ln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56" name="Freeform 155">
              <a:extLst>
                <a:ext uri="{FF2B5EF4-FFF2-40B4-BE49-F238E27FC236}">
                  <a16:creationId xmlns:a16="http://schemas.microsoft.com/office/drawing/2014/main" id="{792FD917-EE6E-4D43-B0D5-F0B93CA7AE1D}"/>
                </a:ext>
              </a:extLst>
            </p:cNvPr>
            <p:cNvSpPr/>
            <p:nvPr/>
          </p:nvSpPr>
          <p:spPr>
            <a:xfrm>
              <a:off x="6400042" y="3508833"/>
              <a:ext cx="145766" cy="18208"/>
            </a:xfrm>
            <a:custGeom>
              <a:avLst/>
              <a:gdLst>
                <a:gd name="connsiteX0" fmla="*/ 0 w 145766"/>
                <a:gd name="connsiteY0" fmla="*/ 0 h 18208"/>
                <a:gd name="connsiteX1" fmla="*/ 145767 w 145766"/>
                <a:gd name="connsiteY1" fmla="*/ 0 h 18208"/>
                <a:gd name="connsiteX2" fmla="*/ 145767 w 145766"/>
                <a:gd name="connsiteY2" fmla="*/ 18209 h 18208"/>
                <a:gd name="connsiteX3" fmla="*/ 0 w 145766"/>
                <a:gd name="connsiteY3" fmla="*/ 18209 h 18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766" h="18208">
                  <a:moveTo>
                    <a:pt x="0" y="0"/>
                  </a:moveTo>
                  <a:lnTo>
                    <a:pt x="145767" y="0"/>
                  </a:lnTo>
                  <a:lnTo>
                    <a:pt x="145767" y="18209"/>
                  </a:lnTo>
                  <a:lnTo>
                    <a:pt x="0" y="18209"/>
                  </a:ln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57" name="Freeform 156">
              <a:extLst>
                <a:ext uri="{FF2B5EF4-FFF2-40B4-BE49-F238E27FC236}">
                  <a16:creationId xmlns:a16="http://schemas.microsoft.com/office/drawing/2014/main" id="{B51F5091-DBB7-3242-9EB4-E4E8A747878F}"/>
                </a:ext>
              </a:extLst>
            </p:cNvPr>
            <p:cNvSpPr/>
            <p:nvPr/>
          </p:nvSpPr>
          <p:spPr>
            <a:xfrm>
              <a:off x="6400042" y="3545283"/>
              <a:ext cx="145766" cy="18208"/>
            </a:xfrm>
            <a:custGeom>
              <a:avLst/>
              <a:gdLst>
                <a:gd name="connsiteX0" fmla="*/ 0 w 145766"/>
                <a:gd name="connsiteY0" fmla="*/ 0 h 18208"/>
                <a:gd name="connsiteX1" fmla="*/ 145767 w 145766"/>
                <a:gd name="connsiteY1" fmla="*/ 0 h 18208"/>
                <a:gd name="connsiteX2" fmla="*/ 145767 w 145766"/>
                <a:gd name="connsiteY2" fmla="*/ 18209 h 18208"/>
                <a:gd name="connsiteX3" fmla="*/ 0 w 145766"/>
                <a:gd name="connsiteY3" fmla="*/ 18209 h 18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766" h="18208">
                  <a:moveTo>
                    <a:pt x="0" y="0"/>
                  </a:moveTo>
                  <a:lnTo>
                    <a:pt x="145767" y="0"/>
                  </a:lnTo>
                  <a:lnTo>
                    <a:pt x="145767" y="18209"/>
                  </a:lnTo>
                  <a:lnTo>
                    <a:pt x="0" y="18209"/>
                  </a:ln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58" name="Freeform 157">
              <a:extLst>
                <a:ext uri="{FF2B5EF4-FFF2-40B4-BE49-F238E27FC236}">
                  <a16:creationId xmlns:a16="http://schemas.microsoft.com/office/drawing/2014/main" id="{51551493-42A0-5F45-96FD-94B786D439B0}"/>
                </a:ext>
              </a:extLst>
            </p:cNvPr>
            <p:cNvSpPr/>
            <p:nvPr/>
          </p:nvSpPr>
          <p:spPr>
            <a:xfrm>
              <a:off x="6691854" y="3339878"/>
              <a:ext cx="50532" cy="50534"/>
            </a:xfrm>
            <a:custGeom>
              <a:avLst/>
              <a:gdLst>
                <a:gd name="connsiteX0" fmla="*/ 9022 w 50532"/>
                <a:gd name="connsiteY0" fmla="*/ 50534 h 50534"/>
                <a:gd name="connsiteX1" fmla="*/ 15548 w 50532"/>
                <a:gd name="connsiteY1" fmla="*/ 47858 h 50534"/>
                <a:gd name="connsiteX2" fmla="*/ 47756 w 50532"/>
                <a:gd name="connsiteY2" fmla="*/ 15650 h 50534"/>
                <a:gd name="connsiteX3" fmla="*/ 47974 w 50532"/>
                <a:gd name="connsiteY3" fmla="*/ 2776 h 50534"/>
                <a:gd name="connsiteX4" fmla="*/ 35101 w 50532"/>
                <a:gd name="connsiteY4" fmla="*/ 2558 h 50534"/>
                <a:gd name="connsiteX5" fmla="*/ 34866 w 50532"/>
                <a:gd name="connsiteY5" fmla="*/ 2793 h 50534"/>
                <a:gd name="connsiteX6" fmla="*/ 2658 w 50532"/>
                <a:gd name="connsiteY6" fmla="*/ 35001 h 50534"/>
                <a:gd name="connsiteX7" fmla="*/ 2675 w 50532"/>
                <a:gd name="connsiteY7" fmla="*/ 47876 h 50534"/>
                <a:gd name="connsiteX8" fmla="*/ 9185 w 50532"/>
                <a:gd name="connsiteY8" fmla="*/ 50534 h 50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32" h="50534">
                  <a:moveTo>
                    <a:pt x="9022" y="50534"/>
                  </a:moveTo>
                  <a:cubicBezTo>
                    <a:pt x="11469" y="50559"/>
                    <a:pt x="13822" y="49593"/>
                    <a:pt x="15548" y="47858"/>
                  </a:cubicBezTo>
                  <a:lnTo>
                    <a:pt x="47756" y="15650"/>
                  </a:lnTo>
                  <a:cubicBezTo>
                    <a:pt x="51371" y="12155"/>
                    <a:pt x="51469" y="6392"/>
                    <a:pt x="47974" y="2776"/>
                  </a:cubicBezTo>
                  <a:cubicBezTo>
                    <a:pt x="44479" y="-839"/>
                    <a:pt x="38717" y="-936"/>
                    <a:pt x="35101" y="2558"/>
                  </a:cubicBezTo>
                  <a:cubicBezTo>
                    <a:pt x="35019" y="2635"/>
                    <a:pt x="34941" y="2713"/>
                    <a:pt x="34866" y="2793"/>
                  </a:cubicBezTo>
                  <a:lnTo>
                    <a:pt x="2658" y="35001"/>
                  </a:lnTo>
                  <a:cubicBezTo>
                    <a:pt x="-892" y="38561"/>
                    <a:pt x="-886" y="44326"/>
                    <a:pt x="2675" y="47876"/>
                  </a:cubicBezTo>
                  <a:cubicBezTo>
                    <a:pt x="4401" y="49598"/>
                    <a:pt x="6747" y="50555"/>
                    <a:pt x="9185" y="50534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59" name="Freeform 158">
              <a:extLst>
                <a:ext uri="{FF2B5EF4-FFF2-40B4-BE49-F238E27FC236}">
                  <a16:creationId xmlns:a16="http://schemas.microsoft.com/office/drawing/2014/main" id="{FA422D88-2E09-AD42-9694-2407F0297A70}"/>
                </a:ext>
              </a:extLst>
            </p:cNvPr>
            <p:cNvSpPr/>
            <p:nvPr/>
          </p:nvSpPr>
          <p:spPr>
            <a:xfrm>
              <a:off x="6212422" y="3339781"/>
              <a:ext cx="50416" cy="50285"/>
            </a:xfrm>
            <a:custGeom>
              <a:avLst/>
              <a:gdLst>
                <a:gd name="connsiteX0" fmla="*/ 35228 w 50416"/>
                <a:gd name="connsiteY0" fmla="*/ 47955 h 50285"/>
                <a:gd name="connsiteX1" fmla="*/ 48085 w 50416"/>
                <a:gd name="connsiteY1" fmla="*/ 47265 h 50285"/>
                <a:gd name="connsiteX2" fmla="*/ 48085 w 50416"/>
                <a:gd name="connsiteY2" fmla="*/ 35098 h 50285"/>
                <a:gd name="connsiteX3" fmla="*/ 15877 w 50416"/>
                <a:gd name="connsiteY3" fmla="*/ 3020 h 50285"/>
                <a:gd name="connsiteX4" fmla="*/ 3020 w 50416"/>
                <a:gd name="connsiteY4" fmla="*/ 2331 h 50285"/>
                <a:gd name="connsiteX5" fmla="*/ 2331 w 50416"/>
                <a:gd name="connsiteY5" fmla="*/ 15188 h 50285"/>
                <a:gd name="connsiteX6" fmla="*/ 3020 w 50416"/>
                <a:gd name="connsiteY6" fmla="*/ 15877 h 5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416" h="50285">
                  <a:moveTo>
                    <a:pt x="35228" y="47955"/>
                  </a:moveTo>
                  <a:cubicBezTo>
                    <a:pt x="38969" y="51315"/>
                    <a:pt x="44725" y="51006"/>
                    <a:pt x="48085" y="47265"/>
                  </a:cubicBezTo>
                  <a:cubicBezTo>
                    <a:pt x="51193" y="43805"/>
                    <a:pt x="51193" y="38558"/>
                    <a:pt x="48085" y="35098"/>
                  </a:cubicBezTo>
                  <a:lnTo>
                    <a:pt x="15877" y="3020"/>
                  </a:lnTo>
                  <a:cubicBezTo>
                    <a:pt x="12517" y="-720"/>
                    <a:pt x="6761" y="-1029"/>
                    <a:pt x="3020" y="2331"/>
                  </a:cubicBezTo>
                  <a:cubicBezTo>
                    <a:pt x="-720" y="5691"/>
                    <a:pt x="-1029" y="11448"/>
                    <a:pt x="2331" y="15188"/>
                  </a:cubicBezTo>
                  <a:cubicBezTo>
                    <a:pt x="2549" y="15430"/>
                    <a:pt x="2779" y="15660"/>
                    <a:pt x="3020" y="15877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9365740C-1659-9843-8497-AC2B8A1CC67B}"/>
                </a:ext>
              </a:extLst>
            </p:cNvPr>
            <p:cNvSpPr/>
            <p:nvPr/>
          </p:nvSpPr>
          <p:spPr>
            <a:xfrm>
              <a:off x="6618775" y="3280959"/>
              <a:ext cx="36420" cy="63899"/>
            </a:xfrm>
            <a:custGeom>
              <a:avLst/>
              <a:gdLst>
                <a:gd name="connsiteX0" fmla="*/ 5840 w 36420"/>
                <a:gd name="connsiteY0" fmla="*/ 63246 h 63899"/>
                <a:gd name="connsiteX1" fmla="*/ 9103 w 36420"/>
                <a:gd name="connsiteY1" fmla="*/ 63899 h 63899"/>
                <a:gd name="connsiteX2" fmla="*/ 17554 w 36420"/>
                <a:gd name="connsiteY2" fmla="*/ 58188 h 63899"/>
                <a:gd name="connsiteX3" fmla="*/ 35763 w 36420"/>
                <a:gd name="connsiteY3" fmla="*/ 12504 h 63899"/>
                <a:gd name="connsiteX4" fmla="*/ 30705 w 36420"/>
                <a:gd name="connsiteY4" fmla="*/ 658 h 63899"/>
                <a:gd name="connsiteX5" fmla="*/ 18860 w 36420"/>
                <a:gd name="connsiteY5" fmla="*/ 5716 h 63899"/>
                <a:gd name="connsiteX6" fmla="*/ 651 w 36420"/>
                <a:gd name="connsiteY6" fmla="*/ 51401 h 63899"/>
                <a:gd name="connsiteX7" fmla="*/ 5702 w 36420"/>
                <a:gd name="connsiteY7" fmla="*/ 63194 h 63899"/>
                <a:gd name="connsiteX8" fmla="*/ 5840 w 36420"/>
                <a:gd name="connsiteY8" fmla="*/ 63246 h 63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420" h="63899">
                  <a:moveTo>
                    <a:pt x="5840" y="63246"/>
                  </a:moveTo>
                  <a:cubicBezTo>
                    <a:pt x="6877" y="63668"/>
                    <a:pt x="7983" y="63890"/>
                    <a:pt x="9103" y="63899"/>
                  </a:cubicBezTo>
                  <a:cubicBezTo>
                    <a:pt x="12823" y="63900"/>
                    <a:pt x="16168" y="61640"/>
                    <a:pt x="17554" y="58188"/>
                  </a:cubicBezTo>
                  <a:lnTo>
                    <a:pt x="35763" y="12504"/>
                  </a:lnTo>
                  <a:cubicBezTo>
                    <a:pt x="37636" y="7836"/>
                    <a:pt x="35371" y="2533"/>
                    <a:pt x="30705" y="658"/>
                  </a:cubicBezTo>
                  <a:cubicBezTo>
                    <a:pt x="26039" y="-1216"/>
                    <a:pt x="20733" y="1049"/>
                    <a:pt x="18860" y="5716"/>
                  </a:cubicBezTo>
                  <a:lnTo>
                    <a:pt x="651" y="51401"/>
                  </a:lnTo>
                  <a:cubicBezTo>
                    <a:pt x="-1209" y="56053"/>
                    <a:pt x="1052" y="61332"/>
                    <a:pt x="5702" y="63194"/>
                  </a:cubicBezTo>
                  <a:cubicBezTo>
                    <a:pt x="5748" y="63211"/>
                    <a:pt x="5794" y="63229"/>
                    <a:pt x="5840" y="63246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61" name="Freeform 160">
              <a:extLst>
                <a:ext uri="{FF2B5EF4-FFF2-40B4-BE49-F238E27FC236}">
                  <a16:creationId xmlns:a16="http://schemas.microsoft.com/office/drawing/2014/main" id="{62E418CC-7935-ED4F-954E-5D8DBC726AD2}"/>
                </a:ext>
              </a:extLst>
            </p:cNvPr>
            <p:cNvSpPr/>
            <p:nvPr/>
          </p:nvSpPr>
          <p:spPr>
            <a:xfrm>
              <a:off x="6308651" y="3280899"/>
              <a:ext cx="36440" cy="63958"/>
            </a:xfrm>
            <a:custGeom>
              <a:avLst/>
              <a:gdLst>
                <a:gd name="connsiteX0" fmla="*/ 18948 w 36440"/>
                <a:gd name="connsiteY0" fmla="*/ 58248 h 63958"/>
                <a:gd name="connsiteX1" fmla="*/ 27432 w 36440"/>
                <a:gd name="connsiteY1" fmla="*/ 63958 h 63958"/>
                <a:gd name="connsiteX2" fmla="*/ 30695 w 36440"/>
                <a:gd name="connsiteY2" fmla="*/ 63306 h 63958"/>
                <a:gd name="connsiteX3" fmla="*/ 35795 w 36440"/>
                <a:gd name="connsiteY3" fmla="*/ 51483 h 63958"/>
                <a:gd name="connsiteX4" fmla="*/ 35786 w 36440"/>
                <a:gd name="connsiteY4" fmla="*/ 51460 h 63958"/>
                <a:gd name="connsiteX5" fmla="*/ 17642 w 36440"/>
                <a:gd name="connsiteY5" fmla="*/ 5939 h 63958"/>
                <a:gd name="connsiteX6" fmla="*/ 5939 w 36440"/>
                <a:gd name="connsiteY6" fmla="*/ 571 h 63958"/>
                <a:gd name="connsiteX7" fmla="*/ 571 w 36440"/>
                <a:gd name="connsiteY7" fmla="*/ 12275 h 63958"/>
                <a:gd name="connsiteX8" fmla="*/ 739 w 36440"/>
                <a:gd name="connsiteY8" fmla="*/ 12694 h 63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440" h="63958">
                  <a:moveTo>
                    <a:pt x="18948" y="58248"/>
                  </a:moveTo>
                  <a:cubicBezTo>
                    <a:pt x="20346" y="61704"/>
                    <a:pt x="23704" y="63964"/>
                    <a:pt x="27432" y="63958"/>
                  </a:cubicBezTo>
                  <a:cubicBezTo>
                    <a:pt x="28551" y="63951"/>
                    <a:pt x="29659" y="63729"/>
                    <a:pt x="30695" y="63306"/>
                  </a:cubicBezTo>
                  <a:cubicBezTo>
                    <a:pt x="35368" y="61449"/>
                    <a:pt x="37651" y="56156"/>
                    <a:pt x="35795" y="51483"/>
                  </a:cubicBezTo>
                  <a:cubicBezTo>
                    <a:pt x="35792" y="51476"/>
                    <a:pt x="35789" y="51468"/>
                    <a:pt x="35786" y="51460"/>
                  </a:cubicBezTo>
                  <a:lnTo>
                    <a:pt x="17642" y="5939"/>
                  </a:lnTo>
                  <a:cubicBezTo>
                    <a:pt x="15893" y="1225"/>
                    <a:pt x="10653" y="-1178"/>
                    <a:pt x="5939" y="571"/>
                  </a:cubicBezTo>
                  <a:cubicBezTo>
                    <a:pt x="1225" y="2321"/>
                    <a:pt x="-1178" y="7561"/>
                    <a:pt x="571" y="12275"/>
                  </a:cubicBezTo>
                  <a:cubicBezTo>
                    <a:pt x="624" y="12416"/>
                    <a:pt x="679" y="12556"/>
                    <a:pt x="739" y="12694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62" name="Graphic 43">
            <a:extLst>
              <a:ext uri="{FF2B5EF4-FFF2-40B4-BE49-F238E27FC236}">
                <a16:creationId xmlns:a16="http://schemas.microsoft.com/office/drawing/2014/main" id="{327D596C-0391-6541-A865-E65F2C5DB656}"/>
              </a:ext>
            </a:extLst>
          </p:cNvPr>
          <p:cNvGrpSpPr/>
          <p:nvPr userDrawn="1"/>
        </p:nvGrpSpPr>
        <p:grpSpPr>
          <a:xfrm>
            <a:off x="5689373" y="2109794"/>
            <a:ext cx="311374" cy="304732"/>
            <a:chOff x="7553511" y="2443780"/>
            <a:chExt cx="434711" cy="434711"/>
          </a:xfrm>
          <a:solidFill>
            <a:schemeClr val="bg1"/>
          </a:solidFill>
        </p:grpSpPr>
        <p:sp>
          <p:nvSpPr>
            <p:cNvPr id="163" name="Freeform 162">
              <a:extLst>
                <a:ext uri="{FF2B5EF4-FFF2-40B4-BE49-F238E27FC236}">
                  <a16:creationId xmlns:a16="http://schemas.microsoft.com/office/drawing/2014/main" id="{8E2A266E-A533-F844-8D24-BD6576919D6E}"/>
                </a:ext>
              </a:extLst>
            </p:cNvPr>
            <p:cNvSpPr/>
            <p:nvPr/>
          </p:nvSpPr>
          <p:spPr>
            <a:xfrm>
              <a:off x="7611486" y="2451166"/>
              <a:ext cx="299000" cy="395936"/>
            </a:xfrm>
            <a:custGeom>
              <a:avLst/>
              <a:gdLst>
                <a:gd name="connsiteX0" fmla="*/ 253767 w 299000"/>
                <a:gd name="connsiteY0" fmla="*/ 43339 h 395936"/>
                <a:gd name="connsiteX1" fmla="*/ 45666 w 299000"/>
                <a:gd name="connsiteY1" fmla="*/ 42860 h 395936"/>
                <a:gd name="connsiteX2" fmla="*/ 45187 w 299000"/>
                <a:gd name="connsiteY2" fmla="*/ 43339 h 395936"/>
                <a:gd name="connsiteX3" fmla="*/ 194 w 299000"/>
                <a:gd name="connsiteY3" fmla="*/ 143377 h 395936"/>
                <a:gd name="connsiteX4" fmla="*/ 31684 w 299000"/>
                <a:gd name="connsiteY4" fmla="*/ 245969 h 395936"/>
                <a:gd name="connsiteX5" fmla="*/ 140361 w 299000"/>
                <a:gd name="connsiteY5" fmla="*/ 391407 h 395936"/>
                <a:gd name="connsiteX6" fmla="*/ 156183 w 299000"/>
                <a:gd name="connsiteY6" fmla="*/ 393681 h 395936"/>
                <a:gd name="connsiteX7" fmla="*/ 158456 w 299000"/>
                <a:gd name="connsiteY7" fmla="*/ 391407 h 395936"/>
                <a:gd name="connsiteX8" fmla="*/ 267134 w 299000"/>
                <a:gd name="connsiteY8" fmla="*/ 245969 h 395936"/>
                <a:gd name="connsiteX9" fmla="*/ 298759 w 299000"/>
                <a:gd name="connsiteY9" fmla="*/ 143404 h 395936"/>
                <a:gd name="connsiteX10" fmla="*/ 253767 w 299000"/>
                <a:gd name="connsiteY10" fmla="*/ 43339 h 39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9000" h="395936">
                  <a:moveTo>
                    <a:pt x="253767" y="43339"/>
                  </a:moveTo>
                  <a:cubicBezTo>
                    <a:pt x="196434" y="-14259"/>
                    <a:pt x="103264" y="-14473"/>
                    <a:pt x="45666" y="42860"/>
                  </a:cubicBezTo>
                  <a:cubicBezTo>
                    <a:pt x="45506" y="43019"/>
                    <a:pt x="45346" y="43179"/>
                    <a:pt x="45187" y="43339"/>
                  </a:cubicBezTo>
                  <a:cubicBezTo>
                    <a:pt x="18593" y="70152"/>
                    <a:pt x="2610" y="105689"/>
                    <a:pt x="194" y="143377"/>
                  </a:cubicBezTo>
                  <a:cubicBezTo>
                    <a:pt x="-1636" y="180205"/>
                    <a:pt x="9507" y="216509"/>
                    <a:pt x="31684" y="245969"/>
                  </a:cubicBezTo>
                  <a:lnTo>
                    <a:pt x="140361" y="391407"/>
                  </a:lnTo>
                  <a:cubicBezTo>
                    <a:pt x="144103" y="396403"/>
                    <a:pt x="151186" y="397422"/>
                    <a:pt x="156183" y="393681"/>
                  </a:cubicBezTo>
                  <a:cubicBezTo>
                    <a:pt x="157045" y="393034"/>
                    <a:pt x="157811" y="392268"/>
                    <a:pt x="158456" y="391407"/>
                  </a:cubicBezTo>
                  <a:lnTo>
                    <a:pt x="267134" y="245969"/>
                  </a:lnTo>
                  <a:cubicBezTo>
                    <a:pt x="289603" y="216664"/>
                    <a:pt x="300824" y="180274"/>
                    <a:pt x="298759" y="143404"/>
                  </a:cubicBezTo>
                  <a:cubicBezTo>
                    <a:pt x="296344" y="105709"/>
                    <a:pt x="280360" y="70163"/>
                    <a:pt x="253767" y="43339"/>
                  </a:cubicBezTo>
                  <a:close/>
                </a:path>
              </a:pathLst>
            </a:custGeom>
            <a:noFill/>
            <a:ln w="13395" cap="flat">
              <a:solidFill>
                <a:schemeClr val="bg1"/>
              </a:solidFill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FE686F4E-3CFE-7F41-A8E3-C2E6CB43A3B6}"/>
                </a:ext>
              </a:extLst>
            </p:cNvPr>
            <p:cNvSpPr/>
            <p:nvPr/>
          </p:nvSpPr>
          <p:spPr>
            <a:xfrm>
              <a:off x="7690146" y="2534553"/>
              <a:ext cx="138238" cy="138238"/>
            </a:xfrm>
            <a:custGeom>
              <a:avLst/>
              <a:gdLst>
                <a:gd name="connsiteX0" fmla="*/ 69092 w 138238"/>
                <a:gd name="connsiteY0" fmla="*/ 0 h 138238"/>
                <a:gd name="connsiteX1" fmla="*/ 0 w 138238"/>
                <a:gd name="connsiteY1" fmla="*/ 69146 h 138238"/>
                <a:gd name="connsiteX2" fmla="*/ 69146 w 138238"/>
                <a:gd name="connsiteY2" fmla="*/ 138238 h 138238"/>
                <a:gd name="connsiteX3" fmla="*/ 138238 w 138238"/>
                <a:gd name="connsiteY3" fmla="*/ 69119 h 138238"/>
                <a:gd name="connsiteX4" fmla="*/ 69119 w 138238"/>
                <a:gd name="connsiteY4" fmla="*/ 0 h 138238"/>
                <a:gd name="connsiteX5" fmla="*/ 69092 w 138238"/>
                <a:gd name="connsiteY5" fmla="*/ 0 h 13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238" h="138238">
                  <a:moveTo>
                    <a:pt x="69092" y="0"/>
                  </a:moveTo>
                  <a:cubicBezTo>
                    <a:pt x="30919" y="15"/>
                    <a:pt x="-15" y="30973"/>
                    <a:pt x="0" y="69146"/>
                  </a:cubicBezTo>
                  <a:cubicBezTo>
                    <a:pt x="15" y="107320"/>
                    <a:pt x="30973" y="138253"/>
                    <a:pt x="69146" y="138238"/>
                  </a:cubicBezTo>
                  <a:cubicBezTo>
                    <a:pt x="107309" y="138223"/>
                    <a:pt x="138238" y="107282"/>
                    <a:pt x="138238" y="69119"/>
                  </a:cubicBezTo>
                  <a:cubicBezTo>
                    <a:pt x="138238" y="30946"/>
                    <a:pt x="107292" y="0"/>
                    <a:pt x="69119" y="0"/>
                  </a:cubicBezTo>
                  <a:cubicBezTo>
                    <a:pt x="69110" y="0"/>
                    <a:pt x="69101" y="0"/>
                    <a:pt x="69092" y="0"/>
                  </a:cubicBezTo>
                  <a:close/>
                </a:path>
              </a:pathLst>
            </a:custGeom>
            <a:noFill/>
            <a:ln w="13395" cap="flat">
              <a:solidFill>
                <a:schemeClr val="bg1"/>
              </a:solidFill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65" name="Freeform 164">
              <a:extLst>
                <a:ext uri="{FF2B5EF4-FFF2-40B4-BE49-F238E27FC236}">
                  <a16:creationId xmlns:a16="http://schemas.microsoft.com/office/drawing/2014/main" id="{875A825B-C9D1-C444-A168-C0365649A1CC}"/>
                </a:ext>
              </a:extLst>
            </p:cNvPr>
            <p:cNvSpPr/>
            <p:nvPr/>
          </p:nvSpPr>
          <p:spPr>
            <a:xfrm>
              <a:off x="7652760" y="2798524"/>
              <a:ext cx="216404" cy="84232"/>
            </a:xfrm>
            <a:custGeom>
              <a:avLst/>
              <a:gdLst>
                <a:gd name="connsiteX0" fmla="*/ 108216 w 216404"/>
                <a:gd name="connsiteY0" fmla="*/ 84232 h 84232"/>
                <a:gd name="connsiteX1" fmla="*/ 0 w 216404"/>
                <a:gd name="connsiteY1" fmla="*/ 36333 h 84232"/>
                <a:gd name="connsiteX2" fmla="*/ 33989 w 216404"/>
                <a:gd name="connsiteY2" fmla="*/ 1012 h 84232"/>
                <a:gd name="connsiteX3" fmla="*/ 42955 w 216404"/>
                <a:gd name="connsiteY3" fmla="*/ 4816 h 84232"/>
                <a:gd name="connsiteX4" fmla="*/ 39151 w 216404"/>
                <a:gd name="connsiteY4" fmla="*/ 13782 h 84232"/>
                <a:gd name="connsiteX5" fmla="*/ 13802 w 216404"/>
                <a:gd name="connsiteY5" fmla="*/ 36387 h 84232"/>
                <a:gd name="connsiteX6" fmla="*/ 108216 w 216404"/>
                <a:gd name="connsiteY6" fmla="*/ 70512 h 84232"/>
                <a:gd name="connsiteX7" fmla="*/ 202630 w 216404"/>
                <a:gd name="connsiteY7" fmla="*/ 36387 h 84232"/>
                <a:gd name="connsiteX8" fmla="*/ 179182 w 216404"/>
                <a:gd name="connsiteY8" fmla="*/ 13429 h 84232"/>
                <a:gd name="connsiteX9" fmla="*/ 174808 w 216404"/>
                <a:gd name="connsiteY9" fmla="*/ 4707 h 84232"/>
                <a:gd name="connsiteX10" fmla="*/ 183557 w 216404"/>
                <a:gd name="connsiteY10" fmla="*/ 333 h 84232"/>
                <a:gd name="connsiteX11" fmla="*/ 216405 w 216404"/>
                <a:gd name="connsiteY11" fmla="*/ 36387 h 84232"/>
                <a:gd name="connsiteX12" fmla="*/ 108216 w 216404"/>
                <a:gd name="connsiteY12" fmla="*/ 84232 h 84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6404" h="84232">
                  <a:moveTo>
                    <a:pt x="108216" y="84232"/>
                  </a:moveTo>
                  <a:cubicBezTo>
                    <a:pt x="46541" y="84232"/>
                    <a:pt x="0" y="63638"/>
                    <a:pt x="0" y="36333"/>
                  </a:cubicBezTo>
                  <a:cubicBezTo>
                    <a:pt x="0" y="22395"/>
                    <a:pt x="12063" y="9842"/>
                    <a:pt x="33989" y="1012"/>
                  </a:cubicBezTo>
                  <a:cubicBezTo>
                    <a:pt x="37515" y="-414"/>
                    <a:pt x="41529" y="1290"/>
                    <a:pt x="42955" y="4816"/>
                  </a:cubicBezTo>
                  <a:cubicBezTo>
                    <a:pt x="44380" y="8343"/>
                    <a:pt x="42677" y="12356"/>
                    <a:pt x="39151" y="13782"/>
                  </a:cubicBezTo>
                  <a:cubicBezTo>
                    <a:pt x="23284" y="20221"/>
                    <a:pt x="13802" y="28671"/>
                    <a:pt x="13802" y="36387"/>
                  </a:cubicBezTo>
                  <a:cubicBezTo>
                    <a:pt x="13802" y="52526"/>
                    <a:pt x="52573" y="70512"/>
                    <a:pt x="108216" y="70512"/>
                  </a:cubicBezTo>
                  <a:cubicBezTo>
                    <a:pt x="163859" y="70512"/>
                    <a:pt x="202630" y="52526"/>
                    <a:pt x="202630" y="36387"/>
                  </a:cubicBezTo>
                  <a:cubicBezTo>
                    <a:pt x="202630" y="28236"/>
                    <a:pt x="200864" y="20629"/>
                    <a:pt x="179182" y="13429"/>
                  </a:cubicBezTo>
                  <a:cubicBezTo>
                    <a:pt x="175577" y="12214"/>
                    <a:pt x="173624" y="8324"/>
                    <a:pt x="174808" y="4707"/>
                  </a:cubicBezTo>
                  <a:cubicBezTo>
                    <a:pt x="176058" y="1118"/>
                    <a:pt x="179938" y="-822"/>
                    <a:pt x="183557" y="333"/>
                  </a:cubicBezTo>
                  <a:cubicBezTo>
                    <a:pt x="206895" y="8104"/>
                    <a:pt x="216405" y="18537"/>
                    <a:pt x="216405" y="36387"/>
                  </a:cubicBezTo>
                  <a:cubicBezTo>
                    <a:pt x="216405" y="63665"/>
                    <a:pt x="169891" y="84232"/>
                    <a:pt x="108216" y="84232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66" name="Graphic 45">
            <a:extLst>
              <a:ext uri="{FF2B5EF4-FFF2-40B4-BE49-F238E27FC236}">
                <a16:creationId xmlns:a16="http://schemas.microsoft.com/office/drawing/2014/main" id="{57ABB70C-068E-D343-90EF-3D0A1E7E9F8C}"/>
              </a:ext>
            </a:extLst>
          </p:cNvPr>
          <p:cNvGrpSpPr/>
          <p:nvPr userDrawn="1"/>
        </p:nvGrpSpPr>
        <p:grpSpPr>
          <a:xfrm>
            <a:off x="5689373" y="642147"/>
            <a:ext cx="306251" cy="299719"/>
            <a:chOff x="7553511" y="350131"/>
            <a:chExt cx="427559" cy="427559"/>
          </a:xfrm>
          <a:solidFill>
            <a:schemeClr val="bg1"/>
          </a:solidFill>
        </p:grpSpPr>
        <p:sp>
          <p:nvSpPr>
            <p:cNvPr id="167" name="Freeform 166">
              <a:extLst>
                <a:ext uri="{FF2B5EF4-FFF2-40B4-BE49-F238E27FC236}">
                  <a16:creationId xmlns:a16="http://schemas.microsoft.com/office/drawing/2014/main" id="{F5DA7661-1D43-6347-9B43-2CDF9B7CED02}"/>
                </a:ext>
              </a:extLst>
            </p:cNvPr>
            <p:cNvSpPr/>
            <p:nvPr/>
          </p:nvSpPr>
          <p:spPr>
            <a:xfrm>
              <a:off x="7558095" y="353574"/>
              <a:ext cx="429336" cy="429338"/>
            </a:xfrm>
            <a:custGeom>
              <a:avLst/>
              <a:gdLst>
                <a:gd name="connsiteX0" fmla="*/ 403120 w 429336"/>
                <a:gd name="connsiteY0" fmla="*/ 26191 h 429338"/>
                <a:gd name="connsiteX1" fmla="*/ 276643 w 429336"/>
                <a:gd name="connsiteY1" fmla="*/ 26191 h 429338"/>
                <a:gd name="connsiteX2" fmla="*/ 26200 w 429336"/>
                <a:gd name="connsiteY2" fmla="*/ 276634 h 429338"/>
                <a:gd name="connsiteX3" fmla="*/ 26200 w 429336"/>
                <a:gd name="connsiteY3" fmla="*/ 403138 h 429338"/>
                <a:gd name="connsiteX4" fmla="*/ 152704 w 429336"/>
                <a:gd name="connsiteY4" fmla="*/ 403138 h 429338"/>
                <a:gd name="connsiteX5" fmla="*/ 403120 w 429336"/>
                <a:gd name="connsiteY5" fmla="*/ 152695 h 429338"/>
                <a:gd name="connsiteX6" fmla="*/ 403173 w 429336"/>
                <a:gd name="connsiteY6" fmla="*/ 26246 h 429338"/>
                <a:gd name="connsiteX7" fmla="*/ 403120 w 429336"/>
                <a:gd name="connsiteY7" fmla="*/ 26191 h 429338"/>
                <a:gd name="connsiteX8" fmla="*/ 140037 w 429336"/>
                <a:gd name="connsiteY8" fmla="*/ 390472 h 429338"/>
                <a:gd name="connsiteX9" fmla="*/ 38840 w 429336"/>
                <a:gd name="connsiteY9" fmla="*/ 389277 h 429338"/>
                <a:gd name="connsiteX10" fmla="*/ 38840 w 429336"/>
                <a:gd name="connsiteY10" fmla="*/ 289274 h 429338"/>
                <a:gd name="connsiteX11" fmla="*/ 158583 w 429336"/>
                <a:gd name="connsiteY11" fmla="*/ 169531 h 429338"/>
                <a:gd name="connsiteX12" fmla="*/ 204278 w 429336"/>
                <a:gd name="connsiteY12" fmla="*/ 225060 h 429338"/>
                <a:gd name="connsiteX13" fmla="*/ 259807 w 429336"/>
                <a:gd name="connsiteY13" fmla="*/ 270728 h 429338"/>
                <a:gd name="connsiteX14" fmla="*/ 390480 w 429336"/>
                <a:gd name="connsiteY14" fmla="*/ 140029 h 429338"/>
                <a:gd name="connsiteX15" fmla="*/ 272688 w 429336"/>
                <a:gd name="connsiteY15" fmla="*/ 257821 h 429338"/>
                <a:gd name="connsiteX16" fmla="*/ 216891 w 429336"/>
                <a:gd name="connsiteY16" fmla="*/ 212393 h 429338"/>
                <a:gd name="connsiteX17" fmla="*/ 171463 w 429336"/>
                <a:gd name="connsiteY17" fmla="*/ 156624 h 429338"/>
                <a:gd name="connsiteX18" fmla="*/ 289362 w 429336"/>
                <a:gd name="connsiteY18" fmla="*/ 38831 h 429338"/>
                <a:gd name="connsiteX19" fmla="*/ 390547 w 429336"/>
                <a:gd name="connsiteY19" fmla="*/ 38844 h 429338"/>
                <a:gd name="connsiteX20" fmla="*/ 390534 w 429336"/>
                <a:gd name="connsiteY20" fmla="*/ 140029 h 429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9336" h="429338">
                  <a:moveTo>
                    <a:pt x="403120" y="26191"/>
                  </a:moveTo>
                  <a:cubicBezTo>
                    <a:pt x="368194" y="-8730"/>
                    <a:pt x="311569" y="-8730"/>
                    <a:pt x="276643" y="26191"/>
                  </a:cubicBezTo>
                  <a:lnTo>
                    <a:pt x="26200" y="276634"/>
                  </a:lnTo>
                  <a:cubicBezTo>
                    <a:pt x="-8733" y="311568"/>
                    <a:pt x="-8733" y="368204"/>
                    <a:pt x="26200" y="403138"/>
                  </a:cubicBezTo>
                  <a:cubicBezTo>
                    <a:pt x="61133" y="438072"/>
                    <a:pt x="117771" y="438072"/>
                    <a:pt x="152704" y="403138"/>
                  </a:cubicBezTo>
                  <a:lnTo>
                    <a:pt x="403120" y="152695"/>
                  </a:lnTo>
                  <a:cubicBezTo>
                    <a:pt x="438054" y="117792"/>
                    <a:pt x="438078" y="61179"/>
                    <a:pt x="403173" y="26246"/>
                  </a:cubicBezTo>
                  <a:cubicBezTo>
                    <a:pt x="403157" y="26228"/>
                    <a:pt x="403139" y="26210"/>
                    <a:pt x="403120" y="26191"/>
                  </a:cubicBezTo>
                  <a:close/>
                  <a:moveTo>
                    <a:pt x="140037" y="390472"/>
                  </a:moveTo>
                  <a:cubicBezTo>
                    <a:pt x="111762" y="418087"/>
                    <a:pt x="66455" y="417552"/>
                    <a:pt x="38840" y="389277"/>
                  </a:cubicBezTo>
                  <a:cubicBezTo>
                    <a:pt x="11684" y="361472"/>
                    <a:pt x="11684" y="317078"/>
                    <a:pt x="38840" y="289274"/>
                  </a:cubicBezTo>
                  <a:lnTo>
                    <a:pt x="158583" y="169531"/>
                  </a:lnTo>
                  <a:cubicBezTo>
                    <a:pt x="171978" y="189478"/>
                    <a:pt x="187282" y="208075"/>
                    <a:pt x="204278" y="225060"/>
                  </a:cubicBezTo>
                  <a:cubicBezTo>
                    <a:pt x="221252" y="242060"/>
                    <a:pt x="239850" y="257356"/>
                    <a:pt x="259807" y="270728"/>
                  </a:cubicBezTo>
                  <a:close/>
                  <a:moveTo>
                    <a:pt x="390480" y="140029"/>
                  </a:moveTo>
                  <a:lnTo>
                    <a:pt x="272688" y="257821"/>
                  </a:lnTo>
                  <a:cubicBezTo>
                    <a:pt x="252587" y="244623"/>
                    <a:pt x="233891" y="229401"/>
                    <a:pt x="216891" y="212393"/>
                  </a:cubicBezTo>
                  <a:cubicBezTo>
                    <a:pt x="199884" y="195403"/>
                    <a:pt x="184662" y="176715"/>
                    <a:pt x="171463" y="156624"/>
                  </a:cubicBezTo>
                  <a:lnTo>
                    <a:pt x="289362" y="38831"/>
                  </a:lnTo>
                  <a:cubicBezTo>
                    <a:pt x="317309" y="10893"/>
                    <a:pt x="362609" y="10899"/>
                    <a:pt x="390547" y="38844"/>
                  </a:cubicBezTo>
                  <a:cubicBezTo>
                    <a:pt x="418485" y="66789"/>
                    <a:pt x="418480" y="112091"/>
                    <a:pt x="390534" y="140029"/>
                  </a:cubicBez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68" name="Freeform 167">
              <a:extLst>
                <a:ext uri="{FF2B5EF4-FFF2-40B4-BE49-F238E27FC236}">
                  <a16:creationId xmlns:a16="http://schemas.microsoft.com/office/drawing/2014/main" id="{172BDC0A-58F9-1C4F-BC2B-0DB988163435}"/>
                </a:ext>
              </a:extLst>
            </p:cNvPr>
            <p:cNvSpPr/>
            <p:nvPr/>
          </p:nvSpPr>
          <p:spPr>
            <a:xfrm>
              <a:off x="7756410" y="389359"/>
              <a:ext cx="182367" cy="131972"/>
            </a:xfrm>
            <a:custGeom>
              <a:avLst/>
              <a:gdLst>
                <a:gd name="connsiteX0" fmla="*/ 141553 w 182367"/>
                <a:gd name="connsiteY0" fmla="*/ 0 h 131972"/>
                <a:gd name="connsiteX1" fmla="*/ 103607 w 182367"/>
                <a:gd name="connsiteY1" fmla="*/ 15686 h 131972"/>
                <a:gd name="connsiteX2" fmla="*/ 103607 w 182367"/>
                <a:gd name="connsiteY2" fmla="*/ 15686 h 131972"/>
                <a:gd name="connsiteX3" fmla="*/ 2409 w 182367"/>
                <a:gd name="connsiteY3" fmla="*/ 116911 h 131972"/>
                <a:gd name="connsiteX4" fmla="*/ 2843 w 182367"/>
                <a:gd name="connsiteY4" fmla="*/ 129563 h 131972"/>
                <a:gd name="connsiteX5" fmla="*/ 15075 w 182367"/>
                <a:gd name="connsiteY5" fmla="*/ 129551 h 131972"/>
                <a:gd name="connsiteX6" fmla="*/ 116273 w 182367"/>
                <a:gd name="connsiteY6" fmla="*/ 28353 h 131972"/>
                <a:gd name="connsiteX7" fmla="*/ 166886 w 182367"/>
                <a:gd name="connsiteY7" fmla="*/ 28353 h 131972"/>
                <a:gd name="connsiteX8" fmla="*/ 179539 w 182367"/>
                <a:gd name="connsiteY8" fmla="*/ 28760 h 131972"/>
                <a:gd name="connsiteX9" fmla="*/ 179945 w 182367"/>
                <a:gd name="connsiteY9" fmla="*/ 16106 h 131972"/>
                <a:gd name="connsiteX10" fmla="*/ 179525 w 182367"/>
                <a:gd name="connsiteY10" fmla="*/ 15686 h 131972"/>
                <a:gd name="connsiteX11" fmla="*/ 141553 w 182367"/>
                <a:gd name="connsiteY11" fmla="*/ 0 h 131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2367" h="131972">
                  <a:moveTo>
                    <a:pt x="141553" y="0"/>
                  </a:moveTo>
                  <a:cubicBezTo>
                    <a:pt x="127320" y="-32"/>
                    <a:pt x="113662" y="5613"/>
                    <a:pt x="103607" y="15686"/>
                  </a:cubicBezTo>
                  <a:lnTo>
                    <a:pt x="103607" y="15686"/>
                  </a:lnTo>
                  <a:lnTo>
                    <a:pt x="2409" y="116911"/>
                  </a:lnTo>
                  <a:cubicBezTo>
                    <a:pt x="-965" y="120524"/>
                    <a:pt x="-771" y="126189"/>
                    <a:pt x="2843" y="129563"/>
                  </a:cubicBezTo>
                  <a:cubicBezTo>
                    <a:pt x="6288" y="132780"/>
                    <a:pt x="11637" y="132775"/>
                    <a:pt x="15075" y="129551"/>
                  </a:cubicBezTo>
                  <a:lnTo>
                    <a:pt x="116273" y="28353"/>
                  </a:lnTo>
                  <a:cubicBezTo>
                    <a:pt x="130254" y="14387"/>
                    <a:pt x="152904" y="14387"/>
                    <a:pt x="166886" y="28353"/>
                  </a:cubicBezTo>
                  <a:cubicBezTo>
                    <a:pt x="170269" y="31959"/>
                    <a:pt x="175934" y="32141"/>
                    <a:pt x="179539" y="28760"/>
                  </a:cubicBezTo>
                  <a:cubicBezTo>
                    <a:pt x="183146" y="25378"/>
                    <a:pt x="183328" y="19713"/>
                    <a:pt x="179945" y="16106"/>
                  </a:cubicBezTo>
                  <a:cubicBezTo>
                    <a:pt x="179811" y="15961"/>
                    <a:pt x="179670" y="15821"/>
                    <a:pt x="179525" y="15686"/>
                  </a:cubicBezTo>
                  <a:cubicBezTo>
                    <a:pt x="169451" y="5624"/>
                    <a:pt x="155790" y="-19"/>
                    <a:pt x="141553" y="0"/>
                  </a:cubicBez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69" name="Freeform 168">
              <a:extLst>
                <a:ext uri="{FF2B5EF4-FFF2-40B4-BE49-F238E27FC236}">
                  <a16:creationId xmlns:a16="http://schemas.microsoft.com/office/drawing/2014/main" id="{C6950B7A-CDB9-FE46-AB72-31D6DAD7F5F4}"/>
                </a:ext>
              </a:extLst>
            </p:cNvPr>
            <p:cNvSpPr/>
            <p:nvPr/>
          </p:nvSpPr>
          <p:spPr>
            <a:xfrm>
              <a:off x="7558095" y="495714"/>
              <a:ext cx="289870" cy="287198"/>
            </a:xfrm>
            <a:custGeom>
              <a:avLst/>
              <a:gdLst>
                <a:gd name="connsiteX0" fmla="*/ 272688 w 289870"/>
                <a:gd name="connsiteY0" fmla="*/ 115681 h 287198"/>
                <a:gd name="connsiteX1" fmla="*/ 216891 w 289870"/>
                <a:gd name="connsiteY1" fmla="*/ 70253 h 287198"/>
                <a:gd name="connsiteX2" fmla="*/ 171463 w 289870"/>
                <a:gd name="connsiteY2" fmla="*/ 14484 h 287198"/>
                <a:gd name="connsiteX3" fmla="*/ 160774 w 289870"/>
                <a:gd name="connsiteY3" fmla="*/ 0 h 287198"/>
                <a:gd name="connsiteX4" fmla="*/ 160774 w 289870"/>
                <a:gd name="connsiteY4" fmla="*/ 0 h 287198"/>
                <a:gd name="connsiteX5" fmla="*/ 26200 w 289870"/>
                <a:gd name="connsiteY5" fmla="*/ 134494 h 287198"/>
                <a:gd name="connsiteX6" fmla="*/ 26200 w 289870"/>
                <a:gd name="connsiteY6" fmla="*/ 260998 h 287198"/>
                <a:gd name="connsiteX7" fmla="*/ 152704 w 289870"/>
                <a:gd name="connsiteY7" fmla="*/ 260998 h 287198"/>
                <a:gd name="connsiteX8" fmla="*/ 289870 w 289870"/>
                <a:gd name="connsiteY8" fmla="*/ 123805 h 287198"/>
                <a:gd name="connsiteX9" fmla="*/ 140037 w 289870"/>
                <a:gd name="connsiteY9" fmla="*/ 248332 h 287198"/>
                <a:gd name="connsiteX10" fmla="*/ 38840 w 289870"/>
                <a:gd name="connsiteY10" fmla="*/ 247137 h 287198"/>
                <a:gd name="connsiteX11" fmla="*/ 38840 w 289870"/>
                <a:gd name="connsiteY11" fmla="*/ 147134 h 287198"/>
                <a:gd name="connsiteX12" fmla="*/ 158583 w 289870"/>
                <a:gd name="connsiteY12" fmla="*/ 27391 h 287198"/>
                <a:gd name="connsiteX13" fmla="*/ 204278 w 289870"/>
                <a:gd name="connsiteY13" fmla="*/ 82920 h 287198"/>
                <a:gd name="connsiteX14" fmla="*/ 259807 w 289870"/>
                <a:gd name="connsiteY14" fmla="*/ 128588 h 287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9870" h="287198">
                  <a:moveTo>
                    <a:pt x="272688" y="115681"/>
                  </a:moveTo>
                  <a:cubicBezTo>
                    <a:pt x="252587" y="102483"/>
                    <a:pt x="233891" y="87261"/>
                    <a:pt x="216891" y="70253"/>
                  </a:cubicBezTo>
                  <a:cubicBezTo>
                    <a:pt x="199884" y="53263"/>
                    <a:pt x="184662" y="34575"/>
                    <a:pt x="171463" y="14484"/>
                  </a:cubicBezTo>
                  <a:lnTo>
                    <a:pt x="160774" y="0"/>
                  </a:lnTo>
                  <a:lnTo>
                    <a:pt x="160774" y="0"/>
                  </a:lnTo>
                  <a:lnTo>
                    <a:pt x="26200" y="134494"/>
                  </a:lnTo>
                  <a:cubicBezTo>
                    <a:pt x="-8733" y="169428"/>
                    <a:pt x="-8733" y="226064"/>
                    <a:pt x="26200" y="260998"/>
                  </a:cubicBezTo>
                  <a:cubicBezTo>
                    <a:pt x="61133" y="295932"/>
                    <a:pt x="117771" y="295932"/>
                    <a:pt x="152704" y="260998"/>
                  </a:cubicBezTo>
                  <a:lnTo>
                    <a:pt x="289870" y="123805"/>
                  </a:lnTo>
                  <a:close/>
                  <a:moveTo>
                    <a:pt x="140037" y="248332"/>
                  </a:moveTo>
                  <a:cubicBezTo>
                    <a:pt x="111762" y="275947"/>
                    <a:pt x="66455" y="275412"/>
                    <a:pt x="38840" y="247137"/>
                  </a:cubicBezTo>
                  <a:cubicBezTo>
                    <a:pt x="11684" y="219332"/>
                    <a:pt x="11684" y="174938"/>
                    <a:pt x="38840" y="147134"/>
                  </a:cubicBezTo>
                  <a:lnTo>
                    <a:pt x="158583" y="27391"/>
                  </a:lnTo>
                  <a:cubicBezTo>
                    <a:pt x="171978" y="47338"/>
                    <a:pt x="187282" y="65935"/>
                    <a:pt x="204278" y="82920"/>
                  </a:cubicBezTo>
                  <a:cubicBezTo>
                    <a:pt x="221252" y="99920"/>
                    <a:pt x="239850" y="115216"/>
                    <a:pt x="259807" y="128588"/>
                  </a:cubicBez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70" name="Graphic 47">
            <a:extLst>
              <a:ext uri="{FF2B5EF4-FFF2-40B4-BE49-F238E27FC236}">
                <a16:creationId xmlns:a16="http://schemas.microsoft.com/office/drawing/2014/main" id="{3DCDF5DE-022F-CF43-B906-FE7B6C6C0EC7}"/>
              </a:ext>
            </a:extLst>
          </p:cNvPr>
          <p:cNvGrpSpPr/>
          <p:nvPr userDrawn="1"/>
        </p:nvGrpSpPr>
        <p:grpSpPr>
          <a:xfrm>
            <a:off x="7420947" y="662395"/>
            <a:ext cx="309574" cy="302971"/>
            <a:chOff x="9970969" y="379016"/>
            <a:chExt cx="432198" cy="432198"/>
          </a:xfrm>
          <a:solidFill>
            <a:schemeClr val="bg1"/>
          </a:solidFill>
        </p:grpSpPr>
        <p:sp>
          <p:nvSpPr>
            <p:cNvPr id="171" name="Freeform 170">
              <a:extLst>
                <a:ext uri="{FF2B5EF4-FFF2-40B4-BE49-F238E27FC236}">
                  <a16:creationId xmlns:a16="http://schemas.microsoft.com/office/drawing/2014/main" id="{BE4C7B98-7C0F-CE47-8201-7B15EEFBBBA0}"/>
                </a:ext>
              </a:extLst>
            </p:cNvPr>
            <p:cNvSpPr/>
            <p:nvPr/>
          </p:nvSpPr>
          <p:spPr>
            <a:xfrm>
              <a:off x="10256435" y="716157"/>
              <a:ext cx="87736" cy="87736"/>
            </a:xfrm>
            <a:custGeom>
              <a:avLst/>
              <a:gdLst>
                <a:gd name="connsiteX0" fmla="*/ 43868 w 87736"/>
                <a:gd name="connsiteY0" fmla="*/ 0 h 87736"/>
                <a:gd name="connsiteX1" fmla="*/ 0 w 87736"/>
                <a:gd name="connsiteY1" fmla="*/ 43868 h 87736"/>
                <a:gd name="connsiteX2" fmla="*/ 43868 w 87736"/>
                <a:gd name="connsiteY2" fmla="*/ 87736 h 87736"/>
                <a:gd name="connsiteX3" fmla="*/ 87736 w 87736"/>
                <a:gd name="connsiteY3" fmla="*/ 43868 h 87736"/>
                <a:gd name="connsiteX4" fmla="*/ 87736 w 87736"/>
                <a:gd name="connsiteY4" fmla="*/ 43733 h 87736"/>
                <a:gd name="connsiteX5" fmla="*/ 43868 w 87736"/>
                <a:gd name="connsiteY5" fmla="*/ 0 h 87736"/>
                <a:gd name="connsiteX6" fmla="*/ 43868 w 87736"/>
                <a:gd name="connsiteY6" fmla="*/ 70232 h 87736"/>
                <a:gd name="connsiteX7" fmla="*/ 17558 w 87736"/>
                <a:gd name="connsiteY7" fmla="*/ 43922 h 87736"/>
                <a:gd name="connsiteX8" fmla="*/ 43868 w 87736"/>
                <a:gd name="connsiteY8" fmla="*/ 17612 h 87736"/>
                <a:gd name="connsiteX9" fmla="*/ 70178 w 87736"/>
                <a:gd name="connsiteY9" fmla="*/ 43922 h 87736"/>
                <a:gd name="connsiteX10" fmla="*/ 43868 w 87736"/>
                <a:gd name="connsiteY10" fmla="*/ 70151 h 8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736" h="87736">
                  <a:moveTo>
                    <a:pt x="43868" y="0"/>
                  </a:moveTo>
                  <a:cubicBezTo>
                    <a:pt x="19641" y="0"/>
                    <a:pt x="0" y="19641"/>
                    <a:pt x="0" y="43868"/>
                  </a:cubicBezTo>
                  <a:cubicBezTo>
                    <a:pt x="0" y="68095"/>
                    <a:pt x="19641" y="87736"/>
                    <a:pt x="43868" y="87736"/>
                  </a:cubicBezTo>
                  <a:cubicBezTo>
                    <a:pt x="68095" y="87736"/>
                    <a:pt x="87736" y="68095"/>
                    <a:pt x="87736" y="43868"/>
                  </a:cubicBezTo>
                  <a:cubicBezTo>
                    <a:pt x="87736" y="43822"/>
                    <a:pt x="87736" y="43779"/>
                    <a:pt x="87736" y="43733"/>
                  </a:cubicBezTo>
                  <a:cubicBezTo>
                    <a:pt x="87647" y="19565"/>
                    <a:pt x="68036" y="13"/>
                    <a:pt x="43868" y="0"/>
                  </a:cubicBezTo>
                  <a:close/>
                  <a:moveTo>
                    <a:pt x="43868" y="70232"/>
                  </a:moveTo>
                  <a:cubicBezTo>
                    <a:pt x="29338" y="70232"/>
                    <a:pt x="17558" y="58452"/>
                    <a:pt x="17558" y="43922"/>
                  </a:cubicBezTo>
                  <a:cubicBezTo>
                    <a:pt x="17558" y="29392"/>
                    <a:pt x="29338" y="17612"/>
                    <a:pt x="43868" y="17612"/>
                  </a:cubicBezTo>
                  <a:cubicBezTo>
                    <a:pt x="58398" y="17612"/>
                    <a:pt x="70178" y="29392"/>
                    <a:pt x="70178" y="43922"/>
                  </a:cubicBezTo>
                  <a:cubicBezTo>
                    <a:pt x="70119" y="58414"/>
                    <a:pt x="58360" y="70138"/>
                    <a:pt x="43868" y="70151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72" name="Freeform 171">
              <a:extLst>
                <a:ext uri="{FF2B5EF4-FFF2-40B4-BE49-F238E27FC236}">
                  <a16:creationId xmlns:a16="http://schemas.microsoft.com/office/drawing/2014/main" id="{C15B5503-8357-044F-8324-6873C0AC7995}"/>
                </a:ext>
              </a:extLst>
            </p:cNvPr>
            <p:cNvSpPr/>
            <p:nvPr/>
          </p:nvSpPr>
          <p:spPr>
            <a:xfrm>
              <a:off x="10081017" y="716157"/>
              <a:ext cx="87736" cy="87736"/>
            </a:xfrm>
            <a:custGeom>
              <a:avLst/>
              <a:gdLst>
                <a:gd name="connsiteX0" fmla="*/ 43922 w 87736"/>
                <a:gd name="connsiteY0" fmla="*/ 0 h 87736"/>
                <a:gd name="connsiteX1" fmla="*/ 0 w 87736"/>
                <a:gd name="connsiteY1" fmla="*/ 43814 h 87736"/>
                <a:gd name="connsiteX2" fmla="*/ 43814 w 87736"/>
                <a:gd name="connsiteY2" fmla="*/ 87736 h 87736"/>
                <a:gd name="connsiteX3" fmla="*/ 87736 w 87736"/>
                <a:gd name="connsiteY3" fmla="*/ 43922 h 87736"/>
                <a:gd name="connsiteX4" fmla="*/ 87736 w 87736"/>
                <a:gd name="connsiteY4" fmla="*/ 43733 h 87736"/>
                <a:gd name="connsiteX5" fmla="*/ 43922 w 87736"/>
                <a:gd name="connsiteY5" fmla="*/ 0 h 87736"/>
                <a:gd name="connsiteX6" fmla="*/ 43922 w 87736"/>
                <a:gd name="connsiteY6" fmla="*/ 70232 h 87736"/>
                <a:gd name="connsiteX7" fmla="*/ 17612 w 87736"/>
                <a:gd name="connsiteY7" fmla="*/ 43922 h 87736"/>
                <a:gd name="connsiteX8" fmla="*/ 43922 w 87736"/>
                <a:gd name="connsiteY8" fmla="*/ 17612 h 87736"/>
                <a:gd name="connsiteX9" fmla="*/ 70232 w 87736"/>
                <a:gd name="connsiteY9" fmla="*/ 43922 h 87736"/>
                <a:gd name="connsiteX10" fmla="*/ 43922 w 87736"/>
                <a:gd name="connsiteY10" fmla="*/ 70151 h 8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736" h="87736">
                  <a:moveTo>
                    <a:pt x="43922" y="0"/>
                  </a:moveTo>
                  <a:cubicBezTo>
                    <a:pt x="19694" y="-30"/>
                    <a:pt x="30" y="19587"/>
                    <a:pt x="0" y="43814"/>
                  </a:cubicBezTo>
                  <a:cubicBezTo>
                    <a:pt x="-30" y="68042"/>
                    <a:pt x="19587" y="87707"/>
                    <a:pt x="43814" y="87736"/>
                  </a:cubicBezTo>
                  <a:cubicBezTo>
                    <a:pt x="68042" y="87766"/>
                    <a:pt x="87707" y="68150"/>
                    <a:pt x="87736" y="43922"/>
                  </a:cubicBezTo>
                  <a:cubicBezTo>
                    <a:pt x="87736" y="43860"/>
                    <a:pt x="87736" y="43795"/>
                    <a:pt x="87736" y="43733"/>
                  </a:cubicBezTo>
                  <a:cubicBezTo>
                    <a:pt x="87647" y="19584"/>
                    <a:pt x="68070" y="43"/>
                    <a:pt x="43922" y="0"/>
                  </a:cubicBezTo>
                  <a:close/>
                  <a:moveTo>
                    <a:pt x="43922" y="70232"/>
                  </a:moveTo>
                  <a:cubicBezTo>
                    <a:pt x="29391" y="70232"/>
                    <a:pt x="17612" y="58452"/>
                    <a:pt x="17612" y="43922"/>
                  </a:cubicBezTo>
                  <a:cubicBezTo>
                    <a:pt x="17612" y="29392"/>
                    <a:pt x="29391" y="17612"/>
                    <a:pt x="43922" y="17612"/>
                  </a:cubicBezTo>
                  <a:cubicBezTo>
                    <a:pt x="58453" y="17612"/>
                    <a:pt x="70232" y="29392"/>
                    <a:pt x="70232" y="43922"/>
                  </a:cubicBezTo>
                  <a:cubicBezTo>
                    <a:pt x="70173" y="58414"/>
                    <a:pt x="58415" y="70138"/>
                    <a:pt x="43922" y="70151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73" name="Freeform 172">
              <a:extLst>
                <a:ext uri="{FF2B5EF4-FFF2-40B4-BE49-F238E27FC236}">
                  <a16:creationId xmlns:a16="http://schemas.microsoft.com/office/drawing/2014/main" id="{9BE9F52F-18BB-B746-8333-E879B41FCECE}"/>
                </a:ext>
              </a:extLst>
            </p:cNvPr>
            <p:cNvSpPr/>
            <p:nvPr/>
          </p:nvSpPr>
          <p:spPr>
            <a:xfrm>
              <a:off x="9975209" y="417873"/>
              <a:ext cx="421617" cy="280740"/>
            </a:xfrm>
            <a:custGeom>
              <a:avLst/>
              <a:gdLst>
                <a:gd name="connsiteX0" fmla="*/ 419449 w 421617"/>
                <a:gd name="connsiteY0" fmla="*/ 55686 h 280740"/>
                <a:gd name="connsiteX1" fmla="*/ 412804 w 421617"/>
                <a:gd name="connsiteY1" fmla="*/ 52661 h 280740"/>
                <a:gd name="connsiteX2" fmla="*/ 79687 w 421617"/>
                <a:gd name="connsiteY2" fmla="*/ 52661 h 280740"/>
                <a:gd name="connsiteX3" fmla="*/ 70557 w 421617"/>
                <a:gd name="connsiteY3" fmla="*/ 7064 h 280740"/>
                <a:gd name="connsiteX4" fmla="*/ 61967 w 421617"/>
                <a:gd name="connsiteY4" fmla="*/ 14 h 280740"/>
                <a:gd name="connsiteX5" fmla="*/ 9266 w 421617"/>
                <a:gd name="connsiteY5" fmla="*/ 14 h 280740"/>
                <a:gd name="connsiteX6" fmla="*/ 14 w 421617"/>
                <a:gd name="connsiteY6" fmla="*/ 8292 h 280740"/>
                <a:gd name="connsiteX7" fmla="*/ 8292 w 421617"/>
                <a:gd name="connsiteY7" fmla="*/ 17545 h 280740"/>
                <a:gd name="connsiteX8" fmla="*/ 9266 w 421617"/>
                <a:gd name="connsiteY8" fmla="*/ 17545 h 280740"/>
                <a:gd name="connsiteX9" fmla="*/ 54782 w 421617"/>
                <a:gd name="connsiteY9" fmla="*/ 17545 h 280740"/>
                <a:gd name="connsiteX10" fmla="*/ 97515 w 421617"/>
                <a:gd name="connsiteY10" fmla="*/ 231348 h 280740"/>
                <a:gd name="connsiteX11" fmla="*/ 157834 w 421617"/>
                <a:gd name="connsiteY11" fmla="*/ 280726 h 280740"/>
                <a:gd name="connsiteX12" fmla="*/ 377715 w 421617"/>
                <a:gd name="connsiteY12" fmla="*/ 280726 h 280740"/>
                <a:gd name="connsiteX13" fmla="*/ 386967 w 421617"/>
                <a:gd name="connsiteY13" fmla="*/ 272447 h 280740"/>
                <a:gd name="connsiteX14" fmla="*/ 378687 w 421617"/>
                <a:gd name="connsiteY14" fmla="*/ 263195 h 280740"/>
                <a:gd name="connsiteX15" fmla="*/ 377715 w 421617"/>
                <a:gd name="connsiteY15" fmla="*/ 263195 h 280740"/>
                <a:gd name="connsiteX16" fmla="*/ 157834 w 421617"/>
                <a:gd name="connsiteY16" fmla="*/ 263195 h 280740"/>
                <a:gd name="connsiteX17" fmla="*/ 114614 w 421617"/>
                <a:gd name="connsiteY17" fmla="*/ 227944 h 280740"/>
                <a:gd name="connsiteX18" fmla="*/ 114614 w 421617"/>
                <a:gd name="connsiteY18" fmla="*/ 227134 h 280740"/>
                <a:gd name="connsiteX19" fmla="*/ 383009 w 421617"/>
                <a:gd name="connsiteY19" fmla="*/ 194557 h 280740"/>
                <a:gd name="connsiteX20" fmla="*/ 405889 w 421617"/>
                <a:gd name="connsiteY20" fmla="*/ 172164 h 280740"/>
                <a:gd name="connsiteX21" fmla="*/ 421529 w 421617"/>
                <a:gd name="connsiteY21" fmla="*/ 62682 h 280740"/>
                <a:gd name="connsiteX22" fmla="*/ 419449 w 421617"/>
                <a:gd name="connsiteY22" fmla="*/ 55686 h 280740"/>
                <a:gd name="connsiteX23" fmla="*/ 396191 w 421617"/>
                <a:gd name="connsiteY23" fmla="*/ 115654 h 280740"/>
                <a:gd name="connsiteX24" fmla="*/ 303836 w 421617"/>
                <a:gd name="connsiteY24" fmla="*/ 121569 h 280740"/>
                <a:gd name="connsiteX25" fmla="*/ 305754 w 421617"/>
                <a:gd name="connsiteY25" fmla="*/ 70246 h 280740"/>
                <a:gd name="connsiteX26" fmla="*/ 402674 w 421617"/>
                <a:gd name="connsiteY26" fmla="*/ 70246 h 280740"/>
                <a:gd name="connsiteX27" fmla="*/ 209158 w 421617"/>
                <a:gd name="connsiteY27" fmla="*/ 127647 h 280740"/>
                <a:gd name="connsiteX28" fmla="*/ 206997 w 421617"/>
                <a:gd name="connsiteY28" fmla="*/ 70219 h 280740"/>
                <a:gd name="connsiteX29" fmla="*/ 295786 w 421617"/>
                <a:gd name="connsiteY29" fmla="*/ 70219 h 280740"/>
                <a:gd name="connsiteX30" fmla="*/ 293841 w 421617"/>
                <a:gd name="connsiteY30" fmla="*/ 122218 h 280740"/>
                <a:gd name="connsiteX31" fmla="*/ 293490 w 421617"/>
                <a:gd name="connsiteY31" fmla="*/ 132131 h 280740"/>
                <a:gd name="connsiteX32" fmla="*/ 291491 w 421617"/>
                <a:gd name="connsiteY32" fmla="*/ 188047 h 280740"/>
                <a:gd name="connsiteX33" fmla="*/ 211859 w 421617"/>
                <a:gd name="connsiteY33" fmla="*/ 197636 h 280740"/>
                <a:gd name="connsiteX34" fmla="*/ 209644 w 421617"/>
                <a:gd name="connsiteY34" fmla="*/ 137480 h 280740"/>
                <a:gd name="connsiteX35" fmla="*/ 197245 w 421617"/>
                <a:gd name="connsiteY35" fmla="*/ 70219 h 280740"/>
                <a:gd name="connsiteX36" fmla="*/ 199433 w 421617"/>
                <a:gd name="connsiteY36" fmla="*/ 128268 h 280740"/>
                <a:gd name="connsiteX37" fmla="*/ 96111 w 421617"/>
                <a:gd name="connsiteY37" fmla="*/ 134887 h 280740"/>
                <a:gd name="connsiteX38" fmla="*/ 83199 w 421617"/>
                <a:gd name="connsiteY38" fmla="*/ 70219 h 280740"/>
                <a:gd name="connsiteX39" fmla="*/ 98056 w 421617"/>
                <a:gd name="connsiteY39" fmla="*/ 144611 h 280740"/>
                <a:gd name="connsiteX40" fmla="*/ 199784 w 421617"/>
                <a:gd name="connsiteY40" fmla="*/ 138128 h 280740"/>
                <a:gd name="connsiteX41" fmla="*/ 202080 w 421617"/>
                <a:gd name="connsiteY41" fmla="*/ 198852 h 280740"/>
                <a:gd name="connsiteX42" fmla="*/ 111130 w 421617"/>
                <a:gd name="connsiteY42" fmla="*/ 209873 h 280740"/>
                <a:gd name="connsiteX43" fmla="*/ 380875 w 421617"/>
                <a:gd name="connsiteY43" fmla="*/ 177242 h 280740"/>
                <a:gd name="connsiteX44" fmla="*/ 301405 w 421617"/>
                <a:gd name="connsiteY44" fmla="*/ 186858 h 280740"/>
                <a:gd name="connsiteX45" fmla="*/ 303485 w 421617"/>
                <a:gd name="connsiteY45" fmla="*/ 131564 h 280740"/>
                <a:gd name="connsiteX46" fmla="*/ 394787 w 421617"/>
                <a:gd name="connsiteY46" fmla="*/ 125729 h 280740"/>
                <a:gd name="connsiteX47" fmla="*/ 388520 w 421617"/>
                <a:gd name="connsiteY47" fmla="*/ 169678 h 280740"/>
                <a:gd name="connsiteX48" fmla="*/ 380875 w 421617"/>
                <a:gd name="connsiteY48" fmla="*/ 177242 h 280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21617" h="280740">
                  <a:moveTo>
                    <a:pt x="419449" y="55686"/>
                  </a:moveTo>
                  <a:cubicBezTo>
                    <a:pt x="417774" y="53767"/>
                    <a:pt x="415351" y="52664"/>
                    <a:pt x="412804" y="52661"/>
                  </a:cubicBezTo>
                  <a:lnTo>
                    <a:pt x="79687" y="52661"/>
                  </a:lnTo>
                  <a:lnTo>
                    <a:pt x="70557" y="7064"/>
                  </a:lnTo>
                  <a:cubicBezTo>
                    <a:pt x="69745" y="2964"/>
                    <a:pt x="66147" y="11"/>
                    <a:pt x="61967" y="14"/>
                  </a:cubicBezTo>
                  <a:lnTo>
                    <a:pt x="9266" y="14"/>
                  </a:lnTo>
                  <a:cubicBezTo>
                    <a:pt x="4425" y="-255"/>
                    <a:pt x="283" y="3451"/>
                    <a:pt x="14" y="8292"/>
                  </a:cubicBezTo>
                  <a:cubicBezTo>
                    <a:pt x="-255" y="13134"/>
                    <a:pt x="3451" y="17276"/>
                    <a:pt x="8292" y="17545"/>
                  </a:cubicBezTo>
                  <a:cubicBezTo>
                    <a:pt x="8617" y="17563"/>
                    <a:pt x="8942" y="17563"/>
                    <a:pt x="9266" y="17545"/>
                  </a:cubicBezTo>
                  <a:lnTo>
                    <a:pt x="54782" y="17545"/>
                  </a:lnTo>
                  <a:lnTo>
                    <a:pt x="97515" y="231348"/>
                  </a:lnTo>
                  <a:cubicBezTo>
                    <a:pt x="103322" y="260056"/>
                    <a:pt x="128544" y="280705"/>
                    <a:pt x="157834" y="280726"/>
                  </a:cubicBezTo>
                  <a:lnTo>
                    <a:pt x="377715" y="280726"/>
                  </a:lnTo>
                  <a:cubicBezTo>
                    <a:pt x="382555" y="280996"/>
                    <a:pt x="386699" y="277288"/>
                    <a:pt x="386967" y="272447"/>
                  </a:cubicBezTo>
                  <a:cubicBezTo>
                    <a:pt x="387237" y="267606"/>
                    <a:pt x="383531" y="263465"/>
                    <a:pt x="378687" y="263195"/>
                  </a:cubicBezTo>
                  <a:cubicBezTo>
                    <a:pt x="378363" y="263176"/>
                    <a:pt x="378039" y="263176"/>
                    <a:pt x="377715" y="263195"/>
                  </a:cubicBezTo>
                  <a:lnTo>
                    <a:pt x="157834" y="263195"/>
                  </a:lnTo>
                  <a:cubicBezTo>
                    <a:pt x="136870" y="263241"/>
                    <a:pt x="118784" y="248490"/>
                    <a:pt x="114614" y="227944"/>
                  </a:cubicBezTo>
                  <a:lnTo>
                    <a:pt x="114614" y="227134"/>
                  </a:lnTo>
                  <a:lnTo>
                    <a:pt x="383009" y="194557"/>
                  </a:lnTo>
                  <a:cubicBezTo>
                    <a:pt x="394819" y="193116"/>
                    <a:pt x="404195" y="183939"/>
                    <a:pt x="405889" y="172164"/>
                  </a:cubicBezTo>
                  <a:lnTo>
                    <a:pt x="421529" y="62682"/>
                  </a:lnTo>
                  <a:cubicBezTo>
                    <a:pt x="421891" y="60158"/>
                    <a:pt x="421132" y="57602"/>
                    <a:pt x="419449" y="55686"/>
                  </a:cubicBezTo>
                  <a:close/>
                  <a:moveTo>
                    <a:pt x="396191" y="115654"/>
                  </a:moveTo>
                  <a:lnTo>
                    <a:pt x="303836" y="121569"/>
                  </a:lnTo>
                  <a:lnTo>
                    <a:pt x="305754" y="70246"/>
                  </a:lnTo>
                  <a:lnTo>
                    <a:pt x="402674" y="70246"/>
                  </a:lnTo>
                  <a:close/>
                  <a:moveTo>
                    <a:pt x="209158" y="127647"/>
                  </a:moveTo>
                  <a:lnTo>
                    <a:pt x="206997" y="70219"/>
                  </a:lnTo>
                  <a:lnTo>
                    <a:pt x="295786" y="70219"/>
                  </a:lnTo>
                  <a:lnTo>
                    <a:pt x="293841" y="122218"/>
                  </a:lnTo>
                  <a:close/>
                  <a:moveTo>
                    <a:pt x="293490" y="132131"/>
                  </a:moveTo>
                  <a:lnTo>
                    <a:pt x="291491" y="188047"/>
                  </a:lnTo>
                  <a:lnTo>
                    <a:pt x="211859" y="197636"/>
                  </a:lnTo>
                  <a:lnTo>
                    <a:pt x="209644" y="137480"/>
                  </a:lnTo>
                  <a:close/>
                  <a:moveTo>
                    <a:pt x="197245" y="70219"/>
                  </a:moveTo>
                  <a:lnTo>
                    <a:pt x="199433" y="128268"/>
                  </a:lnTo>
                  <a:lnTo>
                    <a:pt x="96111" y="134887"/>
                  </a:lnTo>
                  <a:lnTo>
                    <a:pt x="83199" y="70219"/>
                  </a:lnTo>
                  <a:close/>
                  <a:moveTo>
                    <a:pt x="98056" y="144611"/>
                  </a:moveTo>
                  <a:lnTo>
                    <a:pt x="199784" y="138128"/>
                  </a:lnTo>
                  <a:lnTo>
                    <a:pt x="202080" y="198852"/>
                  </a:lnTo>
                  <a:lnTo>
                    <a:pt x="111130" y="209873"/>
                  </a:lnTo>
                  <a:close/>
                  <a:moveTo>
                    <a:pt x="380875" y="177242"/>
                  </a:moveTo>
                  <a:lnTo>
                    <a:pt x="301405" y="186858"/>
                  </a:lnTo>
                  <a:lnTo>
                    <a:pt x="303485" y="131564"/>
                  </a:lnTo>
                  <a:lnTo>
                    <a:pt x="394787" y="125729"/>
                  </a:lnTo>
                  <a:lnTo>
                    <a:pt x="388520" y="169678"/>
                  </a:lnTo>
                  <a:cubicBezTo>
                    <a:pt x="387977" y="173639"/>
                    <a:pt x="384841" y="176741"/>
                    <a:pt x="380875" y="177242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74" name="Graphic 49">
            <a:extLst>
              <a:ext uri="{FF2B5EF4-FFF2-40B4-BE49-F238E27FC236}">
                <a16:creationId xmlns:a16="http://schemas.microsoft.com/office/drawing/2014/main" id="{99E14E2F-B00D-4440-A2A9-2F4C00C7D7AD}"/>
              </a:ext>
            </a:extLst>
          </p:cNvPr>
          <p:cNvGrpSpPr/>
          <p:nvPr userDrawn="1"/>
        </p:nvGrpSpPr>
        <p:grpSpPr>
          <a:xfrm>
            <a:off x="4885829" y="642147"/>
            <a:ext cx="196876" cy="299719"/>
            <a:chOff x="6431679" y="350131"/>
            <a:chExt cx="274860" cy="427559"/>
          </a:xfrm>
          <a:solidFill>
            <a:schemeClr val="bg1"/>
          </a:solidFill>
        </p:grpSpPr>
        <p:sp>
          <p:nvSpPr>
            <p:cNvPr id="175" name="Freeform 174">
              <a:extLst>
                <a:ext uri="{FF2B5EF4-FFF2-40B4-BE49-F238E27FC236}">
                  <a16:creationId xmlns:a16="http://schemas.microsoft.com/office/drawing/2014/main" id="{D1896697-4718-7B4B-9CB0-0290A9CA2D3E}"/>
                </a:ext>
              </a:extLst>
            </p:cNvPr>
            <p:cNvSpPr/>
            <p:nvPr/>
          </p:nvSpPr>
          <p:spPr>
            <a:xfrm>
              <a:off x="6438275" y="350122"/>
              <a:ext cx="267163" cy="428129"/>
            </a:xfrm>
            <a:custGeom>
              <a:avLst/>
              <a:gdLst>
                <a:gd name="connsiteX0" fmla="*/ 133032 w 267163"/>
                <a:gd name="connsiteY0" fmla="*/ 8 h 428129"/>
                <a:gd name="connsiteX1" fmla="*/ 140728 w 267163"/>
                <a:gd name="connsiteY1" fmla="*/ 4509 h 428129"/>
                <a:gd name="connsiteX2" fmla="*/ 267164 w 267163"/>
                <a:gd name="connsiteY2" fmla="*/ 291424 h 428129"/>
                <a:gd name="connsiteX3" fmla="*/ 133582 w 267163"/>
                <a:gd name="connsiteY3" fmla="*/ 428130 h 428129"/>
                <a:gd name="connsiteX4" fmla="*/ 0 w 267163"/>
                <a:gd name="connsiteY4" fmla="*/ 291424 h 428129"/>
                <a:gd name="connsiteX5" fmla="*/ 126436 w 267163"/>
                <a:gd name="connsiteY5" fmla="*/ 4509 h 428129"/>
                <a:gd name="connsiteX6" fmla="*/ 133032 w 267163"/>
                <a:gd name="connsiteY6" fmla="*/ 8 h 428129"/>
                <a:gd name="connsiteX7" fmla="*/ 133032 w 267163"/>
                <a:gd name="connsiteY7" fmla="*/ 410690 h 428129"/>
                <a:gd name="connsiteX8" fmla="*/ 249573 w 267163"/>
                <a:gd name="connsiteY8" fmla="*/ 291424 h 428129"/>
                <a:gd name="connsiteX9" fmla="*/ 133032 w 267163"/>
                <a:gd name="connsiteY9" fmla="*/ 25887 h 428129"/>
                <a:gd name="connsiteX10" fmla="*/ 16492 w 267163"/>
                <a:gd name="connsiteY10" fmla="*/ 291424 h 428129"/>
                <a:gd name="connsiteX11" fmla="*/ 133032 w 267163"/>
                <a:gd name="connsiteY11" fmla="*/ 410690 h 428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7163" h="428129">
                  <a:moveTo>
                    <a:pt x="133032" y="8"/>
                  </a:moveTo>
                  <a:cubicBezTo>
                    <a:pt x="136232" y="-136"/>
                    <a:pt x="139225" y="1615"/>
                    <a:pt x="140728" y="4509"/>
                  </a:cubicBezTo>
                  <a:cubicBezTo>
                    <a:pt x="146226" y="13510"/>
                    <a:pt x="267164" y="219414"/>
                    <a:pt x="267164" y="291424"/>
                  </a:cubicBezTo>
                  <a:cubicBezTo>
                    <a:pt x="267164" y="366925"/>
                    <a:pt x="207358" y="428130"/>
                    <a:pt x="133582" y="428130"/>
                  </a:cubicBezTo>
                  <a:cubicBezTo>
                    <a:pt x="59807" y="428130"/>
                    <a:pt x="0" y="366925"/>
                    <a:pt x="0" y="291424"/>
                  </a:cubicBezTo>
                  <a:cubicBezTo>
                    <a:pt x="0" y="219414"/>
                    <a:pt x="120938" y="13510"/>
                    <a:pt x="126436" y="4509"/>
                  </a:cubicBezTo>
                  <a:cubicBezTo>
                    <a:pt x="127840" y="2049"/>
                    <a:pt x="130274" y="389"/>
                    <a:pt x="133032" y="8"/>
                  </a:cubicBezTo>
                  <a:close/>
                  <a:moveTo>
                    <a:pt x="133032" y="410690"/>
                  </a:moveTo>
                  <a:cubicBezTo>
                    <a:pt x="197384" y="410658"/>
                    <a:pt x="249542" y="357280"/>
                    <a:pt x="249573" y="291424"/>
                  </a:cubicBezTo>
                  <a:cubicBezTo>
                    <a:pt x="249573" y="232915"/>
                    <a:pt x="159419" y="72018"/>
                    <a:pt x="133032" y="25887"/>
                  </a:cubicBezTo>
                  <a:cubicBezTo>
                    <a:pt x="106646" y="72018"/>
                    <a:pt x="16492" y="232915"/>
                    <a:pt x="16492" y="291424"/>
                  </a:cubicBezTo>
                  <a:cubicBezTo>
                    <a:pt x="16522" y="357280"/>
                    <a:pt x="68681" y="410658"/>
                    <a:pt x="133032" y="410690"/>
                  </a:cubicBezTo>
                  <a:close/>
                </a:path>
              </a:pathLst>
            </a:custGeom>
            <a:grpFill/>
            <a:ln w="1066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76" name="Freeform 175">
              <a:extLst>
                <a:ext uri="{FF2B5EF4-FFF2-40B4-BE49-F238E27FC236}">
                  <a16:creationId xmlns:a16="http://schemas.microsoft.com/office/drawing/2014/main" id="{44EF0922-BECE-C44C-BC01-4F196AD3D1C5}"/>
                </a:ext>
              </a:extLst>
            </p:cNvPr>
            <p:cNvSpPr/>
            <p:nvPr/>
          </p:nvSpPr>
          <p:spPr>
            <a:xfrm>
              <a:off x="6474553" y="631419"/>
              <a:ext cx="103352" cy="106890"/>
            </a:xfrm>
            <a:custGeom>
              <a:avLst/>
              <a:gdLst>
                <a:gd name="connsiteX0" fmla="*/ 103351 w 103352"/>
                <a:gd name="connsiteY0" fmla="*/ 97889 h 106890"/>
                <a:gd name="connsiteX1" fmla="*/ 94800 w 103352"/>
                <a:gd name="connsiteY1" fmla="*/ 106890 h 106890"/>
                <a:gd name="connsiteX2" fmla="*/ 94556 w 103352"/>
                <a:gd name="connsiteY2" fmla="*/ 106890 h 106890"/>
                <a:gd name="connsiteX3" fmla="*/ 0 w 103352"/>
                <a:gd name="connsiteY3" fmla="*/ 9658 h 106890"/>
                <a:gd name="connsiteX4" fmla="*/ 4 w 103352"/>
                <a:gd name="connsiteY4" fmla="*/ 9001 h 106890"/>
                <a:gd name="connsiteX5" fmla="*/ 8800 w 103352"/>
                <a:gd name="connsiteY5" fmla="*/ 0 h 106890"/>
                <a:gd name="connsiteX6" fmla="*/ 17595 w 103352"/>
                <a:gd name="connsiteY6" fmla="*/ 9001 h 106890"/>
                <a:gd name="connsiteX7" fmla="*/ 95655 w 103352"/>
                <a:gd name="connsiteY7" fmla="*/ 90012 h 106890"/>
                <a:gd name="connsiteX8" fmla="*/ 103351 w 103352"/>
                <a:gd name="connsiteY8" fmla="*/ 97889 h 106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352" h="106890">
                  <a:moveTo>
                    <a:pt x="103351" y="97889"/>
                  </a:moveTo>
                  <a:cubicBezTo>
                    <a:pt x="103418" y="102791"/>
                    <a:pt x="99590" y="106821"/>
                    <a:pt x="94800" y="106890"/>
                  </a:cubicBezTo>
                  <a:cubicBezTo>
                    <a:pt x="94719" y="106891"/>
                    <a:pt x="94637" y="106891"/>
                    <a:pt x="94556" y="106890"/>
                  </a:cubicBezTo>
                  <a:cubicBezTo>
                    <a:pt x="42209" y="106762"/>
                    <a:pt x="-125" y="63229"/>
                    <a:pt x="0" y="9658"/>
                  </a:cubicBezTo>
                  <a:cubicBezTo>
                    <a:pt x="1" y="9439"/>
                    <a:pt x="2" y="9221"/>
                    <a:pt x="4" y="9001"/>
                  </a:cubicBezTo>
                  <a:cubicBezTo>
                    <a:pt x="4" y="4030"/>
                    <a:pt x="3942" y="0"/>
                    <a:pt x="8800" y="0"/>
                  </a:cubicBezTo>
                  <a:cubicBezTo>
                    <a:pt x="13657" y="0"/>
                    <a:pt x="17595" y="4030"/>
                    <a:pt x="17595" y="9001"/>
                  </a:cubicBezTo>
                  <a:cubicBezTo>
                    <a:pt x="17674" y="53272"/>
                    <a:pt x="52402" y="89313"/>
                    <a:pt x="95655" y="90012"/>
                  </a:cubicBezTo>
                  <a:cubicBezTo>
                    <a:pt x="99788" y="90291"/>
                    <a:pt x="103079" y="93659"/>
                    <a:pt x="103351" y="97889"/>
                  </a:cubicBezTo>
                  <a:close/>
                </a:path>
              </a:pathLst>
            </a:custGeom>
            <a:grpFill/>
            <a:ln w="1066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77" name="Freeform 176">
              <a:extLst>
                <a:ext uri="{FF2B5EF4-FFF2-40B4-BE49-F238E27FC236}">
                  <a16:creationId xmlns:a16="http://schemas.microsoft.com/office/drawing/2014/main" id="{0F8744DD-67AF-D24C-B5CA-1C9AFE19B81F}"/>
                </a:ext>
              </a:extLst>
            </p:cNvPr>
            <p:cNvSpPr/>
            <p:nvPr/>
          </p:nvSpPr>
          <p:spPr>
            <a:xfrm>
              <a:off x="6498716" y="556034"/>
              <a:ext cx="47249" cy="56257"/>
            </a:xfrm>
            <a:custGeom>
              <a:avLst/>
              <a:gdLst>
                <a:gd name="connsiteX0" fmla="*/ 28 w 47249"/>
                <a:gd name="connsiteY0" fmla="*/ 12377 h 56257"/>
                <a:gd name="connsiteX1" fmla="*/ 12067 w 47249"/>
                <a:gd name="connsiteY1" fmla="*/ 2307 h 56257"/>
                <a:gd name="connsiteX2" fmla="*/ 21907 w 47249"/>
                <a:gd name="connsiteY2" fmla="*/ 14627 h 56257"/>
                <a:gd name="connsiteX3" fmla="*/ 11022 w 47249"/>
                <a:gd name="connsiteY3" fmla="*/ 24753 h 56257"/>
                <a:gd name="connsiteX4" fmla="*/ 4 w 47249"/>
                <a:gd name="connsiteY4" fmla="*/ 12904 h 56257"/>
                <a:gd name="connsiteX5" fmla="*/ 28 w 47249"/>
                <a:gd name="connsiteY5" fmla="*/ 12377 h 56257"/>
                <a:gd name="connsiteX6" fmla="*/ 15420 w 47249"/>
                <a:gd name="connsiteY6" fmla="*/ 12377 h 56257"/>
                <a:gd name="connsiteX7" fmla="*/ 12122 w 47249"/>
                <a:gd name="connsiteY7" fmla="*/ 7876 h 56257"/>
                <a:gd name="connsiteX8" fmla="*/ 8824 w 47249"/>
                <a:gd name="connsiteY8" fmla="*/ 12377 h 56257"/>
                <a:gd name="connsiteX9" fmla="*/ 12122 w 47249"/>
                <a:gd name="connsiteY9" fmla="*/ 16877 h 56257"/>
                <a:gd name="connsiteX10" fmla="*/ 15420 w 47249"/>
                <a:gd name="connsiteY10" fmla="*/ 12377 h 56257"/>
                <a:gd name="connsiteX11" fmla="*/ 33011 w 47249"/>
                <a:gd name="connsiteY11" fmla="*/ 2250 h 56257"/>
                <a:gd name="connsiteX12" fmla="*/ 36310 w 47249"/>
                <a:gd name="connsiteY12" fmla="*/ 0 h 56257"/>
                <a:gd name="connsiteX13" fmla="*/ 40707 w 47249"/>
                <a:gd name="connsiteY13" fmla="*/ 4501 h 56257"/>
                <a:gd name="connsiteX14" fmla="*/ 39608 w 47249"/>
                <a:gd name="connsiteY14" fmla="*/ 6751 h 56257"/>
                <a:gd name="connsiteX15" fmla="*/ 15420 w 47249"/>
                <a:gd name="connsiteY15" fmla="*/ 54007 h 56257"/>
                <a:gd name="connsiteX16" fmla="*/ 12122 w 47249"/>
                <a:gd name="connsiteY16" fmla="*/ 56258 h 56257"/>
                <a:gd name="connsiteX17" fmla="*/ 7724 w 47249"/>
                <a:gd name="connsiteY17" fmla="*/ 51757 h 56257"/>
                <a:gd name="connsiteX18" fmla="*/ 8824 w 47249"/>
                <a:gd name="connsiteY18" fmla="*/ 49507 h 56257"/>
                <a:gd name="connsiteX19" fmla="*/ 25315 w 47249"/>
                <a:gd name="connsiteY19" fmla="*/ 43881 h 56257"/>
                <a:gd name="connsiteX20" fmla="*/ 37354 w 47249"/>
                <a:gd name="connsiteY20" fmla="*/ 33811 h 56257"/>
                <a:gd name="connsiteX21" fmla="*/ 47194 w 47249"/>
                <a:gd name="connsiteY21" fmla="*/ 46131 h 56257"/>
                <a:gd name="connsiteX22" fmla="*/ 36310 w 47249"/>
                <a:gd name="connsiteY22" fmla="*/ 56258 h 56257"/>
                <a:gd name="connsiteX23" fmla="*/ 25315 w 47249"/>
                <a:gd name="connsiteY23" fmla="*/ 43881 h 56257"/>
                <a:gd name="connsiteX24" fmla="*/ 40707 w 47249"/>
                <a:gd name="connsiteY24" fmla="*/ 43881 h 56257"/>
                <a:gd name="connsiteX25" fmla="*/ 37409 w 47249"/>
                <a:gd name="connsiteY25" fmla="*/ 39380 h 56257"/>
                <a:gd name="connsiteX26" fmla="*/ 34111 w 47249"/>
                <a:gd name="connsiteY26" fmla="*/ 43881 h 56257"/>
                <a:gd name="connsiteX27" fmla="*/ 37409 w 47249"/>
                <a:gd name="connsiteY27" fmla="*/ 48382 h 56257"/>
                <a:gd name="connsiteX28" fmla="*/ 40707 w 47249"/>
                <a:gd name="connsiteY28" fmla="*/ 43881 h 56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7249" h="56257">
                  <a:moveTo>
                    <a:pt x="28" y="12377"/>
                  </a:moveTo>
                  <a:cubicBezTo>
                    <a:pt x="635" y="6194"/>
                    <a:pt x="6025" y="1685"/>
                    <a:pt x="12067" y="2307"/>
                  </a:cubicBezTo>
                  <a:cubicBezTo>
                    <a:pt x="18108" y="2929"/>
                    <a:pt x="22514" y="8444"/>
                    <a:pt x="21907" y="14627"/>
                  </a:cubicBezTo>
                  <a:cubicBezTo>
                    <a:pt x="21344" y="20355"/>
                    <a:pt x="16648" y="24724"/>
                    <a:pt x="11022" y="24753"/>
                  </a:cubicBezTo>
                  <a:cubicBezTo>
                    <a:pt x="4782" y="24595"/>
                    <a:pt x="-151" y="19290"/>
                    <a:pt x="4" y="12904"/>
                  </a:cubicBezTo>
                  <a:cubicBezTo>
                    <a:pt x="8" y="12728"/>
                    <a:pt x="16" y="12552"/>
                    <a:pt x="28" y="12377"/>
                  </a:cubicBezTo>
                  <a:close/>
                  <a:moveTo>
                    <a:pt x="15420" y="12377"/>
                  </a:moveTo>
                  <a:cubicBezTo>
                    <a:pt x="15420" y="10126"/>
                    <a:pt x="14321" y="7876"/>
                    <a:pt x="12122" y="7876"/>
                  </a:cubicBezTo>
                  <a:cubicBezTo>
                    <a:pt x="9923" y="7876"/>
                    <a:pt x="8824" y="10126"/>
                    <a:pt x="8824" y="12377"/>
                  </a:cubicBezTo>
                  <a:cubicBezTo>
                    <a:pt x="8824" y="14627"/>
                    <a:pt x="9923" y="16877"/>
                    <a:pt x="12122" y="16877"/>
                  </a:cubicBezTo>
                  <a:cubicBezTo>
                    <a:pt x="13221" y="16877"/>
                    <a:pt x="15420" y="15752"/>
                    <a:pt x="15420" y="12377"/>
                  </a:cubicBezTo>
                  <a:close/>
                  <a:moveTo>
                    <a:pt x="33011" y="2250"/>
                  </a:moveTo>
                  <a:cubicBezTo>
                    <a:pt x="34111" y="0"/>
                    <a:pt x="35210" y="0"/>
                    <a:pt x="36310" y="0"/>
                  </a:cubicBezTo>
                  <a:cubicBezTo>
                    <a:pt x="38669" y="163"/>
                    <a:pt x="40548" y="2086"/>
                    <a:pt x="40707" y="4501"/>
                  </a:cubicBezTo>
                  <a:cubicBezTo>
                    <a:pt x="40707" y="5626"/>
                    <a:pt x="40707" y="5626"/>
                    <a:pt x="39608" y="6751"/>
                  </a:cubicBezTo>
                  <a:lnTo>
                    <a:pt x="15420" y="54007"/>
                  </a:lnTo>
                  <a:cubicBezTo>
                    <a:pt x="14321" y="55133"/>
                    <a:pt x="14321" y="56258"/>
                    <a:pt x="12122" y="56258"/>
                  </a:cubicBezTo>
                  <a:cubicBezTo>
                    <a:pt x="9762" y="56095"/>
                    <a:pt x="7884" y="54172"/>
                    <a:pt x="7724" y="51757"/>
                  </a:cubicBezTo>
                  <a:cubicBezTo>
                    <a:pt x="7724" y="50632"/>
                    <a:pt x="7724" y="49507"/>
                    <a:pt x="8824" y="49507"/>
                  </a:cubicBezTo>
                  <a:close/>
                  <a:moveTo>
                    <a:pt x="25315" y="43881"/>
                  </a:moveTo>
                  <a:cubicBezTo>
                    <a:pt x="25923" y="37698"/>
                    <a:pt x="31312" y="33190"/>
                    <a:pt x="37354" y="33811"/>
                  </a:cubicBezTo>
                  <a:cubicBezTo>
                    <a:pt x="43395" y="34433"/>
                    <a:pt x="47801" y="39949"/>
                    <a:pt x="47194" y="46131"/>
                  </a:cubicBezTo>
                  <a:cubicBezTo>
                    <a:pt x="46631" y="51860"/>
                    <a:pt x="41935" y="56229"/>
                    <a:pt x="36310" y="56258"/>
                  </a:cubicBezTo>
                  <a:cubicBezTo>
                    <a:pt x="30063" y="55674"/>
                    <a:pt x="25289" y="50300"/>
                    <a:pt x="25315" y="43881"/>
                  </a:cubicBezTo>
                  <a:close/>
                  <a:moveTo>
                    <a:pt x="40707" y="43881"/>
                  </a:moveTo>
                  <a:cubicBezTo>
                    <a:pt x="40707" y="41631"/>
                    <a:pt x="39608" y="39380"/>
                    <a:pt x="37409" y="39380"/>
                  </a:cubicBezTo>
                  <a:cubicBezTo>
                    <a:pt x="35210" y="39380"/>
                    <a:pt x="34111" y="41631"/>
                    <a:pt x="34111" y="43881"/>
                  </a:cubicBezTo>
                  <a:cubicBezTo>
                    <a:pt x="34111" y="46131"/>
                    <a:pt x="35210" y="48382"/>
                    <a:pt x="37409" y="48382"/>
                  </a:cubicBezTo>
                  <a:cubicBezTo>
                    <a:pt x="39608" y="48382"/>
                    <a:pt x="40707" y="46131"/>
                    <a:pt x="40707" y="43881"/>
                  </a:cubicBezTo>
                  <a:close/>
                </a:path>
              </a:pathLst>
            </a:custGeom>
            <a:grpFill/>
            <a:ln w="1066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78" name="Freeform 177">
              <a:extLst>
                <a:ext uri="{FF2B5EF4-FFF2-40B4-BE49-F238E27FC236}">
                  <a16:creationId xmlns:a16="http://schemas.microsoft.com/office/drawing/2014/main" id="{326FDE81-EB2B-F44A-BA5D-280EC9DF8FA9}"/>
                </a:ext>
              </a:extLst>
            </p:cNvPr>
            <p:cNvSpPr/>
            <p:nvPr/>
          </p:nvSpPr>
          <p:spPr>
            <a:xfrm>
              <a:off x="6552607" y="558274"/>
              <a:ext cx="37421" cy="54055"/>
            </a:xfrm>
            <a:custGeom>
              <a:avLst/>
              <a:gdLst>
                <a:gd name="connsiteX0" fmla="*/ 10 w 37421"/>
                <a:gd name="connsiteY0" fmla="*/ 5636 h 54055"/>
                <a:gd name="connsiteX1" fmla="*/ 4872 w 37421"/>
                <a:gd name="connsiteY1" fmla="*/ 10 h 54055"/>
                <a:gd name="connsiteX2" fmla="*/ 5507 w 37421"/>
                <a:gd name="connsiteY2" fmla="*/ 10 h 54055"/>
                <a:gd name="connsiteX3" fmla="*/ 18700 w 37421"/>
                <a:gd name="connsiteY3" fmla="*/ 10 h 54055"/>
                <a:gd name="connsiteX4" fmla="*/ 37391 w 37421"/>
                <a:gd name="connsiteY4" fmla="*/ 16887 h 54055"/>
                <a:gd name="connsiteX5" fmla="*/ 24198 w 37421"/>
                <a:gd name="connsiteY5" fmla="*/ 31514 h 54055"/>
                <a:gd name="connsiteX6" fmla="*/ 36291 w 37421"/>
                <a:gd name="connsiteY6" fmla="*/ 45016 h 54055"/>
                <a:gd name="connsiteX7" fmla="*/ 37391 w 37421"/>
                <a:gd name="connsiteY7" fmla="*/ 48392 h 54055"/>
                <a:gd name="connsiteX8" fmla="*/ 32529 w 37421"/>
                <a:gd name="connsiteY8" fmla="*/ 54018 h 54055"/>
                <a:gd name="connsiteX9" fmla="*/ 31894 w 37421"/>
                <a:gd name="connsiteY9" fmla="*/ 54018 h 54055"/>
                <a:gd name="connsiteX10" fmla="*/ 27496 w 37421"/>
                <a:gd name="connsiteY10" fmla="*/ 51767 h 54055"/>
                <a:gd name="connsiteX11" fmla="*/ 11004 w 37421"/>
                <a:gd name="connsiteY11" fmla="*/ 31514 h 54055"/>
                <a:gd name="connsiteX12" fmla="*/ 11004 w 37421"/>
                <a:gd name="connsiteY12" fmla="*/ 31514 h 54055"/>
                <a:gd name="connsiteX13" fmla="*/ 11004 w 37421"/>
                <a:gd name="connsiteY13" fmla="*/ 47267 h 54055"/>
                <a:gd name="connsiteX14" fmla="*/ 5507 w 37421"/>
                <a:gd name="connsiteY14" fmla="*/ 52892 h 54055"/>
                <a:gd name="connsiteX15" fmla="*/ 10 w 37421"/>
                <a:gd name="connsiteY15" fmla="*/ 47267 h 54055"/>
                <a:gd name="connsiteX16" fmla="*/ 11004 w 37421"/>
                <a:gd name="connsiteY16" fmla="*/ 22513 h 54055"/>
                <a:gd name="connsiteX17" fmla="*/ 18700 w 37421"/>
                <a:gd name="connsiteY17" fmla="*/ 22513 h 54055"/>
                <a:gd name="connsiteX18" fmla="*/ 25297 w 37421"/>
                <a:gd name="connsiteY18" fmla="*/ 17459 h 54055"/>
                <a:gd name="connsiteX19" fmla="*/ 25297 w 37421"/>
                <a:gd name="connsiteY19" fmla="*/ 15762 h 54055"/>
                <a:gd name="connsiteX20" fmla="*/ 19239 w 37421"/>
                <a:gd name="connsiteY20" fmla="*/ 9011 h 54055"/>
                <a:gd name="connsiteX21" fmla="*/ 18700 w 37421"/>
                <a:gd name="connsiteY21" fmla="*/ 9011 h 54055"/>
                <a:gd name="connsiteX22" fmla="*/ 11004 w 37421"/>
                <a:gd name="connsiteY22" fmla="*/ 9011 h 54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421" h="54055">
                  <a:moveTo>
                    <a:pt x="10" y="5636"/>
                  </a:moveTo>
                  <a:cubicBezTo>
                    <a:pt x="-166" y="2708"/>
                    <a:pt x="2011" y="190"/>
                    <a:pt x="4872" y="10"/>
                  </a:cubicBezTo>
                  <a:cubicBezTo>
                    <a:pt x="5084" y="-3"/>
                    <a:pt x="5296" y="-3"/>
                    <a:pt x="5507" y="10"/>
                  </a:cubicBezTo>
                  <a:lnTo>
                    <a:pt x="18700" y="10"/>
                  </a:lnTo>
                  <a:cubicBezTo>
                    <a:pt x="29695" y="10"/>
                    <a:pt x="37391" y="5636"/>
                    <a:pt x="37391" y="16887"/>
                  </a:cubicBezTo>
                  <a:cubicBezTo>
                    <a:pt x="36989" y="24370"/>
                    <a:pt x="31453" y="30506"/>
                    <a:pt x="24198" y="31514"/>
                  </a:cubicBezTo>
                  <a:lnTo>
                    <a:pt x="36291" y="45016"/>
                  </a:lnTo>
                  <a:cubicBezTo>
                    <a:pt x="37137" y="45914"/>
                    <a:pt x="37542" y="47154"/>
                    <a:pt x="37391" y="48392"/>
                  </a:cubicBezTo>
                  <a:cubicBezTo>
                    <a:pt x="37567" y="51319"/>
                    <a:pt x="35390" y="53838"/>
                    <a:pt x="32529" y="54018"/>
                  </a:cubicBezTo>
                  <a:cubicBezTo>
                    <a:pt x="32317" y="54031"/>
                    <a:pt x="32105" y="54031"/>
                    <a:pt x="31894" y="54018"/>
                  </a:cubicBezTo>
                  <a:cubicBezTo>
                    <a:pt x="30117" y="54255"/>
                    <a:pt x="28377" y="53364"/>
                    <a:pt x="27496" y="51767"/>
                  </a:cubicBezTo>
                  <a:lnTo>
                    <a:pt x="11004" y="31514"/>
                  </a:lnTo>
                  <a:lnTo>
                    <a:pt x="11004" y="31514"/>
                  </a:lnTo>
                  <a:lnTo>
                    <a:pt x="11004" y="47267"/>
                  </a:lnTo>
                  <a:cubicBezTo>
                    <a:pt x="11004" y="50373"/>
                    <a:pt x="8543" y="52892"/>
                    <a:pt x="5507" y="52892"/>
                  </a:cubicBezTo>
                  <a:cubicBezTo>
                    <a:pt x="2472" y="52892"/>
                    <a:pt x="10" y="50373"/>
                    <a:pt x="10" y="47267"/>
                  </a:cubicBezTo>
                  <a:close/>
                  <a:moveTo>
                    <a:pt x="11004" y="22513"/>
                  </a:moveTo>
                  <a:lnTo>
                    <a:pt x="18700" y="22513"/>
                  </a:lnTo>
                  <a:cubicBezTo>
                    <a:pt x="21886" y="22981"/>
                    <a:pt x="24840" y="20719"/>
                    <a:pt x="25297" y="17459"/>
                  </a:cubicBezTo>
                  <a:cubicBezTo>
                    <a:pt x="25376" y="16896"/>
                    <a:pt x="25376" y="16325"/>
                    <a:pt x="25297" y="15762"/>
                  </a:cubicBezTo>
                  <a:cubicBezTo>
                    <a:pt x="25446" y="12187"/>
                    <a:pt x="22734" y="9163"/>
                    <a:pt x="19239" y="9011"/>
                  </a:cubicBezTo>
                  <a:cubicBezTo>
                    <a:pt x="19060" y="9003"/>
                    <a:pt x="18880" y="9003"/>
                    <a:pt x="18700" y="9011"/>
                  </a:cubicBezTo>
                  <a:lnTo>
                    <a:pt x="11004" y="9011"/>
                  </a:lnTo>
                  <a:close/>
                </a:path>
              </a:pathLst>
            </a:custGeom>
            <a:grpFill/>
            <a:ln w="1066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79" name="Freeform 178">
              <a:extLst>
                <a:ext uri="{FF2B5EF4-FFF2-40B4-BE49-F238E27FC236}">
                  <a16:creationId xmlns:a16="http://schemas.microsoft.com/office/drawing/2014/main" id="{012FF7DA-CD82-DF4E-A069-2A34121F5B14}"/>
                </a:ext>
              </a:extLst>
            </p:cNvPr>
            <p:cNvSpPr/>
            <p:nvPr/>
          </p:nvSpPr>
          <p:spPr>
            <a:xfrm>
              <a:off x="6593296" y="557159"/>
              <a:ext cx="45077" cy="54007"/>
            </a:xfrm>
            <a:custGeom>
              <a:avLst/>
              <a:gdLst>
                <a:gd name="connsiteX0" fmla="*/ 0 w 45077"/>
                <a:gd name="connsiteY0" fmla="*/ 5626 h 54007"/>
                <a:gd name="connsiteX1" fmla="*/ 5497 w 45077"/>
                <a:gd name="connsiteY1" fmla="*/ 0 h 54007"/>
                <a:gd name="connsiteX2" fmla="*/ 10994 w 45077"/>
                <a:gd name="connsiteY2" fmla="*/ 5626 h 54007"/>
                <a:gd name="connsiteX3" fmla="*/ 10994 w 45077"/>
                <a:gd name="connsiteY3" fmla="*/ 21378 h 54007"/>
                <a:gd name="connsiteX4" fmla="*/ 34083 w 45077"/>
                <a:gd name="connsiteY4" fmla="*/ 21378 h 54007"/>
                <a:gd name="connsiteX5" fmla="*/ 34083 w 45077"/>
                <a:gd name="connsiteY5" fmla="*/ 5626 h 54007"/>
                <a:gd name="connsiteX6" fmla="*/ 39580 w 45077"/>
                <a:gd name="connsiteY6" fmla="*/ 0 h 54007"/>
                <a:gd name="connsiteX7" fmla="*/ 45077 w 45077"/>
                <a:gd name="connsiteY7" fmla="*/ 5626 h 54007"/>
                <a:gd name="connsiteX8" fmla="*/ 45077 w 45077"/>
                <a:gd name="connsiteY8" fmla="*/ 48382 h 54007"/>
                <a:gd name="connsiteX9" fmla="*/ 39580 w 45077"/>
                <a:gd name="connsiteY9" fmla="*/ 54007 h 54007"/>
                <a:gd name="connsiteX10" fmla="*/ 34083 w 45077"/>
                <a:gd name="connsiteY10" fmla="*/ 48382 h 54007"/>
                <a:gd name="connsiteX11" fmla="*/ 34083 w 45077"/>
                <a:gd name="connsiteY11" fmla="*/ 31504 h 54007"/>
                <a:gd name="connsiteX12" fmla="*/ 10994 w 45077"/>
                <a:gd name="connsiteY12" fmla="*/ 31504 h 54007"/>
                <a:gd name="connsiteX13" fmla="*/ 10994 w 45077"/>
                <a:gd name="connsiteY13" fmla="*/ 48382 h 54007"/>
                <a:gd name="connsiteX14" fmla="*/ 5497 w 45077"/>
                <a:gd name="connsiteY14" fmla="*/ 54007 h 54007"/>
                <a:gd name="connsiteX15" fmla="*/ 0 w 45077"/>
                <a:gd name="connsiteY15" fmla="*/ 48382 h 54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77" h="54007">
                  <a:moveTo>
                    <a:pt x="0" y="5626"/>
                  </a:moveTo>
                  <a:cubicBezTo>
                    <a:pt x="0" y="2519"/>
                    <a:pt x="2462" y="0"/>
                    <a:pt x="5497" y="0"/>
                  </a:cubicBezTo>
                  <a:cubicBezTo>
                    <a:pt x="8533" y="0"/>
                    <a:pt x="10994" y="2519"/>
                    <a:pt x="10994" y="5626"/>
                  </a:cubicBezTo>
                  <a:lnTo>
                    <a:pt x="10994" y="21378"/>
                  </a:lnTo>
                  <a:lnTo>
                    <a:pt x="34083" y="21378"/>
                  </a:lnTo>
                  <a:lnTo>
                    <a:pt x="34083" y="5626"/>
                  </a:lnTo>
                  <a:cubicBezTo>
                    <a:pt x="34083" y="2519"/>
                    <a:pt x="36544" y="0"/>
                    <a:pt x="39580" y="0"/>
                  </a:cubicBezTo>
                  <a:cubicBezTo>
                    <a:pt x="42615" y="0"/>
                    <a:pt x="45077" y="2519"/>
                    <a:pt x="45077" y="5626"/>
                  </a:cubicBezTo>
                  <a:lnTo>
                    <a:pt x="45077" y="48382"/>
                  </a:lnTo>
                  <a:cubicBezTo>
                    <a:pt x="45077" y="51488"/>
                    <a:pt x="42615" y="54007"/>
                    <a:pt x="39580" y="54007"/>
                  </a:cubicBezTo>
                  <a:cubicBezTo>
                    <a:pt x="36544" y="54007"/>
                    <a:pt x="34083" y="51488"/>
                    <a:pt x="34083" y="48382"/>
                  </a:cubicBezTo>
                  <a:lnTo>
                    <a:pt x="34083" y="31504"/>
                  </a:lnTo>
                  <a:lnTo>
                    <a:pt x="10994" y="31504"/>
                  </a:lnTo>
                  <a:lnTo>
                    <a:pt x="10994" y="48382"/>
                  </a:lnTo>
                  <a:cubicBezTo>
                    <a:pt x="10994" y="51488"/>
                    <a:pt x="8533" y="54007"/>
                    <a:pt x="5497" y="54007"/>
                  </a:cubicBezTo>
                  <a:cubicBezTo>
                    <a:pt x="2462" y="54007"/>
                    <a:pt x="0" y="51488"/>
                    <a:pt x="0" y="48382"/>
                  </a:cubicBezTo>
                  <a:close/>
                </a:path>
              </a:pathLst>
            </a:custGeom>
            <a:grpFill/>
            <a:ln w="1066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80" name="Graphic 51">
            <a:extLst>
              <a:ext uri="{FF2B5EF4-FFF2-40B4-BE49-F238E27FC236}">
                <a16:creationId xmlns:a16="http://schemas.microsoft.com/office/drawing/2014/main" id="{4E1B533C-7B4D-324C-B29E-8DF3EAF0D7A4}"/>
              </a:ext>
            </a:extLst>
          </p:cNvPr>
          <p:cNvGrpSpPr/>
          <p:nvPr userDrawn="1"/>
        </p:nvGrpSpPr>
        <p:grpSpPr>
          <a:xfrm>
            <a:off x="7515792" y="1404225"/>
            <a:ext cx="333388" cy="302971"/>
            <a:chOff x="10103383" y="1437261"/>
            <a:chExt cx="465444" cy="432198"/>
          </a:xfrm>
          <a:solidFill>
            <a:schemeClr val="bg1"/>
          </a:solidFill>
        </p:grpSpPr>
        <p:sp>
          <p:nvSpPr>
            <p:cNvPr id="181" name="Freeform 180">
              <a:extLst>
                <a:ext uri="{FF2B5EF4-FFF2-40B4-BE49-F238E27FC236}">
                  <a16:creationId xmlns:a16="http://schemas.microsoft.com/office/drawing/2014/main" id="{A17526C1-B343-5A41-A480-54627D637E25}"/>
                </a:ext>
              </a:extLst>
            </p:cNvPr>
            <p:cNvSpPr/>
            <p:nvPr/>
          </p:nvSpPr>
          <p:spPr>
            <a:xfrm>
              <a:off x="10168275" y="1556067"/>
              <a:ext cx="208690" cy="24011"/>
            </a:xfrm>
            <a:custGeom>
              <a:avLst/>
              <a:gdLst>
                <a:gd name="connsiteX0" fmla="*/ 12249 w 208690"/>
                <a:gd name="connsiteY0" fmla="*/ 24011 h 24011"/>
                <a:gd name="connsiteX1" fmla="*/ 196442 w 208690"/>
                <a:gd name="connsiteY1" fmla="*/ 24011 h 24011"/>
                <a:gd name="connsiteX2" fmla="*/ 208690 w 208690"/>
                <a:gd name="connsiteY2" fmla="*/ 12006 h 24011"/>
                <a:gd name="connsiteX3" fmla="*/ 196442 w 208690"/>
                <a:gd name="connsiteY3" fmla="*/ 0 h 24011"/>
                <a:gd name="connsiteX4" fmla="*/ 12249 w 208690"/>
                <a:gd name="connsiteY4" fmla="*/ 0 h 24011"/>
                <a:gd name="connsiteX5" fmla="*/ 0 w 208690"/>
                <a:gd name="connsiteY5" fmla="*/ 12006 h 24011"/>
                <a:gd name="connsiteX6" fmla="*/ 12249 w 208690"/>
                <a:gd name="connsiteY6" fmla="*/ 24011 h 2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8690" h="24011">
                  <a:moveTo>
                    <a:pt x="12249" y="24011"/>
                  </a:moveTo>
                  <a:lnTo>
                    <a:pt x="196442" y="24011"/>
                  </a:lnTo>
                  <a:cubicBezTo>
                    <a:pt x="203206" y="24011"/>
                    <a:pt x="208690" y="18636"/>
                    <a:pt x="208690" y="12006"/>
                  </a:cubicBezTo>
                  <a:cubicBezTo>
                    <a:pt x="208690" y="5375"/>
                    <a:pt x="203206" y="0"/>
                    <a:pt x="196442" y="0"/>
                  </a:cubicBezTo>
                  <a:lnTo>
                    <a:pt x="12249" y="0"/>
                  </a:lnTo>
                  <a:cubicBezTo>
                    <a:pt x="5484" y="0"/>
                    <a:pt x="0" y="5375"/>
                    <a:pt x="0" y="12006"/>
                  </a:cubicBezTo>
                  <a:cubicBezTo>
                    <a:pt x="0" y="18636"/>
                    <a:pt x="5484" y="24011"/>
                    <a:pt x="12249" y="24011"/>
                  </a:cubicBezTo>
                  <a:close/>
                </a:path>
              </a:pathLst>
            </a:custGeom>
            <a:grpFill/>
            <a:ln w="2406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82" name="Freeform 181">
              <a:extLst>
                <a:ext uri="{FF2B5EF4-FFF2-40B4-BE49-F238E27FC236}">
                  <a16:creationId xmlns:a16="http://schemas.microsoft.com/office/drawing/2014/main" id="{6AD439DF-30AF-D341-AE3E-F644C65197AD}"/>
                </a:ext>
              </a:extLst>
            </p:cNvPr>
            <p:cNvSpPr/>
            <p:nvPr/>
          </p:nvSpPr>
          <p:spPr>
            <a:xfrm>
              <a:off x="10168275" y="1620608"/>
              <a:ext cx="169617" cy="24010"/>
            </a:xfrm>
            <a:custGeom>
              <a:avLst/>
              <a:gdLst>
                <a:gd name="connsiteX0" fmla="*/ 12249 w 169617"/>
                <a:gd name="connsiteY0" fmla="*/ 24011 h 24010"/>
                <a:gd name="connsiteX1" fmla="*/ 157369 w 169617"/>
                <a:gd name="connsiteY1" fmla="*/ 24011 h 24010"/>
                <a:gd name="connsiteX2" fmla="*/ 169618 w 169617"/>
                <a:gd name="connsiteY2" fmla="*/ 12005 h 24010"/>
                <a:gd name="connsiteX3" fmla="*/ 157369 w 169617"/>
                <a:gd name="connsiteY3" fmla="*/ 0 h 24010"/>
                <a:gd name="connsiteX4" fmla="*/ 12249 w 169617"/>
                <a:gd name="connsiteY4" fmla="*/ 0 h 24010"/>
                <a:gd name="connsiteX5" fmla="*/ 0 w 169617"/>
                <a:gd name="connsiteY5" fmla="*/ 12005 h 24010"/>
                <a:gd name="connsiteX6" fmla="*/ 12249 w 169617"/>
                <a:gd name="connsiteY6" fmla="*/ 24011 h 2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617" h="24010">
                  <a:moveTo>
                    <a:pt x="12249" y="24011"/>
                  </a:moveTo>
                  <a:lnTo>
                    <a:pt x="157369" y="24011"/>
                  </a:lnTo>
                  <a:cubicBezTo>
                    <a:pt x="164134" y="24011"/>
                    <a:pt x="169618" y="18636"/>
                    <a:pt x="169618" y="12005"/>
                  </a:cubicBezTo>
                  <a:cubicBezTo>
                    <a:pt x="169618" y="5375"/>
                    <a:pt x="164134" y="0"/>
                    <a:pt x="157369" y="0"/>
                  </a:cubicBezTo>
                  <a:lnTo>
                    <a:pt x="12249" y="0"/>
                  </a:lnTo>
                  <a:cubicBezTo>
                    <a:pt x="5484" y="0"/>
                    <a:pt x="0" y="5375"/>
                    <a:pt x="0" y="12005"/>
                  </a:cubicBezTo>
                  <a:cubicBezTo>
                    <a:pt x="0" y="18636"/>
                    <a:pt x="5484" y="24011"/>
                    <a:pt x="12249" y="24011"/>
                  </a:cubicBezTo>
                  <a:close/>
                </a:path>
              </a:pathLst>
            </a:custGeom>
            <a:grpFill/>
            <a:ln w="2406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83" name="Freeform 182">
              <a:extLst>
                <a:ext uri="{FF2B5EF4-FFF2-40B4-BE49-F238E27FC236}">
                  <a16:creationId xmlns:a16="http://schemas.microsoft.com/office/drawing/2014/main" id="{30D7FB76-DDDC-0E42-8E46-E442EDF5E5B6}"/>
                </a:ext>
              </a:extLst>
            </p:cNvPr>
            <p:cNvSpPr/>
            <p:nvPr/>
          </p:nvSpPr>
          <p:spPr>
            <a:xfrm>
              <a:off x="10168275" y="1751805"/>
              <a:ext cx="169617" cy="24011"/>
            </a:xfrm>
            <a:custGeom>
              <a:avLst/>
              <a:gdLst>
                <a:gd name="connsiteX0" fmla="*/ 12249 w 169617"/>
                <a:gd name="connsiteY0" fmla="*/ 24011 h 24011"/>
                <a:gd name="connsiteX1" fmla="*/ 157369 w 169617"/>
                <a:gd name="connsiteY1" fmla="*/ 24011 h 24011"/>
                <a:gd name="connsiteX2" fmla="*/ 169618 w 169617"/>
                <a:gd name="connsiteY2" fmla="*/ 12006 h 24011"/>
                <a:gd name="connsiteX3" fmla="*/ 157369 w 169617"/>
                <a:gd name="connsiteY3" fmla="*/ 0 h 24011"/>
                <a:gd name="connsiteX4" fmla="*/ 12249 w 169617"/>
                <a:gd name="connsiteY4" fmla="*/ 0 h 24011"/>
                <a:gd name="connsiteX5" fmla="*/ 0 w 169617"/>
                <a:gd name="connsiteY5" fmla="*/ 12006 h 24011"/>
                <a:gd name="connsiteX6" fmla="*/ 12249 w 169617"/>
                <a:gd name="connsiteY6" fmla="*/ 24011 h 2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617" h="24011">
                  <a:moveTo>
                    <a:pt x="12249" y="24011"/>
                  </a:moveTo>
                  <a:lnTo>
                    <a:pt x="157369" y="24011"/>
                  </a:lnTo>
                  <a:cubicBezTo>
                    <a:pt x="164134" y="24011"/>
                    <a:pt x="169618" y="18635"/>
                    <a:pt x="169618" y="12006"/>
                  </a:cubicBezTo>
                  <a:cubicBezTo>
                    <a:pt x="169618" y="5376"/>
                    <a:pt x="164134" y="0"/>
                    <a:pt x="157369" y="0"/>
                  </a:cubicBezTo>
                  <a:lnTo>
                    <a:pt x="12249" y="0"/>
                  </a:lnTo>
                  <a:cubicBezTo>
                    <a:pt x="5484" y="0"/>
                    <a:pt x="0" y="5376"/>
                    <a:pt x="0" y="12006"/>
                  </a:cubicBezTo>
                  <a:cubicBezTo>
                    <a:pt x="0" y="18635"/>
                    <a:pt x="5484" y="24011"/>
                    <a:pt x="12249" y="24011"/>
                  </a:cubicBezTo>
                  <a:close/>
                </a:path>
              </a:pathLst>
            </a:custGeom>
            <a:grpFill/>
            <a:ln w="2406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84" name="Freeform 183">
              <a:extLst>
                <a:ext uri="{FF2B5EF4-FFF2-40B4-BE49-F238E27FC236}">
                  <a16:creationId xmlns:a16="http://schemas.microsoft.com/office/drawing/2014/main" id="{02F05D50-F851-714F-8764-8D44060CBAF7}"/>
                </a:ext>
              </a:extLst>
            </p:cNvPr>
            <p:cNvSpPr/>
            <p:nvPr/>
          </p:nvSpPr>
          <p:spPr>
            <a:xfrm>
              <a:off x="10168275" y="1685126"/>
              <a:ext cx="129442" cy="24011"/>
            </a:xfrm>
            <a:custGeom>
              <a:avLst/>
              <a:gdLst>
                <a:gd name="connsiteX0" fmla="*/ 117194 w 129442"/>
                <a:gd name="connsiteY0" fmla="*/ 0 h 24011"/>
                <a:gd name="connsiteX1" fmla="*/ 12249 w 129442"/>
                <a:gd name="connsiteY1" fmla="*/ 0 h 24011"/>
                <a:gd name="connsiteX2" fmla="*/ 0 w 129442"/>
                <a:gd name="connsiteY2" fmla="*/ 12006 h 24011"/>
                <a:gd name="connsiteX3" fmla="*/ 12249 w 129442"/>
                <a:gd name="connsiteY3" fmla="*/ 24011 h 24011"/>
                <a:gd name="connsiteX4" fmla="*/ 117194 w 129442"/>
                <a:gd name="connsiteY4" fmla="*/ 24011 h 24011"/>
                <a:gd name="connsiteX5" fmla="*/ 129442 w 129442"/>
                <a:gd name="connsiteY5" fmla="*/ 12006 h 24011"/>
                <a:gd name="connsiteX6" fmla="*/ 117194 w 129442"/>
                <a:gd name="connsiteY6" fmla="*/ 0 h 2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442" h="24011">
                  <a:moveTo>
                    <a:pt x="117194" y="0"/>
                  </a:moveTo>
                  <a:lnTo>
                    <a:pt x="12249" y="0"/>
                  </a:lnTo>
                  <a:cubicBezTo>
                    <a:pt x="5484" y="0"/>
                    <a:pt x="0" y="5376"/>
                    <a:pt x="0" y="12006"/>
                  </a:cubicBezTo>
                  <a:cubicBezTo>
                    <a:pt x="0" y="18635"/>
                    <a:pt x="5484" y="24011"/>
                    <a:pt x="12249" y="24011"/>
                  </a:cubicBezTo>
                  <a:lnTo>
                    <a:pt x="117194" y="24011"/>
                  </a:lnTo>
                  <a:cubicBezTo>
                    <a:pt x="123959" y="24011"/>
                    <a:pt x="129442" y="18635"/>
                    <a:pt x="129442" y="12006"/>
                  </a:cubicBezTo>
                  <a:cubicBezTo>
                    <a:pt x="129442" y="5376"/>
                    <a:pt x="123959" y="0"/>
                    <a:pt x="117194" y="0"/>
                  </a:cubicBezTo>
                  <a:close/>
                </a:path>
              </a:pathLst>
            </a:custGeom>
            <a:grpFill/>
            <a:ln w="2406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85" name="Freeform 184">
              <a:extLst>
                <a:ext uri="{FF2B5EF4-FFF2-40B4-BE49-F238E27FC236}">
                  <a16:creationId xmlns:a16="http://schemas.microsoft.com/office/drawing/2014/main" id="{97B76B3B-DE9E-684C-90CA-9DEE2A4FDE28}"/>
                </a:ext>
              </a:extLst>
            </p:cNvPr>
            <p:cNvSpPr/>
            <p:nvPr/>
          </p:nvSpPr>
          <p:spPr>
            <a:xfrm>
              <a:off x="10104411" y="1438533"/>
              <a:ext cx="460932" cy="436760"/>
            </a:xfrm>
            <a:custGeom>
              <a:avLst/>
              <a:gdLst>
                <a:gd name="connsiteX0" fmla="*/ 451407 w 460932"/>
                <a:gd name="connsiteY0" fmla="*/ 69272 h 436760"/>
                <a:gd name="connsiteX1" fmla="*/ 433745 w 460932"/>
                <a:gd name="connsiteY1" fmla="*/ 52032 h 436760"/>
                <a:gd name="connsiteX2" fmla="*/ 387666 w 460932"/>
                <a:gd name="connsiteY2" fmla="*/ 52032 h 436760"/>
                <a:gd name="connsiteX3" fmla="*/ 376128 w 460932"/>
                <a:gd name="connsiteY3" fmla="*/ 63389 h 436760"/>
                <a:gd name="connsiteX4" fmla="*/ 351631 w 460932"/>
                <a:gd name="connsiteY4" fmla="*/ 87400 h 436760"/>
                <a:gd name="connsiteX5" fmla="*/ 351631 w 460932"/>
                <a:gd name="connsiteY5" fmla="*/ 76811 h 436760"/>
                <a:gd name="connsiteX6" fmla="*/ 348961 w 460932"/>
                <a:gd name="connsiteY6" fmla="*/ 70448 h 436760"/>
                <a:gd name="connsiteX7" fmla="*/ 343351 w 460932"/>
                <a:gd name="connsiteY7" fmla="*/ 64950 h 436760"/>
                <a:gd name="connsiteX8" fmla="*/ 343351 w 460932"/>
                <a:gd name="connsiteY8" fmla="*/ 64950 h 436760"/>
                <a:gd name="connsiteX9" fmla="*/ 282108 w 460932"/>
                <a:gd name="connsiteY9" fmla="*/ 4922 h 436760"/>
                <a:gd name="connsiteX10" fmla="*/ 282108 w 460932"/>
                <a:gd name="connsiteY10" fmla="*/ 4922 h 436760"/>
                <a:gd name="connsiteX11" fmla="*/ 279658 w 460932"/>
                <a:gd name="connsiteY11" fmla="*/ 2641 h 436760"/>
                <a:gd name="connsiteX12" fmla="*/ 273142 w 460932"/>
                <a:gd name="connsiteY12" fmla="*/ 0 h 436760"/>
                <a:gd name="connsiteX13" fmla="*/ 43923 w 460932"/>
                <a:gd name="connsiteY13" fmla="*/ 0 h 436760"/>
                <a:gd name="connsiteX14" fmla="*/ 0 w 460932"/>
                <a:gd name="connsiteY14" fmla="*/ 42788 h 436760"/>
                <a:gd name="connsiteX15" fmla="*/ 0 w 460932"/>
                <a:gd name="connsiteY15" fmla="*/ 393732 h 436760"/>
                <a:gd name="connsiteX16" fmla="*/ 43923 w 460932"/>
                <a:gd name="connsiteY16" fmla="*/ 436760 h 436760"/>
                <a:gd name="connsiteX17" fmla="*/ 307781 w 460932"/>
                <a:gd name="connsiteY17" fmla="*/ 436760 h 436760"/>
                <a:gd name="connsiteX18" fmla="*/ 351729 w 460932"/>
                <a:gd name="connsiteY18" fmla="*/ 393732 h 436760"/>
                <a:gd name="connsiteX19" fmla="*/ 351729 w 460932"/>
                <a:gd name="connsiteY19" fmla="*/ 212137 h 436760"/>
                <a:gd name="connsiteX20" fmla="*/ 451432 w 460932"/>
                <a:gd name="connsiteY20" fmla="*/ 114436 h 436760"/>
                <a:gd name="connsiteX21" fmla="*/ 451407 w 460932"/>
                <a:gd name="connsiteY21" fmla="*/ 69272 h 436760"/>
                <a:gd name="connsiteX22" fmla="*/ 284827 w 460932"/>
                <a:gd name="connsiteY22" fmla="*/ 32919 h 436760"/>
                <a:gd name="connsiteX23" fmla="*/ 314763 w 460932"/>
                <a:gd name="connsiteY23" fmla="*/ 62261 h 436760"/>
                <a:gd name="connsiteX24" fmla="*/ 284729 w 460932"/>
                <a:gd name="connsiteY24" fmla="*/ 62261 h 436760"/>
                <a:gd name="connsiteX25" fmla="*/ 333429 w 460932"/>
                <a:gd name="connsiteY25" fmla="*/ 393732 h 436760"/>
                <a:gd name="connsiteX26" fmla="*/ 307879 w 460932"/>
                <a:gd name="connsiteY26" fmla="*/ 418752 h 436760"/>
                <a:gd name="connsiteX27" fmla="*/ 43923 w 460932"/>
                <a:gd name="connsiteY27" fmla="*/ 418752 h 436760"/>
                <a:gd name="connsiteX28" fmla="*/ 18397 w 460932"/>
                <a:gd name="connsiteY28" fmla="*/ 393732 h 436760"/>
                <a:gd name="connsiteX29" fmla="*/ 18397 w 460932"/>
                <a:gd name="connsiteY29" fmla="*/ 42788 h 436760"/>
                <a:gd name="connsiteX30" fmla="*/ 43923 w 460932"/>
                <a:gd name="connsiteY30" fmla="*/ 17768 h 436760"/>
                <a:gd name="connsiteX31" fmla="*/ 266356 w 460932"/>
                <a:gd name="connsiteY31" fmla="*/ 17768 h 436760"/>
                <a:gd name="connsiteX32" fmla="*/ 266356 w 460932"/>
                <a:gd name="connsiteY32" fmla="*/ 71265 h 436760"/>
                <a:gd name="connsiteX33" fmla="*/ 275543 w 460932"/>
                <a:gd name="connsiteY33" fmla="*/ 80269 h 436760"/>
                <a:gd name="connsiteX34" fmla="*/ 333037 w 460932"/>
                <a:gd name="connsiteY34" fmla="*/ 80269 h 436760"/>
                <a:gd name="connsiteX35" fmla="*/ 333331 w 460932"/>
                <a:gd name="connsiteY35" fmla="*/ 80557 h 436760"/>
                <a:gd name="connsiteX36" fmla="*/ 333331 w 460932"/>
                <a:gd name="connsiteY36" fmla="*/ 105312 h 436760"/>
                <a:gd name="connsiteX37" fmla="*/ 253324 w 460932"/>
                <a:gd name="connsiteY37" fmla="*/ 183612 h 436760"/>
                <a:gd name="connsiteX38" fmla="*/ 253055 w 460932"/>
                <a:gd name="connsiteY38" fmla="*/ 183876 h 436760"/>
                <a:gd name="connsiteX39" fmla="*/ 253055 w 460932"/>
                <a:gd name="connsiteY39" fmla="*/ 183876 h 436760"/>
                <a:gd name="connsiteX40" fmla="*/ 252614 w 460932"/>
                <a:gd name="connsiteY40" fmla="*/ 184453 h 436760"/>
                <a:gd name="connsiteX41" fmla="*/ 252614 w 460932"/>
                <a:gd name="connsiteY41" fmla="*/ 184597 h 436760"/>
                <a:gd name="connsiteX42" fmla="*/ 252271 w 460932"/>
                <a:gd name="connsiteY42" fmla="*/ 185101 h 436760"/>
                <a:gd name="connsiteX43" fmla="*/ 252148 w 460932"/>
                <a:gd name="connsiteY43" fmla="*/ 185293 h 436760"/>
                <a:gd name="connsiteX44" fmla="*/ 251952 w 460932"/>
                <a:gd name="connsiteY44" fmla="*/ 185797 h 436760"/>
                <a:gd name="connsiteX45" fmla="*/ 251952 w 460932"/>
                <a:gd name="connsiteY45" fmla="*/ 185797 h 436760"/>
                <a:gd name="connsiteX46" fmla="*/ 224344 w 460932"/>
                <a:gd name="connsiteY46" fmla="*/ 266426 h 436760"/>
                <a:gd name="connsiteX47" fmla="*/ 228417 w 460932"/>
                <a:gd name="connsiteY47" fmla="*/ 274453 h 436760"/>
                <a:gd name="connsiteX48" fmla="*/ 230542 w 460932"/>
                <a:gd name="connsiteY48" fmla="*/ 274782 h 436760"/>
                <a:gd name="connsiteX49" fmla="*/ 232624 w 460932"/>
                <a:gd name="connsiteY49" fmla="*/ 274470 h 436760"/>
                <a:gd name="connsiteX50" fmla="*/ 314493 w 460932"/>
                <a:gd name="connsiteY50" fmla="*/ 247698 h 436760"/>
                <a:gd name="connsiteX51" fmla="*/ 314493 w 460932"/>
                <a:gd name="connsiteY51" fmla="*/ 247698 h 436760"/>
                <a:gd name="connsiteX52" fmla="*/ 315081 w 460932"/>
                <a:gd name="connsiteY52" fmla="*/ 247433 h 436760"/>
                <a:gd name="connsiteX53" fmla="*/ 315228 w 460932"/>
                <a:gd name="connsiteY53" fmla="*/ 247433 h 436760"/>
                <a:gd name="connsiteX54" fmla="*/ 315865 w 460932"/>
                <a:gd name="connsiteY54" fmla="*/ 247049 h 436760"/>
                <a:gd name="connsiteX55" fmla="*/ 316453 w 460932"/>
                <a:gd name="connsiteY55" fmla="*/ 246617 h 436760"/>
                <a:gd name="connsiteX56" fmla="*/ 316575 w 460932"/>
                <a:gd name="connsiteY56" fmla="*/ 246473 h 436760"/>
                <a:gd name="connsiteX57" fmla="*/ 316845 w 460932"/>
                <a:gd name="connsiteY57" fmla="*/ 246233 h 436760"/>
                <a:gd name="connsiteX58" fmla="*/ 333111 w 460932"/>
                <a:gd name="connsiteY58" fmla="*/ 230266 h 436760"/>
                <a:gd name="connsiteX59" fmla="*/ 260747 w 460932"/>
                <a:gd name="connsiteY59" fmla="*/ 200036 h 436760"/>
                <a:gd name="connsiteX60" fmla="*/ 300285 w 460932"/>
                <a:gd name="connsiteY60" fmla="*/ 238837 h 436760"/>
                <a:gd name="connsiteX61" fmla="*/ 240782 w 460932"/>
                <a:gd name="connsiteY61" fmla="*/ 258262 h 436760"/>
                <a:gd name="connsiteX62" fmla="*/ 312533 w 460932"/>
                <a:gd name="connsiteY62" fmla="*/ 232691 h 436760"/>
                <a:gd name="connsiteX63" fmla="*/ 267140 w 460932"/>
                <a:gd name="connsiteY63" fmla="*/ 188222 h 436760"/>
                <a:gd name="connsiteX64" fmla="*/ 380684 w 460932"/>
                <a:gd name="connsiteY64" fmla="*/ 76955 h 436760"/>
                <a:gd name="connsiteX65" fmla="*/ 426053 w 460932"/>
                <a:gd name="connsiteY65" fmla="*/ 121400 h 436760"/>
                <a:gd name="connsiteX66" fmla="*/ 442368 w 460932"/>
                <a:gd name="connsiteY66" fmla="*/ 105432 h 436760"/>
                <a:gd name="connsiteX67" fmla="*/ 435435 w 460932"/>
                <a:gd name="connsiteY67" fmla="*/ 112252 h 436760"/>
                <a:gd name="connsiteX68" fmla="*/ 389944 w 460932"/>
                <a:gd name="connsiteY68" fmla="*/ 67879 h 436760"/>
                <a:gd name="connsiteX69" fmla="*/ 396901 w 460932"/>
                <a:gd name="connsiteY69" fmla="*/ 61036 h 436760"/>
                <a:gd name="connsiteX70" fmla="*/ 424534 w 460932"/>
                <a:gd name="connsiteY70" fmla="*/ 61036 h 436760"/>
                <a:gd name="connsiteX71" fmla="*/ 442270 w 460932"/>
                <a:gd name="connsiteY71" fmla="*/ 78420 h 436760"/>
                <a:gd name="connsiteX72" fmla="*/ 442221 w 460932"/>
                <a:gd name="connsiteY72" fmla="*/ 105504 h 436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60932" h="436760">
                  <a:moveTo>
                    <a:pt x="451407" y="69272"/>
                  </a:moveTo>
                  <a:lnTo>
                    <a:pt x="433745" y="52032"/>
                  </a:lnTo>
                  <a:cubicBezTo>
                    <a:pt x="421016" y="39572"/>
                    <a:pt x="400395" y="39572"/>
                    <a:pt x="387666" y="52032"/>
                  </a:cubicBezTo>
                  <a:lnTo>
                    <a:pt x="376128" y="63389"/>
                  </a:lnTo>
                  <a:lnTo>
                    <a:pt x="351631" y="87400"/>
                  </a:lnTo>
                  <a:lnTo>
                    <a:pt x="351631" y="76811"/>
                  </a:lnTo>
                  <a:cubicBezTo>
                    <a:pt x="351631" y="74428"/>
                    <a:pt x="350670" y="72142"/>
                    <a:pt x="348961" y="70448"/>
                  </a:cubicBezTo>
                  <a:lnTo>
                    <a:pt x="343351" y="64950"/>
                  </a:lnTo>
                  <a:lnTo>
                    <a:pt x="343351" y="64950"/>
                  </a:lnTo>
                  <a:lnTo>
                    <a:pt x="282108" y="4922"/>
                  </a:lnTo>
                  <a:lnTo>
                    <a:pt x="282108" y="4922"/>
                  </a:lnTo>
                  <a:lnTo>
                    <a:pt x="279658" y="2641"/>
                  </a:lnTo>
                  <a:cubicBezTo>
                    <a:pt x="277934" y="942"/>
                    <a:pt x="275587" y="-10"/>
                    <a:pt x="273142" y="0"/>
                  </a:cubicBezTo>
                  <a:lnTo>
                    <a:pt x="43923" y="0"/>
                  </a:lnTo>
                  <a:cubicBezTo>
                    <a:pt x="19808" y="91"/>
                    <a:pt x="241" y="19152"/>
                    <a:pt x="0" y="42788"/>
                  </a:cubicBezTo>
                  <a:lnTo>
                    <a:pt x="0" y="393732"/>
                  </a:lnTo>
                  <a:cubicBezTo>
                    <a:pt x="107" y="417463"/>
                    <a:pt x="19714" y="436669"/>
                    <a:pt x="43923" y="436760"/>
                  </a:cubicBezTo>
                  <a:lnTo>
                    <a:pt x="307781" y="436760"/>
                  </a:lnTo>
                  <a:cubicBezTo>
                    <a:pt x="332033" y="436760"/>
                    <a:pt x="351702" y="417503"/>
                    <a:pt x="351729" y="393732"/>
                  </a:cubicBezTo>
                  <a:lnTo>
                    <a:pt x="351729" y="212137"/>
                  </a:lnTo>
                  <a:lnTo>
                    <a:pt x="451432" y="114436"/>
                  </a:lnTo>
                  <a:cubicBezTo>
                    <a:pt x="464109" y="101942"/>
                    <a:pt x="464099" y="81753"/>
                    <a:pt x="451407" y="69272"/>
                  </a:cubicBezTo>
                  <a:close/>
                  <a:moveTo>
                    <a:pt x="284827" y="32919"/>
                  </a:moveTo>
                  <a:lnTo>
                    <a:pt x="314763" y="62261"/>
                  </a:lnTo>
                  <a:lnTo>
                    <a:pt x="284729" y="62261"/>
                  </a:lnTo>
                  <a:close/>
                  <a:moveTo>
                    <a:pt x="333429" y="393732"/>
                  </a:moveTo>
                  <a:cubicBezTo>
                    <a:pt x="333415" y="407553"/>
                    <a:pt x="321979" y="418752"/>
                    <a:pt x="307879" y="418752"/>
                  </a:cubicBezTo>
                  <a:lnTo>
                    <a:pt x="43923" y="418752"/>
                  </a:lnTo>
                  <a:cubicBezTo>
                    <a:pt x="29837" y="418726"/>
                    <a:pt x="18424" y="407539"/>
                    <a:pt x="18397" y="393732"/>
                  </a:cubicBezTo>
                  <a:lnTo>
                    <a:pt x="18397" y="42788"/>
                  </a:lnTo>
                  <a:cubicBezTo>
                    <a:pt x="18424" y="28981"/>
                    <a:pt x="29837" y="17795"/>
                    <a:pt x="43923" y="17768"/>
                  </a:cubicBezTo>
                  <a:lnTo>
                    <a:pt x="266356" y="17768"/>
                  </a:lnTo>
                  <a:lnTo>
                    <a:pt x="266356" y="71265"/>
                  </a:lnTo>
                  <a:cubicBezTo>
                    <a:pt x="266356" y="76238"/>
                    <a:pt x="270470" y="80269"/>
                    <a:pt x="275543" y="80269"/>
                  </a:cubicBezTo>
                  <a:lnTo>
                    <a:pt x="333037" y="80269"/>
                  </a:lnTo>
                  <a:lnTo>
                    <a:pt x="333331" y="80557"/>
                  </a:lnTo>
                  <a:lnTo>
                    <a:pt x="333331" y="105312"/>
                  </a:lnTo>
                  <a:lnTo>
                    <a:pt x="253324" y="183612"/>
                  </a:lnTo>
                  <a:lnTo>
                    <a:pt x="253055" y="183876"/>
                  </a:lnTo>
                  <a:lnTo>
                    <a:pt x="253055" y="183876"/>
                  </a:lnTo>
                  <a:cubicBezTo>
                    <a:pt x="252932" y="184068"/>
                    <a:pt x="252736" y="184260"/>
                    <a:pt x="252614" y="184453"/>
                  </a:cubicBezTo>
                  <a:lnTo>
                    <a:pt x="252614" y="184597"/>
                  </a:lnTo>
                  <a:lnTo>
                    <a:pt x="252271" y="185101"/>
                  </a:lnTo>
                  <a:lnTo>
                    <a:pt x="252148" y="185293"/>
                  </a:lnTo>
                  <a:lnTo>
                    <a:pt x="251952" y="185797"/>
                  </a:lnTo>
                  <a:lnTo>
                    <a:pt x="251952" y="185797"/>
                  </a:lnTo>
                  <a:lnTo>
                    <a:pt x="224344" y="266426"/>
                  </a:lnTo>
                  <a:cubicBezTo>
                    <a:pt x="223207" y="269744"/>
                    <a:pt x="225031" y="273339"/>
                    <a:pt x="228417" y="274453"/>
                  </a:cubicBezTo>
                  <a:cubicBezTo>
                    <a:pt x="229102" y="274679"/>
                    <a:pt x="229820" y="274789"/>
                    <a:pt x="230542" y="274782"/>
                  </a:cubicBezTo>
                  <a:cubicBezTo>
                    <a:pt x="231248" y="274777"/>
                    <a:pt x="231949" y="274672"/>
                    <a:pt x="232624" y="274470"/>
                  </a:cubicBezTo>
                  <a:lnTo>
                    <a:pt x="314493" y="247698"/>
                  </a:lnTo>
                  <a:lnTo>
                    <a:pt x="314493" y="247698"/>
                  </a:lnTo>
                  <a:cubicBezTo>
                    <a:pt x="314701" y="247640"/>
                    <a:pt x="314900" y="247551"/>
                    <a:pt x="315081" y="247433"/>
                  </a:cubicBezTo>
                  <a:lnTo>
                    <a:pt x="315228" y="247433"/>
                  </a:lnTo>
                  <a:lnTo>
                    <a:pt x="315865" y="247049"/>
                  </a:lnTo>
                  <a:lnTo>
                    <a:pt x="316453" y="246617"/>
                  </a:lnTo>
                  <a:lnTo>
                    <a:pt x="316575" y="246473"/>
                  </a:lnTo>
                  <a:cubicBezTo>
                    <a:pt x="316683" y="246413"/>
                    <a:pt x="316774" y="246331"/>
                    <a:pt x="316845" y="246233"/>
                  </a:cubicBezTo>
                  <a:lnTo>
                    <a:pt x="333111" y="230266"/>
                  </a:lnTo>
                  <a:close/>
                  <a:moveTo>
                    <a:pt x="260747" y="200036"/>
                  </a:moveTo>
                  <a:lnTo>
                    <a:pt x="300285" y="238837"/>
                  </a:lnTo>
                  <a:lnTo>
                    <a:pt x="240782" y="258262"/>
                  </a:lnTo>
                  <a:close/>
                  <a:moveTo>
                    <a:pt x="312533" y="232691"/>
                  </a:moveTo>
                  <a:lnTo>
                    <a:pt x="267140" y="188222"/>
                  </a:lnTo>
                  <a:lnTo>
                    <a:pt x="380684" y="76955"/>
                  </a:lnTo>
                  <a:lnTo>
                    <a:pt x="426053" y="121400"/>
                  </a:lnTo>
                  <a:close/>
                  <a:moveTo>
                    <a:pt x="442368" y="105432"/>
                  </a:moveTo>
                  <a:lnTo>
                    <a:pt x="435435" y="112252"/>
                  </a:lnTo>
                  <a:lnTo>
                    <a:pt x="389944" y="67879"/>
                  </a:lnTo>
                  <a:lnTo>
                    <a:pt x="396901" y="61036"/>
                  </a:lnTo>
                  <a:cubicBezTo>
                    <a:pt x="404544" y="53588"/>
                    <a:pt x="416891" y="53588"/>
                    <a:pt x="424534" y="61036"/>
                  </a:cubicBezTo>
                  <a:lnTo>
                    <a:pt x="442270" y="78420"/>
                  </a:lnTo>
                  <a:cubicBezTo>
                    <a:pt x="449854" y="85925"/>
                    <a:pt x="449832" y="98025"/>
                    <a:pt x="442221" y="105504"/>
                  </a:cubicBezTo>
                  <a:close/>
                </a:path>
              </a:pathLst>
            </a:custGeom>
            <a:grpFill/>
            <a:ln w="2406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86" name="Graphic 53">
            <a:extLst>
              <a:ext uri="{FF2B5EF4-FFF2-40B4-BE49-F238E27FC236}">
                <a16:creationId xmlns:a16="http://schemas.microsoft.com/office/drawing/2014/main" id="{1ECC6F11-97C5-E74E-A01C-99BB27A3C339}"/>
              </a:ext>
            </a:extLst>
          </p:cNvPr>
          <p:cNvGrpSpPr/>
          <p:nvPr userDrawn="1"/>
        </p:nvGrpSpPr>
        <p:grpSpPr>
          <a:xfrm>
            <a:off x="3980883" y="3359118"/>
            <a:ext cx="309574" cy="302971"/>
            <a:chOff x="5168279" y="4225983"/>
            <a:chExt cx="432198" cy="432198"/>
          </a:xfrm>
          <a:solidFill>
            <a:schemeClr val="bg1"/>
          </a:solidFill>
        </p:grpSpPr>
        <p:sp>
          <p:nvSpPr>
            <p:cNvPr id="187" name="Freeform 186">
              <a:extLst>
                <a:ext uri="{FF2B5EF4-FFF2-40B4-BE49-F238E27FC236}">
                  <a16:creationId xmlns:a16="http://schemas.microsoft.com/office/drawing/2014/main" id="{77FB7C6B-754E-8D43-A6A4-E8029574789E}"/>
                </a:ext>
              </a:extLst>
            </p:cNvPr>
            <p:cNvSpPr/>
            <p:nvPr/>
          </p:nvSpPr>
          <p:spPr>
            <a:xfrm>
              <a:off x="5371871" y="4358343"/>
              <a:ext cx="34954" cy="34954"/>
            </a:xfrm>
            <a:custGeom>
              <a:avLst/>
              <a:gdLst>
                <a:gd name="connsiteX0" fmla="*/ 34954 w 34954"/>
                <a:gd name="connsiteY0" fmla="*/ 17477 h 34954"/>
                <a:gd name="connsiteX1" fmla="*/ 17477 w 34954"/>
                <a:gd name="connsiteY1" fmla="*/ 34954 h 34954"/>
                <a:gd name="connsiteX2" fmla="*/ 0 w 34954"/>
                <a:gd name="connsiteY2" fmla="*/ 17477 h 34954"/>
                <a:gd name="connsiteX3" fmla="*/ 17477 w 34954"/>
                <a:gd name="connsiteY3" fmla="*/ 0 h 34954"/>
                <a:gd name="connsiteX4" fmla="*/ 34954 w 34954"/>
                <a:gd name="connsiteY4" fmla="*/ 17477 h 3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54" h="34954">
                  <a:moveTo>
                    <a:pt x="34954" y="17477"/>
                  </a:moveTo>
                  <a:cubicBezTo>
                    <a:pt x="34954" y="27129"/>
                    <a:pt x="27129" y="34954"/>
                    <a:pt x="17477" y="34954"/>
                  </a:cubicBezTo>
                  <a:cubicBezTo>
                    <a:pt x="7825" y="34954"/>
                    <a:pt x="0" y="27129"/>
                    <a:pt x="0" y="17477"/>
                  </a:cubicBezTo>
                  <a:cubicBezTo>
                    <a:pt x="0" y="7825"/>
                    <a:pt x="7825" y="0"/>
                    <a:pt x="17477" y="0"/>
                  </a:cubicBezTo>
                  <a:cubicBezTo>
                    <a:pt x="27129" y="0"/>
                    <a:pt x="34954" y="7825"/>
                    <a:pt x="34954" y="17477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88" name="Freeform 187">
              <a:extLst>
                <a:ext uri="{FF2B5EF4-FFF2-40B4-BE49-F238E27FC236}">
                  <a16:creationId xmlns:a16="http://schemas.microsoft.com/office/drawing/2014/main" id="{413FCFF3-277B-9F4E-9CC5-5A5545EDDA67}"/>
                </a:ext>
              </a:extLst>
            </p:cNvPr>
            <p:cNvSpPr/>
            <p:nvPr/>
          </p:nvSpPr>
          <p:spPr>
            <a:xfrm>
              <a:off x="5184031" y="4239813"/>
              <a:ext cx="75656" cy="270881"/>
            </a:xfrm>
            <a:custGeom>
              <a:avLst/>
              <a:gdLst>
                <a:gd name="connsiteX0" fmla="*/ 57856 w 75656"/>
                <a:gd name="connsiteY0" fmla="*/ 2836 h 270881"/>
                <a:gd name="connsiteX1" fmla="*/ 48339 w 75656"/>
                <a:gd name="connsiteY1" fmla="*/ 258608 h 270881"/>
                <a:gd name="connsiteX2" fmla="*/ 57856 w 75656"/>
                <a:gd name="connsiteY2" fmla="*/ 268125 h 270881"/>
                <a:gd name="connsiteX3" fmla="*/ 72815 w 75656"/>
                <a:gd name="connsiteY3" fmla="*/ 267420 h 270881"/>
                <a:gd name="connsiteX4" fmla="*/ 72308 w 75656"/>
                <a:gd name="connsiteY4" fmla="*/ 252647 h 270881"/>
                <a:gd name="connsiteX5" fmla="*/ 63735 w 75656"/>
                <a:gd name="connsiteY5" fmla="*/ 26887 h 270881"/>
                <a:gd name="connsiteX6" fmla="*/ 72308 w 75656"/>
                <a:gd name="connsiteY6" fmla="*/ 18314 h 270881"/>
                <a:gd name="connsiteX7" fmla="*/ 72821 w 75656"/>
                <a:gd name="connsiteY7" fmla="*/ 3376 h 270881"/>
                <a:gd name="connsiteX8" fmla="*/ 57856 w 75656"/>
                <a:gd name="connsiteY8" fmla="*/ 2836 h 270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656" h="270881">
                  <a:moveTo>
                    <a:pt x="57856" y="2836"/>
                  </a:moveTo>
                  <a:cubicBezTo>
                    <a:pt x="-15401" y="70837"/>
                    <a:pt x="-19662" y="185350"/>
                    <a:pt x="48339" y="258608"/>
                  </a:cubicBezTo>
                  <a:cubicBezTo>
                    <a:pt x="51393" y="261896"/>
                    <a:pt x="54567" y="265072"/>
                    <a:pt x="57856" y="268125"/>
                  </a:cubicBezTo>
                  <a:cubicBezTo>
                    <a:pt x="62182" y="272060"/>
                    <a:pt x="68879" y="271744"/>
                    <a:pt x="72815" y="267420"/>
                  </a:cubicBezTo>
                  <a:cubicBezTo>
                    <a:pt x="76679" y="263171"/>
                    <a:pt x="76454" y="256620"/>
                    <a:pt x="72308" y="252647"/>
                  </a:cubicBezTo>
                  <a:cubicBezTo>
                    <a:pt x="7599" y="192672"/>
                    <a:pt x="3761" y="91596"/>
                    <a:pt x="63735" y="26887"/>
                  </a:cubicBezTo>
                  <a:cubicBezTo>
                    <a:pt x="66483" y="23922"/>
                    <a:pt x="69343" y="21062"/>
                    <a:pt x="72308" y="18314"/>
                  </a:cubicBezTo>
                  <a:cubicBezTo>
                    <a:pt x="76564" y="14326"/>
                    <a:pt x="76793" y="7647"/>
                    <a:pt x="72821" y="3376"/>
                  </a:cubicBezTo>
                  <a:cubicBezTo>
                    <a:pt x="68838" y="-905"/>
                    <a:pt x="62138" y="-1147"/>
                    <a:pt x="57856" y="2836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89" name="Freeform 188">
              <a:extLst>
                <a:ext uri="{FF2B5EF4-FFF2-40B4-BE49-F238E27FC236}">
                  <a16:creationId xmlns:a16="http://schemas.microsoft.com/office/drawing/2014/main" id="{1EF31D96-8A03-D843-90B1-50F8A4FDDE17}"/>
                </a:ext>
              </a:extLst>
            </p:cNvPr>
            <p:cNvSpPr/>
            <p:nvPr/>
          </p:nvSpPr>
          <p:spPr>
            <a:xfrm>
              <a:off x="5245426" y="4278712"/>
              <a:ext cx="58333" cy="193487"/>
            </a:xfrm>
            <a:custGeom>
              <a:avLst/>
              <a:gdLst>
                <a:gd name="connsiteX0" fmla="*/ 40194 w 58333"/>
                <a:gd name="connsiteY0" fmla="*/ 2808 h 193487"/>
                <a:gd name="connsiteX1" fmla="*/ 0 w 58333"/>
                <a:gd name="connsiteY1" fmla="*/ 96595 h 193487"/>
                <a:gd name="connsiteX2" fmla="*/ 40194 w 58333"/>
                <a:gd name="connsiteY2" fmla="*/ 190382 h 193487"/>
                <a:gd name="connsiteX3" fmla="*/ 55227 w 58333"/>
                <a:gd name="connsiteY3" fmla="*/ 190368 h 193487"/>
                <a:gd name="connsiteX4" fmla="*/ 55213 w 58333"/>
                <a:gd name="connsiteY4" fmla="*/ 175336 h 193487"/>
                <a:gd name="connsiteX5" fmla="*/ 21178 w 58333"/>
                <a:gd name="connsiteY5" fmla="*/ 96595 h 193487"/>
                <a:gd name="connsiteX6" fmla="*/ 55213 w 58333"/>
                <a:gd name="connsiteY6" fmla="*/ 17826 h 193487"/>
                <a:gd name="connsiteX7" fmla="*/ 54722 w 58333"/>
                <a:gd name="connsiteY7" fmla="*/ 2860 h 193487"/>
                <a:gd name="connsiteX8" fmla="*/ 40302 w 58333"/>
                <a:gd name="connsiteY8" fmla="*/ 2808 h 193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333" h="193487">
                  <a:moveTo>
                    <a:pt x="40194" y="2808"/>
                  </a:moveTo>
                  <a:cubicBezTo>
                    <a:pt x="14744" y="27403"/>
                    <a:pt x="259" y="61203"/>
                    <a:pt x="0" y="96595"/>
                  </a:cubicBezTo>
                  <a:cubicBezTo>
                    <a:pt x="262" y="131986"/>
                    <a:pt x="14747" y="165784"/>
                    <a:pt x="40194" y="190382"/>
                  </a:cubicBezTo>
                  <a:cubicBezTo>
                    <a:pt x="44349" y="194529"/>
                    <a:pt x="51079" y="194523"/>
                    <a:pt x="55227" y="190368"/>
                  </a:cubicBezTo>
                  <a:cubicBezTo>
                    <a:pt x="59374" y="186213"/>
                    <a:pt x="59368" y="179483"/>
                    <a:pt x="55213" y="175336"/>
                  </a:cubicBezTo>
                  <a:cubicBezTo>
                    <a:pt x="33751" y="154727"/>
                    <a:pt x="21485" y="126348"/>
                    <a:pt x="21178" y="96595"/>
                  </a:cubicBezTo>
                  <a:cubicBezTo>
                    <a:pt x="21478" y="66832"/>
                    <a:pt x="33744" y="38442"/>
                    <a:pt x="55213" y="17826"/>
                  </a:cubicBezTo>
                  <a:cubicBezTo>
                    <a:pt x="59211" y="13558"/>
                    <a:pt x="58990" y="6857"/>
                    <a:pt x="54722" y="2860"/>
                  </a:cubicBezTo>
                  <a:cubicBezTo>
                    <a:pt x="50671" y="-933"/>
                    <a:pt x="44380" y="-956"/>
                    <a:pt x="40302" y="2808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90" name="Freeform 189">
              <a:extLst>
                <a:ext uri="{FF2B5EF4-FFF2-40B4-BE49-F238E27FC236}">
                  <a16:creationId xmlns:a16="http://schemas.microsoft.com/office/drawing/2014/main" id="{53B18348-F24D-5F42-A1D1-863B93778C4B}"/>
                </a:ext>
              </a:extLst>
            </p:cNvPr>
            <p:cNvSpPr/>
            <p:nvPr/>
          </p:nvSpPr>
          <p:spPr>
            <a:xfrm>
              <a:off x="5307338" y="4320739"/>
              <a:ext cx="40221" cy="110095"/>
            </a:xfrm>
            <a:custGeom>
              <a:avLst/>
              <a:gdLst>
                <a:gd name="connsiteX0" fmla="*/ 22096 w 40221"/>
                <a:gd name="connsiteY0" fmla="*/ 3136 h 110095"/>
                <a:gd name="connsiteX1" fmla="*/ 0 w 40221"/>
                <a:gd name="connsiteY1" fmla="*/ 54649 h 110095"/>
                <a:gd name="connsiteX2" fmla="*/ 0 w 40221"/>
                <a:gd name="connsiteY2" fmla="*/ 54649 h 110095"/>
                <a:gd name="connsiteX3" fmla="*/ 0 w 40221"/>
                <a:gd name="connsiteY3" fmla="*/ 55432 h 110095"/>
                <a:gd name="connsiteX4" fmla="*/ 0 w 40221"/>
                <a:gd name="connsiteY4" fmla="*/ 55432 h 110095"/>
                <a:gd name="connsiteX5" fmla="*/ 22096 w 40221"/>
                <a:gd name="connsiteY5" fmla="*/ 106945 h 110095"/>
                <a:gd name="connsiteX6" fmla="*/ 37071 w 40221"/>
                <a:gd name="connsiteY6" fmla="*/ 107043 h 110095"/>
                <a:gd name="connsiteX7" fmla="*/ 40221 w 40221"/>
                <a:gd name="connsiteY7" fmla="*/ 99489 h 110095"/>
                <a:gd name="connsiteX8" fmla="*/ 37142 w 40221"/>
                <a:gd name="connsiteY8" fmla="*/ 92061 h 110095"/>
                <a:gd name="connsiteX9" fmla="*/ 21151 w 40221"/>
                <a:gd name="connsiteY9" fmla="*/ 55432 h 110095"/>
                <a:gd name="connsiteX10" fmla="*/ 21151 w 40221"/>
                <a:gd name="connsiteY10" fmla="*/ 55432 h 110095"/>
                <a:gd name="connsiteX11" fmla="*/ 21151 w 40221"/>
                <a:gd name="connsiteY11" fmla="*/ 54649 h 110095"/>
                <a:gd name="connsiteX12" fmla="*/ 21151 w 40221"/>
                <a:gd name="connsiteY12" fmla="*/ 54649 h 110095"/>
                <a:gd name="connsiteX13" fmla="*/ 37142 w 40221"/>
                <a:gd name="connsiteY13" fmla="*/ 18047 h 110095"/>
                <a:gd name="connsiteX14" fmla="*/ 37074 w 40221"/>
                <a:gd name="connsiteY14" fmla="*/ 3068 h 110095"/>
                <a:gd name="connsiteX15" fmla="*/ 22096 w 40221"/>
                <a:gd name="connsiteY15" fmla="*/ 3136 h 110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221" h="110095">
                  <a:moveTo>
                    <a:pt x="22096" y="3136"/>
                  </a:moveTo>
                  <a:cubicBezTo>
                    <a:pt x="8470" y="16887"/>
                    <a:pt x="572" y="35298"/>
                    <a:pt x="0" y="54649"/>
                  </a:cubicBezTo>
                  <a:lnTo>
                    <a:pt x="0" y="54649"/>
                  </a:lnTo>
                  <a:lnTo>
                    <a:pt x="0" y="55432"/>
                  </a:lnTo>
                  <a:lnTo>
                    <a:pt x="0" y="55432"/>
                  </a:lnTo>
                  <a:cubicBezTo>
                    <a:pt x="567" y="74784"/>
                    <a:pt x="8465" y="93197"/>
                    <a:pt x="22096" y="106945"/>
                  </a:cubicBezTo>
                  <a:cubicBezTo>
                    <a:pt x="26204" y="111107"/>
                    <a:pt x="32908" y="111151"/>
                    <a:pt x="37071" y="107043"/>
                  </a:cubicBezTo>
                  <a:cubicBezTo>
                    <a:pt x="39091" y="105049"/>
                    <a:pt x="40226" y="102328"/>
                    <a:pt x="40221" y="99489"/>
                  </a:cubicBezTo>
                  <a:cubicBezTo>
                    <a:pt x="40221" y="96703"/>
                    <a:pt x="39113" y="94031"/>
                    <a:pt x="37142" y="92061"/>
                  </a:cubicBezTo>
                  <a:cubicBezTo>
                    <a:pt x="27435" y="82269"/>
                    <a:pt x="21733" y="69207"/>
                    <a:pt x="21151" y="55432"/>
                  </a:cubicBezTo>
                  <a:lnTo>
                    <a:pt x="21151" y="55432"/>
                  </a:lnTo>
                  <a:lnTo>
                    <a:pt x="21151" y="54649"/>
                  </a:lnTo>
                  <a:lnTo>
                    <a:pt x="21151" y="54649"/>
                  </a:lnTo>
                  <a:cubicBezTo>
                    <a:pt x="21740" y="40883"/>
                    <a:pt x="27442" y="27832"/>
                    <a:pt x="37142" y="18047"/>
                  </a:cubicBezTo>
                  <a:cubicBezTo>
                    <a:pt x="41260" y="13892"/>
                    <a:pt x="41229" y="7186"/>
                    <a:pt x="37074" y="3068"/>
                  </a:cubicBezTo>
                  <a:cubicBezTo>
                    <a:pt x="32920" y="-1049"/>
                    <a:pt x="26214" y="-1019"/>
                    <a:pt x="22096" y="3136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91" name="Freeform 190">
              <a:extLst>
                <a:ext uri="{FF2B5EF4-FFF2-40B4-BE49-F238E27FC236}">
                  <a16:creationId xmlns:a16="http://schemas.microsoft.com/office/drawing/2014/main" id="{B330B077-DDD7-6A42-8287-AEF515ADFCE3}"/>
                </a:ext>
              </a:extLst>
            </p:cNvPr>
            <p:cNvSpPr/>
            <p:nvPr/>
          </p:nvSpPr>
          <p:spPr>
            <a:xfrm>
              <a:off x="5520002" y="4239463"/>
              <a:ext cx="75755" cy="271147"/>
            </a:xfrm>
            <a:custGeom>
              <a:avLst/>
              <a:gdLst>
                <a:gd name="connsiteX0" fmla="*/ 17914 w 75755"/>
                <a:gd name="connsiteY0" fmla="*/ 268204 h 271147"/>
                <a:gd name="connsiteX1" fmla="*/ 27403 w 75755"/>
                <a:gd name="connsiteY1" fmla="*/ 12432 h 271147"/>
                <a:gd name="connsiteX2" fmla="*/ 17914 w 75755"/>
                <a:gd name="connsiteY2" fmla="*/ 2943 h 271147"/>
                <a:gd name="connsiteX3" fmla="*/ 2944 w 75755"/>
                <a:gd name="connsiteY3" fmla="*/ 3263 h 271147"/>
                <a:gd name="connsiteX4" fmla="*/ 3262 w 75755"/>
                <a:gd name="connsiteY4" fmla="*/ 18235 h 271147"/>
                <a:gd name="connsiteX5" fmla="*/ 3462 w 75755"/>
                <a:gd name="connsiteY5" fmla="*/ 18421 h 271147"/>
                <a:gd name="connsiteX6" fmla="*/ 12047 w 75755"/>
                <a:gd name="connsiteY6" fmla="*/ 244142 h 271147"/>
                <a:gd name="connsiteX7" fmla="*/ 3462 w 75755"/>
                <a:gd name="connsiteY7" fmla="*/ 252726 h 271147"/>
                <a:gd name="connsiteX8" fmla="*/ 2757 w 75755"/>
                <a:gd name="connsiteY8" fmla="*/ 267686 h 271147"/>
                <a:gd name="connsiteX9" fmla="*/ 17714 w 75755"/>
                <a:gd name="connsiteY9" fmla="*/ 268391 h 271147"/>
                <a:gd name="connsiteX10" fmla="*/ 17914 w 75755"/>
                <a:gd name="connsiteY10" fmla="*/ 268204 h 271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755" h="271147">
                  <a:moveTo>
                    <a:pt x="17914" y="268204"/>
                  </a:moveTo>
                  <a:cubicBezTo>
                    <a:pt x="91163" y="200195"/>
                    <a:pt x="95412" y="85682"/>
                    <a:pt x="27403" y="12432"/>
                  </a:cubicBezTo>
                  <a:cubicBezTo>
                    <a:pt x="24359" y="9153"/>
                    <a:pt x="21193" y="5988"/>
                    <a:pt x="17914" y="2943"/>
                  </a:cubicBezTo>
                  <a:cubicBezTo>
                    <a:pt x="13692" y="-1103"/>
                    <a:pt x="6987" y="-959"/>
                    <a:pt x="2944" y="3263"/>
                  </a:cubicBezTo>
                  <a:cubicBezTo>
                    <a:pt x="-1103" y="7486"/>
                    <a:pt x="-960" y="14189"/>
                    <a:pt x="3262" y="18235"/>
                  </a:cubicBezTo>
                  <a:cubicBezTo>
                    <a:pt x="3327" y="18298"/>
                    <a:pt x="3395" y="18360"/>
                    <a:pt x="3462" y="18421"/>
                  </a:cubicBezTo>
                  <a:cubicBezTo>
                    <a:pt x="68165" y="78382"/>
                    <a:pt x="72006" y="179440"/>
                    <a:pt x="12047" y="244142"/>
                  </a:cubicBezTo>
                  <a:cubicBezTo>
                    <a:pt x="9294" y="247111"/>
                    <a:pt x="6431" y="249975"/>
                    <a:pt x="3462" y="252726"/>
                  </a:cubicBezTo>
                  <a:cubicBezTo>
                    <a:pt x="-862" y="256662"/>
                    <a:pt x="-1178" y="263358"/>
                    <a:pt x="2757" y="267686"/>
                  </a:cubicBezTo>
                  <a:cubicBezTo>
                    <a:pt x="6693" y="272010"/>
                    <a:pt x="13389" y="272327"/>
                    <a:pt x="17714" y="268391"/>
                  </a:cubicBezTo>
                  <a:cubicBezTo>
                    <a:pt x="17782" y="268329"/>
                    <a:pt x="17849" y="268267"/>
                    <a:pt x="17914" y="268204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92" name="Freeform 191">
              <a:extLst>
                <a:ext uri="{FF2B5EF4-FFF2-40B4-BE49-F238E27FC236}">
                  <a16:creationId xmlns:a16="http://schemas.microsoft.com/office/drawing/2014/main" id="{5DDE9FFC-0FAE-F240-92D9-A1E8E232328A}"/>
                </a:ext>
              </a:extLst>
            </p:cNvPr>
            <p:cNvSpPr/>
            <p:nvPr/>
          </p:nvSpPr>
          <p:spPr>
            <a:xfrm>
              <a:off x="5476136" y="4278181"/>
              <a:ext cx="58240" cy="193710"/>
            </a:xfrm>
            <a:custGeom>
              <a:avLst/>
              <a:gdLst>
                <a:gd name="connsiteX0" fmla="*/ 18046 w 58240"/>
                <a:gd name="connsiteY0" fmla="*/ 190642 h 193710"/>
                <a:gd name="connsiteX1" fmla="*/ 58241 w 58240"/>
                <a:gd name="connsiteY1" fmla="*/ 96855 h 193710"/>
                <a:gd name="connsiteX2" fmla="*/ 18046 w 58240"/>
                <a:gd name="connsiteY2" fmla="*/ 3068 h 193710"/>
                <a:gd name="connsiteX3" fmla="*/ 3068 w 58240"/>
                <a:gd name="connsiteY3" fmla="*/ 3136 h 193710"/>
                <a:gd name="connsiteX4" fmla="*/ 3136 w 58240"/>
                <a:gd name="connsiteY4" fmla="*/ 18114 h 193710"/>
                <a:gd name="connsiteX5" fmla="*/ 37063 w 58240"/>
                <a:gd name="connsiteY5" fmla="*/ 96855 h 193710"/>
                <a:gd name="connsiteX6" fmla="*/ 3136 w 58240"/>
                <a:gd name="connsiteY6" fmla="*/ 175596 h 193710"/>
                <a:gd name="connsiteX7" fmla="*/ 3068 w 58240"/>
                <a:gd name="connsiteY7" fmla="*/ 190575 h 193710"/>
                <a:gd name="connsiteX8" fmla="*/ 18046 w 58240"/>
                <a:gd name="connsiteY8" fmla="*/ 190642 h 19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240" h="193710">
                  <a:moveTo>
                    <a:pt x="18046" y="190642"/>
                  </a:moveTo>
                  <a:cubicBezTo>
                    <a:pt x="43497" y="166047"/>
                    <a:pt x="57981" y="132247"/>
                    <a:pt x="58241" y="96855"/>
                  </a:cubicBezTo>
                  <a:cubicBezTo>
                    <a:pt x="57971" y="61466"/>
                    <a:pt x="43487" y="27671"/>
                    <a:pt x="18046" y="3068"/>
                  </a:cubicBezTo>
                  <a:cubicBezTo>
                    <a:pt x="13892" y="-1049"/>
                    <a:pt x="7185" y="-1019"/>
                    <a:pt x="3068" y="3136"/>
                  </a:cubicBezTo>
                  <a:cubicBezTo>
                    <a:pt x="-1049" y="7291"/>
                    <a:pt x="-1019" y="13997"/>
                    <a:pt x="3136" y="18114"/>
                  </a:cubicBezTo>
                  <a:cubicBezTo>
                    <a:pt x="24559" y="38742"/>
                    <a:pt x="36785" y="67118"/>
                    <a:pt x="37063" y="96855"/>
                  </a:cubicBezTo>
                  <a:cubicBezTo>
                    <a:pt x="36785" y="126593"/>
                    <a:pt x="24559" y="154969"/>
                    <a:pt x="3136" y="175596"/>
                  </a:cubicBezTo>
                  <a:cubicBezTo>
                    <a:pt x="-1019" y="179714"/>
                    <a:pt x="-1049" y="186420"/>
                    <a:pt x="3068" y="190575"/>
                  </a:cubicBezTo>
                  <a:cubicBezTo>
                    <a:pt x="7185" y="194730"/>
                    <a:pt x="13892" y="194760"/>
                    <a:pt x="18046" y="190642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93" name="Freeform 192">
              <a:extLst>
                <a:ext uri="{FF2B5EF4-FFF2-40B4-BE49-F238E27FC236}">
                  <a16:creationId xmlns:a16="http://schemas.microsoft.com/office/drawing/2014/main" id="{104674AF-76C2-C344-81C5-E0B76B4C6EBA}"/>
                </a:ext>
              </a:extLst>
            </p:cNvPr>
            <p:cNvSpPr/>
            <p:nvPr/>
          </p:nvSpPr>
          <p:spPr>
            <a:xfrm>
              <a:off x="5431987" y="4319520"/>
              <a:ext cx="40477" cy="110340"/>
            </a:xfrm>
            <a:custGeom>
              <a:avLst/>
              <a:gdLst>
                <a:gd name="connsiteX0" fmla="*/ 18381 w 40477"/>
                <a:gd name="connsiteY0" fmla="*/ 106921 h 110340"/>
                <a:gd name="connsiteX1" fmla="*/ 40478 w 40477"/>
                <a:gd name="connsiteY1" fmla="*/ 55408 h 110340"/>
                <a:gd name="connsiteX2" fmla="*/ 40478 w 40477"/>
                <a:gd name="connsiteY2" fmla="*/ 55408 h 110340"/>
                <a:gd name="connsiteX3" fmla="*/ 40478 w 40477"/>
                <a:gd name="connsiteY3" fmla="*/ 54652 h 110340"/>
                <a:gd name="connsiteX4" fmla="*/ 40478 w 40477"/>
                <a:gd name="connsiteY4" fmla="*/ 54652 h 110340"/>
                <a:gd name="connsiteX5" fmla="*/ 18381 w 40477"/>
                <a:gd name="connsiteY5" fmla="*/ 3112 h 110340"/>
                <a:gd name="connsiteX6" fmla="*/ 3368 w 40477"/>
                <a:gd name="connsiteY6" fmla="*/ 3106 h 110340"/>
                <a:gd name="connsiteX7" fmla="*/ 256 w 40477"/>
                <a:gd name="connsiteY7" fmla="*/ 10568 h 110340"/>
                <a:gd name="connsiteX8" fmla="*/ 3336 w 40477"/>
                <a:gd name="connsiteY8" fmla="*/ 18023 h 110340"/>
                <a:gd name="connsiteX9" fmla="*/ 19327 w 40477"/>
                <a:gd name="connsiteY9" fmla="*/ 54652 h 110340"/>
                <a:gd name="connsiteX10" fmla="*/ 19327 w 40477"/>
                <a:gd name="connsiteY10" fmla="*/ 54652 h 110340"/>
                <a:gd name="connsiteX11" fmla="*/ 19327 w 40477"/>
                <a:gd name="connsiteY11" fmla="*/ 55408 h 110340"/>
                <a:gd name="connsiteX12" fmla="*/ 19327 w 40477"/>
                <a:gd name="connsiteY12" fmla="*/ 55408 h 110340"/>
                <a:gd name="connsiteX13" fmla="*/ 3336 w 40477"/>
                <a:gd name="connsiteY13" fmla="*/ 92037 h 110340"/>
                <a:gd name="connsiteX14" fmla="*/ 2874 w 40477"/>
                <a:gd name="connsiteY14" fmla="*/ 107005 h 110340"/>
                <a:gd name="connsiteX15" fmla="*/ 17841 w 40477"/>
                <a:gd name="connsiteY15" fmla="*/ 107466 h 110340"/>
                <a:gd name="connsiteX16" fmla="*/ 18381 w 40477"/>
                <a:gd name="connsiteY16" fmla="*/ 106921 h 110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0477" h="110340">
                  <a:moveTo>
                    <a:pt x="18381" y="106921"/>
                  </a:moveTo>
                  <a:cubicBezTo>
                    <a:pt x="32017" y="93176"/>
                    <a:pt x="39916" y="74761"/>
                    <a:pt x="40478" y="55408"/>
                  </a:cubicBezTo>
                  <a:lnTo>
                    <a:pt x="40478" y="55408"/>
                  </a:lnTo>
                  <a:lnTo>
                    <a:pt x="40478" y="54652"/>
                  </a:lnTo>
                  <a:lnTo>
                    <a:pt x="40478" y="54652"/>
                  </a:lnTo>
                  <a:cubicBezTo>
                    <a:pt x="39910" y="35293"/>
                    <a:pt x="32012" y="16871"/>
                    <a:pt x="18381" y="3112"/>
                  </a:cubicBezTo>
                  <a:cubicBezTo>
                    <a:pt x="14238" y="-1035"/>
                    <a:pt x="7517" y="-1038"/>
                    <a:pt x="3368" y="3106"/>
                  </a:cubicBezTo>
                  <a:cubicBezTo>
                    <a:pt x="1387" y="5086"/>
                    <a:pt x="269" y="7767"/>
                    <a:pt x="256" y="10568"/>
                  </a:cubicBezTo>
                  <a:cubicBezTo>
                    <a:pt x="250" y="13364"/>
                    <a:pt x="1358" y="16047"/>
                    <a:pt x="3336" y="18023"/>
                  </a:cubicBezTo>
                  <a:cubicBezTo>
                    <a:pt x="13041" y="27815"/>
                    <a:pt x="18743" y="40877"/>
                    <a:pt x="19327" y="54652"/>
                  </a:cubicBezTo>
                  <a:lnTo>
                    <a:pt x="19327" y="54652"/>
                  </a:lnTo>
                  <a:lnTo>
                    <a:pt x="19327" y="55408"/>
                  </a:lnTo>
                  <a:lnTo>
                    <a:pt x="19327" y="55408"/>
                  </a:lnTo>
                  <a:cubicBezTo>
                    <a:pt x="18743" y="69184"/>
                    <a:pt x="13041" y="82245"/>
                    <a:pt x="3336" y="92037"/>
                  </a:cubicBezTo>
                  <a:cubicBezTo>
                    <a:pt x="-925" y="96043"/>
                    <a:pt x="-1131" y="102744"/>
                    <a:pt x="2874" y="107005"/>
                  </a:cubicBezTo>
                  <a:cubicBezTo>
                    <a:pt x="6880" y="111266"/>
                    <a:pt x="13581" y="111472"/>
                    <a:pt x="17841" y="107466"/>
                  </a:cubicBezTo>
                  <a:cubicBezTo>
                    <a:pt x="18028" y="107291"/>
                    <a:pt x="18209" y="107109"/>
                    <a:pt x="18381" y="106921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94" name="Freeform 193">
              <a:extLst>
                <a:ext uri="{FF2B5EF4-FFF2-40B4-BE49-F238E27FC236}">
                  <a16:creationId xmlns:a16="http://schemas.microsoft.com/office/drawing/2014/main" id="{54EC75A1-1463-1548-BD44-9B29C397802F}"/>
                </a:ext>
              </a:extLst>
            </p:cNvPr>
            <p:cNvSpPr/>
            <p:nvPr/>
          </p:nvSpPr>
          <p:spPr>
            <a:xfrm>
              <a:off x="5230650" y="4538354"/>
              <a:ext cx="85710" cy="113397"/>
            </a:xfrm>
            <a:custGeom>
              <a:avLst/>
              <a:gdLst>
                <a:gd name="connsiteX0" fmla="*/ 0 w 85710"/>
                <a:gd name="connsiteY0" fmla="*/ 0 h 113397"/>
                <a:gd name="connsiteX1" fmla="*/ 39411 w 85710"/>
                <a:gd name="connsiteY1" fmla="*/ 0 h 113397"/>
                <a:gd name="connsiteX2" fmla="*/ 54943 w 85710"/>
                <a:gd name="connsiteY2" fmla="*/ 1675 h 113397"/>
                <a:gd name="connsiteX3" fmla="*/ 68449 w 85710"/>
                <a:gd name="connsiteY3" fmla="*/ 7212 h 113397"/>
                <a:gd name="connsiteX4" fmla="*/ 77823 w 85710"/>
                <a:gd name="connsiteY4" fmla="*/ 17288 h 113397"/>
                <a:gd name="connsiteX5" fmla="*/ 81334 w 85710"/>
                <a:gd name="connsiteY5" fmla="*/ 32523 h 113397"/>
                <a:gd name="connsiteX6" fmla="*/ 74365 w 85710"/>
                <a:gd name="connsiteY6" fmla="*/ 52620 h 113397"/>
                <a:gd name="connsiteX7" fmla="*/ 55456 w 85710"/>
                <a:gd name="connsiteY7" fmla="*/ 63101 h 113397"/>
                <a:gd name="connsiteX8" fmla="*/ 85710 w 85710"/>
                <a:gd name="connsiteY8" fmla="*/ 113398 h 113397"/>
                <a:gd name="connsiteX9" fmla="*/ 61399 w 85710"/>
                <a:gd name="connsiteY9" fmla="*/ 113398 h 113397"/>
                <a:gd name="connsiteX10" fmla="*/ 34873 w 85710"/>
                <a:gd name="connsiteY10" fmla="*/ 65343 h 113397"/>
                <a:gd name="connsiteX11" fmla="*/ 20178 w 85710"/>
                <a:gd name="connsiteY11" fmla="*/ 65343 h 113397"/>
                <a:gd name="connsiteX12" fmla="*/ 20178 w 85710"/>
                <a:gd name="connsiteY12" fmla="*/ 113398 h 113397"/>
                <a:gd name="connsiteX13" fmla="*/ 0 w 85710"/>
                <a:gd name="connsiteY13" fmla="*/ 113398 h 113397"/>
                <a:gd name="connsiteX14" fmla="*/ 36683 w 85710"/>
                <a:gd name="connsiteY14" fmla="*/ 48865 h 113397"/>
                <a:gd name="connsiteX15" fmla="*/ 45327 w 85710"/>
                <a:gd name="connsiteY15" fmla="*/ 48217 h 113397"/>
                <a:gd name="connsiteX16" fmla="*/ 53106 w 85710"/>
                <a:gd name="connsiteY16" fmla="*/ 45813 h 113397"/>
                <a:gd name="connsiteX17" fmla="*/ 58779 w 85710"/>
                <a:gd name="connsiteY17" fmla="*/ 40762 h 113397"/>
                <a:gd name="connsiteX18" fmla="*/ 61021 w 85710"/>
                <a:gd name="connsiteY18" fmla="*/ 32361 h 113397"/>
                <a:gd name="connsiteX19" fmla="*/ 58941 w 85710"/>
                <a:gd name="connsiteY19" fmla="*/ 24743 h 113397"/>
                <a:gd name="connsiteX20" fmla="*/ 53539 w 85710"/>
                <a:gd name="connsiteY20" fmla="*/ 20016 h 113397"/>
                <a:gd name="connsiteX21" fmla="*/ 46272 w 85710"/>
                <a:gd name="connsiteY21" fmla="*/ 17612 h 113397"/>
                <a:gd name="connsiteX22" fmla="*/ 38331 w 85710"/>
                <a:gd name="connsiteY22" fmla="*/ 16991 h 113397"/>
                <a:gd name="connsiteX23" fmla="*/ 20178 w 85710"/>
                <a:gd name="connsiteY23" fmla="*/ 16991 h 113397"/>
                <a:gd name="connsiteX24" fmla="*/ 20178 w 85710"/>
                <a:gd name="connsiteY24" fmla="*/ 48865 h 113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5710" h="113397">
                  <a:moveTo>
                    <a:pt x="0" y="0"/>
                  </a:moveTo>
                  <a:lnTo>
                    <a:pt x="39411" y="0"/>
                  </a:lnTo>
                  <a:cubicBezTo>
                    <a:pt x="44634" y="-5"/>
                    <a:pt x="49842" y="554"/>
                    <a:pt x="54943" y="1675"/>
                  </a:cubicBezTo>
                  <a:cubicBezTo>
                    <a:pt x="59747" y="2677"/>
                    <a:pt x="64325" y="4554"/>
                    <a:pt x="68449" y="7212"/>
                  </a:cubicBezTo>
                  <a:cubicBezTo>
                    <a:pt x="72339" y="9768"/>
                    <a:pt x="75554" y="13225"/>
                    <a:pt x="77823" y="17288"/>
                  </a:cubicBezTo>
                  <a:cubicBezTo>
                    <a:pt x="80291" y="21977"/>
                    <a:pt x="81501" y="27226"/>
                    <a:pt x="81334" y="32523"/>
                  </a:cubicBezTo>
                  <a:cubicBezTo>
                    <a:pt x="81642" y="39862"/>
                    <a:pt x="79151" y="47047"/>
                    <a:pt x="74365" y="52620"/>
                  </a:cubicBezTo>
                  <a:cubicBezTo>
                    <a:pt x="69321" y="58015"/>
                    <a:pt x="62705" y="61683"/>
                    <a:pt x="55456" y="63101"/>
                  </a:cubicBezTo>
                  <a:lnTo>
                    <a:pt x="85710" y="113398"/>
                  </a:lnTo>
                  <a:lnTo>
                    <a:pt x="61399" y="113398"/>
                  </a:lnTo>
                  <a:lnTo>
                    <a:pt x="34873" y="65343"/>
                  </a:lnTo>
                  <a:lnTo>
                    <a:pt x="20178" y="65343"/>
                  </a:lnTo>
                  <a:lnTo>
                    <a:pt x="20178" y="113398"/>
                  </a:lnTo>
                  <a:lnTo>
                    <a:pt x="0" y="113398"/>
                  </a:lnTo>
                  <a:close/>
                  <a:moveTo>
                    <a:pt x="36683" y="48865"/>
                  </a:moveTo>
                  <a:cubicBezTo>
                    <a:pt x="39576" y="48863"/>
                    <a:pt x="42465" y="48647"/>
                    <a:pt x="45327" y="48217"/>
                  </a:cubicBezTo>
                  <a:cubicBezTo>
                    <a:pt x="48035" y="47850"/>
                    <a:pt x="50664" y="47039"/>
                    <a:pt x="53106" y="45813"/>
                  </a:cubicBezTo>
                  <a:cubicBezTo>
                    <a:pt x="55400" y="44646"/>
                    <a:pt x="57354" y="42906"/>
                    <a:pt x="58779" y="40762"/>
                  </a:cubicBezTo>
                  <a:cubicBezTo>
                    <a:pt x="60358" y="38252"/>
                    <a:pt x="61140" y="35324"/>
                    <a:pt x="61021" y="32361"/>
                  </a:cubicBezTo>
                  <a:cubicBezTo>
                    <a:pt x="61133" y="29668"/>
                    <a:pt x="60406" y="27007"/>
                    <a:pt x="58941" y="24743"/>
                  </a:cubicBezTo>
                  <a:cubicBezTo>
                    <a:pt x="57531" y="22769"/>
                    <a:pt x="55681" y="21151"/>
                    <a:pt x="53539" y="20016"/>
                  </a:cubicBezTo>
                  <a:cubicBezTo>
                    <a:pt x="51271" y="18806"/>
                    <a:pt x="48814" y="17993"/>
                    <a:pt x="46272" y="17612"/>
                  </a:cubicBezTo>
                  <a:cubicBezTo>
                    <a:pt x="43644" y="17210"/>
                    <a:pt x="40989" y="17002"/>
                    <a:pt x="38331" y="16991"/>
                  </a:cubicBezTo>
                  <a:lnTo>
                    <a:pt x="20178" y="16991"/>
                  </a:lnTo>
                  <a:lnTo>
                    <a:pt x="20178" y="48865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95" name="Freeform 194">
              <a:extLst>
                <a:ext uri="{FF2B5EF4-FFF2-40B4-BE49-F238E27FC236}">
                  <a16:creationId xmlns:a16="http://schemas.microsoft.com/office/drawing/2014/main" id="{A23D8461-346A-FE43-AA7E-8A63C39D37E5}"/>
                </a:ext>
              </a:extLst>
            </p:cNvPr>
            <p:cNvSpPr/>
            <p:nvPr/>
          </p:nvSpPr>
          <p:spPr>
            <a:xfrm>
              <a:off x="5331406" y="4538354"/>
              <a:ext cx="73203" cy="113533"/>
            </a:xfrm>
            <a:custGeom>
              <a:avLst/>
              <a:gdLst>
                <a:gd name="connsiteX0" fmla="*/ 0 w 73203"/>
                <a:gd name="connsiteY0" fmla="*/ 0 h 113533"/>
                <a:gd name="connsiteX1" fmla="*/ 73204 w 73203"/>
                <a:gd name="connsiteY1" fmla="*/ 0 h 113533"/>
                <a:gd name="connsiteX2" fmla="*/ 73204 w 73203"/>
                <a:gd name="connsiteY2" fmla="*/ 17612 h 113533"/>
                <a:gd name="connsiteX3" fmla="*/ 20178 w 73203"/>
                <a:gd name="connsiteY3" fmla="*/ 17612 h 113533"/>
                <a:gd name="connsiteX4" fmla="*/ 20178 w 73203"/>
                <a:gd name="connsiteY4" fmla="*/ 48703 h 113533"/>
                <a:gd name="connsiteX5" fmla="*/ 70151 w 73203"/>
                <a:gd name="connsiteY5" fmla="*/ 48703 h 113533"/>
                <a:gd name="connsiteX6" fmla="*/ 70151 w 73203"/>
                <a:gd name="connsiteY6" fmla="*/ 65802 h 113533"/>
                <a:gd name="connsiteX7" fmla="*/ 20178 w 73203"/>
                <a:gd name="connsiteY7" fmla="*/ 65802 h 113533"/>
                <a:gd name="connsiteX8" fmla="*/ 20178 w 73203"/>
                <a:gd name="connsiteY8" fmla="*/ 113533 h 113533"/>
                <a:gd name="connsiteX9" fmla="*/ 0 w 73203"/>
                <a:gd name="connsiteY9" fmla="*/ 113533 h 113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203" h="113533">
                  <a:moveTo>
                    <a:pt x="0" y="0"/>
                  </a:moveTo>
                  <a:lnTo>
                    <a:pt x="73204" y="0"/>
                  </a:lnTo>
                  <a:lnTo>
                    <a:pt x="73204" y="17612"/>
                  </a:lnTo>
                  <a:lnTo>
                    <a:pt x="20178" y="17612"/>
                  </a:lnTo>
                  <a:lnTo>
                    <a:pt x="20178" y="48703"/>
                  </a:lnTo>
                  <a:lnTo>
                    <a:pt x="70151" y="48703"/>
                  </a:lnTo>
                  <a:lnTo>
                    <a:pt x="70151" y="65802"/>
                  </a:lnTo>
                  <a:lnTo>
                    <a:pt x="20178" y="65802"/>
                  </a:lnTo>
                  <a:lnTo>
                    <a:pt x="20178" y="113533"/>
                  </a:lnTo>
                  <a:lnTo>
                    <a:pt x="0" y="113533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96" name="Freeform 195">
              <a:extLst>
                <a:ext uri="{FF2B5EF4-FFF2-40B4-BE49-F238E27FC236}">
                  <a16:creationId xmlns:a16="http://schemas.microsoft.com/office/drawing/2014/main" id="{D1C3687F-4514-E341-B64A-8F074D07F563}"/>
                </a:ext>
              </a:extLst>
            </p:cNvPr>
            <p:cNvSpPr/>
            <p:nvPr/>
          </p:nvSpPr>
          <p:spPr>
            <a:xfrm>
              <a:off x="5423194" y="4538354"/>
              <a:ext cx="20178" cy="113451"/>
            </a:xfrm>
            <a:custGeom>
              <a:avLst/>
              <a:gdLst>
                <a:gd name="connsiteX0" fmla="*/ 0 w 20178"/>
                <a:gd name="connsiteY0" fmla="*/ 0 h 113451"/>
                <a:gd name="connsiteX1" fmla="*/ 20178 w 20178"/>
                <a:gd name="connsiteY1" fmla="*/ 0 h 113451"/>
                <a:gd name="connsiteX2" fmla="*/ 20178 w 20178"/>
                <a:gd name="connsiteY2" fmla="*/ 113452 h 113451"/>
                <a:gd name="connsiteX3" fmla="*/ 0 w 20178"/>
                <a:gd name="connsiteY3" fmla="*/ 113452 h 113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178" h="113451">
                  <a:moveTo>
                    <a:pt x="0" y="0"/>
                  </a:moveTo>
                  <a:lnTo>
                    <a:pt x="20178" y="0"/>
                  </a:lnTo>
                  <a:lnTo>
                    <a:pt x="20178" y="113452"/>
                  </a:lnTo>
                  <a:lnTo>
                    <a:pt x="0" y="113452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97" name="Freeform 196">
              <a:extLst>
                <a:ext uri="{FF2B5EF4-FFF2-40B4-BE49-F238E27FC236}">
                  <a16:creationId xmlns:a16="http://schemas.microsoft.com/office/drawing/2014/main" id="{7521479B-178C-8D4E-9A0E-DCD5556A3A18}"/>
                </a:ext>
              </a:extLst>
            </p:cNvPr>
            <p:cNvSpPr/>
            <p:nvPr/>
          </p:nvSpPr>
          <p:spPr>
            <a:xfrm>
              <a:off x="5468359" y="4538354"/>
              <a:ext cx="102948" cy="113397"/>
            </a:xfrm>
            <a:custGeom>
              <a:avLst/>
              <a:gdLst>
                <a:gd name="connsiteX0" fmla="*/ 0 w 102948"/>
                <a:gd name="connsiteY0" fmla="*/ 0 h 113397"/>
                <a:gd name="connsiteX1" fmla="*/ 40275 w 102948"/>
                <a:gd name="connsiteY1" fmla="*/ 0 h 113397"/>
                <a:gd name="connsiteX2" fmla="*/ 62561 w 102948"/>
                <a:gd name="connsiteY2" fmla="*/ 2890 h 113397"/>
                <a:gd name="connsiteX3" fmla="*/ 82739 w 102948"/>
                <a:gd name="connsiteY3" fmla="*/ 12426 h 113397"/>
                <a:gd name="connsiteX4" fmla="*/ 97326 w 102948"/>
                <a:gd name="connsiteY4" fmla="*/ 29876 h 113397"/>
                <a:gd name="connsiteX5" fmla="*/ 102917 w 102948"/>
                <a:gd name="connsiteY5" fmla="*/ 56699 h 113397"/>
                <a:gd name="connsiteX6" fmla="*/ 97326 w 102948"/>
                <a:gd name="connsiteY6" fmla="*/ 82334 h 113397"/>
                <a:gd name="connsiteX7" fmla="*/ 82739 w 102948"/>
                <a:gd name="connsiteY7" fmla="*/ 99946 h 113397"/>
                <a:gd name="connsiteX8" fmla="*/ 62561 w 102948"/>
                <a:gd name="connsiteY8" fmla="*/ 110129 h 113397"/>
                <a:gd name="connsiteX9" fmla="*/ 40275 w 102948"/>
                <a:gd name="connsiteY9" fmla="*/ 113398 h 113397"/>
                <a:gd name="connsiteX10" fmla="*/ 0 w 102948"/>
                <a:gd name="connsiteY10" fmla="*/ 113398 h 113397"/>
                <a:gd name="connsiteX11" fmla="*/ 37007 w 102948"/>
                <a:gd name="connsiteY11" fmla="*/ 95786 h 113397"/>
                <a:gd name="connsiteX12" fmla="*/ 52701 w 102948"/>
                <a:gd name="connsiteY12" fmla="*/ 93949 h 113397"/>
                <a:gd name="connsiteX13" fmla="*/ 66883 w 102948"/>
                <a:gd name="connsiteY13" fmla="*/ 87709 h 113397"/>
                <a:gd name="connsiteX14" fmla="*/ 77201 w 102948"/>
                <a:gd name="connsiteY14" fmla="*/ 75770 h 113397"/>
                <a:gd name="connsiteX15" fmla="*/ 81226 w 102948"/>
                <a:gd name="connsiteY15" fmla="*/ 56699 h 113397"/>
                <a:gd name="connsiteX16" fmla="*/ 77201 w 102948"/>
                <a:gd name="connsiteY16" fmla="*/ 36845 h 113397"/>
                <a:gd name="connsiteX17" fmla="*/ 66883 w 102948"/>
                <a:gd name="connsiteY17" fmla="*/ 24824 h 113397"/>
                <a:gd name="connsiteX18" fmla="*/ 52701 w 102948"/>
                <a:gd name="connsiteY18" fmla="*/ 18909 h 113397"/>
                <a:gd name="connsiteX19" fmla="*/ 37007 w 102948"/>
                <a:gd name="connsiteY19" fmla="*/ 17288 h 113397"/>
                <a:gd name="connsiteX20" fmla="*/ 20178 w 102948"/>
                <a:gd name="connsiteY20" fmla="*/ 17288 h 113397"/>
                <a:gd name="connsiteX21" fmla="*/ 20178 w 102948"/>
                <a:gd name="connsiteY21" fmla="*/ 95786 h 113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2948" h="113397">
                  <a:moveTo>
                    <a:pt x="0" y="0"/>
                  </a:moveTo>
                  <a:lnTo>
                    <a:pt x="40275" y="0"/>
                  </a:lnTo>
                  <a:cubicBezTo>
                    <a:pt x="47796" y="24"/>
                    <a:pt x="55284" y="994"/>
                    <a:pt x="62561" y="2890"/>
                  </a:cubicBezTo>
                  <a:cubicBezTo>
                    <a:pt x="69840" y="4730"/>
                    <a:pt x="76696" y="7969"/>
                    <a:pt x="82739" y="12426"/>
                  </a:cubicBezTo>
                  <a:cubicBezTo>
                    <a:pt x="88873" y="17048"/>
                    <a:pt x="93865" y="23017"/>
                    <a:pt x="97326" y="29876"/>
                  </a:cubicBezTo>
                  <a:cubicBezTo>
                    <a:pt x="101304" y="38241"/>
                    <a:pt x="103222" y="47439"/>
                    <a:pt x="102917" y="56699"/>
                  </a:cubicBezTo>
                  <a:cubicBezTo>
                    <a:pt x="103158" y="65570"/>
                    <a:pt x="101237" y="74368"/>
                    <a:pt x="97326" y="82334"/>
                  </a:cubicBezTo>
                  <a:cubicBezTo>
                    <a:pt x="93809" y="89200"/>
                    <a:pt x="88830" y="95213"/>
                    <a:pt x="82739" y="99946"/>
                  </a:cubicBezTo>
                  <a:cubicBezTo>
                    <a:pt x="76702" y="104562"/>
                    <a:pt x="69859" y="108017"/>
                    <a:pt x="62561" y="110129"/>
                  </a:cubicBezTo>
                  <a:cubicBezTo>
                    <a:pt x="55327" y="112277"/>
                    <a:pt x="47823" y="113376"/>
                    <a:pt x="40275" y="113398"/>
                  </a:cubicBezTo>
                  <a:lnTo>
                    <a:pt x="0" y="113398"/>
                  </a:lnTo>
                  <a:close/>
                  <a:moveTo>
                    <a:pt x="37007" y="95786"/>
                  </a:moveTo>
                  <a:cubicBezTo>
                    <a:pt x="42291" y="95772"/>
                    <a:pt x="47558" y="95157"/>
                    <a:pt x="52701" y="93949"/>
                  </a:cubicBezTo>
                  <a:cubicBezTo>
                    <a:pt x="57782" y="92790"/>
                    <a:pt x="62596" y="90672"/>
                    <a:pt x="66883" y="87709"/>
                  </a:cubicBezTo>
                  <a:cubicBezTo>
                    <a:pt x="71229" y="84614"/>
                    <a:pt x="74768" y="80518"/>
                    <a:pt x="77201" y="75770"/>
                  </a:cubicBezTo>
                  <a:cubicBezTo>
                    <a:pt x="80084" y="69838"/>
                    <a:pt x="81464" y="63290"/>
                    <a:pt x="81226" y="56699"/>
                  </a:cubicBezTo>
                  <a:cubicBezTo>
                    <a:pt x="81491" y="49854"/>
                    <a:pt x="80111" y="43047"/>
                    <a:pt x="77201" y="36845"/>
                  </a:cubicBezTo>
                  <a:cubicBezTo>
                    <a:pt x="74808" y="32047"/>
                    <a:pt x="71264" y="27917"/>
                    <a:pt x="66883" y="24824"/>
                  </a:cubicBezTo>
                  <a:cubicBezTo>
                    <a:pt x="62607" y="21907"/>
                    <a:pt x="57782" y="19895"/>
                    <a:pt x="52701" y="18909"/>
                  </a:cubicBezTo>
                  <a:cubicBezTo>
                    <a:pt x="47539" y="17836"/>
                    <a:pt x="42280" y="17293"/>
                    <a:pt x="37007" y="17288"/>
                  </a:cubicBezTo>
                  <a:lnTo>
                    <a:pt x="20178" y="17288"/>
                  </a:lnTo>
                  <a:lnTo>
                    <a:pt x="20178" y="95786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98" name="Graphic 55">
            <a:extLst>
              <a:ext uri="{FF2B5EF4-FFF2-40B4-BE49-F238E27FC236}">
                <a16:creationId xmlns:a16="http://schemas.microsoft.com/office/drawing/2014/main" id="{5235CD9B-8A20-C748-A615-FFE05FAC7191}"/>
              </a:ext>
            </a:extLst>
          </p:cNvPr>
          <p:cNvGrpSpPr/>
          <p:nvPr userDrawn="1"/>
        </p:nvGrpSpPr>
        <p:grpSpPr>
          <a:xfrm>
            <a:off x="6535375" y="3326090"/>
            <a:ext cx="346402" cy="339013"/>
            <a:chOff x="8734618" y="4178867"/>
            <a:chExt cx="483613" cy="483613"/>
          </a:xfrm>
          <a:solidFill>
            <a:schemeClr val="bg1"/>
          </a:solidFill>
        </p:grpSpPr>
        <p:sp>
          <p:nvSpPr>
            <p:cNvPr id="199" name="Freeform 198">
              <a:extLst>
                <a:ext uri="{FF2B5EF4-FFF2-40B4-BE49-F238E27FC236}">
                  <a16:creationId xmlns:a16="http://schemas.microsoft.com/office/drawing/2014/main" id="{937D5FDA-94AB-124C-BA2F-120075E98E95}"/>
                </a:ext>
              </a:extLst>
            </p:cNvPr>
            <p:cNvSpPr/>
            <p:nvPr/>
          </p:nvSpPr>
          <p:spPr>
            <a:xfrm>
              <a:off x="8737247" y="4228165"/>
              <a:ext cx="489567" cy="423400"/>
            </a:xfrm>
            <a:custGeom>
              <a:avLst/>
              <a:gdLst>
                <a:gd name="connsiteX0" fmla="*/ 403877 w 489567"/>
                <a:gd name="connsiteY0" fmla="*/ 0 h 423400"/>
                <a:gd name="connsiteX1" fmla="*/ 85660 w 489567"/>
                <a:gd name="connsiteY1" fmla="*/ 0 h 423400"/>
                <a:gd name="connsiteX2" fmla="*/ 0 w 489567"/>
                <a:gd name="connsiteY2" fmla="*/ 85660 h 423400"/>
                <a:gd name="connsiteX3" fmla="*/ 0 w 489567"/>
                <a:gd name="connsiteY3" fmla="*/ 269252 h 423400"/>
                <a:gd name="connsiteX4" fmla="*/ 73449 w 489567"/>
                <a:gd name="connsiteY4" fmla="*/ 354035 h 423400"/>
                <a:gd name="connsiteX5" fmla="*/ 73449 w 489567"/>
                <a:gd name="connsiteY5" fmla="*/ 398799 h 423400"/>
                <a:gd name="connsiteX6" fmla="*/ 97752 w 489567"/>
                <a:gd name="connsiteY6" fmla="*/ 423400 h 423400"/>
                <a:gd name="connsiteX7" fmla="*/ 115251 w 489567"/>
                <a:gd name="connsiteY7" fmla="*/ 416179 h 423400"/>
                <a:gd name="connsiteX8" fmla="*/ 176428 w 489567"/>
                <a:gd name="connsiteY8" fmla="*/ 355002 h 423400"/>
                <a:gd name="connsiteX9" fmla="*/ 403908 w 489567"/>
                <a:gd name="connsiteY9" fmla="*/ 355002 h 423400"/>
                <a:gd name="connsiteX10" fmla="*/ 489568 w 489567"/>
                <a:gd name="connsiteY10" fmla="*/ 269342 h 423400"/>
                <a:gd name="connsiteX11" fmla="*/ 489568 w 489567"/>
                <a:gd name="connsiteY11" fmla="*/ 85660 h 423400"/>
                <a:gd name="connsiteX12" fmla="*/ 403877 w 489567"/>
                <a:gd name="connsiteY12" fmla="*/ 0 h 423400"/>
                <a:gd name="connsiteX13" fmla="*/ 465054 w 489567"/>
                <a:gd name="connsiteY13" fmla="*/ 269252 h 423400"/>
                <a:gd name="connsiteX14" fmla="*/ 403877 w 489567"/>
                <a:gd name="connsiteY14" fmla="*/ 330429 h 423400"/>
                <a:gd name="connsiteX15" fmla="*/ 171350 w 489567"/>
                <a:gd name="connsiteY15" fmla="*/ 330429 h 423400"/>
                <a:gd name="connsiteX16" fmla="*/ 162675 w 489567"/>
                <a:gd name="connsiteY16" fmla="*/ 334025 h 423400"/>
                <a:gd name="connsiteX17" fmla="*/ 97901 w 489567"/>
                <a:gd name="connsiteY17" fmla="*/ 398769 h 423400"/>
                <a:gd name="connsiteX18" fmla="*/ 97901 w 489567"/>
                <a:gd name="connsiteY18" fmla="*/ 342670 h 423400"/>
                <a:gd name="connsiteX19" fmla="*/ 85812 w 489567"/>
                <a:gd name="connsiteY19" fmla="*/ 330580 h 423400"/>
                <a:gd name="connsiteX20" fmla="*/ 85660 w 489567"/>
                <a:gd name="connsiteY20" fmla="*/ 330580 h 423400"/>
                <a:gd name="connsiteX21" fmla="*/ 24574 w 489567"/>
                <a:gd name="connsiteY21" fmla="*/ 269252 h 423400"/>
                <a:gd name="connsiteX22" fmla="*/ 24574 w 489567"/>
                <a:gd name="connsiteY22" fmla="*/ 85660 h 423400"/>
                <a:gd name="connsiteX23" fmla="*/ 85660 w 489567"/>
                <a:gd name="connsiteY23" fmla="*/ 24483 h 423400"/>
                <a:gd name="connsiteX24" fmla="*/ 403877 w 489567"/>
                <a:gd name="connsiteY24" fmla="*/ 24483 h 423400"/>
                <a:gd name="connsiteX25" fmla="*/ 465054 w 489567"/>
                <a:gd name="connsiteY25" fmla="*/ 85660 h 42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89567" h="423400">
                  <a:moveTo>
                    <a:pt x="403877" y="0"/>
                  </a:moveTo>
                  <a:lnTo>
                    <a:pt x="85660" y="0"/>
                  </a:lnTo>
                  <a:cubicBezTo>
                    <a:pt x="38372" y="50"/>
                    <a:pt x="50" y="38372"/>
                    <a:pt x="0" y="85660"/>
                  </a:cubicBezTo>
                  <a:lnTo>
                    <a:pt x="0" y="269252"/>
                  </a:lnTo>
                  <a:cubicBezTo>
                    <a:pt x="66" y="311819"/>
                    <a:pt x="31326" y="347902"/>
                    <a:pt x="73449" y="354035"/>
                  </a:cubicBezTo>
                  <a:lnTo>
                    <a:pt x="73449" y="398799"/>
                  </a:lnTo>
                  <a:cubicBezTo>
                    <a:pt x="73367" y="412304"/>
                    <a:pt x="84248" y="423319"/>
                    <a:pt x="97752" y="423400"/>
                  </a:cubicBezTo>
                  <a:cubicBezTo>
                    <a:pt x="104318" y="423439"/>
                    <a:pt x="110624" y="420837"/>
                    <a:pt x="115251" y="416179"/>
                  </a:cubicBezTo>
                  <a:lnTo>
                    <a:pt x="176428" y="355002"/>
                  </a:lnTo>
                  <a:lnTo>
                    <a:pt x="403908" y="355002"/>
                  </a:lnTo>
                  <a:cubicBezTo>
                    <a:pt x="451196" y="354951"/>
                    <a:pt x="489516" y="316631"/>
                    <a:pt x="489568" y="269342"/>
                  </a:cubicBezTo>
                  <a:lnTo>
                    <a:pt x="489568" y="85660"/>
                  </a:lnTo>
                  <a:cubicBezTo>
                    <a:pt x="489516" y="38360"/>
                    <a:pt x="451178" y="33"/>
                    <a:pt x="403877" y="0"/>
                  </a:cubicBezTo>
                  <a:close/>
                  <a:moveTo>
                    <a:pt x="465054" y="269252"/>
                  </a:moveTo>
                  <a:cubicBezTo>
                    <a:pt x="465021" y="303026"/>
                    <a:pt x="437652" y="330395"/>
                    <a:pt x="403877" y="330429"/>
                  </a:cubicBezTo>
                  <a:lnTo>
                    <a:pt x="171350" y="330429"/>
                  </a:lnTo>
                  <a:cubicBezTo>
                    <a:pt x="168096" y="330429"/>
                    <a:pt x="164976" y="331722"/>
                    <a:pt x="162675" y="334025"/>
                  </a:cubicBezTo>
                  <a:lnTo>
                    <a:pt x="97901" y="398769"/>
                  </a:lnTo>
                  <a:lnTo>
                    <a:pt x="97901" y="342670"/>
                  </a:lnTo>
                  <a:cubicBezTo>
                    <a:pt x="97902" y="335993"/>
                    <a:pt x="92489" y="330580"/>
                    <a:pt x="85812" y="330580"/>
                  </a:cubicBezTo>
                  <a:cubicBezTo>
                    <a:pt x="85761" y="330580"/>
                    <a:pt x="85711" y="330580"/>
                    <a:pt x="85660" y="330580"/>
                  </a:cubicBezTo>
                  <a:cubicBezTo>
                    <a:pt x="51863" y="330495"/>
                    <a:pt x="24523" y="303050"/>
                    <a:pt x="24574" y="269252"/>
                  </a:cubicBezTo>
                  <a:lnTo>
                    <a:pt x="24574" y="85660"/>
                  </a:lnTo>
                  <a:cubicBezTo>
                    <a:pt x="24607" y="51922"/>
                    <a:pt x="51922" y="24566"/>
                    <a:pt x="85660" y="24483"/>
                  </a:cubicBezTo>
                  <a:lnTo>
                    <a:pt x="403877" y="24483"/>
                  </a:lnTo>
                  <a:cubicBezTo>
                    <a:pt x="437652" y="24516"/>
                    <a:pt x="465021" y="51887"/>
                    <a:pt x="465054" y="85660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00" name="Freeform 199">
              <a:extLst>
                <a:ext uri="{FF2B5EF4-FFF2-40B4-BE49-F238E27FC236}">
                  <a16:creationId xmlns:a16="http://schemas.microsoft.com/office/drawing/2014/main" id="{3C4E21E3-BC33-B24C-BB42-E1A69ED71C84}"/>
                </a:ext>
              </a:extLst>
            </p:cNvPr>
            <p:cNvSpPr/>
            <p:nvPr/>
          </p:nvSpPr>
          <p:spPr>
            <a:xfrm>
              <a:off x="8775392" y="4326973"/>
              <a:ext cx="101006" cy="150132"/>
            </a:xfrm>
            <a:custGeom>
              <a:avLst/>
              <a:gdLst>
                <a:gd name="connsiteX0" fmla="*/ 83544 w 101006"/>
                <a:gd name="connsiteY0" fmla="*/ 33490 h 150132"/>
                <a:gd name="connsiteX1" fmla="*/ 72149 w 101006"/>
                <a:gd name="connsiteY1" fmla="*/ 24725 h 150132"/>
                <a:gd name="connsiteX2" fmla="*/ 57308 w 101006"/>
                <a:gd name="connsiteY2" fmla="*/ 21158 h 150132"/>
                <a:gd name="connsiteX3" fmla="*/ 48452 w 101006"/>
                <a:gd name="connsiteY3" fmla="*/ 22276 h 150132"/>
                <a:gd name="connsiteX4" fmla="*/ 40382 w 101006"/>
                <a:gd name="connsiteY4" fmla="*/ 25722 h 150132"/>
                <a:gd name="connsiteX5" fmla="*/ 34337 w 101006"/>
                <a:gd name="connsiteY5" fmla="*/ 31767 h 150132"/>
                <a:gd name="connsiteX6" fmla="*/ 32039 w 101006"/>
                <a:gd name="connsiteY6" fmla="*/ 40835 h 150132"/>
                <a:gd name="connsiteX7" fmla="*/ 34034 w 101006"/>
                <a:gd name="connsiteY7" fmla="*/ 49117 h 150132"/>
                <a:gd name="connsiteX8" fmla="*/ 39596 w 101006"/>
                <a:gd name="connsiteY8" fmla="*/ 54951 h 150132"/>
                <a:gd name="connsiteX9" fmla="*/ 48180 w 101006"/>
                <a:gd name="connsiteY9" fmla="*/ 59182 h 150132"/>
                <a:gd name="connsiteX10" fmla="*/ 59243 w 101006"/>
                <a:gd name="connsiteY10" fmla="*/ 62809 h 150132"/>
                <a:gd name="connsiteX11" fmla="*/ 73479 w 101006"/>
                <a:gd name="connsiteY11" fmla="*/ 67857 h 150132"/>
                <a:gd name="connsiteX12" fmla="*/ 86990 w 101006"/>
                <a:gd name="connsiteY12" fmla="*/ 75323 h 150132"/>
                <a:gd name="connsiteX13" fmla="*/ 97055 w 101006"/>
                <a:gd name="connsiteY13" fmla="*/ 87020 h 150132"/>
                <a:gd name="connsiteX14" fmla="*/ 100984 w 101006"/>
                <a:gd name="connsiteY14" fmla="*/ 104551 h 150132"/>
                <a:gd name="connsiteX15" fmla="*/ 96753 w 101006"/>
                <a:gd name="connsiteY15" fmla="*/ 124621 h 150132"/>
                <a:gd name="connsiteX16" fmla="*/ 85448 w 101006"/>
                <a:gd name="connsiteY16" fmla="*/ 138827 h 150132"/>
                <a:gd name="connsiteX17" fmla="*/ 68945 w 101006"/>
                <a:gd name="connsiteY17" fmla="*/ 147321 h 150132"/>
                <a:gd name="connsiteX18" fmla="*/ 48966 w 101006"/>
                <a:gd name="connsiteY18" fmla="*/ 150132 h 150132"/>
                <a:gd name="connsiteX19" fmla="*/ 21763 w 101006"/>
                <a:gd name="connsiteY19" fmla="*/ 144993 h 150132"/>
                <a:gd name="connsiteX20" fmla="*/ 0 w 101006"/>
                <a:gd name="connsiteY20" fmla="*/ 129880 h 150132"/>
                <a:gd name="connsiteX21" fmla="*/ 18135 w 101006"/>
                <a:gd name="connsiteY21" fmla="*/ 112954 h 150132"/>
                <a:gd name="connsiteX22" fmla="*/ 32160 w 101006"/>
                <a:gd name="connsiteY22" fmla="*/ 124440 h 150132"/>
                <a:gd name="connsiteX23" fmla="*/ 58457 w 101006"/>
                <a:gd name="connsiteY23" fmla="*/ 127462 h 150132"/>
                <a:gd name="connsiteX24" fmla="*/ 66829 w 101006"/>
                <a:gd name="connsiteY24" fmla="*/ 123714 h 150132"/>
                <a:gd name="connsiteX25" fmla="*/ 72874 w 101006"/>
                <a:gd name="connsiteY25" fmla="*/ 117155 h 150132"/>
                <a:gd name="connsiteX26" fmla="*/ 75172 w 101006"/>
                <a:gd name="connsiteY26" fmla="*/ 107392 h 150132"/>
                <a:gd name="connsiteX27" fmla="*/ 72572 w 101006"/>
                <a:gd name="connsiteY27" fmla="*/ 98022 h 150132"/>
                <a:gd name="connsiteX28" fmla="*/ 65499 w 101006"/>
                <a:gd name="connsiteY28" fmla="*/ 91554 h 150132"/>
                <a:gd name="connsiteX29" fmla="*/ 55011 w 101006"/>
                <a:gd name="connsiteY29" fmla="*/ 86809 h 150132"/>
                <a:gd name="connsiteX30" fmla="*/ 42316 w 101006"/>
                <a:gd name="connsiteY30" fmla="*/ 82577 h 150132"/>
                <a:gd name="connsiteX31" fmla="*/ 29410 w 101006"/>
                <a:gd name="connsiteY31" fmla="*/ 77741 h 150132"/>
                <a:gd name="connsiteX32" fmla="*/ 17833 w 101006"/>
                <a:gd name="connsiteY32" fmla="*/ 70305 h 150132"/>
                <a:gd name="connsiteX33" fmla="*/ 9461 w 101006"/>
                <a:gd name="connsiteY33" fmla="*/ 58910 h 150132"/>
                <a:gd name="connsiteX34" fmla="*/ 6227 w 101006"/>
                <a:gd name="connsiteY34" fmla="*/ 42044 h 150132"/>
                <a:gd name="connsiteX35" fmla="*/ 10760 w 101006"/>
                <a:gd name="connsiteY35" fmla="*/ 23304 h 150132"/>
                <a:gd name="connsiteX36" fmla="*/ 22669 w 101006"/>
                <a:gd name="connsiteY36" fmla="*/ 10307 h 150132"/>
                <a:gd name="connsiteX37" fmla="*/ 39414 w 101006"/>
                <a:gd name="connsiteY37" fmla="*/ 2630 h 150132"/>
                <a:gd name="connsiteX38" fmla="*/ 58517 w 101006"/>
                <a:gd name="connsiteY38" fmla="*/ 0 h 150132"/>
                <a:gd name="connsiteX39" fmla="*/ 80612 w 101006"/>
                <a:gd name="connsiteY39" fmla="*/ 3839 h 150132"/>
                <a:gd name="connsiteX40" fmla="*/ 100078 w 101006"/>
                <a:gd name="connsiteY40" fmla="*/ 15324 h 15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01006" h="150132">
                  <a:moveTo>
                    <a:pt x="83544" y="33490"/>
                  </a:moveTo>
                  <a:cubicBezTo>
                    <a:pt x="80480" y="29721"/>
                    <a:pt x="76578" y="26719"/>
                    <a:pt x="72149" y="24725"/>
                  </a:cubicBezTo>
                  <a:cubicBezTo>
                    <a:pt x="67532" y="22438"/>
                    <a:pt x="62460" y="21219"/>
                    <a:pt x="57308" y="21158"/>
                  </a:cubicBezTo>
                  <a:cubicBezTo>
                    <a:pt x="54322" y="21172"/>
                    <a:pt x="51348" y="21548"/>
                    <a:pt x="48452" y="22276"/>
                  </a:cubicBezTo>
                  <a:cubicBezTo>
                    <a:pt x="45595" y="22987"/>
                    <a:pt x="42870" y="24150"/>
                    <a:pt x="40382" y="25722"/>
                  </a:cubicBezTo>
                  <a:cubicBezTo>
                    <a:pt x="37932" y="27250"/>
                    <a:pt x="35865" y="29318"/>
                    <a:pt x="34337" y="31767"/>
                  </a:cubicBezTo>
                  <a:cubicBezTo>
                    <a:pt x="32719" y="34508"/>
                    <a:pt x="31921" y="37655"/>
                    <a:pt x="32039" y="40835"/>
                  </a:cubicBezTo>
                  <a:cubicBezTo>
                    <a:pt x="31955" y="43724"/>
                    <a:pt x="32644" y="46583"/>
                    <a:pt x="34034" y="49117"/>
                  </a:cubicBezTo>
                  <a:cubicBezTo>
                    <a:pt x="35427" y="51454"/>
                    <a:pt x="37328" y="53448"/>
                    <a:pt x="39596" y="54951"/>
                  </a:cubicBezTo>
                  <a:cubicBezTo>
                    <a:pt x="42263" y="56724"/>
                    <a:pt x="45149" y="58147"/>
                    <a:pt x="48180" y="59182"/>
                  </a:cubicBezTo>
                  <a:cubicBezTo>
                    <a:pt x="51525" y="60391"/>
                    <a:pt x="55213" y="61600"/>
                    <a:pt x="59243" y="62809"/>
                  </a:cubicBezTo>
                  <a:cubicBezTo>
                    <a:pt x="63837" y="64290"/>
                    <a:pt x="68552" y="65983"/>
                    <a:pt x="73479" y="67857"/>
                  </a:cubicBezTo>
                  <a:cubicBezTo>
                    <a:pt x="78303" y="69716"/>
                    <a:pt x="82849" y="72228"/>
                    <a:pt x="86990" y="75323"/>
                  </a:cubicBezTo>
                  <a:cubicBezTo>
                    <a:pt x="91129" y="78472"/>
                    <a:pt x="94559" y="82457"/>
                    <a:pt x="97055" y="87020"/>
                  </a:cubicBezTo>
                  <a:cubicBezTo>
                    <a:pt x="99844" y="92431"/>
                    <a:pt x="101198" y="98467"/>
                    <a:pt x="100984" y="104551"/>
                  </a:cubicBezTo>
                  <a:cubicBezTo>
                    <a:pt x="101141" y="111478"/>
                    <a:pt x="99693" y="118347"/>
                    <a:pt x="96753" y="124621"/>
                  </a:cubicBezTo>
                  <a:cubicBezTo>
                    <a:pt x="94084" y="130135"/>
                    <a:pt x="90223" y="134988"/>
                    <a:pt x="85448" y="138827"/>
                  </a:cubicBezTo>
                  <a:cubicBezTo>
                    <a:pt x="80552" y="142705"/>
                    <a:pt x="74946" y="145590"/>
                    <a:pt x="68945" y="147321"/>
                  </a:cubicBezTo>
                  <a:cubicBezTo>
                    <a:pt x="62456" y="149218"/>
                    <a:pt x="55726" y="150164"/>
                    <a:pt x="48966" y="150132"/>
                  </a:cubicBezTo>
                  <a:cubicBezTo>
                    <a:pt x="39657" y="150130"/>
                    <a:pt x="30431" y="148387"/>
                    <a:pt x="21763" y="144993"/>
                  </a:cubicBezTo>
                  <a:cubicBezTo>
                    <a:pt x="13339" y="141892"/>
                    <a:pt x="5848" y="136690"/>
                    <a:pt x="0" y="129880"/>
                  </a:cubicBezTo>
                  <a:lnTo>
                    <a:pt x="18135" y="112954"/>
                  </a:lnTo>
                  <a:cubicBezTo>
                    <a:pt x="21773" y="117899"/>
                    <a:pt x="26595" y="121849"/>
                    <a:pt x="32160" y="124440"/>
                  </a:cubicBezTo>
                  <a:cubicBezTo>
                    <a:pt x="40269" y="128604"/>
                    <a:pt x="49615" y="129678"/>
                    <a:pt x="58457" y="127462"/>
                  </a:cubicBezTo>
                  <a:cubicBezTo>
                    <a:pt x="61461" y="126759"/>
                    <a:pt x="64303" y="125486"/>
                    <a:pt x="66829" y="123714"/>
                  </a:cubicBezTo>
                  <a:cubicBezTo>
                    <a:pt x="69288" y="121982"/>
                    <a:pt x="71348" y="119746"/>
                    <a:pt x="72874" y="117155"/>
                  </a:cubicBezTo>
                  <a:cubicBezTo>
                    <a:pt x="74501" y="114166"/>
                    <a:pt x="75295" y="110794"/>
                    <a:pt x="75172" y="107392"/>
                  </a:cubicBezTo>
                  <a:cubicBezTo>
                    <a:pt x="75311" y="104074"/>
                    <a:pt x="74402" y="100795"/>
                    <a:pt x="72572" y="98022"/>
                  </a:cubicBezTo>
                  <a:cubicBezTo>
                    <a:pt x="70689" y="95399"/>
                    <a:pt x="68280" y="93196"/>
                    <a:pt x="65499" y="91554"/>
                  </a:cubicBezTo>
                  <a:cubicBezTo>
                    <a:pt x="62192" y="89584"/>
                    <a:pt x="58674" y="87992"/>
                    <a:pt x="55011" y="86809"/>
                  </a:cubicBezTo>
                  <a:lnTo>
                    <a:pt x="42316" y="82577"/>
                  </a:lnTo>
                  <a:cubicBezTo>
                    <a:pt x="37925" y="81213"/>
                    <a:pt x="33616" y="79598"/>
                    <a:pt x="29410" y="77741"/>
                  </a:cubicBezTo>
                  <a:cubicBezTo>
                    <a:pt x="25173" y="75906"/>
                    <a:pt x="21264" y="73395"/>
                    <a:pt x="17833" y="70305"/>
                  </a:cubicBezTo>
                  <a:cubicBezTo>
                    <a:pt x="14316" y="67098"/>
                    <a:pt x="11470" y="63225"/>
                    <a:pt x="9461" y="58910"/>
                  </a:cubicBezTo>
                  <a:cubicBezTo>
                    <a:pt x="7152" y="53595"/>
                    <a:pt x="6048" y="47836"/>
                    <a:pt x="6227" y="42044"/>
                  </a:cubicBezTo>
                  <a:cubicBezTo>
                    <a:pt x="6052" y="35506"/>
                    <a:pt x="7617" y="29039"/>
                    <a:pt x="10760" y="23304"/>
                  </a:cubicBezTo>
                  <a:cubicBezTo>
                    <a:pt x="13711" y="18138"/>
                    <a:pt x="17780" y="13697"/>
                    <a:pt x="22669" y="10307"/>
                  </a:cubicBezTo>
                  <a:cubicBezTo>
                    <a:pt x="27751" y="6774"/>
                    <a:pt x="33421" y="4175"/>
                    <a:pt x="39414" y="2630"/>
                  </a:cubicBezTo>
                  <a:cubicBezTo>
                    <a:pt x="45639" y="917"/>
                    <a:pt x="52062" y="33"/>
                    <a:pt x="58517" y="0"/>
                  </a:cubicBezTo>
                  <a:cubicBezTo>
                    <a:pt x="66045" y="38"/>
                    <a:pt x="73513" y="1336"/>
                    <a:pt x="80612" y="3839"/>
                  </a:cubicBezTo>
                  <a:cubicBezTo>
                    <a:pt x="87840" y="6248"/>
                    <a:pt x="94474" y="10162"/>
                    <a:pt x="100078" y="15324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01" name="Freeform 200">
              <a:extLst>
                <a:ext uri="{FF2B5EF4-FFF2-40B4-BE49-F238E27FC236}">
                  <a16:creationId xmlns:a16="http://schemas.microsoft.com/office/drawing/2014/main" id="{0DCADE48-E990-2844-AEBB-C1EF7C12FBAB}"/>
                </a:ext>
              </a:extLst>
            </p:cNvPr>
            <p:cNvSpPr/>
            <p:nvPr/>
          </p:nvSpPr>
          <p:spPr>
            <a:xfrm>
              <a:off x="8901887" y="4330630"/>
              <a:ext cx="154060" cy="142756"/>
            </a:xfrm>
            <a:custGeom>
              <a:avLst/>
              <a:gdLst>
                <a:gd name="connsiteX0" fmla="*/ 0 w 154060"/>
                <a:gd name="connsiteY0" fmla="*/ 0 h 142756"/>
                <a:gd name="connsiteX1" fmla="*/ 39717 w 154060"/>
                <a:gd name="connsiteY1" fmla="*/ 0 h 142756"/>
                <a:gd name="connsiteX2" fmla="*/ 76804 w 154060"/>
                <a:gd name="connsiteY2" fmla="*/ 101408 h 142756"/>
                <a:gd name="connsiteX3" fmla="*/ 77559 w 154060"/>
                <a:gd name="connsiteY3" fmla="*/ 101408 h 142756"/>
                <a:gd name="connsiteX4" fmla="*/ 114133 w 154060"/>
                <a:gd name="connsiteY4" fmla="*/ 0 h 142756"/>
                <a:gd name="connsiteX5" fmla="*/ 154061 w 154060"/>
                <a:gd name="connsiteY5" fmla="*/ 0 h 142756"/>
                <a:gd name="connsiteX6" fmla="*/ 154061 w 154060"/>
                <a:gd name="connsiteY6" fmla="*/ 142757 h 142756"/>
                <a:gd name="connsiteX7" fmla="*/ 128943 w 154060"/>
                <a:gd name="connsiteY7" fmla="*/ 142757 h 142756"/>
                <a:gd name="connsiteX8" fmla="*/ 128943 w 154060"/>
                <a:gd name="connsiteY8" fmla="*/ 27898 h 142756"/>
                <a:gd name="connsiteX9" fmla="*/ 128429 w 154060"/>
                <a:gd name="connsiteY9" fmla="*/ 27898 h 142756"/>
                <a:gd name="connsiteX10" fmla="*/ 85086 w 154060"/>
                <a:gd name="connsiteY10" fmla="*/ 142757 h 142756"/>
                <a:gd name="connsiteX11" fmla="*/ 67313 w 154060"/>
                <a:gd name="connsiteY11" fmla="*/ 142757 h 142756"/>
                <a:gd name="connsiteX12" fmla="*/ 24574 w 154060"/>
                <a:gd name="connsiteY12" fmla="*/ 27898 h 142756"/>
                <a:gd name="connsiteX13" fmla="*/ 24181 w 154060"/>
                <a:gd name="connsiteY13" fmla="*/ 27898 h 142756"/>
                <a:gd name="connsiteX14" fmla="*/ 24181 w 154060"/>
                <a:gd name="connsiteY14" fmla="*/ 142757 h 142756"/>
                <a:gd name="connsiteX15" fmla="*/ 0 w 154060"/>
                <a:gd name="connsiteY15" fmla="*/ 142757 h 142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4060" h="142756">
                  <a:moveTo>
                    <a:pt x="0" y="0"/>
                  </a:moveTo>
                  <a:lnTo>
                    <a:pt x="39717" y="0"/>
                  </a:lnTo>
                  <a:lnTo>
                    <a:pt x="76804" y="101408"/>
                  </a:lnTo>
                  <a:lnTo>
                    <a:pt x="77559" y="101408"/>
                  </a:lnTo>
                  <a:lnTo>
                    <a:pt x="114133" y="0"/>
                  </a:lnTo>
                  <a:lnTo>
                    <a:pt x="154061" y="0"/>
                  </a:lnTo>
                  <a:lnTo>
                    <a:pt x="154061" y="142757"/>
                  </a:lnTo>
                  <a:lnTo>
                    <a:pt x="128943" y="142757"/>
                  </a:lnTo>
                  <a:lnTo>
                    <a:pt x="128943" y="27898"/>
                  </a:lnTo>
                  <a:lnTo>
                    <a:pt x="128429" y="27898"/>
                  </a:lnTo>
                  <a:lnTo>
                    <a:pt x="85086" y="142757"/>
                  </a:lnTo>
                  <a:lnTo>
                    <a:pt x="67313" y="142757"/>
                  </a:lnTo>
                  <a:lnTo>
                    <a:pt x="24574" y="27898"/>
                  </a:lnTo>
                  <a:lnTo>
                    <a:pt x="24181" y="27898"/>
                  </a:lnTo>
                  <a:lnTo>
                    <a:pt x="24181" y="142757"/>
                  </a:lnTo>
                  <a:lnTo>
                    <a:pt x="0" y="142757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02" name="Freeform 201">
              <a:extLst>
                <a:ext uri="{FF2B5EF4-FFF2-40B4-BE49-F238E27FC236}">
                  <a16:creationId xmlns:a16="http://schemas.microsoft.com/office/drawing/2014/main" id="{CF2B1AF3-F047-824D-8477-782AB06D3D58}"/>
                </a:ext>
              </a:extLst>
            </p:cNvPr>
            <p:cNvSpPr/>
            <p:nvPr/>
          </p:nvSpPr>
          <p:spPr>
            <a:xfrm>
              <a:off x="9076623" y="4327245"/>
              <a:ext cx="101005" cy="149890"/>
            </a:xfrm>
            <a:custGeom>
              <a:avLst/>
              <a:gdLst>
                <a:gd name="connsiteX0" fmla="*/ 83544 w 101005"/>
                <a:gd name="connsiteY0" fmla="*/ 33218 h 149890"/>
                <a:gd name="connsiteX1" fmla="*/ 72119 w 101005"/>
                <a:gd name="connsiteY1" fmla="*/ 24453 h 149890"/>
                <a:gd name="connsiteX2" fmla="*/ 57308 w 101005"/>
                <a:gd name="connsiteY2" fmla="*/ 20916 h 149890"/>
                <a:gd name="connsiteX3" fmla="*/ 48452 w 101005"/>
                <a:gd name="connsiteY3" fmla="*/ 22035 h 149890"/>
                <a:gd name="connsiteX4" fmla="*/ 40382 w 101005"/>
                <a:gd name="connsiteY4" fmla="*/ 25480 h 149890"/>
                <a:gd name="connsiteX5" fmla="*/ 34337 w 101005"/>
                <a:gd name="connsiteY5" fmla="*/ 31526 h 149890"/>
                <a:gd name="connsiteX6" fmla="*/ 32039 w 101005"/>
                <a:gd name="connsiteY6" fmla="*/ 40593 h 149890"/>
                <a:gd name="connsiteX7" fmla="*/ 34034 w 101005"/>
                <a:gd name="connsiteY7" fmla="*/ 48875 h 149890"/>
                <a:gd name="connsiteX8" fmla="*/ 39596 w 101005"/>
                <a:gd name="connsiteY8" fmla="*/ 54709 h 149890"/>
                <a:gd name="connsiteX9" fmla="*/ 48150 w 101005"/>
                <a:gd name="connsiteY9" fmla="*/ 58940 h 149890"/>
                <a:gd name="connsiteX10" fmla="*/ 59243 w 101005"/>
                <a:gd name="connsiteY10" fmla="*/ 62567 h 149890"/>
                <a:gd name="connsiteX11" fmla="*/ 73479 w 101005"/>
                <a:gd name="connsiteY11" fmla="*/ 67615 h 149890"/>
                <a:gd name="connsiteX12" fmla="*/ 86990 w 101005"/>
                <a:gd name="connsiteY12" fmla="*/ 75081 h 149890"/>
                <a:gd name="connsiteX13" fmla="*/ 97055 w 101005"/>
                <a:gd name="connsiteY13" fmla="*/ 86778 h 149890"/>
                <a:gd name="connsiteX14" fmla="*/ 100984 w 101005"/>
                <a:gd name="connsiteY14" fmla="*/ 104309 h 149890"/>
                <a:gd name="connsiteX15" fmla="*/ 96753 w 101005"/>
                <a:gd name="connsiteY15" fmla="*/ 124379 h 149890"/>
                <a:gd name="connsiteX16" fmla="*/ 85448 w 101005"/>
                <a:gd name="connsiteY16" fmla="*/ 138585 h 149890"/>
                <a:gd name="connsiteX17" fmla="*/ 68915 w 101005"/>
                <a:gd name="connsiteY17" fmla="*/ 147079 h 149890"/>
                <a:gd name="connsiteX18" fmla="*/ 48966 w 101005"/>
                <a:gd name="connsiteY18" fmla="*/ 149890 h 149890"/>
                <a:gd name="connsiteX19" fmla="*/ 21763 w 101005"/>
                <a:gd name="connsiteY19" fmla="*/ 144751 h 149890"/>
                <a:gd name="connsiteX20" fmla="*/ 0 w 101005"/>
                <a:gd name="connsiteY20" fmla="*/ 129639 h 149890"/>
                <a:gd name="connsiteX21" fmla="*/ 18136 w 101005"/>
                <a:gd name="connsiteY21" fmla="*/ 112712 h 149890"/>
                <a:gd name="connsiteX22" fmla="*/ 32160 w 101005"/>
                <a:gd name="connsiteY22" fmla="*/ 124198 h 149890"/>
                <a:gd name="connsiteX23" fmla="*/ 49389 w 101005"/>
                <a:gd name="connsiteY23" fmla="*/ 128429 h 149890"/>
                <a:gd name="connsiteX24" fmla="*/ 58457 w 101005"/>
                <a:gd name="connsiteY24" fmla="*/ 127341 h 149890"/>
                <a:gd name="connsiteX25" fmla="*/ 66829 w 101005"/>
                <a:gd name="connsiteY25" fmla="*/ 123593 h 149890"/>
                <a:gd name="connsiteX26" fmla="*/ 72874 w 101005"/>
                <a:gd name="connsiteY26" fmla="*/ 117034 h 149890"/>
                <a:gd name="connsiteX27" fmla="*/ 75202 w 101005"/>
                <a:gd name="connsiteY27" fmla="*/ 107271 h 149890"/>
                <a:gd name="connsiteX28" fmla="*/ 72602 w 101005"/>
                <a:gd name="connsiteY28" fmla="*/ 97901 h 149890"/>
                <a:gd name="connsiteX29" fmla="*/ 65530 w 101005"/>
                <a:gd name="connsiteY29" fmla="*/ 91433 h 149890"/>
                <a:gd name="connsiteX30" fmla="*/ 55041 w 101005"/>
                <a:gd name="connsiteY30" fmla="*/ 86688 h 149890"/>
                <a:gd name="connsiteX31" fmla="*/ 42346 w 101005"/>
                <a:gd name="connsiteY31" fmla="*/ 82456 h 149890"/>
                <a:gd name="connsiteX32" fmla="*/ 29440 w 101005"/>
                <a:gd name="connsiteY32" fmla="*/ 77620 h 149890"/>
                <a:gd name="connsiteX33" fmla="*/ 17833 w 101005"/>
                <a:gd name="connsiteY33" fmla="*/ 70184 h 149890"/>
                <a:gd name="connsiteX34" fmla="*/ 9461 w 101005"/>
                <a:gd name="connsiteY34" fmla="*/ 58789 h 149890"/>
                <a:gd name="connsiteX35" fmla="*/ 6227 w 101005"/>
                <a:gd name="connsiteY35" fmla="*/ 41923 h 149890"/>
                <a:gd name="connsiteX36" fmla="*/ 10791 w 101005"/>
                <a:gd name="connsiteY36" fmla="*/ 23183 h 149890"/>
                <a:gd name="connsiteX37" fmla="*/ 22669 w 101005"/>
                <a:gd name="connsiteY37" fmla="*/ 10186 h 149890"/>
                <a:gd name="connsiteX38" fmla="*/ 39414 w 101005"/>
                <a:gd name="connsiteY38" fmla="*/ 2509 h 149890"/>
                <a:gd name="connsiteX39" fmla="*/ 58457 w 101005"/>
                <a:gd name="connsiteY39" fmla="*/ 0 h 149890"/>
                <a:gd name="connsiteX40" fmla="*/ 80552 w 101005"/>
                <a:gd name="connsiteY40" fmla="*/ 3839 h 149890"/>
                <a:gd name="connsiteX41" fmla="*/ 99987 w 101005"/>
                <a:gd name="connsiteY41" fmla="*/ 15324 h 149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01005" h="149890">
                  <a:moveTo>
                    <a:pt x="83544" y="33218"/>
                  </a:moveTo>
                  <a:cubicBezTo>
                    <a:pt x="80473" y="29442"/>
                    <a:pt x="76562" y="26439"/>
                    <a:pt x="72119" y="24453"/>
                  </a:cubicBezTo>
                  <a:cubicBezTo>
                    <a:pt x="67512" y="22173"/>
                    <a:pt x="62450" y="20965"/>
                    <a:pt x="57308" y="20916"/>
                  </a:cubicBezTo>
                  <a:cubicBezTo>
                    <a:pt x="54322" y="20930"/>
                    <a:pt x="51348" y="21306"/>
                    <a:pt x="48452" y="22035"/>
                  </a:cubicBezTo>
                  <a:cubicBezTo>
                    <a:pt x="45596" y="22745"/>
                    <a:pt x="42869" y="23908"/>
                    <a:pt x="40382" y="25480"/>
                  </a:cubicBezTo>
                  <a:cubicBezTo>
                    <a:pt x="37924" y="27000"/>
                    <a:pt x="35857" y="29070"/>
                    <a:pt x="34337" y="31526"/>
                  </a:cubicBezTo>
                  <a:cubicBezTo>
                    <a:pt x="32719" y="34266"/>
                    <a:pt x="31922" y="37413"/>
                    <a:pt x="32039" y="40593"/>
                  </a:cubicBezTo>
                  <a:cubicBezTo>
                    <a:pt x="31955" y="43482"/>
                    <a:pt x="32644" y="46341"/>
                    <a:pt x="34034" y="48875"/>
                  </a:cubicBezTo>
                  <a:cubicBezTo>
                    <a:pt x="35422" y="51217"/>
                    <a:pt x="37323" y="53212"/>
                    <a:pt x="39596" y="54709"/>
                  </a:cubicBezTo>
                  <a:cubicBezTo>
                    <a:pt x="42253" y="56483"/>
                    <a:pt x="45127" y="57905"/>
                    <a:pt x="48150" y="58940"/>
                  </a:cubicBezTo>
                  <a:cubicBezTo>
                    <a:pt x="51505" y="60149"/>
                    <a:pt x="55223" y="61358"/>
                    <a:pt x="59243" y="62567"/>
                  </a:cubicBezTo>
                  <a:cubicBezTo>
                    <a:pt x="63798" y="64058"/>
                    <a:pt x="68543" y="65741"/>
                    <a:pt x="73479" y="67615"/>
                  </a:cubicBezTo>
                  <a:cubicBezTo>
                    <a:pt x="78300" y="69481"/>
                    <a:pt x="82846" y="71992"/>
                    <a:pt x="86990" y="75081"/>
                  </a:cubicBezTo>
                  <a:cubicBezTo>
                    <a:pt x="91122" y="78238"/>
                    <a:pt x="94549" y="82222"/>
                    <a:pt x="97055" y="86778"/>
                  </a:cubicBezTo>
                  <a:cubicBezTo>
                    <a:pt x="99845" y="92189"/>
                    <a:pt x="101196" y="98225"/>
                    <a:pt x="100984" y="104309"/>
                  </a:cubicBezTo>
                  <a:cubicBezTo>
                    <a:pt x="101142" y="111236"/>
                    <a:pt x="99694" y="118105"/>
                    <a:pt x="96753" y="124379"/>
                  </a:cubicBezTo>
                  <a:cubicBezTo>
                    <a:pt x="94084" y="129894"/>
                    <a:pt x="90221" y="134746"/>
                    <a:pt x="85448" y="138585"/>
                  </a:cubicBezTo>
                  <a:cubicBezTo>
                    <a:pt x="80546" y="142469"/>
                    <a:pt x="74927" y="145355"/>
                    <a:pt x="68915" y="147079"/>
                  </a:cubicBezTo>
                  <a:cubicBezTo>
                    <a:pt x="62437" y="148976"/>
                    <a:pt x="55715" y="149922"/>
                    <a:pt x="48966" y="149890"/>
                  </a:cubicBezTo>
                  <a:cubicBezTo>
                    <a:pt x="39656" y="149888"/>
                    <a:pt x="30431" y="148145"/>
                    <a:pt x="21763" y="144751"/>
                  </a:cubicBezTo>
                  <a:cubicBezTo>
                    <a:pt x="13339" y="141650"/>
                    <a:pt x="5849" y="136448"/>
                    <a:pt x="0" y="129639"/>
                  </a:cubicBezTo>
                  <a:lnTo>
                    <a:pt x="18136" y="112712"/>
                  </a:lnTo>
                  <a:cubicBezTo>
                    <a:pt x="21772" y="117657"/>
                    <a:pt x="26596" y="121607"/>
                    <a:pt x="32160" y="124198"/>
                  </a:cubicBezTo>
                  <a:cubicBezTo>
                    <a:pt x="37504" y="126910"/>
                    <a:pt x="43398" y="128358"/>
                    <a:pt x="49389" y="128429"/>
                  </a:cubicBezTo>
                  <a:cubicBezTo>
                    <a:pt x="52445" y="128419"/>
                    <a:pt x="55486" y="128053"/>
                    <a:pt x="58457" y="127341"/>
                  </a:cubicBezTo>
                  <a:cubicBezTo>
                    <a:pt x="61458" y="126631"/>
                    <a:pt x="64299" y="125360"/>
                    <a:pt x="66829" y="123593"/>
                  </a:cubicBezTo>
                  <a:cubicBezTo>
                    <a:pt x="69299" y="121876"/>
                    <a:pt x="71363" y="119637"/>
                    <a:pt x="72874" y="117034"/>
                  </a:cubicBezTo>
                  <a:cubicBezTo>
                    <a:pt x="74528" y="114053"/>
                    <a:pt x="75332" y="110677"/>
                    <a:pt x="75202" y="107271"/>
                  </a:cubicBezTo>
                  <a:cubicBezTo>
                    <a:pt x="75341" y="103953"/>
                    <a:pt x="74431" y="100674"/>
                    <a:pt x="72602" y="97901"/>
                  </a:cubicBezTo>
                  <a:cubicBezTo>
                    <a:pt x="70719" y="95278"/>
                    <a:pt x="68310" y="93075"/>
                    <a:pt x="65530" y="91433"/>
                  </a:cubicBezTo>
                  <a:cubicBezTo>
                    <a:pt x="62223" y="89463"/>
                    <a:pt x="58705" y="87872"/>
                    <a:pt x="55041" y="86688"/>
                  </a:cubicBezTo>
                  <a:lnTo>
                    <a:pt x="42346" y="82456"/>
                  </a:lnTo>
                  <a:cubicBezTo>
                    <a:pt x="37955" y="81097"/>
                    <a:pt x="33644" y="79482"/>
                    <a:pt x="29440" y="77620"/>
                  </a:cubicBezTo>
                  <a:cubicBezTo>
                    <a:pt x="25193" y="75785"/>
                    <a:pt x="21276" y="73274"/>
                    <a:pt x="17833" y="70184"/>
                  </a:cubicBezTo>
                  <a:cubicBezTo>
                    <a:pt x="14333" y="66961"/>
                    <a:pt x="11492" y="63092"/>
                    <a:pt x="9461" y="58789"/>
                  </a:cubicBezTo>
                  <a:cubicBezTo>
                    <a:pt x="7151" y="53474"/>
                    <a:pt x="6048" y="47715"/>
                    <a:pt x="6227" y="41923"/>
                  </a:cubicBezTo>
                  <a:cubicBezTo>
                    <a:pt x="6060" y="35383"/>
                    <a:pt x="7635" y="28916"/>
                    <a:pt x="10791" y="23183"/>
                  </a:cubicBezTo>
                  <a:cubicBezTo>
                    <a:pt x="13732" y="18019"/>
                    <a:pt x="17788" y="13577"/>
                    <a:pt x="22669" y="10186"/>
                  </a:cubicBezTo>
                  <a:cubicBezTo>
                    <a:pt x="27756" y="6664"/>
                    <a:pt x="33427" y="4066"/>
                    <a:pt x="39414" y="2509"/>
                  </a:cubicBezTo>
                  <a:cubicBezTo>
                    <a:pt x="45626" y="848"/>
                    <a:pt x="52028" y="4"/>
                    <a:pt x="58457" y="0"/>
                  </a:cubicBezTo>
                  <a:cubicBezTo>
                    <a:pt x="65983" y="41"/>
                    <a:pt x="73452" y="1338"/>
                    <a:pt x="80552" y="3839"/>
                  </a:cubicBezTo>
                  <a:cubicBezTo>
                    <a:pt x="87773" y="6241"/>
                    <a:pt x="94398" y="10157"/>
                    <a:pt x="99987" y="15324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03" name="Graphic 57">
            <a:extLst>
              <a:ext uri="{FF2B5EF4-FFF2-40B4-BE49-F238E27FC236}">
                <a16:creationId xmlns:a16="http://schemas.microsoft.com/office/drawing/2014/main" id="{9D54A340-3217-214D-8EBC-0B6AE61D28DE}"/>
              </a:ext>
            </a:extLst>
          </p:cNvPr>
          <p:cNvGrpSpPr/>
          <p:nvPr userDrawn="1"/>
        </p:nvGrpSpPr>
        <p:grpSpPr>
          <a:xfrm>
            <a:off x="3980883" y="3991595"/>
            <a:ext cx="343910" cy="336574"/>
            <a:chOff x="5168279" y="5128232"/>
            <a:chExt cx="480134" cy="480134"/>
          </a:xfrm>
          <a:solidFill>
            <a:schemeClr val="bg1"/>
          </a:solidFill>
        </p:grpSpPr>
        <p:sp>
          <p:nvSpPr>
            <p:cNvPr id="204" name="Freeform 203">
              <a:extLst>
                <a:ext uri="{FF2B5EF4-FFF2-40B4-BE49-F238E27FC236}">
                  <a16:creationId xmlns:a16="http://schemas.microsoft.com/office/drawing/2014/main" id="{44AABEE3-E4CC-9246-BF81-4D1498B74968}"/>
                </a:ext>
              </a:extLst>
            </p:cNvPr>
            <p:cNvSpPr/>
            <p:nvPr/>
          </p:nvSpPr>
          <p:spPr>
            <a:xfrm>
              <a:off x="5507163" y="5199111"/>
              <a:ext cx="13503" cy="13503"/>
            </a:xfrm>
            <a:custGeom>
              <a:avLst/>
              <a:gdLst>
                <a:gd name="connsiteX0" fmla="*/ 13504 w 13503"/>
                <a:gd name="connsiteY0" fmla="*/ 6722 h 13503"/>
                <a:gd name="connsiteX1" fmla="*/ 6782 w 13503"/>
                <a:gd name="connsiteY1" fmla="*/ 13504 h 13503"/>
                <a:gd name="connsiteX2" fmla="*/ 0 w 13503"/>
                <a:gd name="connsiteY2" fmla="*/ 6782 h 13503"/>
                <a:gd name="connsiteX3" fmla="*/ 6722 w 13503"/>
                <a:gd name="connsiteY3" fmla="*/ 0 h 13503"/>
                <a:gd name="connsiteX4" fmla="*/ 6752 w 13503"/>
                <a:gd name="connsiteY4" fmla="*/ 0 h 13503"/>
                <a:gd name="connsiteX5" fmla="*/ 13504 w 13503"/>
                <a:gd name="connsiteY5" fmla="*/ 6692 h 13503"/>
                <a:gd name="connsiteX6" fmla="*/ 13504 w 13503"/>
                <a:gd name="connsiteY6" fmla="*/ 6722 h 13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03" h="13503">
                  <a:moveTo>
                    <a:pt x="13504" y="6722"/>
                  </a:moveTo>
                  <a:cubicBezTo>
                    <a:pt x="13522" y="10451"/>
                    <a:pt x="10512" y="13487"/>
                    <a:pt x="6782" y="13504"/>
                  </a:cubicBezTo>
                  <a:cubicBezTo>
                    <a:pt x="3052" y="13520"/>
                    <a:pt x="18" y="10511"/>
                    <a:pt x="0" y="6782"/>
                  </a:cubicBezTo>
                  <a:cubicBezTo>
                    <a:pt x="-15" y="3053"/>
                    <a:pt x="2992" y="17"/>
                    <a:pt x="6722" y="0"/>
                  </a:cubicBezTo>
                  <a:cubicBezTo>
                    <a:pt x="6731" y="0"/>
                    <a:pt x="6743" y="0"/>
                    <a:pt x="6752" y="0"/>
                  </a:cubicBezTo>
                  <a:cubicBezTo>
                    <a:pt x="10464" y="-16"/>
                    <a:pt x="13486" y="2980"/>
                    <a:pt x="13504" y="6692"/>
                  </a:cubicBezTo>
                  <a:cubicBezTo>
                    <a:pt x="13504" y="6702"/>
                    <a:pt x="13504" y="6712"/>
                    <a:pt x="13504" y="672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05" name="Freeform 204">
              <a:extLst>
                <a:ext uri="{FF2B5EF4-FFF2-40B4-BE49-F238E27FC236}">
                  <a16:creationId xmlns:a16="http://schemas.microsoft.com/office/drawing/2014/main" id="{6914869F-722B-C542-9CAA-E0AC8B078349}"/>
                </a:ext>
              </a:extLst>
            </p:cNvPr>
            <p:cNvSpPr/>
            <p:nvPr/>
          </p:nvSpPr>
          <p:spPr>
            <a:xfrm>
              <a:off x="5470373" y="5199111"/>
              <a:ext cx="13503" cy="13503"/>
            </a:xfrm>
            <a:custGeom>
              <a:avLst/>
              <a:gdLst>
                <a:gd name="connsiteX0" fmla="*/ 13504 w 13503"/>
                <a:gd name="connsiteY0" fmla="*/ 6722 h 13503"/>
                <a:gd name="connsiteX1" fmla="*/ 6782 w 13503"/>
                <a:gd name="connsiteY1" fmla="*/ 13504 h 13503"/>
                <a:gd name="connsiteX2" fmla="*/ 0 w 13503"/>
                <a:gd name="connsiteY2" fmla="*/ 6782 h 13503"/>
                <a:gd name="connsiteX3" fmla="*/ 6722 w 13503"/>
                <a:gd name="connsiteY3" fmla="*/ 0 h 13503"/>
                <a:gd name="connsiteX4" fmla="*/ 6752 w 13503"/>
                <a:gd name="connsiteY4" fmla="*/ 0 h 13503"/>
                <a:gd name="connsiteX5" fmla="*/ 13504 w 13503"/>
                <a:gd name="connsiteY5" fmla="*/ 6692 h 13503"/>
                <a:gd name="connsiteX6" fmla="*/ 13504 w 13503"/>
                <a:gd name="connsiteY6" fmla="*/ 6722 h 13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03" h="13503">
                  <a:moveTo>
                    <a:pt x="13504" y="6722"/>
                  </a:moveTo>
                  <a:cubicBezTo>
                    <a:pt x="13522" y="10451"/>
                    <a:pt x="10512" y="13487"/>
                    <a:pt x="6782" y="13504"/>
                  </a:cubicBezTo>
                  <a:cubicBezTo>
                    <a:pt x="3052" y="13520"/>
                    <a:pt x="18" y="10511"/>
                    <a:pt x="0" y="6782"/>
                  </a:cubicBezTo>
                  <a:cubicBezTo>
                    <a:pt x="-15" y="3053"/>
                    <a:pt x="2992" y="17"/>
                    <a:pt x="6722" y="0"/>
                  </a:cubicBezTo>
                  <a:cubicBezTo>
                    <a:pt x="6731" y="0"/>
                    <a:pt x="6743" y="0"/>
                    <a:pt x="6752" y="0"/>
                  </a:cubicBezTo>
                  <a:cubicBezTo>
                    <a:pt x="10464" y="-16"/>
                    <a:pt x="13486" y="2980"/>
                    <a:pt x="13504" y="6692"/>
                  </a:cubicBezTo>
                  <a:cubicBezTo>
                    <a:pt x="13504" y="6702"/>
                    <a:pt x="13504" y="6712"/>
                    <a:pt x="13504" y="672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06" name="Freeform 205">
              <a:extLst>
                <a:ext uri="{FF2B5EF4-FFF2-40B4-BE49-F238E27FC236}">
                  <a16:creationId xmlns:a16="http://schemas.microsoft.com/office/drawing/2014/main" id="{EFBD587E-5853-8C4A-9A13-8E15042DA3C5}"/>
                </a:ext>
              </a:extLst>
            </p:cNvPr>
            <p:cNvSpPr/>
            <p:nvPr/>
          </p:nvSpPr>
          <p:spPr>
            <a:xfrm>
              <a:off x="5543983" y="5199111"/>
              <a:ext cx="13443" cy="13443"/>
            </a:xfrm>
            <a:custGeom>
              <a:avLst/>
              <a:gdLst>
                <a:gd name="connsiteX0" fmla="*/ 13444 w 13443"/>
                <a:gd name="connsiteY0" fmla="*/ 6722 h 13443"/>
                <a:gd name="connsiteX1" fmla="*/ 6722 w 13443"/>
                <a:gd name="connsiteY1" fmla="*/ 13444 h 13443"/>
                <a:gd name="connsiteX2" fmla="*/ 0 w 13443"/>
                <a:gd name="connsiteY2" fmla="*/ 6722 h 13443"/>
                <a:gd name="connsiteX3" fmla="*/ 6722 w 13443"/>
                <a:gd name="connsiteY3" fmla="*/ 0 h 13443"/>
                <a:gd name="connsiteX4" fmla="*/ 13444 w 13443"/>
                <a:gd name="connsiteY4" fmla="*/ 6722 h 13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43" h="13443">
                  <a:moveTo>
                    <a:pt x="13444" y="6722"/>
                  </a:moveTo>
                  <a:cubicBezTo>
                    <a:pt x="13444" y="10434"/>
                    <a:pt x="10434" y="13444"/>
                    <a:pt x="6722" y="13444"/>
                  </a:cubicBezTo>
                  <a:cubicBezTo>
                    <a:pt x="3010" y="13444"/>
                    <a:pt x="0" y="10434"/>
                    <a:pt x="0" y="6722"/>
                  </a:cubicBezTo>
                  <a:cubicBezTo>
                    <a:pt x="0" y="3010"/>
                    <a:pt x="3010" y="0"/>
                    <a:pt x="6722" y="0"/>
                  </a:cubicBezTo>
                  <a:cubicBezTo>
                    <a:pt x="10434" y="0"/>
                    <a:pt x="13444" y="3010"/>
                    <a:pt x="13444" y="672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07" name="Freeform 206">
              <a:extLst>
                <a:ext uri="{FF2B5EF4-FFF2-40B4-BE49-F238E27FC236}">
                  <a16:creationId xmlns:a16="http://schemas.microsoft.com/office/drawing/2014/main" id="{208BE41C-72D5-AD44-BE77-C4863E38DC7E}"/>
                </a:ext>
              </a:extLst>
            </p:cNvPr>
            <p:cNvSpPr/>
            <p:nvPr/>
          </p:nvSpPr>
          <p:spPr>
            <a:xfrm>
              <a:off x="5332543" y="5337450"/>
              <a:ext cx="99870" cy="99747"/>
            </a:xfrm>
            <a:custGeom>
              <a:avLst/>
              <a:gdLst>
                <a:gd name="connsiteX0" fmla="*/ 49935 w 99870"/>
                <a:gd name="connsiteY0" fmla="*/ 0 h 99747"/>
                <a:gd name="connsiteX1" fmla="*/ 0 w 99870"/>
                <a:gd name="connsiteY1" fmla="*/ 49813 h 99747"/>
                <a:gd name="connsiteX2" fmla="*/ 49812 w 99870"/>
                <a:gd name="connsiteY2" fmla="*/ 99748 h 99747"/>
                <a:gd name="connsiteX3" fmla="*/ 72742 w 99870"/>
                <a:gd name="connsiteY3" fmla="*/ 94196 h 99747"/>
                <a:gd name="connsiteX4" fmla="*/ 75667 w 99870"/>
                <a:gd name="connsiteY4" fmla="*/ 85119 h 99747"/>
                <a:gd name="connsiteX5" fmla="*/ 66590 w 99870"/>
                <a:gd name="connsiteY5" fmla="*/ 82193 h 99747"/>
                <a:gd name="connsiteX6" fmla="*/ 17617 w 99870"/>
                <a:gd name="connsiteY6" fmla="*/ 66469 h 99747"/>
                <a:gd name="connsiteX7" fmla="*/ 33341 w 99870"/>
                <a:gd name="connsiteY7" fmla="*/ 17496 h 99747"/>
                <a:gd name="connsiteX8" fmla="*/ 82314 w 99870"/>
                <a:gd name="connsiteY8" fmla="*/ 33220 h 99747"/>
                <a:gd name="connsiteX9" fmla="*/ 82314 w 99870"/>
                <a:gd name="connsiteY9" fmla="*/ 66469 h 99747"/>
                <a:gd name="connsiteX10" fmla="*/ 85225 w 99870"/>
                <a:gd name="connsiteY10" fmla="*/ 75561 h 99747"/>
                <a:gd name="connsiteX11" fmla="*/ 94318 w 99870"/>
                <a:gd name="connsiteY11" fmla="*/ 72650 h 99747"/>
                <a:gd name="connsiteX12" fmla="*/ 72883 w 99870"/>
                <a:gd name="connsiteY12" fmla="*/ 5543 h 99747"/>
                <a:gd name="connsiteX13" fmla="*/ 49935 w 99870"/>
                <a:gd name="connsiteY13" fmla="*/ 0 h 9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870" h="99747">
                  <a:moveTo>
                    <a:pt x="49935" y="0"/>
                  </a:moveTo>
                  <a:cubicBezTo>
                    <a:pt x="22390" y="-34"/>
                    <a:pt x="34" y="22268"/>
                    <a:pt x="0" y="49813"/>
                  </a:cubicBezTo>
                  <a:cubicBezTo>
                    <a:pt x="-34" y="77357"/>
                    <a:pt x="22268" y="99715"/>
                    <a:pt x="49812" y="99748"/>
                  </a:cubicBezTo>
                  <a:cubicBezTo>
                    <a:pt x="57790" y="99757"/>
                    <a:pt x="65652" y="97854"/>
                    <a:pt x="72742" y="94196"/>
                  </a:cubicBezTo>
                  <a:cubicBezTo>
                    <a:pt x="76056" y="92498"/>
                    <a:pt x="77366" y="88434"/>
                    <a:pt x="75667" y="85119"/>
                  </a:cubicBezTo>
                  <a:cubicBezTo>
                    <a:pt x="73969" y="81804"/>
                    <a:pt x="69905" y="80494"/>
                    <a:pt x="66590" y="82193"/>
                  </a:cubicBezTo>
                  <a:cubicBezTo>
                    <a:pt x="48724" y="91376"/>
                    <a:pt x="26798" y="84334"/>
                    <a:pt x="17617" y="66469"/>
                  </a:cubicBezTo>
                  <a:cubicBezTo>
                    <a:pt x="8436" y="48603"/>
                    <a:pt x="15476" y="26677"/>
                    <a:pt x="33341" y="17496"/>
                  </a:cubicBezTo>
                  <a:cubicBezTo>
                    <a:pt x="51207" y="8315"/>
                    <a:pt x="73133" y="15355"/>
                    <a:pt x="82314" y="33220"/>
                  </a:cubicBezTo>
                  <a:cubicBezTo>
                    <a:pt x="87676" y="43654"/>
                    <a:pt x="87676" y="56034"/>
                    <a:pt x="82314" y="66469"/>
                  </a:cubicBezTo>
                  <a:cubicBezTo>
                    <a:pt x="80607" y="69783"/>
                    <a:pt x="81910" y="73854"/>
                    <a:pt x="85225" y="75561"/>
                  </a:cubicBezTo>
                  <a:cubicBezTo>
                    <a:pt x="88540" y="77268"/>
                    <a:pt x="92610" y="75965"/>
                    <a:pt x="94318" y="72650"/>
                  </a:cubicBezTo>
                  <a:cubicBezTo>
                    <a:pt x="106930" y="48200"/>
                    <a:pt x="97333" y="18155"/>
                    <a:pt x="72883" y="5543"/>
                  </a:cubicBezTo>
                  <a:cubicBezTo>
                    <a:pt x="65788" y="1883"/>
                    <a:pt x="57918" y="-18"/>
                    <a:pt x="49935" y="0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08" name="Freeform 207">
              <a:extLst>
                <a:ext uri="{FF2B5EF4-FFF2-40B4-BE49-F238E27FC236}">
                  <a16:creationId xmlns:a16="http://schemas.microsoft.com/office/drawing/2014/main" id="{A3286D13-BEED-BB4F-8FA2-7B1FB549E977}"/>
                </a:ext>
              </a:extLst>
            </p:cNvPr>
            <p:cNvSpPr/>
            <p:nvPr/>
          </p:nvSpPr>
          <p:spPr>
            <a:xfrm>
              <a:off x="5265296" y="5270141"/>
              <a:ext cx="234425" cy="234605"/>
            </a:xfrm>
            <a:custGeom>
              <a:avLst/>
              <a:gdLst>
                <a:gd name="connsiteX0" fmla="*/ 227614 w 234425"/>
                <a:gd name="connsiteY0" fmla="*/ 92486 h 234605"/>
                <a:gd name="connsiteX1" fmla="*/ 199316 w 234425"/>
                <a:gd name="connsiteY1" fmla="*/ 92486 h 234605"/>
                <a:gd name="connsiteX2" fmla="*/ 192684 w 234425"/>
                <a:gd name="connsiteY2" fmla="*/ 76551 h 234605"/>
                <a:gd name="connsiteX3" fmla="*/ 212729 w 234425"/>
                <a:gd name="connsiteY3" fmla="*/ 56536 h 234605"/>
                <a:gd name="connsiteX4" fmla="*/ 214680 w 234425"/>
                <a:gd name="connsiteY4" fmla="*/ 51764 h 234605"/>
                <a:gd name="connsiteX5" fmla="*/ 212729 w 234425"/>
                <a:gd name="connsiteY5" fmla="*/ 46993 h 234605"/>
                <a:gd name="connsiteX6" fmla="*/ 187342 w 234425"/>
                <a:gd name="connsiteY6" fmla="*/ 21636 h 234605"/>
                <a:gd name="connsiteX7" fmla="*/ 177879 w 234425"/>
                <a:gd name="connsiteY7" fmla="*/ 21587 h 234605"/>
                <a:gd name="connsiteX8" fmla="*/ 177830 w 234425"/>
                <a:gd name="connsiteY8" fmla="*/ 21636 h 234605"/>
                <a:gd name="connsiteX9" fmla="*/ 157784 w 234425"/>
                <a:gd name="connsiteY9" fmla="*/ 41652 h 234605"/>
                <a:gd name="connsiteX10" fmla="*/ 141850 w 234425"/>
                <a:gd name="connsiteY10" fmla="*/ 35140 h 234605"/>
                <a:gd name="connsiteX11" fmla="*/ 141850 w 234425"/>
                <a:gd name="connsiteY11" fmla="*/ 6722 h 234605"/>
                <a:gd name="connsiteX12" fmla="*/ 135128 w 234425"/>
                <a:gd name="connsiteY12" fmla="*/ 0 h 234605"/>
                <a:gd name="connsiteX13" fmla="*/ 99238 w 234425"/>
                <a:gd name="connsiteY13" fmla="*/ 0 h 234605"/>
                <a:gd name="connsiteX14" fmla="*/ 92516 w 234425"/>
                <a:gd name="connsiteY14" fmla="*/ 6722 h 234605"/>
                <a:gd name="connsiteX15" fmla="*/ 92516 w 234425"/>
                <a:gd name="connsiteY15" fmla="*/ 35140 h 234605"/>
                <a:gd name="connsiteX16" fmla="*/ 76551 w 234425"/>
                <a:gd name="connsiteY16" fmla="*/ 41772 h 234605"/>
                <a:gd name="connsiteX17" fmla="*/ 56536 w 234425"/>
                <a:gd name="connsiteY17" fmla="*/ 21636 h 234605"/>
                <a:gd name="connsiteX18" fmla="*/ 47072 w 234425"/>
                <a:gd name="connsiteY18" fmla="*/ 21587 h 234605"/>
                <a:gd name="connsiteX19" fmla="*/ 47023 w 234425"/>
                <a:gd name="connsiteY19" fmla="*/ 21636 h 234605"/>
                <a:gd name="connsiteX20" fmla="*/ 21636 w 234425"/>
                <a:gd name="connsiteY20" fmla="*/ 47143 h 234605"/>
                <a:gd name="connsiteX21" fmla="*/ 19685 w 234425"/>
                <a:gd name="connsiteY21" fmla="*/ 51914 h 234605"/>
                <a:gd name="connsiteX22" fmla="*/ 21636 w 234425"/>
                <a:gd name="connsiteY22" fmla="*/ 56686 h 234605"/>
                <a:gd name="connsiteX23" fmla="*/ 41682 w 234425"/>
                <a:gd name="connsiteY23" fmla="*/ 76701 h 234605"/>
                <a:gd name="connsiteX24" fmla="*/ 35050 w 234425"/>
                <a:gd name="connsiteY24" fmla="*/ 92636 h 234605"/>
                <a:gd name="connsiteX25" fmla="*/ 6752 w 234425"/>
                <a:gd name="connsiteY25" fmla="*/ 92636 h 234605"/>
                <a:gd name="connsiteX26" fmla="*/ 0 w 234425"/>
                <a:gd name="connsiteY26" fmla="*/ 99358 h 234605"/>
                <a:gd name="connsiteX27" fmla="*/ 0 w 234425"/>
                <a:gd name="connsiteY27" fmla="*/ 135368 h 234605"/>
                <a:gd name="connsiteX28" fmla="*/ 6752 w 234425"/>
                <a:gd name="connsiteY28" fmla="*/ 142120 h 234605"/>
                <a:gd name="connsiteX29" fmla="*/ 35020 w 234425"/>
                <a:gd name="connsiteY29" fmla="*/ 142120 h 234605"/>
                <a:gd name="connsiteX30" fmla="*/ 41652 w 234425"/>
                <a:gd name="connsiteY30" fmla="*/ 158054 h 234605"/>
                <a:gd name="connsiteX31" fmla="*/ 21606 w 234425"/>
                <a:gd name="connsiteY31" fmla="*/ 178070 h 234605"/>
                <a:gd name="connsiteX32" fmla="*/ 21606 w 234425"/>
                <a:gd name="connsiteY32" fmla="*/ 187582 h 234605"/>
                <a:gd name="connsiteX33" fmla="*/ 46993 w 234425"/>
                <a:gd name="connsiteY33" fmla="*/ 212969 h 234605"/>
                <a:gd name="connsiteX34" fmla="*/ 56457 w 234425"/>
                <a:gd name="connsiteY34" fmla="*/ 213017 h 234605"/>
                <a:gd name="connsiteX35" fmla="*/ 56506 w 234425"/>
                <a:gd name="connsiteY35" fmla="*/ 212969 h 234605"/>
                <a:gd name="connsiteX36" fmla="*/ 76521 w 234425"/>
                <a:gd name="connsiteY36" fmla="*/ 192954 h 234605"/>
                <a:gd name="connsiteX37" fmla="*/ 92486 w 234425"/>
                <a:gd name="connsiteY37" fmla="*/ 199586 h 234605"/>
                <a:gd name="connsiteX38" fmla="*/ 92486 w 234425"/>
                <a:gd name="connsiteY38" fmla="*/ 227884 h 234605"/>
                <a:gd name="connsiteX39" fmla="*/ 99208 w 234425"/>
                <a:gd name="connsiteY39" fmla="*/ 234605 h 234605"/>
                <a:gd name="connsiteX40" fmla="*/ 135218 w 234425"/>
                <a:gd name="connsiteY40" fmla="*/ 234605 h 234605"/>
                <a:gd name="connsiteX41" fmla="*/ 141940 w 234425"/>
                <a:gd name="connsiteY41" fmla="*/ 227884 h 234605"/>
                <a:gd name="connsiteX42" fmla="*/ 141940 w 234425"/>
                <a:gd name="connsiteY42" fmla="*/ 199586 h 234605"/>
                <a:gd name="connsiteX43" fmla="*/ 157874 w 234425"/>
                <a:gd name="connsiteY43" fmla="*/ 192954 h 234605"/>
                <a:gd name="connsiteX44" fmla="*/ 177920 w 234425"/>
                <a:gd name="connsiteY44" fmla="*/ 212969 h 234605"/>
                <a:gd name="connsiteX45" fmla="*/ 187383 w 234425"/>
                <a:gd name="connsiteY45" fmla="*/ 213017 h 234605"/>
                <a:gd name="connsiteX46" fmla="*/ 187432 w 234425"/>
                <a:gd name="connsiteY46" fmla="*/ 212969 h 234605"/>
                <a:gd name="connsiteX47" fmla="*/ 212819 w 234425"/>
                <a:gd name="connsiteY47" fmla="*/ 187582 h 234605"/>
                <a:gd name="connsiteX48" fmla="*/ 212819 w 234425"/>
                <a:gd name="connsiteY48" fmla="*/ 178070 h 234605"/>
                <a:gd name="connsiteX49" fmla="*/ 192774 w 234425"/>
                <a:gd name="connsiteY49" fmla="*/ 158054 h 234605"/>
                <a:gd name="connsiteX50" fmla="*/ 199406 w 234425"/>
                <a:gd name="connsiteY50" fmla="*/ 142120 h 234605"/>
                <a:gd name="connsiteX51" fmla="*/ 227704 w 234425"/>
                <a:gd name="connsiteY51" fmla="*/ 142120 h 234605"/>
                <a:gd name="connsiteX52" fmla="*/ 234425 w 234425"/>
                <a:gd name="connsiteY52" fmla="*/ 135398 h 234605"/>
                <a:gd name="connsiteX53" fmla="*/ 234425 w 234425"/>
                <a:gd name="connsiteY53" fmla="*/ 135368 h 234605"/>
                <a:gd name="connsiteX54" fmla="*/ 234425 w 234425"/>
                <a:gd name="connsiteY54" fmla="*/ 99358 h 234605"/>
                <a:gd name="connsiteX55" fmla="*/ 227704 w 234425"/>
                <a:gd name="connsiteY55" fmla="*/ 92636 h 234605"/>
                <a:gd name="connsiteX56" fmla="*/ 220892 w 234425"/>
                <a:gd name="connsiteY56" fmla="*/ 128496 h 234605"/>
                <a:gd name="connsiteX57" fmla="*/ 194064 w 234425"/>
                <a:gd name="connsiteY57" fmla="*/ 128496 h 234605"/>
                <a:gd name="connsiteX58" fmla="*/ 187522 w 234425"/>
                <a:gd name="connsiteY58" fmla="*/ 133717 h 234605"/>
                <a:gd name="connsiteX59" fmla="*/ 178520 w 234425"/>
                <a:gd name="connsiteY59" fmla="*/ 155443 h 234605"/>
                <a:gd name="connsiteX60" fmla="*/ 179480 w 234425"/>
                <a:gd name="connsiteY60" fmla="*/ 163756 h 234605"/>
                <a:gd name="connsiteX61" fmla="*/ 198415 w 234425"/>
                <a:gd name="connsiteY61" fmla="*/ 182691 h 234605"/>
                <a:gd name="connsiteX62" fmla="*/ 182571 w 234425"/>
                <a:gd name="connsiteY62" fmla="*/ 198535 h 234605"/>
                <a:gd name="connsiteX63" fmla="*/ 163636 w 234425"/>
                <a:gd name="connsiteY63" fmla="*/ 179630 h 234605"/>
                <a:gd name="connsiteX64" fmla="*/ 155293 w 234425"/>
                <a:gd name="connsiteY64" fmla="*/ 178670 h 234605"/>
                <a:gd name="connsiteX65" fmla="*/ 133567 w 234425"/>
                <a:gd name="connsiteY65" fmla="*/ 187672 h 234605"/>
                <a:gd name="connsiteX66" fmla="*/ 128376 w 234425"/>
                <a:gd name="connsiteY66" fmla="*/ 194214 h 234605"/>
                <a:gd name="connsiteX67" fmla="*/ 128376 w 234425"/>
                <a:gd name="connsiteY67" fmla="*/ 220952 h 234605"/>
                <a:gd name="connsiteX68" fmla="*/ 105960 w 234425"/>
                <a:gd name="connsiteY68" fmla="*/ 220952 h 234605"/>
                <a:gd name="connsiteX69" fmla="*/ 105960 w 234425"/>
                <a:gd name="connsiteY69" fmla="*/ 194184 h 234605"/>
                <a:gd name="connsiteX70" fmla="*/ 100768 w 234425"/>
                <a:gd name="connsiteY70" fmla="*/ 187642 h 234605"/>
                <a:gd name="connsiteX71" fmla="*/ 79042 w 234425"/>
                <a:gd name="connsiteY71" fmla="*/ 178640 h 234605"/>
                <a:gd name="connsiteX72" fmla="*/ 70700 w 234425"/>
                <a:gd name="connsiteY72" fmla="*/ 179600 h 234605"/>
                <a:gd name="connsiteX73" fmla="*/ 51764 w 234425"/>
                <a:gd name="connsiteY73" fmla="*/ 198505 h 234605"/>
                <a:gd name="connsiteX74" fmla="*/ 35920 w 234425"/>
                <a:gd name="connsiteY74" fmla="*/ 182661 h 234605"/>
                <a:gd name="connsiteX75" fmla="*/ 54855 w 234425"/>
                <a:gd name="connsiteY75" fmla="*/ 163726 h 234605"/>
                <a:gd name="connsiteX76" fmla="*/ 55786 w 234425"/>
                <a:gd name="connsiteY76" fmla="*/ 155173 h 234605"/>
                <a:gd name="connsiteX77" fmla="*/ 46783 w 234425"/>
                <a:gd name="connsiteY77" fmla="*/ 133447 h 234605"/>
                <a:gd name="connsiteX78" fmla="*/ 40241 w 234425"/>
                <a:gd name="connsiteY78" fmla="*/ 128226 h 234605"/>
                <a:gd name="connsiteX79" fmla="*/ 13474 w 234425"/>
                <a:gd name="connsiteY79" fmla="*/ 128226 h 234605"/>
                <a:gd name="connsiteX80" fmla="*/ 13474 w 234425"/>
                <a:gd name="connsiteY80" fmla="*/ 105960 h 234605"/>
                <a:gd name="connsiteX81" fmla="*/ 40211 w 234425"/>
                <a:gd name="connsiteY81" fmla="*/ 105960 h 234605"/>
                <a:gd name="connsiteX82" fmla="*/ 46753 w 234425"/>
                <a:gd name="connsiteY82" fmla="*/ 100738 h 234605"/>
                <a:gd name="connsiteX83" fmla="*/ 55756 w 234425"/>
                <a:gd name="connsiteY83" fmla="*/ 79012 h 234605"/>
                <a:gd name="connsiteX84" fmla="*/ 54825 w 234425"/>
                <a:gd name="connsiteY84" fmla="*/ 70700 h 234605"/>
                <a:gd name="connsiteX85" fmla="*/ 35920 w 234425"/>
                <a:gd name="connsiteY85" fmla="*/ 51764 h 234605"/>
                <a:gd name="connsiteX86" fmla="*/ 51764 w 234425"/>
                <a:gd name="connsiteY86" fmla="*/ 35890 h 234605"/>
                <a:gd name="connsiteX87" fmla="*/ 70700 w 234425"/>
                <a:gd name="connsiteY87" fmla="*/ 54825 h 234605"/>
                <a:gd name="connsiteX88" fmla="*/ 79042 w 234425"/>
                <a:gd name="connsiteY88" fmla="*/ 55786 h 234605"/>
                <a:gd name="connsiteX89" fmla="*/ 100768 w 234425"/>
                <a:gd name="connsiteY89" fmla="*/ 46783 h 234605"/>
                <a:gd name="connsiteX90" fmla="*/ 105960 w 234425"/>
                <a:gd name="connsiteY90" fmla="*/ 40241 h 234605"/>
                <a:gd name="connsiteX91" fmla="*/ 105960 w 234425"/>
                <a:gd name="connsiteY91" fmla="*/ 13444 h 234605"/>
                <a:gd name="connsiteX92" fmla="*/ 128406 w 234425"/>
                <a:gd name="connsiteY92" fmla="*/ 13444 h 234605"/>
                <a:gd name="connsiteX93" fmla="*/ 128406 w 234425"/>
                <a:gd name="connsiteY93" fmla="*/ 40211 h 234605"/>
                <a:gd name="connsiteX94" fmla="*/ 133597 w 234425"/>
                <a:gd name="connsiteY94" fmla="*/ 46753 h 234605"/>
                <a:gd name="connsiteX95" fmla="*/ 155323 w 234425"/>
                <a:gd name="connsiteY95" fmla="*/ 55756 h 234605"/>
                <a:gd name="connsiteX96" fmla="*/ 163666 w 234425"/>
                <a:gd name="connsiteY96" fmla="*/ 54795 h 234605"/>
                <a:gd name="connsiteX97" fmla="*/ 182601 w 234425"/>
                <a:gd name="connsiteY97" fmla="*/ 35860 h 234605"/>
                <a:gd name="connsiteX98" fmla="*/ 198445 w 234425"/>
                <a:gd name="connsiteY98" fmla="*/ 51734 h 234605"/>
                <a:gd name="connsiteX99" fmla="*/ 179510 w 234425"/>
                <a:gd name="connsiteY99" fmla="*/ 70670 h 234605"/>
                <a:gd name="connsiteX100" fmla="*/ 178550 w 234425"/>
                <a:gd name="connsiteY100" fmla="*/ 78982 h 234605"/>
                <a:gd name="connsiteX101" fmla="*/ 187552 w 234425"/>
                <a:gd name="connsiteY101" fmla="*/ 100708 h 234605"/>
                <a:gd name="connsiteX102" fmla="*/ 194064 w 234425"/>
                <a:gd name="connsiteY102" fmla="*/ 105960 h 234605"/>
                <a:gd name="connsiteX103" fmla="*/ 220802 w 234425"/>
                <a:gd name="connsiteY103" fmla="*/ 105960 h 234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34425" h="234605">
                  <a:moveTo>
                    <a:pt x="227614" y="92486"/>
                  </a:moveTo>
                  <a:lnTo>
                    <a:pt x="199316" y="92486"/>
                  </a:lnTo>
                  <a:cubicBezTo>
                    <a:pt x="197658" y="86961"/>
                    <a:pt x="195436" y="81621"/>
                    <a:pt x="192684" y="76551"/>
                  </a:cubicBezTo>
                  <a:lnTo>
                    <a:pt x="212729" y="56536"/>
                  </a:lnTo>
                  <a:cubicBezTo>
                    <a:pt x="213981" y="55262"/>
                    <a:pt x="214680" y="53549"/>
                    <a:pt x="214680" y="51764"/>
                  </a:cubicBezTo>
                  <a:cubicBezTo>
                    <a:pt x="214689" y="49978"/>
                    <a:pt x="213987" y="48261"/>
                    <a:pt x="212729" y="46993"/>
                  </a:cubicBezTo>
                  <a:lnTo>
                    <a:pt x="187342" y="21636"/>
                  </a:lnTo>
                  <a:cubicBezTo>
                    <a:pt x="184743" y="19009"/>
                    <a:pt x="180505" y="18987"/>
                    <a:pt x="177879" y="21587"/>
                  </a:cubicBezTo>
                  <a:cubicBezTo>
                    <a:pt x="177862" y="21603"/>
                    <a:pt x="177846" y="21620"/>
                    <a:pt x="177830" y="21636"/>
                  </a:cubicBezTo>
                  <a:lnTo>
                    <a:pt x="157784" y="41652"/>
                  </a:lnTo>
                  <a:cubicBezTo>
                    <a:pt x="152706" y="38948"/>
                    <a:pt x="147368" y="36766"/>
                    <a:pt x="141850" y="35140"/>
                  </a:cubicBezTo>
                  <a:lnTo>
                    <a:pt x="141850" y="6722"/>
                  </a:lnTo>
                  <a:cubicBezTo>
                    <a:pt x="141850" y="3010"/>
                    <a:pt x="138840" y="0"/>
                    <a:pt x="135128" y="0"/>
                  </a:cubicBezTo>
                  <a:lnTo>
                    <a:pt x="99238" y="0"/>
                  </a:lnTo>
                  <a:cubicBezTo>
                    <a:pt x="95525" y="0"/>
                    <a:pt x="92516" y="3010"/>
                    <a:pt x="92516" y="6722"/>
                  </a:cubicBezTo>
                  <a:lnTo>
                    <a:pt x="92516" y="35140"/>
                  </a:lnTo>
                  <a:cubicBezTo>
                    <a:pt x="86986" y="36810"/>
                    <a:pt x="81637" y="39032"/>
                    <a:pt x="76551" y="41772"/>
                  </a:cubicBezTo>
                  <a:lnTo>
                    <a:pt x="56536" y="21636"/>
                  </a:lnTo>
                  <a:cubicBezTo>
                    <a:pt x="53936" y="19009"/>
                    <a:pt x="49699" y="18987"/>
                    <a:pt x="47072" y="21587"/>
                  </a:cubicBezTo>
                  <a:cubicBezTo>
                    <a:pt x="47056" y="21603"/>
                    <a:pt x="47039" y="21620"/>
                    <a:pt x="47023" y="21636"/>
                  </a:cubicBezTo>
                  <a:lnTo>
                    <a:pt x="21636" y="47143"/>
                  </a:lnTo>
                  <a:cubicBezTo>
                    <a:pt x="20378" y="48411"/>
                    <a:pt x="19676" y="50128"/>
                    <a:pt x="19685" y="51914"/>
                  </a:cubicBezTo>
                  <a:cubicBezTo>
                    <a:pt x="19685" y="53699"/>
                    <a:pt x="20386" y="55412"/>
                    <a:pt x="21636" y="56686"/>
                  </a:cubicBezTo>
                  <a:lnTo>
                    <a:pt x="41682" y="76701"/>
                  </a:lnTo>
                  <a:cubicBezTo>
                    <a:pt x="38930" y="81771"/>
                    <a:pt x="36707" y="87111"/>
                    <a:pt x="35050" y="92636"/>
                  </a:cubicBezTo>
                  <a:lnTo>
                    <a:pt x="6752" y="92636"/>
                  </a:lnTo>
                  <a:cubicBezTo>
                    <a:pt x="3035" y="92636"/>
                    <a:pt x="17" y="95641"/>
                    <a:pt x="0" y="99358"/>
                  </a:cubicBezTo>
                  <a:lnTo>
                    <a:pt x="0" y="135368"/>
                  </a:lnTo>
                  <a:cubicBezTo>
                    <a:pt x="0" y="139097"/>
                    <a:pt x="3023" y="142120"/>
                    <a:pt x="6752" y="142120"/>
                  </a:cubicBezTo>
                  <a:lnTo>
                    <a:pt x="35020" y="142120"/>
                  </a:lnTo>
                  <a:cubicBezTo>
                    <a:pt x="36677" y="147645"/>
                    <a:pt x="38900" y="152984"/>
                    <a:pt x="41652" y="158054"/>
                  </a:cubicBezTo>
                  <a:lnTo>
                    <a:pt x="21606" y="178070"/>
                  </a:lnTo>
                  <a:cubicBezTo>
                    <a:pt x="19009" y="180710"/>
                    <a:pt x="19009" y="184942"/>
                    <a:pt x="21606" y="187582"/>
                  </a:cubicBezTo>
                  <a:lnTo>
                    <a:pt x="46993" y="212969"/>
                  </a:lnTo>
                  <a:cubicBezTo>
                    <a:pt x="49593" y="215595"/>
                    <a:pt x="53830" y="215619"/>
                    <a:pt x="56457" y="213017"/>
                  </a:cubicBezTo>
                  <a:cubicBezTo>
                    <a:pt x="56473" y="213002"/>
                    <a:pt x="56490" y="212984"/>
                    <a:pt x="56506" y="212969"/>
                  </a:cubicBezTo>
                  <a:lnTo>
                    <a:pt x="76521" y="192954"/>
                  </a:lnTo>
                  <a:cubicBezTo>
                    <a:pt x="81613" y="195682"/>
                    <a:pt x="86960" y="197902"/>
                    <a:pt x="92486" y="199586"/>
                  </a:cubicBezTo>
                  <a:lnTo>
                    <a:pt x="92486" y="227884"/>
                  </a:lnTo>
                  <a:cubicBezTo>
                    <a:pt x="92486" y="231596"/>
                    <a:pt x="95495" y="234605"/>
                    <a:pt x="99208" y="234605"/>
                  </a:cubicBezTo>
                  <a:lnTo>
                    <a:pt x="135218" y="234605"/>
                  </a:lnTo>
                  <a:cubicBezTo>
                    <a:pt x="138930" y="234605"/>
                    <a:pt x="141940" y="231596"/>
                    <a:pt x="141940" y="227884"/>
                  </a:cubicBezTo>
                  <a:lnTo>
                    <a:pt x="141940" y="199586"/>
                  </a:lnTo>
                  <a:cubicBezTo>
                    <a:pt x="147458" y="197908"/>
                    <a:pt x="152795" y="195688"/>
                    <a:pt x="157874" y="192954"/>
                  </a:cubicBezTo>
                  <a:lnTo>
                    <a:pt x="177920" y="212969"/>
                  </a:lnTo>
                  <a:cubicBezTo>
                    <a:pt x="180519" y="215595"/>
                    <a:pt x="184756" y="215619"/>
                    <a:pt x="187383" y="213017"/>
                  </a:cubicBezTo>
                  <a:cubicBezTo>
                    <a:pt x="187400" y="213002"/>
                    <a:pt x="187416" y="212984"/>
                    <a:pt x="187432" y="212969"/>
                  </a:cubicBezTo>
                  <a:lnTo>
                    <a:pt x="212819" y="187582"/>
                  </a:lnTo>
                  <a:cubicBezTo>
                    <a:pt x="215415" y="184942"/>
                    <a:pt x="215415" y="180710"/>
                    <a:pt x="212819" y="178070"/>
                  </a:cubicBezTo>
                  <a:lnTo>
                    <a:pt x="192774" y="158054"/>
                  </a:lnTo>
                  <a:cubicBezTo>
                    <a:pt x="195526" y="152984"/>
                    <a:pt x="197748" y="147645"/>
                    <a:pt x="199406" y="142120"/>
                  </a:cubicBezTo>
                  <a:lnTo>
                    <a:pt x="227704" y="142120"/>
                  </a:lnTo>
                  <a:cubicBezTo>
                    <a:pt x="231416" y="142120"/>
                    <a:pt x="234425" y="139110"/>
                    <a:pt x="234425" y="135398"/>
                  </a:cubicBezTo>
                  <a:cubicBezTo>
                    <a:pt x="234425" y="135388"/>
                    <a:pt x="234425" y="135378"/>
                    <a:pt x="234425" y="135368"/>
                  </a:cubicBezTo>
                  <a:lnTo>
                    <a:pt x="234425" y="99358"/>
                  </a:lnTo>
                  <a:cubicBezTo>
                    <a:pt x="234425" y="95645"/>
                    <a:pt x="231416" y="92636"/>
                    <a:pt x="227704" y="92636"/>
                  </a:cubicBezTo>
                  <a:close/>
                  <a:moveTo>
                    <a:pt x="220892" y="128496"/>
                  </a:moveTo>
                  <a:lnTo>
                    <a:pt x="194064" y="128496"/>
                  </a:lnTo>
                  <a:cubicBezTo>
                    <a:pt x="190934" y="128501"/>
                    <a:pt x="188221" y="130666"/>
                    <a:pt x="187522" y="133717"/>
                  </a:cubicBezTo>
                  <a:cubicBezTo>
                    <a:pt x="185742" y="141407"/>
                    <a:pt x="182700" y="148748"/>
                    <a:pt x="178520" y="155443"/>
                  </a:cubicBezTo>
                  <a:cubicBezTo>
                    <a:pt x="176866" y="158100"/>
                    <a:pt x="177264" y="161547"/>
                    <a:pt x="179480" y="163756"/>
                  </a:cubicBezTo>
                  <a:lnTo>
                    <a:pt x="198415" y="182691"/>
                  </a:lnTo>
                  <a:lnTo>
                    <a:pt x="182571" y="198535"/>
                  </a:lnTo>
                  <a:lnTo>
                    <a:pt x="163636" y="179630"/>
                  </a:lnTo>
                  <a:cubicBezTo>
                    <a:pt x="161416" y="177410"/>
                    <a:pt x="157959" y="177010"/>
                    <a:pt x="155293" y="178670"/>
                  </a:cubicBezTo>
                  <a:cubicBezTo>
                    <a:pt x="148593" y="182841"/>
                    <a:pt x="141254" y="185881"/>
                    <a:pt x="133567" y="187672"/>
                  </a:cubicBezTo>
                  <a:cubicBezTo>
                    <a:pt x="130534" y="188393"/>
                    <a:pt x="128388" y="191096"/>
                    <a:pt x="128376" y="194214"/>
                  </a:cubicBezTo>
                  <a:lnTo>
                    <a:pt x="128376" y="220952"/>
                  </a:lnTo>
                  <a:lnTo>
                    <a:pt x="105960" y="220952"/>
                  </a:lnTo>
                  <a:lnTo>
                    <a:pt x="105960" y="194184"/>
                  </a:lnTo>
                  <a:cubicBezTo>
                    <a:pt x="105947" y="191066"/>
                    <a:pt x="103801" y="188363"/>
                    <a:pt x="100768" y="187642"/>
                  </a:cubicBezTo>
                  <a:cubicBezTo>
                    <a:pt x="93082" y="185851"/>
                    <a:pt x="85742" y="182811"/>
                    <a:pt x="79042" y="178640"/>
                  </a:cubicBezTo>
                  <a:cubicBezTo>
                    <a:pt x="76376" y="176980"/>
                    <a:pt x="72919" y="177380"/>
                    <a:pt x="70700" y="179600"/>
                  </a:cubicBezTo>
                  <a:lnTo>
                    <a:pt x="51764" y="198505"/>
                  </a:lnTo>
                  <a:lnTo>
                    <a:pt x="35920" y="182661"/>
                  </a:lnTo>
                  <a:lnTo>
                    <a:pt x="54855" y="163726"/>
                  </a:lnTo>
                  <a:cubicBezTo>
                    <a:pt x="57200" y="161478"/>
                    <a:pt x="57592" y="157872"/>
                    <a:pt x="55786" y="155173"/>
                  </a:cubicBezTo>
                  <a:cubicBezTo>
                    <a:pt x="51615" y="148473"/>
                    <a:pt x="48573" y="141134"/>
                    <a:pt x="46783" y="133447"/>
                  </a:cubicBezTo>
                  <a:cubicBezTo>
                    <a:pt x="46084" y="130396"/>
                    <a:pt x="43372" y="128231"/>
                    <a:pt x="40241" y="128226"/>
                  </a:cubicBezTo>
                  <a:lnTo>
                    <a:pt x="13474" y="128226"/>
                  </a:lnTo>
                  <a:lnTo>
                    <a:pt x="13474" y="105960"/>
                  </a:lnTo>
                  <a:lnTo>
                    <a:pt x="40211" y="105960"/>
                  </a:lnTo>
                  <a:cubicBezTo>
                    <a:pt x="43342" y="105955"/>
                    <a:pt x="46054" y="103790"/>
                    <a:pt x="46753" y="100738"/>
                  </a:cubicBezTo>
                  <a:cubicBezTo>
                    <a:pt x="48543" y="93052"/>
                    <a:pt x="51585" y="85712"/>
                    <a:pt x="55756" y="79012"/>
                  </a:cubicBezTo>
                  <a:cubicBezTo>
                    <a:pt x="57429" y="76365"/>
                    <a:pt x="57042" y="72912"/>
                    <a:pt x="54825" y="70700"/>
                  </a:cubicBezTo>
                  <a:lnTo>
                    <a:pt x="35920" y="51764"/>
                  </a:lnTo>
                  <a:lnTo>
                    <a:pt x="51764" y="35890"/>
                  </a:lnTo>
                  <a:lnTo>
                    <a:pt x="70700" y="54825"/>
                  </a:lnTo>
                  <a:cubicBezTo>
                    <a:pt x="72919" y="57046"/>
                    <a:pt x="76376" y="57444"/>
                    <a:pt x="79042" y="55786"/>
                  </a:cubicBezTo>
                  <a:cubicBezTo>
                    <a:pt x="85742" y="51615"/>
                    <a:pt x="93082" y="48573"/>
                    <a:pt x="100768" y="46783"/>
                  </a:cubicBezTo>
                  <a:cubicBezTo>
                    <a:pt x="103801" y="46063"/>
                    <a:pt x="105947" y="43359"/>
                    <a:pt x="105960" y="40241"/>
                  </a:cubicBezTo>
                  <a:lnTo>
                    <a:pt x="105960" y="13444"/>
                  </a:lnTo>
                  <a:lnTo>
                    <a:pt x="128406" y="13444"/>
                  </a:lnTo>
                  <a:lnTo>
                    <a:pt x="128406" y="40211"/>
                  </a:lnTo>
                  <a:cubicBezTo>
                    <a:pt x="128418" y="43329"/>
                    <a:pt x="130564" y="46033"/>
                    <a:pt x="133597" y="46753"/>
                  </a:cubicBezTo>
                  <a:cubicBezTo>
                    <a:pt x="141284" y="48543"/>
                    <a:pt x="148623" y="51585"/>
                    <a:pt x="155323" y="55756"/>
                  </a:cubicBezTo>
                  <a:cubicBezTo>
                    <a:pt x="157989" y="57414"/>
                    <a:pt x="161446" y="57016"/>
                    <a:pt x="163666" y="54795"/>
                  </a:cubicBezTo>
                  <a:lnTo>
                    <a:pt x="182601" y="35860"/>
                  </a:lnTo>
                  <a:lnTo>
                    <a:pt x="198445" y="51734"/>
                  </a:lnTo>
                  <a:lnTo>
                    <a:pt x="179510" y="70670"/>
                  </a:lnTo>
                  <a:cubicBezTo>
                    <a:pt x="177294" y="72879"/>
                    <a:pt x="176896" y="76325"/>
                    <a:pt x="178550" y="78982"/>
                  </a:cubicBezTo>
                  <a:cubicBezTo>
                    <a:pt x="182730" y="85678"/>
                    <a:pt x="185772" y="93019"/>
                    <a:pt x="187552" y="100708"/>
                  </a:cubicBezTo>
                  <a:cubicBezTo>
                    <a:pt x="188237" y="103761"/>
                    <a:pt x="190936" y="105938"/>
                    <a:pt x="194064" y="105960"/>
                  </a:cubicBezTo>
                  <a:lnTo>
                    <a:pt x="220802" y="105960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09" name="Freeform 208">
              <a:extLst>
                <a:ext uri="{FF2B5EF4-FFF2-40B4-BE49-F238E27FC236}">
                  <a16:creationId xmlns:a16="http://schemas.microsoft.com/office/drawing/2014/main" id="{FAAB90E9-2AA5-9B45-BE4A-7736C691EC5E}"/>
                </a:ext>
              </a:extLst>
            </p:cNvPr>
            <p:cNvSpPr/>
            <p:nvPr/>
          </p:nvSpPr>
          <p:spPr>
            <a:xfrm>
              <a:off x="5533375" y="5489495"/>
              <a:ext cx="123968" cy="123973"/>
            </a:xfrm>
            <a:custGeom>
              <a:avLst/>
              <a:gdLst>
                <a:gd name="connsiteX0" fmla="*/ 122300 w 123968"/>
                <a:gd name="connsiteY0" fmla="*/ 90272 h 123973"/>
                <a:gd name="connsiteX1" fmla="*/ 89681 w 123968"/>
                <a:gd name="connsiteY1" fmla="*/ 57653 h 123973"/>
                <a:gd name="connsiteX2" fmla="*/ 105675 w 123968"/>
                <a:gd name="connsiteY2" fmla="*/ 41659 h 123973"/>
                <a:gd name="connsiteX3" fmla="*/ 105714 w 123968"/>
                <a:gd name="connsiteY3" fmla="*/ 33680 h 123973"/>
                <a:gd name="connsiteX4" fmla="*/ 103485 w 123968"/>
                <a:gd name="connsiteY4" fmla="*/ 32296 h 123973"/>
                <a:gd name="connsiteX5" fmla="*/ 7458 w 123968"/>
                <a:gd name="connsiteY5" fmla="*/ 277 h 123973"/>
                <a:gd name="connsiteX6" fmla="*/ 1666 w 123968"/>
                <a:gd name="connsiteY6" fmla="*/ 1658 h 123973"/>
                <a:gd name="connsiteX7" fmla="*/ 286 w 123968"/>
                <a:gd name="connsiteY7" fmla="*/ 7449 h 123973"/>
                <a:gd name="connsiteX8" fmla="*/ 32305 w 123968"/>
                <a:gd name="connsiteY8" fmla="*/ 103476 h 123973"/>
                <a:gd name="connsiteX9" fmla="*/ 39438 w 123968"/>
                <a:gd name="connsiteY9" fmla="*/ 107050 h 123973"/>
                <a:gd name="connsiteX10" fmla="*/ 41667 w 123968"/>
                <a:gd name="connsiteY10" fmla="*/ 105667 h 123973"/>
                <a:gd name="connsiteX11" fmla="*/ 57662 w 123968"/>
                <a:gd name="connsiteY11" fmla="*/ 89672 h 123973"/>
                <a:gd name="connsiteX12" fmla="*/ 90281 w 123968"/>
                <a:gd name="connsiteY12" fmla="*/ 122291 h 123973"/>
                <a:gd name="connsiteX13" fmla="*/ 98215 w 123968"/>
                <a:gd name="connsiteY13" fmla="*/ 122369 h 123973"/>
                <a:gd name="connsiteX14" fmla="*/ 98293 w 123968"/>
                <a:gd name="connsiteY14" fmla="*/ 122291 h 123973"/>
                <a:gd name="connsiteX15" fmla="*/ 122300 w 123968"/>
                <a:gd name="connsiteY15" fmla="*/ 98285 h 123973"/>
                <a:gd name="connsiteX16" fmla="*/ 122333 w 123968"/>
                <a:gd name="connsiteY16" fmla="*/ 90305 h 123973"/>
                <a:gd name="connsiteX17" fmla="*/ 122300 w 123968"/>
                <a:gd name="connsiteY17" fmla="*/ 90272 h 123973"/>
                <a:gd name="connsiteX18" fmla="*/ 94302 w 123968"/>
                <a:gd name="connsiteY18" fmla="*/ 110288 h 123973"/>
                <a:gd name="connsiteX19" fmla="*/ 61683 w 123968"/>
                <a:gd name="connsiteY19" fmla="*/ 77639 h 123973"/>
                <a:gd name="connsiteX20" fmla="*/ 53701 w 123968"/>
                <a:gd name="connsiteY20" fmla="*/ 77639 h 123973"/>
                <a:gd name="connsiteX21" fmla="*/ 40167 w 123968"/>
                <a:gd name="connsiteY21" fmla="*/ 91173 h 123973"/>
                <a:gd name="connsiteX22" fmla="*/ 14630 w 123968"/>
                <a:gd name="connsiteY22" fmla="*/ 14591 h 123973"/>
                <a:gd name="connsiteX23" fmla="*/ 91211 w 123968"/>
                <a:gd name="connsiteY23" fmla="*/ 40128 h 123973"/>
                <a:gd name="connsiteX24" fmla="*/ 77678 w 123968"/>
                <a:gd name="connsiteY24" fmla="*/ 53662 h 123973"/>
                <a:gd name="connsiteX25" fmla="*/ 77678 w 123968"/>
                <a:gd name="connsiteY25" fmla="*/ 61644 h 123973"/>
                <a:gd name="connsiteX26" fmla="*/ 110297 w 123968"/>
                <a:gd name="connsiteY26" fmla="*/ 94263 h 123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3968" h="123973">
                  <a:moveTo>
                    <a:pt x="122300" y="90272"/>
                  </a:moveTo>
                  <a:lnTo>
                    <a:pt x="89681" y="57653"/>
                  </a:lnTo>
                  <a:lnTo>
                    <a:pt x="105675" y="41659"/>
                  </a:lnTo>
                  <a:cubicBezTo>
                    <a:pt x="107890" y="39465"/>
                    <a:pt x="107908" y="35894"/>
                    <a:pt x="105714" y="33680"/>
                  </a:cubicBezTo>
                  <a:cubicBezTo>
                    <a:pt x="105090" y="33049"/>
                    <a:pt x="104328" y="32575"/>
                    <a:pt x="103485" y="32296"/>
                  </a:cubicBezTo>
                  <a:lnTo>
                    <a:pt x="7458" y="277"/>
                  </a:lnTo>
                  <a:cubicBezTo>
                    <a:pt x="5420" y="-380"/>
                    <a:pt x="3188" y="151"/>
                    <a:pt x="1666" y="1658"/>
                  </a:cubicBezTo>
                  <a:cubicBezTo>
                    <a:pt x="148" y="3173"/>
                    <a:pt x="-386" y="5412"/>
                    <a:pt x="286" y="7449"/>
                  </a:cubicBezTo>
                  <a:lnTo>
                    <a:pt x="32305" y="103476"/>
                  </a:lnTo>
                  <a:cubicBezTo>
                    <a:pt x="33286" y="106432"/>
                    <a:pt x="36482" y="108034"/>
                    <a:pt x="39438" y="107050"/>
                  </a:cubicBezTo>
                  <a:cubicBezTo>
                    <a:pt x="40278" y="106771"/>
                    <a:pt x="41043" y="106297"/>
                    <a:pt x="41667" y="105667"/>
                  </a:cubicBezTo>
                  <a:lnTo>
                    <a:pt x="57662" y="89672"/>
                  </a:lnTo>
                  <a:lnTo>
                    <a:pt x="90281" y="122291"/>
                  </a:lnTo>
                  <a:cubicBezTo>
                    <a:pt x="92451" y="124503"/>
                    <a:pt x="96004" y="124539"/>
                    <a:pt x="98215" y="122369"/>
                  </a:cubicBezTo>
                  <a:cubicBezTo>
                    <a:pt x="98242" y="122342"/>
                    <a:pt x="98269" y="122318"/>
                    <a:pt x="98293" y="122291"/>
                  </a:cubicBezTo>
                  <a:lnTo>
                    <a:pt x="122300" y="98285"/>
                  </a:lnTo>
                  <a:cubicBezTo>
                    <a:pt x="124512" y="96091"/>
                    <a:pt x="124527" y="92520"/>
                    <a:pt x="122333" y="90305"/>
                  </a:cubicBezTo>
                  <a:cubicBezTo>
                    <a:pt x="122324" y="90296"/>
                    <a:pt x="122312" y="90284"/>
                    <a:pt x="122300" y="90272"/>
                  </a:cubicBezTo>
                  <a:close/>
                  <a:moveTo>
                    <a:pt x="94302" y="110288"/>
                  </a:moveTo>
                  <a:lnTo>
                    <a:pt x="61683" y="77639"/>
                  </a:lnTo>
                  <a:cubicBezTo>
                    <a:pt x="59471" y="75448"/>
                    <a:pt x="55912" y="75448"/>
                    <a:pt x="53701" y="77639"/>
                  </a:cubicBezTo>
                  <a:lnTo>
                    <a:pt x="40167" y="91173"/>
                  </a:lnTo>
                  <a:lnTo>
                    <a:pt x="14630" y="14591"/>
                  </a:lnTo>
                  <a:lnTo>
                    <a:pt x="91211" y="40128"/>
                  </a:lnTo>
                  <a:lnTo>
                    <a:pt x="77678" y="53662"/>
                  </a:lnTo>
                  <a:cubicBezTo>
                    <a:pt x="75487" y="55874"/>
                    <a:pt x="75487" y="59433"/>
                    <a:pt x="77678" y="61644"/>
                  </a:cubicBezTo>
                  <a:lnTo>
                    <a:pt x="110297" y="94263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10" name="Freeform 209">
              <a:extLst>
                <a:ext uri="{FF2B5EF4-FFF2-40B4-BE49-F238E27FC236}">
                  <a16:creationId xmlns:a16="http://schemas.microsoft.com/office/drawing/2014/main" id="{F2D3BD5A-670F-9448-ADF9-5C204C5F15CC}"/>
                </a:ext>
              </a:extLst>
            </p:cNvPr>
            <p:cNvSpPr/>
            <p:nvPr/>
          </p:nvSpPr>
          <p:spPr>
            <a:xfrm>
              <a:off x="5171609" y="5172194"/>
              <a:ext cx="421527" cy="381316"/>
            </a:xfrm>
            <a:custGeom>
              <a:avLst/>
              <a:gdLst>
                <a:gd name="connsiteX0" fmla="*/ 348907 w 421527"/>
                <a:gd name="connsiteY0" fmla="*/ 367873 h 381316"/>
                <a:gd name="connsiteX1" fmla="*/ 13534 w 421527"/>
                <a:gd name="connsiteY1" fmla="*/ 367873 h 381316"/>
                <a:gd name="connsiteX2" fmla="*/ 13534 w 421527"/>
                <a:gd name="connsiteY2" fmla="*/ 367873 h 381316"/>
                <a:gd name="connsiteX3" fmla="*/ 13534 w 421527"/>
                <a:gd name="connsiteY3" fmla="*/ 13534 h 381316"/>
                <a:gd name="connsiteX4" fmla="*/ 13534 w 421527"/>
                <a:gd name="connsiteY4" fmla="*/ 13534 h 381316"/>
                <a:gd name="connsiteX5" fmla="*/ 262393 w 421527"/>
                <a:gd name="connsiteY5" fmla="*/ 13534 h 381316"/>
                <a:gd name="connsiteX6" fmla="*/ 262393 w 421527"/>
                <a:gd name="connsiteY6" fmla="*/ 13534 h 381316"/>
                <a:gd name="connsiteX7" fmla="*/ 262393 w 421527"/>
                <a:gd name="connsiteY7" fmla="*/ 53775 h 381316"/>
                <a:gd name="connsiteX8" fmla="*/ 262393 w 421527"/>
                <a:gd name="connsiteY8" fmla="*/ 53775 h 381316"/>
                <a:gd name="connsiteX9" fmla="*/ 33939 w 421527"/>
                <a:gd name="connsiteY9" fmla="*/ 53775 h 381316"/>
                <a:gd name="connsiteX10" fmla="*/ 26978 w 421527"/>
                <a:gd name="connsiteY10" fmla="*/ 59777 h 381316"/>
                <a:gd name="connsiteX11" fmla="*/ 32840 w 421527"/>
                <a:gd name="connsiteY11" fmla="*/ 67260 h 381316"/>
                <a:gd name="connsiteX12" fmla="*/ 33669 w 421527"/>
                <a:gd name="connsiteY12" fmla="*/ 67309 h 381316"/>
                <a:gd name="connsiteX13" fmla="*/ 387768 w 421527"/>
                <a:gd name="connsiteY13" fmla="*/ 67309 h 381316"/>
                <a:gd name="connsiteX14" fmla="*/ 394730 w 421527"/>
                <a:gd name="connsiteY14" fmla="*/ 61307 h 381316"/>
                <a:gd name="connsiteX15" fmla="*/ 388867 w 421527"/>
                <a:gd name="connsiteY15" fmla="*/ 53824 h 381316"/>
                <a:gd name="connsiteX16" fmla="*/ 388038 w 421527"/>
                <a:gd name="connsiteY16" fmla="*/ 53775 h 381316"/>
                <a:gd name="connsiteX17" fmla="*/ 275987 w 421527"/>
                <a:gd name="connsiteY17" fmla="*/ 53775 h 381316"/>
                <a:gd name="connsiteX18" fmla="*/ 275987 w 421527"/>
                <a:gd name="connsiteY18" fmla="*/ 53775 h 381316"/>
                <a:gd name="connsiteX19" fmla="*/ 275987 w 421527"/>
                <a:gd name="connsiteY19" fmla="*/ 13534 h 381316"/>
                <a:gd name="connsiteX20" fmla="*/ 275987 w 421527"/>
                <a:gd name="connsiteY20" fmla="*/ 13534 h 381316"/>
                <a:gd name="connsiteX21" fmla="*/ 408204 w 421527"/>
                <a:gd name="connsiteY21" fmla="*/ 13534 h 381316"/>
                <a:gd name="connsiteX22" fmla="*/ 408204 w 421527"/>
                <a:gd name="connsiteY22" fmla="*/ 13534 h 381316"/>
                <a:gd name="connsiteX23" fmla="*/ 408204 w 421527"/>
                <a:gd name="connsiteY23" fmla="*/ 303565 h 381316"/>
                <a:gd name="connsiteX24" fmla="*/ 408204 w 421527"/>
                <a:gd name="connsiteY24" fmla="*/ 303565 h 381316"/>
                <a:gd name="connsiteX25" fmla="*/ 421528 w 421527"/>
                <a:gd name="connsiteY25" fmla="*/ 303565 h 381316"/>
                <a:gd name="connsiteX26" fmla="*/ 421528 w 421527"/>
                <a:gd name="connsiteY26" fmla="*/ 303565 h 381316"/>
                <a:gd name="connsiteX27" fmla="*/ 421528 w 421527"/>
                <a:gd name="connsiteY27" fmla="*/ 6782 h 381316"/>
                <a:gd name="connsiteX28" fmla="*/ 414746 w 421527"/>
                <a:gd name="connsiteY28" fmla="*/ 0 h 381316"/>
                <a:gd name="connsiteX29" fmla="*/ 6812 w 421527"/>
                <a:gd name="connsiteY29" fmla="*/ 0 h 381316"/>
                <a:gd name="connsiteX30" fmla="*/ 0 w 421527"/>
                <a:gd name="connsiteY30" fmla="*/ 6782 h 381316"/>
                <a:gd name="connsiteX31" fmla="*/ 0 w 421527"/>
                <a:gd name="connsiteY31" fmla="*/ 374535 h 381316"/>
                <a:gd name="connsiteX32" fmla="*/ 6812 w 421527"/>
                <a:gd name="connsiteY32" fmla="*/ 381316 h 381316"/>
                <a:gd name="connsiteX33" fmla="*/ 348907 w 421527"/>
                <a:gd name="connsiteY33" fmla="*/ 381316 h 381316"/>
                <a:gd name="connsiteX34" fmla="*/ 348907 w 421527"/>
                <a:gd name="connsiteY34" fmla="*/ 367933 h 381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21527" h="381316">
                  <a:moveTo>
                    <a:pt x="348907" y="367873"/>
                  </a:moveTo>
                  <a:lnTo>
                    <a:pt x="13534" y="367873"/>
                  </a:lnTo>
                  <a:lnTo>
                    <a:pt x="13534" y="367873"/>
                  </a:lnTo>
                  <a:lnTo>
                    <a:pt x="13534" y="13534"/>
                  </a:lnTo>
                  <a:lnTo>
                    <a:pt x="13534" y="13534"/>
                  </a:lnTo>
                  <a:lnTo>
                    <a:pt x="262393" y="13534"/>
                  </a:lnTo>
                  <a:lnTo>
                    <a:pt x="262393" y="13534"/>
                  </a:lnTo>
                  <a:lnTo>
                    <a:pt x="262393" y="53775"/>
                  </a:lnTo>
                  <a:lnTo>
                    <a:pt x="262393" y="53775"/>
                  </a:lnTo>
                  <a:lnTo>
                    <a:pt x="33939" y="53775"/>
                  </a:lnTo>
                  <a:cubicBezTo>
                    <a:pt x="30431" y="53715"/>
                    <a:pt x="27435" y="56297"/>
                    <a:pt x="26978" y="59777"/>
                  </a:cubicBezTo>
                  <a:cubicBezTo>
                    <a:pt x="26530" y="63462"/>
                    <a:pt x="29155" y="66812"/>
                    <a:pt x="32840" y="67260"/>
                  </a:cubicBezTo>
                  <a:cubicBezTo>
                    <a:pt x="33115" y="67293"/>
                    <a:pt x="33392" y="67310"/>
                    <a:pt x="33669" y="67309"/>
                  </a:cubicBezTo>
                  <a:lnTo>
                    <a:pt x="387768" y="67309"/>
                  </a:lnTo>
                  <a:cubicBezTo>
                    <a:pt x="391276" y="67369"/>
                    <a:pt x="394274" y="64787"/>
                    <a:pt x="394730" y="61307"/>
                  </a:cubicBezTo>
                  <a:cubicBezTo>
                    <a:pt x="395177" y="57622"/>
                    <a:pt x="392552" y="54271"/>
                    <a:pt x="388867" y="53824"/>
                  </a:cubicBezTo>
                  <a:cubicBezTo>
                    <a:pt x="388593" y="53791"/>
                    <a:pt x="388314" y="53774"/>
                    <a:pt x="388038" y="53775"/>
                  </a:cubicBezTo>
                  <a:lnTo>
                    <a:pt x="275987" y="53775"/>
                  </a:lnTo>
                  <a:lnTo>
                    <a:pt x="275987" y="53775"/>
                  </a:lnTo>
                  <a:lnTo>
                    <a:pt x="275987" y="13534"/>
                  </a:lnTo>
                  <a:lnTo>
                    <a:pt x="275987" y="13534"/>
                  </a:lnTo>
                  <a:lnTo>
                    <a:pt x="408204" y="13534"/>
                  </a:lnTo>
                  <a:lnTo>
                    <a:pt x="408204" y="13534"/>
                  </a:lnTo>
                  <a:lnTo>
                    <a:pt x="408204" y="303565"/>
                  </a:lnTo>
                  <a:lnTo>
                    <a:pt x="408204" y="303565"/>
                  </a:lnTo>
                  <a:lnTo>
                    <a:pt x="421528" y="303565"/>
                  </a:lnTo>
                  <a:lnTo>
                    <a:pt x="421528" y="303565"/>
                  </a:lnTo>
                  <a:lnTo>
                    <a:pt x="421528" y="6782"/>
                  </a:lnTo>
                  <a:cubicBezTo>
                    <a:pt x="421528" y="3036"/>
                    <a:pt x="418491" y="0"/>
                    <a:pt x="414746" y="0"/>
                  </a:cubicBezTo>
                  <a:lnTo>
                    <a:pt x="6812" y="0"/>
                  </a:lnTo>
                  <a:cubicBezTo>
                    <a:pt x="3061" y="0"/>
                    <a:pt x="17" y="3031"/>
                    <a:pt x="0" y="6782"/>
                  </a:cubicBezTo>
                  <a:lnTo>
                    <a:pt x="0" y="374535"/>
                  </a:lnTo>
                  <a:cubicBezTo>
                    <a:pt x="17" y="378286"/>
                    <a:pt x="3061" y="381316"/>
                    <a:pt x="6812" y="381316"/>
                  </a:cubicBezTo>
                  <a:lnTo>
                    <a:pt x="348907" y="381316"/>
                  </a:lnTo>
                  <a:lnTo>
                    <a:pt x="348907" y="367933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11" name="Graphic 59">
            <a:extLst>
              <a:ext uri="{FF2B5EF4-FFF2-40B4-BE49-F238E27FC236}">
                <a16:creationId xmlns:a16="http://schemas.microsoft.com/office/drawing/2014/main" id="{FEDA8B0B-CDDF-034D-9DBD-4F06A6EEBC3F}"/>
              </a:ext>
            </a:extLst>
          </p:cNvPr>
          <p:cNvGrpSpPr/>
          <p:nvPr userDrawn="1"/>
        </p:nvGrpSpPr>
        <p:grpSpPr>
          <a:xfrm>
            <a:off x="4813387" y="3970158"/>
            <a:ext cx="346402" cy="339013"/>
            <a:chOff x="6330542" y="5097651"/>
            <a:chExt cx="483613" cy="483613"/>
          </a:xfrm>
          <a:solidFill>
            <a:schemeClr val="bg1"/>
          </a:solidFill>
        </p:grpSpPr>
        <p:sp>
          <p:nvSpPr>
            <p:cNvPr id="212" name="Freeform 211">
              <a:extLst>
                <a:ext uri="{FF2B5EF4-FFF2-40B4-BE49-F238E27FC236}">
                  <a16:creationId xmlns:a16="http://schemas.microsoft.com/office/drawing/2014/main" id="{20A868A1-51B0-E942-9C34-6A9831E0B55C}"/>
                </a:ext>
              </a:extLst>
            </p:cNvPr>
            <p:cNvSpPr/>
            <p:nvPr/>
          </p:nvSpPr>
          <p:spPr>
            <a:xfrm>
              <a:off x="6333174" y="5101597"/>
              <a:ext cx="484226" cy="484232"/>
            </a:xfrm>
            <a:custGeom>
              <a:avLst/>
              <a:gdLst>
                <a:gd name="connsiteX0" fmla="*/ 471550 w 484226"/>
                <a:gd name="connsiteY0" fmla="*/ 373574 h 484232"/>
                <a:gd name="connsiteX1" fmla="*/ 373528 w 484226"/>
                <a:gd name="connsiteY1" fmla="*/ 308196 h 484232"/>
                <a:gd name="connsiteX2" fmla="*/ 335232 w 484226"/>
                <a:gd name="connsiteY2" fmla="*/ 314422 h 484232"/>
                <a:gd name="connsiteX3" fmla="*/ 306668 w 484226"/>
                <a:gd name="connsiteY3" fmla="*/ 351147 h 484232"/>
                <a:gd name="connsiteX4" fmla="*/ 291041 w 484226"/>
                <a:gd name="connsiteY4" fmla="*/ 354441 h 484232"/>
                <a:gd name="connsiteX5" fmla="*/ 285601 w 484226"/>
                <a:gd name="connsiteY5" fmla="*/ 351419 h 484232"/>
                <a:gd name="connsiteX6" fmla="*/ 200062 w 484226"/>
                <a:gd name="connsiteY6" fmla="*/ 284227 h 484232"/>
                <a:gd name="connsiteX7" fmla="*/ 132870 w 484226"/>
                <a:gd name="connsiteY7" fmla="*/ 198688 h 484232"/>
                <a:gd name="connsiteX8" fmla="*/ 129847 w 484226"/>
                <a:gd name="connsiteY8" fmla="*/ 193247 h 484232"/>
                <a:gd name="connsiteX9" fmla="*/ 133051 w 484226"/>
                <a:gd name="connsiteY9" fmla="*/ 177560 h 484232"/>
                <a:gd name="connsiteX10" fmla="*/ 169745 w 484226"/>
                <a:gd name="connsiteY10" fmla="*/ 148997 h 484232"/>
                <a:gd name="connsiteX11" fmla="*/ 175972 w 484226"/>
                <a:gd name="connsiteY11" fmla="*/ 110700 h 484232"/>
                <a:gd name="connsiteX12" fmla="*/ 110684 w 484226"/>
                <a:gd name="connsiteY12" fmla="*/ 12708 h 484232"/>
                <a:gd name="connsiteX13" fmla="*/ 72297 w 484226"/>
                <a:gd name="connsiteY13" fmla="*/ 4064 h 484232"/>
                <a:gd name="connsiteX14" fmla="*/ 31311 w 484226"/>
                <a:gd name="connsiteY14" fmla="*/ 28698 h 484232"/>
                <a:gd name="connsiteX15" fmla="*/ 4954 w 484226"/>
                <a:gd name="connsiteY15" fmla="*/ 62913 h 484232"/>
                <a:gd name="connsiteX16" fmla="*/ 137948 w 484226"/>
                <a:gd name="connsiteY16" fmla="*/ 346250 h 484232"/>
                <a:gd name="connsiteX17" fmla="*/ 383321 w 484226"/>
                <a:gd name="connsiteY17" fmla="*/ 484231 h 484232"/>
                <a:gd name="connsiteX18" fmla="*/ 421254 w 484226"/>
                <a:gd name="connsiteY18" fmla="*/ 479274 h 484232"/>
                <a:gd name="connsiteX19" fmla="*/ 455470 w 484226"/>
                <a:gd name="connsiteY19" fmla="*/ 452917 h 484232"/>
                <a:gd name="connsiteX20" fmla="*/ 480134 w 484226"/>
                <a:gd name="connsiteY20" fmla="*/ 411961 h 484232"/>
                <a:gd name="connsiteX21" fmla="*/ 471550 w 484226"/>
                <a:gd name="connsiteY21" fmla="*/ 373574 h 484232"/>
                <a:gd name="connsiteX22" fmla="*/ 466291 w 484226"/>
                <a:gd name="connsiteY22" fmla="*/ 403800 h 484232"/>
                <a:gd name="connsiteX23" fmla="*/ 441687 w 484226"/>
                <a:gd name="connsiteY23" fmla="*/ 444665 h 484232"/>
                <a:gd name="connsiteX24" fmla="*/ 417083 w 484226"/>
                <a:gd name="connsiteY24" fmla="*/ 463738 h 484232"/>
                <a:gd name="connsiteX25" fmla="*/ 149434 w 484226"/>
                <a:gd name="connsiteY25" fmla="*/ 334825 h 484232"/>
                <a:gd name="connsiteX26" fmla="*/ 20520 w 484226"/>
                <a:gd name="connsiteY26" fmla="*/ 67175 h 484232"/>
                <a:gd name="connsiteX27" fmla="*/ 39684 w 484226"/>
                <a:gd name="connsiteY27" fmla="*/ 42541 h 484232"/>
                <a:gd name="connsiteX28" fmla="*/ 80609 w 484226"/>
                <a:gd name="connsiteY28" fmla="*/ 17937 h 484232"/>
                <a:gd name="connsiteX29" fmla="*/ 97264 w 484226"/>
                <a:gd name="connsiteY29" fmla="*/ 21685 h 484232"/>
                <a:gd name="connsiteX30" fmla="*/ 132779 w 484226"/>
                <a:gd name="connsiteY30" fmla="*/ 75004 h 484232"/>
                <a:gd name="connsiteX31" fmla="*/ 162582 w 484226"/>
                <a:gd name="connsiteY31" fmla="*/ 119708 h 484232"/>
                <a:gd name="connsiteX32" fmla="*/ 159861 w 484226"/>
                <a:gd name="connsiteY32" fmla="*/ 136332 h 484232"/>
                <a:gd name="connsiteX33" fmla="*/ 123167 w 484226"/>
                <a:gd name="connsiteY33" fmla="*/ 164865 h 484232"/>
                <a:gd name="connsiteX34" fmla="*/ 115702 w 484226"/>
                <a:gd name="connsiteY34" fmla="*/ 201136 h 484232"/>
                <a:gd name="connsiteX35" fmla="*/ 118724 w 484226"/>
                <a:gd name="connsiteY35" fmla="*/ 206426 h 484232"/>
                <a:gd name="connsiteX36" fmla="*/ 188576 w 484226"/>
                <a:gd name="connsiteY36" fmla="*/ 295652 h 484232"/>
                <a:gd name="connsiteX37" fmla="*/ 277803 w 484226"/>
                <a:gd name="connsiteY37" fmla="*/ 365595 h 484232"/>
                <a:gd name="connsiteX38" fmla="*/ 283122 w 484226"/>
                <a:gd name="connsiteY38" fmla="*/ 368617 h 484232"/>
                <a:gd name="connsiteX39" fmla="*/ 319393 w 484226"/>
                <a:gd name="connsiteY39" fmla="*/ 361152 h 484232"/>
                <a:gd name="connsiteX40" fmla="*/ 347926 w 484226"/>
                <a:gd name="connsiteY40" fmla="*/ 324457 h 484232"/>
                <a:gd name="connsiteX41" fmla="*/ 364551 w 484226"/>
                <a:gd name="connsiteY41" fmla="*/ 321737 h 484232"/>
                <a:gd name="connsiteX42" fmla="*/ 462573 w 484226"/>
                <a:gd name="connsiteY42" fmla="*/ 387115 h 484232"/>
                <a:gd name="connsiteX43" fmla="*/ 466291 w 484226"/>
                <a:gd name="connsiteY43" fmla="*/ 403679 h 484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84226" h="484232">
                  <a:moveTo>
                    <a:pt x="471550" y="373574"/>
                  </a:moveTo>
                  <a:lnTo>
                    <a:pt x="373528" y="308196"/>
                  </a:lnTo>
                  <a:cubicBezTo>
                    <a:pt x="361090" y="299984"/>
                    <a:pt x="344429" y="302692"/>
                    <a:pt x="335232" y="314422"/>
                  </a:cubicBezTo>
                  <a:lnTo>
                    <a:pt x="306668" y="351147"/>
                  </a:lnTo>
                  <a:cubicBezTo>
                    <a:pt x="303029" y="356019"/>
                    <a:pt x="296338" y="357431"/>
                    <a:pt x="291041" y="354441"/>
                  </a:cubicBezTo>
                  <a:lnTo>
                    <a:pt x="285601" y="351419"/>
                  </a:lnTo>
                  <a:cubicBezTo>
                    <a:pt x="253548" y="333936"/>
                    <a:pt x="224638" y="311228"/>
                    <a:pt x="200062" y="284227"/>
                  </a:cubicBezTo>
                  <a:cubicBezTo>
                    <a:pt x="173093" y="259622"/>
                    <a:pt x="150387" y="230717"/>
                    <a:pt x="132870" y="198688"/>
                  </a:cubicBezTo>
                  <a:lnTo>
                    <a:pt x="129847" y="193247"/>
                  </a:lnTo>
                  <a:cubicBezTo>
                    <a:pt x="126804" y="187959"/>
                    <a:pt x="128178" y="181231"/>
                    <a:pt x="133051" y="177560"/>
                  </a:cubicBezTo>
                  <a:lnTo>
                    <a:pt x="169745" y="148997"/>
                  </a:lnTo>
                  <a:cubicBezTo>
                    <a:pt x="181475" y="139799"/>
                    <a:pt x="184184" y="123140"/>
                    <a:pt x="175972" y="110700"/>
                  </a:cubicBezTo>
                  <a:lnTo>
                    <a:pt x="110684" y="12708"/>
                  </a:lnTo>
                  <a:cubicBezTo>
                    <a:pt x="102249" y="40"/>
                    <a:pt x="85349" y="-3765"/>
                    <a:pt x="72297" y="4064"/>
                  </a:cubicBezTo>
                  <a:lnTo>
                    <a:pt x="31311" y="28698"/>
                  </a:lnTo>
                  <a:cubicBezTo>
                    <a:pt x="18434" y="36268"/>
                    <a:pt x="8988" y="48530"/>
                    <a:pt x="4954" y="62913"/>
                  </a:cubicBezTo>
                  <a:cubicBezTo>
                    <a:pt x="-9796" y="116685"/>
                    <a:pt x="1297" y="209509"/>
                    <a:pt x="137948" y="346250"/>
                  </a:cubicBezTo>
                  <a:cubicBezTo>
                    <a:pt x="246761" y="455063"/>
                    <a:pt x="327675" y="484231"/>
                    <a:pt x="383321" y="484231"/>
                  </a:cubicBezTo>
                  <a:cubicBezTo>
                    <a:pt x="396131" y="484294"/>
                    <a:pt x="408892" y="482626"/>
                    <a:pt x="421254" y="479274"/>
                  </a:cubicBezTo>
                  <a:cubicBezTo>
                    <a:pt x="435642" y="475248"/>
                    <a:pt x="447907" y="465802"/>
                    <a:pt x="455470" y="452917"/>
                  </a:cubicBezTo>
                  <a:lnTo>
                    <a:pt x="480134" y="411961"/>
                  </a:lnTo>
                  <a:cubicBezTo>
                    <a:pt x="487993" y="398928"/>
                    <a:pt x="484212" y="382019"/>
                    <a:pt x="471550" y="373574"/>
                  </a:cubicBezTo>
                  <a:close/>
                  <a:moveTo>
                    <a:pt x="466291" y="403800"/>
                  </a:moveTo>
                  <a:lnTo>
                    <a:pt x="441687" y="444665"/>
                  </a:lnTo>
                  <a:cubicBezTo>
                    <a:pt x="436255" y="453960"/>
                    <a:pt x="427438" y="460794"/>
                    <a:pt x="417083" y="463738"/>
                  </a:cubicBezTo>
                  <a:cubicBezTo>
                    <a:pt x="367422" y="477370"/>
                    <a:pt x="280704" y="466065"/>
                    <a:pt x="149434" y="334825"/>
                  </a:cubicBezTo>
                  <a:cubicBezTo>
                    <a:pt x="18163" y="203584"/>
                    <a:pt x="6889" y="116957"/>
                    <a:pt x="20520" y="67175"/>
                  </a:cubicBezTo>
                  <a:cubicBezTo>
                    <a:pt x="23491" y="56799"/>
                    <a:pt x="30357" y="47973"/>
                    <a:pt x="39684" y="42541"/>
                  </a:cubicBezTo>
                  <a:lnTo>
                    <a:pt x="80609" y="17937"/>
                  </a:lnTo>
                  <a:cubicBezTo>
                    <a:pt x="86271" y="14538"/>
                    <a:pt x="93604" y="16188"/>
                    <a:pt x="97264" y="21685"/>
                  </a:cubicBezTo>
                  <a:lnTo>
                    <a:pt x="132779" y="75004"/>
                  </a:lnTo>
                  <a:lnTo>
                    <a:pt x="162582" y="119708"/>
                  </a:lnTo>
                  <a:cubicBezTo>
                    <a:pt x="166144" y="125111"/>
                    <a:pt x="164961" y="132345"/>
                    <a:pt x="159861" y="136332"/>
                  </a:cubicBezTo>
                  <a:lnTo>
                    <a:pt x="123167" y="164865"/>
                  </a:lnTo>
                  <a:cubicBezTo>
                    <a:pt x="111989" y="173407"/>
                    <a:pt x="108805" y="188874"/>
                    <a:pt x="115702" y="201136"/>
                  </a:cubicBezTo>
                  <a:lnTo>
                    <a:pt x="118724" y="206426"/>
                  </a:lnTo>
                  <a:cubicBezTo>
                    <a:pt x="136895" y="239838"/>
                    <a:pt x="160502" y="269993"/>
                    <a:pt x="188576" y="295652"/>
                  </a:cubicBezTo>
                  <a:cubicBezTo>
                    <a:pt x="214221" y="323765"/>
                    <a:pt x="244378" y="347405"/>
                    <a:pt x="277803" y="365595"/>
                  </a:cubicBezTo>
                  <a:lnTo>
                    <a:pt x="283122" y="368617"/>
                  </a:lnTo>
                  <a:cubicBezTo>
                    <a:pt x="295386" y="375500"/>
                    <a:pt x="310845" y="372317"/>
                    <a:pt x="319393" y="361152"/>
                  </a:cubicBezTo>
                  <a:lnTo>
                    <a:pt x="347926" y="324457"/>
                  </a:lnTo>
                  <a:cubicBezTo>
                    <a:pt x="351913" y="319358"/>
                    <a:pt x="359146" y="318173"/>
                    <a:pt x="364551" y="321737"/>
                  </a:cubicBezTo>
                  <a:lnTo>
                    <a:pt x="462573" y="387115"/>
                  </a:lnTo>
                  <a:cubicBezTo>
                    <a:pt x="468008" y="390779"/>
                    <a:pt x="469637" y="398045"/>
                    <a:pt x="466291" y="403679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13" name="Freeform 212">
              <a:extLst>
                <a:ext uri="{FF2B5EF4-FFF2-40B4-BE49-F238E27FC236}">
                  <a16:creationId xmlns:a16="http://schemas.microsoft.com/office/drawing/2014/main" id="{165C8EB6-3D80-8B4F-8AEF-D7978492153E}"/>
                </a:ext>
              </a:extLst>
            </p:cNvPr>
            <p:cNvSpPr/>
            <p:nvPr/>
          </p:nvSpPr>
          <p:spPr>
            <a:xfrm>
              <a:off x="6599491" y="5166203"/>
              <a:ext cx="161284" cy="161405"/>
            </a:xfrm>
            <a:custGeom>
              <a:avLst/>
              <a:gdLst>
                <a:gd name="connsiteX0" fmla="*/ 8070 w 161284"/>
                <a:gd name="connsiteY0" fmla="*/ 16080 h 161405"/>
                <a:gd name="connsiteX1" fmla="*/ 145144 w 161284"/>
                <a:gd name="connsiteY1" fmla="*/ 153336 h 161405"/>
                <a:gd name="connsiteX2" fmla="*/ 153215 w 161284"/>
                <a:gd name="connsiteY2" fmla="*/ 161406 h 161405"/>
                <a:gd name="connsiteX3" fmla="*/ 161285 w 161284"/>
                <a:gd name="connsiteY3" fmla="*/ 153336 h 161405"/>
                <a:gd name="connsiteX4" fmla="*/ 8070 w 161284"/>
                <a:gd name="connsiteY4" fmla="*/ 0 h 161405"/>
                <a:gd name="connsiteX5" fmla="*/ 0 w 161284"/>
                <a:gd name="connsiteY5" fmla="*/ 8070 h 161405"/>
                <a:gd name="connsiteX6" fmla="*/ 8070 w 161284"/>
                <a:gd name="connsiteY6" fmla="*/ 16141 h 16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1284" h="161405">
                  <a:moveTo>
                    <a:pt x="8070" y="16080"/>
                  </a:moveTo>
                  <a:cubicBezTo>
                    <a:pt x="83789" y="16213"/>
                    <a:pt x="145111" y="77616"/>
                    <a:pt x="145144" y="153336"/>
                  </a:cubicBezTo>
                  <a:cubicBezTo>
                    <a:pt x="145144" y="157793"/>
                    <a:pt x="148756" y="161406"/>
                    <a:pt x="153215" y="161406"/>
                  </a:cubicBezTo>
                  <a:cubicBezTo>
                    <a:pt x="157673" y="161406"/>
                    <a:pt x="161285" y="157793"/>
                    <a:pt x="161285" y="153336"/>
                  </a:cubicBezTo>
                  <a:cubicBezTo>
                    <a:pt x="161200" y="68732"/>
                    <a:pt x="92672" y="150"/>
                    <a:pt x="8070" y="0"/>
                  </a:cubicBezTo>
                  <a:cubicBezTo>
                    <a:pt x="3613" y="0"/>
                    <a:pt x="0" y="3613"/>
                    <a:pt x="0" y="8070"/>
                  </a:cubicBezTo>
                  <a:cubicBezTo>
                    <a:pt x="0" y="12527"/>
                    <a:pt x="3613" y="16141"/>
                    <a:pt x="8070" y="16141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14" name="Freeform 213">
              <a:extLst>
                <a:ext uri="{FF2B5EF4-FFF2-40B4-BE49-F238E27FC236}">
                  <a16:creationId xmlns:a16="http://schemas.microsoft.com/office/drawing/2014/main" id="{B3BAD492-1FCC-8040-B162-6347FCC0D4D8}"/>
                </a:ext>
              </a:extLst>
            </p:cNvPr>
            <p:cNvSpPr/>
            <p:nvPr/>
          </p:nvSpPr>
          <p:spPr>
            <a:xfrm>
              <a:off x="6599491" y="5214624"/>
              <a:ext cx="112923" cy="112984"/>
            </a:xfrm>
            <a:custGeom>
              <a:avLst/>
              <a:gdLst>
                <a:gd name="connsiteX0" fmla="*/ 8070 w 112923"/>
                <a:gd name="connsiteY0" fmla="*/ 16020 h 112984"/>
                <a:gd name="connsiteX1" fmla="*/ 96783 w 112923"/>
                <a:gd name="connsiteY1" fmla="*/ 104914 h 112984"/>
                <a:gd name="connsiteX2" fmla="*/ 104853 w 112923"/>
                <a:gd name="connsiteY2" fmla="*/ 112984 h 112984"/>
                <a:gd name="connsiteX3" fmla="*/ 112924 w 112923"/>
                <a:gd name="connsiteY3" fmla="*/ 104914 h 112984"/>
                <a:gd name="connsiteX4" fmla="*/ 8070 w 112923"/>
                <a:gd name="connsiteY4" fmla="*/ 0 h 112984"/>
                <a:gd name="connsiteX5" fmla="*/ 0 w 112923"/>
                <a:gd name="connsiteY5" fmla="*/ 8070 h 112984"/>
                <a:gd name="connsiteX6" fmla="*/ 8070 w 112923"/>
                <a:gd name="connsiteY6" fmla="*/ 16141 h 112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923" h="112984">
                  <a:moveTo>
                    <a:pt x="8070" y="16020"/>
                  </a:moveTo>
                  <a:cubicBezTo>
                    <a:pt x="57103" y="16103"/>
                    <a:pt x="96801" y="55883"/>
                    <a:pt x="96783" y="104914"/>
                  </a:cubicBezTo>
                  <a:cubicBezTo>
                    <a:pt x="96783" y="109371"/>
                    <a:pt x="100395" y="112984"/>
                    <a:pt x="104853" y="112984"/>
                  </a:cubicBezTo>
                  <a:cubicBezTo>
                    <a:pt x="109312" y="112984"/>
                    <a:pt x="112924" y="109371"/>
                    <a:pt x="112924" y="104914"/>
                  </a:cubicBezTo>
                  <a:cubicBezTo>
                    <a:pt x="112857" y="47023"/>
                    <a:pt x="65962" y="100"/>
                    <a:pt x="8070" y="0"/>
                  </a:cubicBezTo>
                  <a:cubicBezTo>
                    <a:pt x="3613" y="0"/>
                    <a:pt x="0" y="3613"/>
                    <a:pt x="0" y="8070"/>
                  </a:cubicBezTo>
                  <a:cubicBezTo>
                    <a:pt x="0" y="12527"/>
                    <a:pt x="3613" y="16141"/>
                    <a:pt x="8070" y="16141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15" name="Freeform 214">
              <a:extLst>
                <a:ext uri="{FF2B5EF4-FFF2-40B4-BE49-F238E27FC236}">
                  <a16:creationId xmlns:a16="http://schemas.microsoft.com/office/drawing/2014/main" id="{E790AFA0-2BF3-3B43-969C-68338C66D1C6}"/>
                </a:ext>
              </a:extLst>
            </p:cNvPr>
            <p:cNvSpPr/>
            <p:nvPr/>
          </p:nvSpPr>
          <p:spPr>
            <a:xfrm>
              <a:off x="6599491" y="5263046"/>
              <a:ext cx="64562" cy="64562"/>
            </a:xfrm>
            <a:custGeom>
              <a:avLst/>
              <a:gdLst>
                <a:gd name="connsiteX0" fmla="*/ 8070 w 64562"/>
                <a:gd name="connsiteY0" fmla="*/ 16141 h 64562"/>
                <a:gd name="connsiteX1" fmla="*/ 48422 w 64562"/>
                <a:gd name="connsiteY1" fmla="*/ 56492 h 64562"/>
                <a:gd name="connsiteX2" fmla="*/ 56492 w 64562"/>
                <a:gd name="connsiteY2" fmla="*/ 64562 h 64562"/>
                <a:gd name="connsiteX3" fmla="*/ 64562 w 64562"/>
                <a:gd name="connsiteY3" fmla="*/ 56492 h 64562"/>
                <a:gd name="connsiteX4" fmla="*/ 8070 w 64562"/>
                <a:gd name="connsiteY4" fmla="*/ 0 h 64562"/>
                <a:gd name="connsiteX5" fmla="*/ 0 w 64562"/>
                <a:gd name="connsiteY5" fmla="*/ 8070 h 64562"/>
                <a:gd name="connsiteX6" fmla="*/ 8070 w 64562"/>
                <a:gd name="connsiteY6" fmla="*/ 16141 h 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562" h="64562">
                  <a:moveTo>
                    <a:pt x="8070" y="16141"/>
                  </a:moveTo>
                  <a:cubicBezTo>
                    <a:pt x="30356" y="16141"/>
                    <a:pt x="48422" y="34207"/>
                    <a:pt x="48422" y="56492"/>
                  </a:cubicBezTo>
                  <a:cubicBezTo>
                    <a:pt x="48422" y="60949"/>
                    <a:pt x="52034" y="64562"/>
                    <a:pt x="56492" y="64562"/>
                  </a:cubicBezTo>
                  <a:cubicBezTo>
                    <a:pt x="60950" y="64562"/>
                    <a:pt x="64562" y="60949"/>
                    <a:pt x="64562" y="56492"/>
                  </a:cubicBezTo>
                  <a:cubicBezTo>
                    <a:pt x="64529" y="25306"/>
                    <a:pt x="39257" y="33"/>
                    <a:pt x="8070" y="0"/>
                  </a:cubicBezTo>
                  <a:cubicBezTo>
                    <a:pt x="3613" y="0"/>
                    <a:pt x="0" y="3613"/>
                    <a:pt x="0" y="8070"/>
                  </a:cubicBezTo>
                  <a:cubicBezTo>
                    <a:pt x="0" y="12527"/>
                    <a:pt x="3613" y="16141"/>
                    <a:pt x="8070" y="16141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16" name="Graphic 61">
            <a:extLst>
              <a:ext uri="{FF2B5EF4-FFF2-40B4-BE49-F238E27FC236}">
                <a16:creationId xmlns:a16="http://schemas.microsoft.com/office/drawing/2014/main" id="{3AE0CDEB-D324-AD46-B086-39E7CDE6CB0C}"/>
              </a:ext>
            </a:extLst>
          </p:cNvPr>
          <p:cNvGrpSpPr/>
          <p:nvPr userDrawn="1"/>
        </p:nvGrpSpPr>
        <p:grpSpPr>
          <a:xfrm>
            <a:off x="4757129" y="2109794"/>
            <a:ext cx="313381" cy="306697"/>
            <a:chOff x="6252000" y="2443780"/>
            <a:chExt cx="437513" cy="437513"/>
          </a:xfrm>
          <a:solidFill>
            <a:schemeClr val="bg1"/>
          </a:solidFill>
        </p:grpSpPr>
        <p:sp>
          <p:nvSpPr>
            <p:cNvPr id="217" name="Freeform 216">
              <a:extLst>
                <a:ext uri="{FF2B5EF4-FFF2-40B4-BE49-F238E27FC236}">
                  <a16:creationId xmlns:a16="http://schemas.microsoft.com/office/drawing/2014/main" id="{CA8DB4AC-95A4-DE4D-BB53-8A702FB41C6E}"/>
                </a:ext>
              </a:extLst>
            </p:cNvPr>
            <p:cNvSpPr/>
            <p:nvPr/>
          </p:nvSpPr>
          <p:spPr>
            <a:xfrm>
              <a:off x="6362921" y="2447552"/>
              <a:ext cx="214645" cy="439400"/>
            </a:xfrm>
            <a:custGeom>
              <a:avLst/>
              <a:gdLst>
                <a:gd name="connsiteX0" fmla="*/ 165258 w 214645"/>
                <a:gd name="connsiteY0" fmla="*/ 241672 h 439400"/>
                <a:gd name="connsiteX1" fmla="*/ 165258 w 214645"/>
                <a:gd name="connsiteY1" fmla="*/ 56577 h 439400"/>
                <a:gd name="connsiteX2" fmla="*/ 106181 w 214645"/>
                <a:gd name="connsiteY2" fmla="*/ 14 h 439400"/>
                <a:gd name="connsiteX3" fmla="*/ 49618 w 214645"/>
                <a:gd name="connsiteY3" fmla="*/ 56577 h 439400"/>
                <a:gd name="connsiteX4" fmla="*/ 49618 w 214645"/>
                <a:gd name="connsiteY4" fmla="*/ 241590 h 439400"/>
                <a:gd name="connsiteX5" fmla="*/ 16857 w 214645"/>
                <a:gd name="connsiteY5" fmla="*/ 389795 h 439400"/>
                <a:gd name="connsiteX6" fmla="*/ 107042 w 214645"/>
                <a:gd name="connsiteY6" fmla="*/ 439400 h 439400"/>
                <a:gd name="connsiteX7" fmla="*/ 107616 w 214645"/>
                <a:gd name="connsiteY7" fmla="*/ 439400 h 439400"/>
                <a:gd name="connsiteX8" fmla="*/ 214645 w 214645"/>
                <a:gd name="connsiteY8" fmla="*/ 331775 h 439400"/>
                <a:gd name="connsiteX9" fmla="*/ 165040 w 214645"/>
                <a:gd name="connsiteY9" fmla="*/ 241590 h 439400"/>
                <a:gd name="connsiteX10" fmla="*/ 62197 w 214645"/>
                <a:gd name="connsiteY10" fmla="*/ 410907 h 439400"/>
                <a:gd name="connsiteX11" fmla="*/ 28880 w 214645"/>
                <a:gd name="connsiteY11" fmla="*/ 286637 h 439400"/>
                <a:gd name="connsiteX12" fmla="*/ 62197 w 214645"/>
                <a:gd name="connsiteY12" fmla="*/ 253321 h 439400"/>
                <a:gd name="connsiteX13" fmla="*/ 66298 w 214645"/>
                <a:gd name="connsiteY13" fmla="*/ 246184 h 439400"/>
                <a:gd name="connsiteX14" fmla="*/ 66298 w 214645"/>
                <a:gd name="connsiteY14" fmla="*/ 56577 h 439400"/>
                <a:gd name="connsiteX15" fmla="*/ 108748 w 214645"/>
                <a:gd name="connsiteY15" fmla="*/ 16254 h 439400"/>
                <a:gd name="connsiteX16" fmla="*/ 149070 w 214645"/>
                <a:gd name="connsiteY16" fmla="*/ 56577 h 439400"/>
                <a:gd name="connsiteX17" fmla="*/ 149070 w 214645"/>
                <a:gd name="connsiteY17" fmla="*/ 246184 h 439400"/>
                <a:gd name="connsiteX18" fmla="*/ 153172 w 214645"/>
                <a:gd name="connsiteY18" fmla="*/ 253321 h 439400"/>
                <a:gd name="connsiteX19" fmla="*/ 186478 w 214645"/>
                <a:gd name="connsiteY19" fmla="*/ 377602 h 439400"/>
                <a:gd name="connsiteX20" fmla="*/ 62197 w 214645"/>
                <a:gd name="connsiteY20" fmla="*/ 410907 h 43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4645" h="439400">
                  <a:moveTo>
                    <a:pt x="165258" y="241672"/>
                  </a:moveTo>
                  <a:lnTo>
                    <a:pt x="165258" y="56577"/>
                  </a:lnTo>
                  <a:cubicBezTo>
                    <a:pt x="164564" y="24643"/>
                    <a:pt x="138114" y="-681"/>
                    <a:pt x="106181" y="14"/>
                  </a:cubicBezTo>
                  <a:cubicBezTo>
                    <a:pt x="75225" y="687"/>
                    <a:pt x="50292" y="25621"/>
                    <a:pt x="49618" y="56577"/>
                  </a:cubicBezTo>
                  <a:lnTo>
                    <a:pt x="49618" y="241590"/>
                  </a:lnTo>
                  <a:cubicBezTo>
                    <a:pt x="-354" y="273468"/>
                    <a:pt x="-15022" y="339822"/>
                    <a:pt x="16857" y="389795"/>
                  </a:cubicBezTo>
                  <a:cubicBezTo>
                    <a:pt x="36513" y="420607"/>
                    <a:pt x="70496" y="439299"/>
                    <a:pt x="107042" y="439400"/>
                  </a:cubicBezTo>
                  <a:lnTo>
                    <a:pt x="107616" y="439400"/>
                  </a:lnTo>
                  <a:cubicBezTo>
                    <a:pt x="166891" y="439236"/>
                    <a:pt x="214810" y="391050"/>
                    <a:pt x="214645" y="331775"/>
                  </a:cubicBezTo>
                  <a:cubicBezTo>
                    <a:pt x="214542" y="295229"/>
                    <a:pt x="195852" y="261245"/>
                    <a:pt x="165040" y="241590"/>
                  </a:cubicBezTo>
                  <a:close/>
                  <a:moveTo>
                    <a:pt x="62197" y="410907"/>
                  </a:moveTo>
                  <a:cubicBezTo>
                    <a:pt x="18680" y="385791"/>
                    <a:pt x="3764" y="330153"/>
                    <a:pt x="28880" y="286637"/>
                  </a:cubicBezTo>
                  <a:cubicBezTo>
                    <a:pt x="36867" y="272798"/>
                    <a:pt x="48358" y="261308"/>
                    <a:pt x="62197" y="253321"/>
                  </a:cubicBezTo>
                  <a:cubicBezTo>
                    <a:pt x="64745" y="251850"/>
                    <a:pt x="66310" y="249126"/>
                    <a:pt x="66298" y="246184"/>
                  </a:cubicBezTo>
                  <a:lnTo>
                    <a:pt x="66298" y="56577"/>
                  </a:lnTo>
                  <a:cubicBezTo>
                    <a:pt x="66886" y="33720"/>
                    <a:pt x="85891" y="15667"/>
                    <a:pt x="108748" y="16254"/>
                  </a:cubicBezTo>
                  <a:cubicBezTo>
                    <a:pt x="130779" y="16821"/>
                    <a:pt x="148504" y="34546"/>
                    <a:pt x="149070" y="56577"/>
                  </a:cubicBezTo>
                  <a:lnTo>
                    <a:pt x="149070" y="246184"/>
                  </a:lnTo>
                  <a:cubicBezTo>
                    <a:pt x="149059" y="249126"/>
                    <a:pt x="150624" y="251850"/>
                    <a:pt x="153172" y="253321"/>
                  </a:cubicBezTo>
                  <a:cubicBezTo>
                    <a:pt x="196688" y="278442"/>
                    <a:pt x="211599" y="334086"/>
                    <a:pt x="186478" y="377602"/>
                  </a:cubicBezTo>
                  <a:cubicBezTo>
                    <a:pt x="161356" y="421118"/>
                    <a:pt x="105713" y="436029"/>
                    <a:pt x="62197" y="410907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18" name="Freeform 217">
              <a:extLst>
                <a:ext uri="{FF2B5EF4-FFF2-40B4-BE49-F238E27FC236}">
                  <a16:creationId xmlns:a16="http://schemas.microsoft.com/office/drawing/2014/main" id="{55B59429-BE86-364A-B00D-36E7B75C81DF}"/>
                </a:ext>
              </a:extLst>
            </p:cNvPr>
            <p:cNvSpPr/>
            <p:nvPr/>
          </p:nvSpPr>
          <p:spPr>
            <a:xfrm>
              <a:off x="6413626" y="2587721"/>
              <a:ext cx="113932" cy="246226"/>
            </a:xfrm>
            <a:custGeom>
              <a:avLst/>
              <a:gdLst>
                <a:gd name="connsiteX0" fmla="*/ 65169 w 113932"/>
                <a:gd name="connsiteY0" fmla="*/ 132895 h 246226"/>
                <a:gd name="connsiteX1" fmla="*/ 65169 w 113932"/>
                <a:gd name="connsiteY1" fmla="*/ 8203 h 246226"/>
                <a:gd name="connsiteX2" fmla="*/ 56966 w 113932"/>
                <a:gd name="connsiteY2" fmla="*/ 0 h 246226"/>
                <a:gd name="connsiteX3" fmla="*/ 48763 w 113932"/>
                <a:gd name="connsiteY3" fmla="*/ 8203 h 246226"/>
                <a:gd name="connsiteX4" fmla="*/ 48763 w 113932"/>
                <a:gd name="connsiteY4" fmla="*/ 132895 h 246226"/>
                <a:gd name="connsiteX5" fmla="*/ 601 w 113932"/>
                <a:gd name="connsiteY5" fmla="*/ 197463 h 246226"/>
                <a:gd name="connsiteX6" fmla="*/ 65169 w 113932"/>
                <a:gd name="connsiteY6" fmla="*/ 245625 h 246226"/>
                <a:gd name="connsiteX7" fmla="*/ 113331 w 113932"/>
                <a:gd name="connsiteY7" fmla="*/ 181057 h 246226"/>
                <a:gd name="connsiteX8" fmla="*/ 65169 w 113932"/>
                <a:gd name="connsiteY8" fmla="*/ 132895 h 246226"/>
                <a:gd name="connsiteX9" fmla="*/ 56966 w 113932"/>
                <a:gd name="connsiteY9" fmla="*/ 229366 h 246226"/>
                <a:gd name="connsiteX10" fmla="*/ 15569 w 113932"/>
                <a:gd name="connsiteY10" fmla="*/ 190069 h 246226"/>
                <a:gd name="connsiteX11" fmla="*/ 54865 w 113932"/>
                <a:gd name="connsiteY11" fmla="*/ 148672 h 246226"/>
                <a:gd name="connsiteX12" fmla="*/ 56966 w 113932"/>
                <a:gd name="connsiteY12" fmla="*/ 148672 h 246226"/>
                <a:gd name="connsiteX13" fmla="*/ 56966 w 113932"/>
                <a:gd name="connsiteY13" fmla="*/ 148672 h 246226"/>
                <a:gd name="connsiteX14" fmla="*/ 98364 w 113932"/>
                <a:gd name="connsiteY14" fmla="*/ 187969 h 246226"/>
                <a:gd name="connsiteX15" fmla="*/ 59067 w 113932"/>
                <a:gd name="connsiteY15" fmla="*/ 229366 h 246226"/>
                <a:gd name="connsiteX16" fmla="*/ 56966 w 113932"/>
                <a:gd name="connsiteY16" fmla="*/ 229366 h 246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3932" h="246226">
                  <a:moveTo>
                    <a:pt x="65169" y="132895"/>
                  </a:moveTo>
                  <a:lnTo>
                    <a:pt x="65169" y="8203"/>
                  </a:lnTo>
                  <a:cubicBezTo>
                    <a:pt x="65169" y="3673"/>
                    <a:pt x="61497" y="0"/>
                    <a:pt x="56966" y="0"/>
                  </a:cubicBezTo>
                  <a:cubicBezTo>
                    <a:pt x="52435" y="0"/>
                    <a:pt x="48763" y="3673"/>
                    <a:pt x="48763" y="8203"/>
                  </a:cubicBezTo>
                  <a:lnTo>
                    <a:pt x="48763" y="132895"/>
                  </a:lnTo>
                  <a:cubicBezTo>
                    <a:pt x="17633" y="137426"/>
                    <a:pt x="-3929" y="166334"/>
                    <a:pt x="601" y="197463"/>
                  </a:cubicBezTo>
                  <a:cubicBezTo>
                    <a:pt x="5132" y="228592"/>
                    <a:pt x="34040" y="250156"/>
                    <a:pt x="65169" y="245625"/>
                  </a:cubicBezTo>
                  <a:cubicBezTo>
                    <a:pt x="96299" y="241094"/>
                    <a:pt x="117862" y="212186"/>
                    <a:pt x="113331" y="181057"/>
                  </a:cubicBezTo>
                  <a:cubicBezTo>
                    <a:pt x="109701" y="156116"/>
                    <a:pt x="90111" y="136523"/>
                    <a:pt x="65169" y="132895"/>
                  </a:cubicBezTo>
                  <a:close/>
                  <a:moveTo>
                    <a:pt x="56966" y="229366"/>
                  </a:moveTo>
                  <a:cubicBezTo>
                    <a:pt x="34683" y="229946"/>
                    <a:pt x="16149" y="212352"/>
                    <a:pt x="15569" y="190069"/>
                  </a:cubicBezTo>
                  <a:cubicBezTo>
                    <a:pt x="14989" y="167786"/>
                    <a:pt x="32582" y="149252"/>
                    <a:pt x="54865" y="148672"/>
                  </a:cubicBezTo>
                  <a:cubicBezTo>
                    <a:pt x="55566" y="148653"/>
                    <a:pt x="56266" y="148653"/>
                    <a:pt x="56966" y="148672"/>
                  </a:cubicBezTo>
                  <a:lnTo>
                    <a:pt x="56966" y="148672"/>
                  </a:lnTo>
                  <a:cubicBezTo>
                    <a:pt x="79249" y="148093"/>
                    <a:pt x="97783" y="165686"/>
                    <a:pt x="98364" y="187969"/>
                  </a:cubicBezTo>
                  <a:cubicBezTo>
                    <a:pt x="98944" y="210252"/>
                    <a:pt x="81350" y="228787"/>
                    <a:pt x="59067" y="229366"/>
                  </a:cubicBezTo>
                  <a:cubicBezTo>
                    <a:pt x="58367" y="229385"/>
                    <a:pt x="57666" y="229385"/>
                    <a:pt x="56966" y="229366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19" name="Freeform 218">
              <a:extLst>
                <a:ext uri="{FF2B5EF4-FFF2-40B4-BE49-F238E27FC236}">
                  <a16:creationId xmlns:a16="http://schemas.microsoft.com/office/drawing/2014/main" id="{C9787108-17A4-724E-B76C-43924E26A322}"/>
                </a:ext>
              </a:extLst>
            </p:cNvPr>
            <p:cNvSpPr/>
            <p:nvPr/>
          </p:nvSpPr>
          <p:spPr>
            <a:xfrm>
              <a:off x="6548661" y="2502816"/>
              <a:ext cx="67759" cy="16406"/>
            </a:xfrm>
            <a:custGeom>
              <a:avLst/>
              <a:gdLst>
                <a:gd name="connsiteX0" fmla="*/ 59556 w 67759"/>
                <a:gd name="connsiteY0" fmla="*/ 0 h 16406"/>
                <a:gd name="connsiteX1" fmla="*/ 8203 w 67759"/>
                <a:gd name="connsiteY1" fmla="*/ 0 h 16406"/>
                <a:gd name="connsiteX2" fmla="*/ 0 w 67759"/>
                <a:gd name="connsiteY2" fmla="*/ 8203 h 16406"/>
                <a:gd name="connsiteX3" fmla="*/ 8203 w 67759"/>
                <a:gd name="connsiteY3" fmla="*/ 16407 h 16406"/>
                <a:gd name="connsiteX4" fmla="*/ 59556 w 67759"/>
                <a:gd name="connsiteY4" fmla="*/ 16407 h 16406"/>
                <a:gd name="connsiteX5" fmla="*/ 67760 w 67759"/>
                <a:gd name="connsiteY5" fmla="*/ 8203 h 16406"/>
                <a:gd name="connsiteX6" fmla="*/ 59556 w 67759"/>
                <a:gd name="connsiteY6" fmla="*/ 0 h 1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759" h="16406">
                  <a:moveTo>
                    <a:pt x="59556" y="0"/>
                  </a:moveTo>
                  <a:lnTo>
                    <a:pt x="8203" y="0"/>
                  </a:lnTo>
                  <a:cubicBezTo>
                    <a:pt x="3672" y="0"/>
                    <a:pt x="0" y="3673"/>
                    <a:pt x="0" y="8203"/>
                  </a:cubicBezTo>
                  <a:cubicBezTo>
                    <a:pt x="0" y="12734"/>
                    <a:pt x="3672" y="16407"/>
                    <a:pt x="8203" y="16407"/>
                  </a:cubicBezTo>
                  <a:lnTo>
                    <a:pt x="59556" y="16407"/>
                  </a:lnTo>
                  <a:cubicBezTo>
                    <a:pt x="64087" y="16407"/>
                    <a:pt x="67760" y="12734"/>
                    <a:pt x="67760" y="8203"/>
                  </a:cubicBezTo>
                  <a:cubicBezTo>
                    <a:pt x="67760" y="3673"/>
                    <a:pt x="64087" y="0"/>
                    <a:pt x="59556" y="0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20" name="Freeform 219">
              <a:extLst>
                <a:ext uri="{FF2B5EF4-FFF2-40B4-BE49-F238E27FC236}">
                  <a16:creationId xmlns:a16="http://schemas.microsoft.com/office/drawing/2014/main" id="{B3DEF60A-BEA7-EF45-BB10-94AF273EA9CC}"/>
                </a:ext>
              </a:extLst>
            </p:cNvPr>
            <p:cNvSpPr/>
            <p:nvPr/>
          </p:nvSpPr>
          <p:spPr>
            <a:xfrm>
              <a:off x="6558997" y="2543915"/>
              <a:ext cx="46485" cy="16406"/>
            </a:xfrm>
            <a:custGeom>
              <a:avLst/>
              <a:gdLst>
                <a:gd name="connsiteX0" fmla="*/ 38282 w 46485"/>
                <a:gd name="connsiteY0" fmla="*/ 0 h 16406"/>
                <a:gd name="connsiteX1" fmla="*/ 8203 w 46485"/>
                <a:gd name="connsiteY1" fmla="*/ 0 h 16406"/>
                <a:gd name="connsiteX2" fmla="*/ 0 w 46485"/>
                <a:gd name="connsiteY2" fmla="*/ 8203 h 16406"/>
                <a:gd name="connsiteX3" fmla="*/ 8203 w 46485"/>
                <a:gd name="connsiteY3" fmla="*/ 16407 h 16406"/>
                <a:gd name="connsiteX4" fmla="*/ 38282 w 46485"/>
                <a:gd name="connsiteY4" fmla="*/ 16407 h 16406"/>
                <a:gd name="connsiteX5" fmla="*/ 46486 w 46485"/>
                <a:gd name="connsiteY5" fmla="*/ 8203 h 16406"/>
                <a:gd name="connsiteX6" fmla="*/ 38282 w 46485"/>
                <a:gd name="connsiteY6" fmla="*/ 0 h 1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85" h="16406">
                  <a:moveTo>
                    <a:pt x="38282" y="0"/>
                  </a:moveTo>
                  <a:lnTo>
                    <a:pt x="8203" y="0"/>
                  </a:lnTo>
                  <a:cubicBezTo>
                    <a:pt x="3672" y="0"/>
                    <a:pt x="0" y="3673"/>
                    <a:pt x="0" y="8203"/>
                  </a:cubicBezTo>
                  <a:cubicBezTo>
                    <a:pt x="0" y="12734"/>
                    <a:pt x="3672" y="16407"/>
                    <a:pt x="8203" y="16407"/>
                  </a:cubicBezTo>
                  <a:lnTo>
                    <a:pt x="38282" y="16407"/>
                  </a:lnTo>
                  <a:cubicBezTo>
                    <a:pt x="42813" y="16407"/>
                    <a:pt x="46486" y="12734"/>
                    <a:pt x="46486" y="8203"/>
                  </a:cubicBezTo>
                  <a:cubicBezTo>
                    <a:pt x="46486" y="3673"/>
                    <a:pt x="42813" y="0"/>
                    <a:pt x="38282" y="0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21" name="Freeform 220">
              <a:extLst>
                <a:ext uri="{FF2B5EF4-FFF2-40B4-BE49-F238E27FC236}">
                  <a16:creationId xmlns:a16="http://schemas.microsoft.com/office/drawing/2014/main" id="{5D39B144-0D93-D04A-AA00-975AF39E55FF}"/>
                </a:ext>
              </a:extLst>
            </p:cNvPr>
            <p:cNvSpPr/>
            <p:nvPr/>
          </p:nvSpPr>
          <p:spPr>
            <a:xfrm>
              <a:off x="6548661" y="2585014"/>
              <a:ext cx="67759" cy="16406"/>
            </a:xfrm>
            <a:custGeom>
              <a:avLst/>
              <a:gdLst>
                <a:gd name="connsiteX0" fmla="*/ 59556 w 67759"/>
                <a:gd name="connsiteY0" fmla="*/ 0 h 16406"/>
                <a:gd name="connsiteX1" fmla="*/ 8203 w 67759"/>
                <a:gd name="connsiteY1" fmla="*/ 0 h 16406"/>
                <a:gd name="connsiteX2" fmla="*/ 0 w 67759"/>
                <a:gd name="connsiteY2" fmla="*/ 8203 h 16406"/>
                <a:gd name="connsiteX3" fmla="*/ 8203 w 67759"/>
                <a:gd name="connsiteY3" fmla="*/ 16407 h 16406"/>
                <a:gd name="connsiteX4" fmla="*/ 59556 w 67759"/>
                <a:gd name="connsiteY4" fmla="*/ 16407 h 16406"/>
                <a:gd name="connsiteX5" fmla="*/ 67760 w 67759"/>
                <a:gd name="connsiteY5" fmla="*/ 8203 h 16406"/>
                <a:gd name="connsiteX6" fmla="*/ 59556 w 67759"/>
                <a:gd name="connsiteY6" fmla="*/ 0 h 1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759" h="16406">
                  <a:moveTo>
                    <a:pt x="59556" y="0"/>
                  </a:moveTo>
                  <a:lnTo>
                    <a:pt x="8203" y="0"/>
                  </a:lnTo>
                  <a:cubicBezTo>
                    <a:pt x="3672" y="0"/>
                    <a:pt x="0" y="3673"/>
                    <a:pt x="0" y="8203"/>
                  </a:cubicBezTo>
                  <a:cubicBezTo>
                    <a:pt x="0" y="12734"/>
                    <a:pt x="3672" y="16407"/>
                    <a:pt x="8203" y="16407"/>
                  </a:cubicBezTo>
                  <a:lnTo>
                    <a:pt x="59556" y="16407"/>
                  </a:lnTo>
                  <a:cubicBezTo>
                    <a:pt x="64087" y="16407"/>
                    <a:pt x="67760" y="12734"/>
                    <a:pt x="67760" y="8203"/>
                  </a:cubicBezTo>
                  <a:cubicBezTo>
                    <a:pt x="67760" y="3673"/>
                    <a:pt x="64087" y="0"/>
                    <a:pt x="59556" y="0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22" name="Freeform 221">
              <a:extLst>
                <a:ext uri="{FF2B5EF4-FFF2-40B4-BE49-F238E27FC236}">
                  <a16:creationId xmlns:a16="http://schemas.microsoft.com/office/drawing/2014/main" id="{EB508BA3-B8D3-124C-97B2-133992781AC4}"/>
                </a:ext>
              </a:extLst>
            </p:cNvPr>
            <p:cNvSpPr/>
            <p:nvPr/>
          </p:nvSpPr>
          <p:spPr>
            <a:xfrm>
              <a:off x="6558997" y="2626086"/>
              <a:ext cx="46485" cy="16406"/>
            </a:xfrm>
            <a:custGeom>
              <a:avLst/>
              <a:gdLst>
                <a:gd name="connsiteX0" fmla="*/ 38282 w 46485"/>
                <a:gd name="connsiteY0" fmla="*/ 0 h 16406"/>
                <a:gd name="connsiteX1" fmla="*/ 8203 w 46485"/>
                <a:gd name="connsiteY1" fmla="*/ 0 h 16406"/>
                <a:gd name="connsiteX2" fmla="*/ 0 w 46485"/>
                <a:gd name="connsiteY2" fmla="*/ 8203 h 16406"/>
                <a:gd name="connsiteX3" fmla="*/ 8203 w 46485"/>
                <a:gd name="connsiteY3" fmla="*/ 16407 h 16406"/>
                <a:gd name="connsiteX4" fmla="*/ 38282 w 46485"/>
                <a:gd name="connsiteY4" fmla="*/ 16407 h 16406"/>
                <a:gd name="connsiteX5" fmla="*/ 46486 w 46485"/>
                <a:gd name="connsiteY5" fmla="*/ 8203 h 16406"/>
                <a:gd name="connsiteX6" fmla="*/ 38282 w 46485"/>
                <a:gd name="connsiteY6" fmla="*/ 0 h 1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85" h="16406">
                  <a:moveTo>
                    <a:pt x="38282" y="0"/>
                  </a:moveTo>
                  <a:lnTo>
                    <a:pt x="8203" y="0"/>
                  </a:lnTo>
                  <a:cubicBezTo>
                    <a:pt x="3672" y="0"/>
                    <a:pt x="0" y="3673"/>
                    <a:pt x="0" y="8203"/>
                  </a:cubicBezTo>
                  <a:cubicBezTo>
                    <a:pt x="0" y="12734"/>
                    <a:pt x="3672" y="16407"/>
                    <a:pt x="8203" y="16407"/>
                  </a:cubicBezTo>
                  <a:lnTo>
                    <a:pt x="38282" y="16407"/>
                  </a:lnTo>
                  <a:cubicBezTo>
                    <a:pt x="42813" y="16407"/>
                    <a:pt x="46486" y="12734"/>
                    <a:pt x="46486" y="8203"/>
                  </a:cubicBezTo>
                  <a:cubicBezTo>
                    <a:pt x="46486" y="3673"/>
                    <a:pt x="42813" y="0"/>
                    <a:pt x="38282" y="0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23" name="Freeform 222">
              <a:extLst>
                <a:ext uri="{FF2B5EF4-FFF2-40B4-BE49-F238E27FC236}">
                  <a16:creationId xmlns:a16="http://schemas.microsoft.com/office/drawing/2014/main" id="{3BCA0219-7DAD-C74C-9EFD-40D3AC9244FF}"/>
                </a:ext>
              </a:extLst>
            </p:cNvPr>
            <p:cNvSpPr/>
            <p:nvPr/>
          </p:nvSpPr>
          <p:spPr>
            <a:xfrm>
              <a:off x="6548661" y="2667185"/>
              <a:ext cx="67759" cy="16406"/>
            </a:xfrm>
            <a:custGeom>
              <a:avLst/>
              <a:gdLst>
                <a:gd name="connsiteX0" fmla="*/ 59556 w 67759"/>
                <a:gd name="connsiteY0" fmla="*/ 0 h 16406"/>
                <a:gd name="connsiteX1" fmla="*/ 8203 w 67759"/>
                <a:gd name="connsiteY1" fmla="*/ 0 h 16406"/>
                <a:gd name="connsiteX2" fmla="*/ 0 w 67759"/>
                <a:gd name="connsiteY2" fmla="*/ 8203 h 16406"/>
                <a:gd name="connsiteX3" fmla="*/ 8203 w 67759"/>
                <a:gd name="connsiteY3" fmla="*/ 16407 h 16406"/>
                <a:gd name="connsiteX4" fmla="*/ 59556 w 67759"/>
                <a:gd name="connsiteY4" fmla="*/ 16407 h 16406"/>
                <a:gd name="connsiteX5" fmla="*/ 67760 w 67759"/>
                <a:gd name="connsiteY5" fmla="*/ 8203 h 16406"/>
                <a:gd name="connsiteX6" fmla="*/ 59556 w 67759"/>
                <a:gd name="connsiteY6" fmla="*/ 0 h 1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759" h="16406">
                  <a:moveTo>
                    <a:pt x="59556" y="0"/>
                  </a:moveTo>
                  <a:lnTo>
                    <a:pt x="8203" y="0"/>
                  </a:lnTo>
                  <a:cubicBezTo>
                    <a:pt x="3672" y="0"/>
                    <a:pt x="0" y="3673"/>
                    <a:pt x="0" y="8203"/>
                  </a:cubicBezTo>
                  <a:cubicBezTo>
                    <a:pt x="0" y="12734"/>
                    <a:pt x="3672" y="16407"/>
                    <a:pt x="8203" y="16407"/>
                  </a:cubicBezTo>
                  <a:lnTo>
                    <a:pt x="59556" y="16407"/>
                  </a:lnTo>
                  <a:cubicBezTo>
                    <a:pt x="64087" y="16407"/>
                    <a:pt x="67760" y="12734"/>
                    <a:pt x="67760" y="8203"/>
                  </a:cubicBezTo>
                  <a:cubicBezTo>
                    <a:pt x="67760" y="3673"/>
                    <a:pt x="64087" y="0"/>
                    <a:pt x="59556" y="0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24" name="Graphic 63">
            <a:extLst>
              <a:ext uri="{FF2B5EF4-FFF2-40B4-BE49-F238E27FC236}">
                <a16:creationId xmlns:a16="http://schemas.microsoft.com/office/drawing/2014/main" id="{DD85B6C4-5E17-3642-9F0C-3030E3640A64}"/>
              </a:ext>
            </a:extLst>
          </p:cNvPr>
          <p:cNvGrpSpPr/>
          <p:nvPr userDrawn="1"/>
        </p:nvGrpSpPr>
        <p:grpSpPr>
          <a:xfrm>
            <a:off x="7451919" y="2692959"/>
            <a:ext cx="373976" cy="365999"/>
            <a:chOff x="10014210" y="3275684"/>
            <a:chExt cx="522110" cy="522110"/>
          </a:xfrm>
          <a:solidFill>
            <a:schemeClr val="bg1"/>
          </a:solidFill>
        </p:grpSpPr>
        <p:sp>
          <p:nvSpPr>
            <p:cNvPr id="225" name="Freeform 224">
              <a:extLst>
                <a:ext uri="{FF2B5EF4-FFF2-40B4-BE49-F238E27FC236}">
                  <a16:creationId xmlns:a16="http://schemas.microsoft.com/office/drawing/2014/main" id="{7E0E82D5-9152-354B-902D-534AB483E9B1}"/>
                </a:ext>
              </a:extLst>
            </p:cNvPr>
            <p:cNvSpPr/>
            <p:nvPr/>
          </p:nvSpPr>
          <p:spPr>
            <a:xfrm>
              <a:off x="10066941" y="3395338"/>
              <a:ext cx="125275" cy="120026"/>
            </a:xfrm>
            <a:custGeom>
              <a:avLst/>
              <a:gdLst>
                <a:gd name="connsiteX0" fmla="*/ 29142 w 125275"/>
                <a:gd name="connsiteY0" fmla="*/ 120027 h 120026"/>
                <a:gd name="connsiteX1" fmla="*/ 24247 w 125275"/>
                <a:gd name="connsiteY1" fmla="*/ 118428 h 120026"/>
                <a:gd name="connsiteX2" fmla="*/ 21212 w 125275"/>
                <a:gd name="connsiteY2" fmla="*/ 109128 h 120026"/>
                <a:gd name="connsiteX3" fmla="*/ 32111 w 125275"/>
                <a:gd name="connsiteY3" fmla="*/ 75386 h 120026"/>
                <a:gd name="connsiteX4" fmla="*/ 3395 w 125275"/>
                <a:gd name="connsiteY4" fmla="*/ 54535 h 120026"/>
                <a:gd name="connsiteX5" fmla="*/ 1632 w 125275"/>
                <a:gd name="connsiteY5" fmla="*/ 42853 h 120026"/>
                <a:gd name="connsiteX6" fmla="*/ 8290 w 125275"/>
                <a:gd name="connsiteY6" fmla="*/ 39459 h 120026"/>
                <a:gd name="connsiteX7" fmla="*/ 43826 w 125275"/>
                <a:gd name="connsiteY7" fmla="*/ 39459 h 120026"/>
                <a:gd name="connsiteX8" fmla="*/ 54953 w 125275"/>
                <a:gd name="connsiteY8" fmla="*/ 5750 h 120026"/>
                <a:gd name="connsiteX9" fmla="*/ 65440 w 125275"/>
                <a:gd name="connsiteY9" fmla="*/ 410 h 120026"/>
                <a:gd name="connsiteX10" fmla="*/ 70780 w 125275"/>
                <a:gd name="connsiteY10" fmla="*/ 5750 h 120026"/>
                <a:gd name="connsiteX11" fmla="*/ 81777 w 125275"/>
                <a:gd name="connsiteY11" fmla="*/ 39459 h 120026"/>
                <a:gd name="connsiteX12" fmla="*/ 116954 w 125275"/>
                <a:gd name="connsiteY12" fmla="*/ 39459 h 120026"/>
                <a:gd name="connsiteX13" fmla="*/ 125275 w 125275"/>
                <a:gd name="connsiteY13" fmla="*/ 47844 h 120026"/>
                <a:gd name="connsiteX14" fmla="*/ 121881 w 125275"/>
                <a:gd name="connsiteY14" fmla="*/ 54535 h 120026"/>
                <a:gd name="connsiteX15" fmla="*/ 93165 w 125275"/>
                <a:gd name="connsiteY15" fmla="*/ 75386 h 120026"/>
                <a:gd name="connsiteX16" fmla="*/ 104228 w 125275"/>
                <a:gd name="connsiteY16" fmla="*/ 109128 h 120026"/>
                <a:gd name="connsiteX17" fmla="*/ 101193 w 125275"/>
                <a:gd name="connsiteY17" fmla="*/ 118428 h 120026"/>
                <a:gd name="connsiteX18" fmla="*/ 91403 w 125275"/>
                <a:gd name="connsiteY18" fmla="*/ 118428 h 120026"/>
                <a:gd name="connsiteX19" fmla="*/ 62720 w 125275"/>
                <a:gd name="connsiteY19" fmla="*/ 97576 h 120026"/>
                <a:gd name="connsiteX20" fmla="*/ 34004 w 125275"/>
                <a:gd name="connsiteY20" fmla="*/ 118428 h 120026"/>
                <a:gd name="connsiteX21" fmla="*/ 29142 w 125275"/>
                <a:gd name="connsiteY21" fmla="*/ 120027 h 120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5275" h="120026">
                  <a:moveTo>
                    <a:pt x="29142" y="120027"/>
                  </a:moveTo>
                  <a:cubicBezTo>
                    <a:pt x="27381" y="120032"/>
                    <a:pt x="25665" y="119471"/>
                    <a:pt x="24247" y="118428"/>
                  </a:cubicBezTo>
                  <a:cubicBezTo>
                    <a:pt x="21318" y="116319"/>
                    <a:pt x="20091" y="112558"/>
                    <a:pt x="21212" y="109128"/>
                  </a:cubicBezTo>
                  <a:lnTo>
                    <a:pt x="32111" y="75386"/>
                  </a:lnTo>
                  <a:lnTo>
                    <a:pt x="3395" y="54535"/>
                  </a:lnTo>
                  <a:cubicBezTo>
                    <a:pt x="-317" y="51796"/>
                    <a:pt x="-1107" y="46566"/>
                    <a:pt x="1632" y="42853"/>
                  </a:cubicBezTo>
                  <a:cubicBezTo>
                    <a:pt x="3193" y="40737"/>
                    <a:pt x="5660" y="39479"/>
                    <a:pt x="8290" y="39459"/>
                  </a:cubicBezTo>
                  <a:lnTo>
                    <a:pt x="43826" y="39459"/>
                  </a:lnTo>
                  <a:lnTo>
                    <a:pt x="54953" y="5750"/>
                  </a:lnTo>
                  <a:cubicBezTo>
                    <a:pt x="56375" y="1380"/>
                    <a:pt x="61070" y="-1011"/>
                    <a:pt x="65440" y="410"/>
                  </a:cubicBezTo>
                  <a:cubicBezTo>
                    <a:pt x="67972" y="1233"/>
                    <a:pt x="69957" y="3218"/>
                    <a:pt x="70780" y="5750"/>
                  </a:cubicBezTo>
                  <a:lnTo>
                    <a:pt x="81777" y="39459"/>
                  </a:lnTo>
                  <a:lnTo>
                    <a:pt x="116954" y="39459"/>
                  </a:lnTo>
                  <a:cubicBezTo>
                    <a:pt x="121567" y="39476"/>
                    <a:pt x="125293" y="43231"/>
                    <a:pt x="125275" y="47844"/>
                  </a:cubicBezTo>
                  <a:cubicBezTo>
                    <a:pt x="125265" y="50486"/>
                    <a:pt x="124007" y="52967"/>
                    <a:pt x="121881" y="54535"/>
                  </a:cubicBezTo>
                  <a:lnTo>
                    <a:pt x="93165" y="75386"/>
                  </a:lnTo>
                  <a:lnTo>
                    <a:pt x="104228" y="109128"/>
                  </a:lnTo>
                  <a:cubicBezTo>
                    <a:pt x="105348" y="112558"/>
                    <a:pt x="104121" y="116319"/>
                    <a:pt x="101193" y="118428"/>
                  </a:cubicBezTo>
                  <a:cubicBezTo>
                    <a:pt x="98265" y="120520"/>
                    <a:pt x="94331" y="120520"/>
                    <a:pt x="91403" y="118428"/>
                  </a:cubicBezTo>
                  <a:lnTo>
                    <a:pt x="62720" y="97576"/>
                  </a:lnTo>
                  <a:lnTo>
                    <a:pt x="34004" y="118428"/>
                  </a:lnTo>
                  <a:cubicBezTo>
                    <a:pt x="32598" y="119471"/>
                    <a:pt x="30892" y="120031"/>
                    <a:pt x="29142" y="120027"/>
                  </a:cubicBezTo>
                  <a:close/>
                </a:path>
              </a:pathLst>
            </a:custGeom>
            <a:noFill/>
            <a:ln w="16073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26" name="Freeform 225">
              <a:extLst>
                <a:ext uri="{FF2B5EF4-FFF2-40B4-BE49-F238E27FC236}">
                  <a16:creationId xmlns:a16="http://schemas.microsoft.com/office/drawing/2014/main" id="{723D44C9-B106-4848-A457-5980845EA026}"/>
                </a:ext>
              </a:extLst>
            </p:cNvPr>
            <p:cNvSpPr/>
            <p:nvPr/>
          </p:nvSpPr>
          <p:spPr>
            <a:xfrm>
              <a:off x="10213828" y="3395403"/>
              <a:ext cx="125222" cy="120027"/>
            </a:xfrm>
            <a:custGeom>
              <a:avLst/>
              <a:gdLst>
                <a:gd name="connsiteX0" fmla="*/ 29066 w 125222"/>
                <a:gd name="connsiteY0" fmla="*/ 120027 h 120027"/>
                <a:gd name="connsiteX1" fmla="*/ 20739 w 125222"/>
                <a:gd name="connsiteY1" fmla="*/ 111646 h 120027"/>
                <a:gd name="connsiteX2" fmla="*/ 21136 w 125222"/>
                <a:gd name="connsiteY2" fmla="*/ 109128 h 120027"/>
                <a:gd name="connsiteX3" fmla="*/ 32068 w 125222"/>
                <a:gd name="connsiteY3" fmla="*/ 75386 h 120027"/>
                <a:gd name="connsiteX4" fmla="*/ 3417 w 125222"/>
                <a:gd name="connsiteY4" fmla="*/ 54535 h 120027"/>
                <a:gd name="connsiteX5" fmla="*/ 1600 w 125222"/>
                <a:gd name="connsiteY5" fmla="*/ 42908 h 120027"/>
                <a:gd name="connsiteX6" fmla="*/ 8312 w 125222"/>
                <a:gd name="connsiteY6" fmla="*/ 39491 h 120027"/>
                <a:gd name="connsiteX7" fmla="*/ 43783 w 125222"/>
                <a:gd name="connsiteY7" fmla="*/ 39491 h 120027"/>
                <a:gd name="connsiteX8" fmla="*/ 54910 w 125222"/>
                <a:gd name="connsiteY8" fmla="*/ 5750 h 120027"/>
                <a:gd name="connsiteX9" fmla="*/ 65397 w 125222"/>
                <a:gd name="connsiteY9" fmla="*/ 410 h 120027"/>
                <a:gd name="connsiteX10" fmla="*/ 70737 w 125222"/>
                <a:gd name="connsiteY10" fmla="*/ 5750 h 120027"/>
                <a:gd name="connsiteX11" fmla="*/ 81701 w 125222"/>
                <a:gd name="connsiteY11" fmla="*/ 39491 h 120027"/>
                <a:gd name="connsiteX12" fmla="*/ 116911 w 125222"/>
                <a:gd name="connsiteY12" fmla="*/ 39491 h 120027"/>
                <a:gd name="connsiteX13" fmla="*/ 125222 w 125222"/>
                <a:gd name="connsiteY13" fmla="*/ 47822 h 120027"/>
                <a:gd name="connsiteX14" fmla="*/ 121806 w 125222"/>
                <a:gd name="connsiteY14" fmla="*/ 54535 h 120027"/>
                <a:gd name="connsiteX15" fmla="*/ 93122 w 125222"/>
                <a:gd name="connsiteY15" fmla="*/ 75386 h 120027"/>
                <a:gd name="connsiteX16" fmla="*/ 104054 w 125222"/>
                <a:gd name="connsiteY16" fmla="*/ 109128 h 120027"/>
                <a:gd name="connsiteX17" fmla="*/ 101052 w 125222"/>
                <a:gd name="connsiteY17" fmla="*/ 118428 h 120027"/>
                <a:gd name="connsiteX18" fmla="*/ 91262 w 125222"/>
                <a:gd name="connsiteY18" fmla="*/ 118428 h 120027"/>
                <a:gd name="connsiteX19" fmla="*/ 62546 w 125222"/>
                <a:gd name="connsiteY19" fmla="*/ 97576 h 120027"/>
                <a:gd name="connsiteX20" fmla="*/ 33961 w 125222"/>
                <a:gd name="connsiteY20" fmla="*/ 118493 h 120027"/>
                <a:gd name="connsiteX21" fmla="*/ 29066 w 125222"/>
                <a:gd name="connsiteY21" fmla="*/ 120027 h 120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5222" h="120027">
                  <a:moveTo>
                    <a:pt x="29066" y="120027"/>
                  </a:moveTo>
                  <a:cubicBezTo>
                    <a:pt x="24452" y="120012"/>
                    <a:pt x="20724" y="116260"/>
                    <a:pt x="20739" y="111646"/>
                  </a:cubicBezTo>
                  <a:cubicBezTo>
                    <a:pt x="20742" y="110791"/>
                    <a:pt x="20876" y="109942"/>
                    <a:pt x="21136" y="109128"/>
                  </a:cubicBezTo>
                  <a:lnTo>
                    <a:pt x="32068" y="75386"/>
                  </a:lnTo>
                  <a:lnTo>
                    <a:pt x="3417" y="54535"/>
                  </a:lnTo>
                  <a:cubicBezTo>
                    <a:pt x="-295" y="51826"/>
                    <a:pt x="-1109" y="46620"/>
                    <a:pt x="1600" y="42908"/>
                  </a:cubicBezTo>
                  <a:cubicBezTo>
                    <a:pt x="3164" y="40764"/>
                    <a:pt x="5658" y="39494"/>
                    <a:pt x="8312" y="39491"/>
                  </a:cubicBezTo>
                  <a:lnTo>
                    <a:pt x="43783" y="39491"/>
                  </a:lnTo>
                  <a:lnTo>
                    <a:pt x="54910" y="5750"/>
                  </a:lnTo>
                  <a:cubicBezTo>
                    <a:pt x="56331" y="1380"/>
                    <a:pt x="61027" y="-1011"/>
                    <a:pt x="65397" y="410"/>
                  </a:cubicBezTo>
                  <a:cubicBezTo>
                    <a:pt x="67928" y="1233"/>
                    <a:pt x="69913" y="3218"/>
                    <a:pt x="70737" y="5750"/>
                  </a:cubicBezTo>
                  <a:lnTo>
                    <a:pt x="81701" y="39491"/>
                  </a:lnTo>
                  <a:lnTo>
                    <a:pt x="116911" y="39491"/>
                  </a:lnTo>
                  <a:cubicBezTo>
                    <a:pt x="121506" y="39497"/>
                    <a:pt x="125228" y="43226"/>
                    <a:pt x="125222" y="47822"/>
                  </a:cubicBezTo>
                  <a:cubicBezTo>
                    <a:pt x="125219" y="50477"/>
                    <a:pt x="123950" y="52970"/>
                    <a:pt x="121806" y="54535"/>
                  </a:cubicBezTo>
                  <a:lnTo>
                    <a:pt x="93122" y="75386"/>
                  </a:lnTo>
                  <a:lnTo>
                    <a:pt x="104054" y="109128"/>
                  </a:lnTo>
                  <a:cubicBezTo>
                    <a:pt x="105182" y="112551"/>
                    <a:pt x="103968" y="116310"/>
                    <a:pt x="101052" y="118428"/>
                  </a:cubicBezTo>
                  <a:cubicBezTo>
                    <a:pt x="98124" y="120520"/>
                    <a:pt x="94190" y="120520"/>
                    <a:pt x="91262" y="118428"/>
                  </a:cubicBezTo>
                  <a:lnTo>
                    <a:pt x="62546" y="97576"/>
                  </a:lnTo>
                  <a:lnTo>
                    <a:pt x="33961" y="118493"/>
                  </a:lnTo>
                  <a:cubicBezTo>
                    <a:pt x="32534" y="119513"/>
                    <a:pt x="30819" y="120051"/>
                    <a:pt x="29066" y="120027"/>
                  </a:cubicBezTo>
                  <a:close/>
                </a:path>
              </a:pathLst>
            </a:custGeom>
            <a:noFill/>
            <a:ln w="16073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27" name="Freeform 226">
              <a:extLst>
                <a:ext uri="{FF2B5EF4-FFF2-40B4-BE49-F238E27FC236}">
                  <a16:creationId xmlns:a16="http://schemas.microsoft.com/office/drawing/2014/main" id="{D8D31569-D1FB-1B4E-9C11-3D0774CE81E1}"/>
                </a:ext>
              </a:extLst>
            </p:cNvPr>
            <p:cNvSpPr/>
            <p:nvPr/>
          </p:nvSpPr>
          <p:spPr>
            <a:xfrm>
              <a:off x="10366643" y="3395468"/>
              <a:ext cx="125352" cy="120034"/>
            </a:xfrm>
            <a:custGeom>
              <a:avLst/>
              <a:gdLst>
                <a:gd name="connsiteX0" fmla="*/ 29066 w 125352"/>
                <a:gd name="connsiteY0" fmla="*/ 120027 h 120034"/>
                <a:gd name="connsiteX1" fmla="*/ 20738 w 125352"/>
                <a:gd name="connsiteY1" fmla="*/ 111646 h 120034"/>
                <a:gd name="connsiteX2" fmla="*/ 21136 w 125352"/>
                <a:gd name="connsiteY2" fmla="*/ 109128 h 120034"/>
                <a:gd name="connsiteX3" fmla="*/ 32101 w 125352"/>
                <a:gd name="connsiteY3" fmla="*/ 75386 h 120034"/>
                <a:gd name="connsiteX4" fmla="*/ 3417 w 125352"/>
                <a:gd name="connsiteY4" fmla="*/ 54535 h 120034"/>
                <a:gd name="connsiteX5" fmla="*/ 1600 w 125352"/>
                <a:gd name="connsiteY5" fmla="*/ 42908 h 120034"/>
                <a:gd name="connsiteX6" fmla="*/ 8312 w 125352"/>
                <a:gd name="connsiteY6" fmla="*/ 39491 h 120034"/>
                <a:gd name="connsiteX7" fmla="*/ 43783 w 125352"/>
                <a:gd name="connsiteY7" fmla="*/ 39491 h 120034"/>
                <a:gd name="connsiteX8" fmla="*/ 54747 w 125352"/>
                <a:gd name="connsiteY8" fmla="*/ 5750 h 120034"/>
                <a:gd name="connsiteX9" fmla="*/ 65235 w 125352"/>
                <a:gd name="connsiteY9" fmla="*/ 410 h 120034"/>
                <a:gd name="connsiteX10" fmla="*/ 70574 w 125352"/>
                <a:gd name="connsiteY10" fmla="*/ 5750 h 120034"/>
                <a:gd name="connsiteX11" fmla="*/ 81571 w 125352"/>
                <a:gd name="connsiteY11" fmla="*/ 39491 h 120034"/>
                <a:gd name="connsiteX12" fmla="*/ 117042 w 125352"/>
                <a:gd name="connsiteY12" fmla="*/ 39491 h 120034"/>
                <a:gd name="connsiteX13" fmla="*/ 125353 w 125352"/>
                <a:gd name="connsiteY13" fmla="*/ 47822 h 120034"/>
                <a:gd name="connsiteX14" fmla="*/ 121936 w 125352"/>
                <a:gd name="connsiteY14" fmla="*/ 54535 h 120034"/>
                <a:gd name="connsiteX15" fmla="*/ 93220 w 125352"/>
                <a:gd name="connsiteY15" fmla="*/ 75386 h 120034"/>
                <a:gd name="connsiteX16" fmla="*/ 104185 w 125352"/>
                <a:gd name="connsiteY16" fmla="*/ 109128 h 120034"/>
                <a:gd name="connsiteX17" fmla="*/ 98862 w 125352"/>
                <a:gd name="connsiteY17" fmla="*/ 119623 h 120034"/>
                <a:gd name="connsiteX18" fmla="*/ 91360 w 125352"/>
                <a:gd name="connsiteY18" fmla="*/ 118428 h 120034"/>
                <a:gd name="connsiteX19" fmla="*/ 62644 w 125352"/>
                <a:gd name="connsiteY19" fmla="*/ 97576 h 120034"/>
                <a:gd name="connsiteX20" fmla="*/ 33961 w 125352"/>
                <a:gd name="connsiteY20" fmla="*/ 118428 h 120034"/>
                <a:gd name="connsiteX21" fmla="*/ 29066 w 125352"/>
                <a:gd name="connsiteY21" fmla="*/ 120027 h 12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5352" h="120034">
                  <a:moveTo>
                    <a:pt x="29066" y="120027"/>
                  </a:moveTo>
                  <a:cubicBezTo>
                    <a:pt x="24452" y="120012"/>
                    <a:pt x="20725" y="116260"/>
                    <a:pt x="20738" y="111646"/>
                  </a:cubicBezTo>
                  <a:cubicBezTo>
                    <a:pt x="20742" y="110791"/>
                    <a:pt x="20875" y="109942"/>
                    <a:pt x="21136" y="109128"/>
                  </a:cubicBezTo>
                  <a:lnTo>
                    <a:pt x="32101" y="75386"/>
                  </a:lnTo>
                  <a:lnTo>
                    <a:pt x="3417" y="54535"/>
                  </a:lnTo>
                  <a:cubicBezTo>
                    <a:pt x="-296" y="51826"/>
                    <a:pt x="-1109" y="46620"/>
                    <a:pt x="1600" y="42908"/>
                  </a:cubicBezTo>
                  <a:cubicBezTo>
                    <a:pt x="3163" y="40764"/>
                    <a:pt x="5659" y="39494"/>
                    <a:pt x="8312" y="39491"/>
                  </a:cubicBezTo>
                  <a:lnTo>
                    <a:pt x="43783" y="39491"/>
                  </a:lnTo>
                  <a:lnTo>
                    <a:pt x="54747" y="5750"/>
                  </a:lnTo>
                  <a:cubicBezTo>
                    <a:pt x="56170" y="1380"/>
                    <a:pt x="60862" y="-1011"/>
                    <a:pt x="65235" y="410"/>
                  </a:cubicBezTo>
                  <a:cubicBezTo>
                    <a:pt x="67764" y="1233"/>
                    <a:pt x="69751" y="3218"/>
                    <a:pt x="70574" y="5750"/>
                  </a:cubicBezTo>
                  <a:lnTo>
                    <a:pt x="81571" y="39491"/>
                  </a:lnTo>
                  <a:lnTo>
                    <a:pt x="117042" y="39491"/>
                  </a:lnTo>
                  <a:cubicBezTo>
                    <a:pt x="121636" y="39497"/>
                    <a:pt x="125359" y="43226"/>
                    <a:pt x="125353" y="47822"/>
                  </a:cubicBezTo>
                  <a:cubicBezTo>
                    <a:pt x="125350" y="50477"/>
                    <a:pt x="124080" y="52970"/>
                    <a:pt x="121936" y="54535"/>
                  </a:cubicBezTo>
                  <a:lnTo>
                    <a:pt x="93220" y="75386"/>
                  </a:lnTo>
                  <a:lnTo>
                    <a:pt x="104185" y="109128"/>
                  </a:lnTo>
                  <a:cubicBezTo>
                    <a:pt x="105614" y="113496"/>
                    <a:pt x="103228" y="118195"/>
                    <a:pt x="98862" y="119623"/>
                  </a:cubicBezTo>
                  <a:cubicBezTo>
                    <a:pt x="96314" y="120455"/>
                    <a:pt x="93524" y="120011"/>
                    <a:pt x="91360" y="118428"/>
                  </a:cubicBezTo>
                  <a:lnTo>
                    <a:pt x="62644" y="97576"/>
                  </a:lnTo>
                  <a:lnTo>
                    <a:pt x="33961" y="118428"/>
                  </a:lnTo>
                  <a:cubicBezTo>
                    <a:pt x="32541" y="119467"/>
                    <a:pt x="30825" y="120027"/>
                    <a:pt x="29066" y="120027"/>
                  </a:cubicBezTo>
                  <a:close/>
                </a:path>
              </a:pathLst>
            </a:custGeom>
            <a:noFill/>
            <a:ln w="16073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28" name="Freeform 227">
              <a:extLst>
                <a:ext uri="{FF2B5EF4-FFF2-40B4-BE49-F238E27FC236}">
                  <a16:creationId xmlns:a16="http://schemas.microsoft.com/office/drawing/2014/main" id="{FD7EC77B-E94A-0449-B421-9B59CDDAD822}"/>
                </a:ext>
              </a:extLst>
            </p:cNvPr>
            <p:cNvSpPr/>
            <p:nvPr/>
          </p:nvSpPr>
          <p:spPr>
            <a:xfrm>
              <a:off x="10141548" y="3527747"/>
              <a:ext cx="125320" cy="120042"/>
            </a:xfrm>
            <a:custGeom>
              <a:avLst/>
              <a:gdLst>
                <a:gd name="connsiteX0" fmla="*/ 29066 w 125320"/>
                <a:gd name="connsiteY0" fmla="*/ 119939 h 120042"/>
                <a:gd name="connsiteX1" fmla="*/ 24171 w 125320"/>
                <a:gd name="connsiteY1" fmla="*/ 118373 h 120042"/>
                <a:gd name="connsiteX2" fmla="*/ 21136 w 125320"/>
                <a:gd name="connsiteY2" fmla="*/ 109040 h 120042"/>
                <a:gd name="connsiteX3" fmla="*/ 32101 w 125320"/>
                <a:gd name="connsiteY3" fmla="*/ 75299 h 120042"/>
                <a:gd name="connsiteX4" fmla="*/ 3417 w 125320"/>
                <a:gd name="connsiteY4" fmla="*/ 54676 h 120042"/>
                <a:gd name="connsiteX5" fmla="*/ 1600 w 125320"/>
                <a:gd name="connsiteY5" fmla="*/ 43049 h 120042"/>
                <a:gd name="connsiteX6" fmla="*/ 8312 w 125320"/>
                <a:gd name="connsiteY6" fmla="*/ 39632 h 120042"/>
                <a:gd name="connsiteX7" fmla="*/ 43783 w 125320"/>
                <a:gd name="connsiteY7" fmla="*/ 39632 h 120042"/>
                <a:gd name="connsiteX8" fmla="*/ 54715 w 125320"/>
                <a:gd name="connsiteY8" fmla="*/ 5728 h 120042"/>
                <a:gd name="connsiteX9" fmla="*/ 65272 w 125320"/>
                <a:gd name="connsiteY9" fmla="*/ 426 h 120042"/>
                <a:gd name="connsiteX10" fmla="*/ 70574 w 125320"/>
                <a:gd name="connsiteY10" fmla="*/ 5728 h 120042"/>
                <a:gd name="connsiteX11" fmla="*/ 81505 w 125320"/>
                <a:gd name="connsiteY11" fmla="*/ 39534 h 120042"/>
                <a:gd name="connsiteX12" fmla="*/ 117009 w 125320"/>
                <a:gd name="connsiteY12" fmla="*/ 39534 h 120042"/>
                <a:gd name="connsiteX13" fmla="*/ 125320 w 125320"/>
                <a:gd name="connsiteY13" fmla="*/ 47865 h 120042"/>
                <a:gd name="connsiteX14" fmla="*/ 121904 w 125320"/>
                <a:gd name="connsiteY14" fmla="*/ 54578 h 120042"/>
                <a:gd name="connsiteX15" fmla="*/ 93188 w 125320"/>
                <a:gd name="connsiteY15" fmla="*/ 75430 h 120042"/>
                <a:gd name="connsiteX16" fmla="*/ 104152 w 125320"/>
                <a:gd name="connsiteY16" fmla="*/ 109171 h 120042"/>
                <a:gd name="connsiteX17" fmla="*/ 101084 w 125320"/>
                <a:gd name="connsiteY17" fmla="*/ 118504 h 120042"/>
                <a:gd name="connsiteX18" fmla="*/ 91295 w 125320"/>
                <a:gd name="connsiteY18" fmla="*/ 118504 h 120042"/>
                <a:gd name="connsiteX19" fmla="*/ 62579 w 125320"/>
                <a:gd name="connsiteY19" fmla="*/ 97652 h 120042"/>
                <a:gd name="connsiteX20" fmla="*/ 33895 w 125320"/>
                <a:gd name="connsiteY20" fmla="*/ 118504 h 120042"/>
                <a:gd name="connsiteX21" fmla="*/ 29066 w 125320"/>
                <a:gd name="connsiteY21" fmla="*/ 119939 h 12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5320" h="120042">
                  <a:moveTo>
                    <a:pt x="29066" y="119939"/>
                  </a:moveTo>
                  <a:cubicBezTo>
                    <a:pt x="27309" y="119952"/>
                    <a:pt x="25595" y="119404"/>
                    <a:pt x="24171" y="118373"/>
                  </a:cubicBezTo>
                  <a:cubicBezTo>
                    <a:pt x="21246" y="116245"/>
                    <a:pt x="20021" y="112480"/>
                    <a:pt x="21136" y="109040"/>
                  </a:cubicBezTo>
                  <a:lnTo>
                    <a:pt x="32101" y="75299"/>
                  </a:lnTo>
                  <a:lnTo>
                    <a:pt x="3417" y="54676"/>
                  </a:lnTo>
                  <a:cubicBezTo>
                    <a:pt x="-295" y="51967"/>
                    <a:pt x="-1109" y="46761"/>
                    <a:pt x="1600" y="43049"/>
                  </a:cubicBezTo>
                  <a:cubicBezTo>
                    <a:pt x="3164" y="40905"/>
                    <a:pt x="5658" y="39635"/>
                    <a:pt x="8312" y="39632"/>
                  </a:cubicBezTo>
                  <a:lnTo>
                    <a:pt x="43783" y="39632"/>
                  </a:lnTo>
                  <a:lnTo>
                    <a:pt x="54715" y="5728"/>
                  </a:lnTo>
                  <a:cubicBezTo>
                    <a:pt x="56166" y="1348"/>
                    <a:pt x="60893" y="-1025"/>
                    <a:pt x="65272" y="426"/>
                  </a:cubicBezTo>
                  <a:cubicBezTo>
                    <a:pt x="67778" y="1257"/>
                    <a:pt x="69743" y="3222"/>
                    <a:pt x="70574" y="5728"/>
                  </a:cubicBezTo>
                  <a:lnTo>
                    <a:pt x="81505" y="39534"/>
                  </a:lnTo>
                  <a:lnTo>
                    <a:pt x="117009" y="39534"/>
                  </a:lnTo>
                  <a:cubicBezTo>
                    <a:pt x="121604" y="39540"/>
                    <a:pt x="125326" y="43270"/>
                    <a:pt x="125320" y="47865"/>
                  </a:cubicBezTo>
                  <a:cubicBezTo>
                    <a:pt x="125317" y="50520"/>
                    <a:pt x="124048" y="53013"/>
                    <a:pt x="121904" y="54578"/>
                  </a:cubicBezTo>
                  <a:lnTo>
                    <a:pt x="93188" y="75430"/>
                  </a:lnTo>
                  <a:lnTo>
                    <a:pt x="104152" y="109171"/>
                  </a:lnTo>
                  <a:cubicBezTo>
                    <a:pt x="105260" y="112617"/>
                    <a:pt x="104021" y="116386"/>
                    <a:pt x="101084" y="118504"/>
                  </a:cubicBezTo>
                  <a:cubicBezTo>
                    <a:pt x="98144" y="120556"/>
                    <a:pt x="94235" y="120556"/>
                    <a:pt x="91295" y="118504"/>
                  </a:cubicBezTo>
                  <a:lnTo>
                    <a:pt x="62579" y="97652"/>
                  </a:lnTo>
                  <a:lnTo>
                    <a:pt x="33895" y="118504"/>
                  </a:lnTo>
                  <a:cubicBezTo>
                    <a:pt x="32476" y="119476"/>
                    <a:pt x="30786" y="119979"/>
                    <a:pt x="29066" y="119939"/>
                  </a:cubicBezTo>
                  <a:close/>
                </a:path>
              </a:pathLst>
            </a:custGeom>
            <a:noFill/>
            <a:ln w="16073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29" name="Freeform 228">
              <a:extLst>
                <a:ext uri="{FF2B5EF4-FFF2-40B4-BE49-F238E27FC236}">
                  <a16:creationId xmlns:a16="http://schemas.microsoft.com/office/drawing/2014/main" id="{6DBA1E23-27FC-604F-9FA8-256EF5AB8819}"/>
                </a:ext>
              </a:extLst>
            </p:cNvPr>
            <p:cNvSpPr/>
            <p:nvPr/>
          </p:nvSpPr>
          <p:spPr>
            <a:xfrm>
              <a:off x="10294298" y="3520709"/>
              <a:ext cx="125320" cy="120027"/>
            </a:xfrm>
            <a:custGeom>
              <a:avLst/>
              <a:gdLst>
                <a:gd name="connsiteX0" fmla="*/ 29066 w 125320"/>
                <a:gd name="connsiteY0" fmla="*/ 120027 h 120027"/>
                <a:gd name="connsiteX1" fmla="*/ 24171 w 125320"/>
                <a:gd name="connsiteY1" fmla="*/ 118460 h 120027"/>
                <a:gd name="connsiteX2" fmla="*/ 21169 w 125320"/>
                <a:gd name="connsiteY2" fmla="*/ 109128 h 120027"/>
                <a:gd name="connsiteX3" fmla="*/ 32133 w 125320"/>
                <a:gd name="connsiteY3" fmla="*/ 75386 h 120027"/>
                <a:gd name="connsiteX4" fmla="*/ 3417 w 125320"/>
                <a:gd name="connsiteY4" fmla="*/ 54535 h 120027"/>
                <a:gd name="connsiteX5" fmla="*/ 1600 w 125320"/>
                <a:gd name="connsiteY5" fmla="*/ 42908 h 120027"/>
                <a:gd name="connsiteX6" fmla="*/ 8312 w 125320"/>
                <a:gd name="connsiteY6" fmla="*/ 39491 h 120027"/>
                <a:gd name="connsiteX7" fmla="*/ 43783 w 125320"/>
                <a:gd name="connsiteY7" fmla="*/ 39491 h 120027"/>
                <a:gd name="connsiteX8" fmla="*/ 54747 w 125320"/>
                <a:gd name="connsiteY8" fmla="*/ 5750 h 120027"/>
                <a:gd name="connsiteX9" fmla="*/ 65235 w 125320"/>
                <a:gd name="connsiteY9" fmla="*/ 410 h 120027"/>
                <a:gd name="connsiteX10" fmla="*/ 70574 w 125320"/>
                <a:gd name="connsiteY10" fmla="*/ 5750 h 120027"/>
                <a:gd name="connsiteX11" fmla="*/ 81538 w 125320"/>
                <a:gd name="connsiteY11" fmla="*/ 39491 h 120027"/>
                <a:gd name="connsiteX12" fmla="*/ 117009 w 125320"/>
                <a:gd name="connsiteY12" fmla="*/ 39491 h 120027"/>
                <a:gd name="connsiteX13" fmla="*/ 125320 w 125320"/>
                <a:gd name="connsiteY13" fmla="*/ 47822 h 120027"/>
                <a:gd name="connsiteX14" fmla="*/ 121904 w 125320"/>
                <a:gd name="connsiteY14" fmla="*/ 54535 h 120027"/>
                <a:gd name="connsiteX15" fmla="*/ 93220 w 125320"/>
                <a:gd name="connsiteY15" fmla="*/ 75386 h 120027"/>
                <a:gd name="connsiteX16" fmla="*/ 104184 w 125320"/>
                <a:gd name="connsiteY16" fmla="*/ 109128 h 120027"/>
                <a:gd name="connsiteX17" fmla="*/ 101150 w 125320"/>
                <a:gd name="connsiteY17" fmla="*/ 118460 h 120027"/>
                <a:gd name="connsiteX18" fmla="*/ 91360 w 125320"/>
                <a:gd name="connsiteY18" fmla="*/ 118460 h 120027"/>
                <a:gd name="connsiteX19" fmla="*/ 62546 w 125320"/>
                <a:gd name="connsiteY19" fmla="*/ 97609 h 120027"/>
                <a:gd name="connsiteX20" fmla="*/ 33830 w 125320"/>
                <a:gd name="connsiteY20" fmla="*/ 118460 h 120027"/>
                <a:gd name="connsiteX21" fmla="*/ 29066 w 125320"/>
                <a:gd name="connsiteY21" fmla="*/ 120027 h 120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5320" h="120027">
                  <a:moveTo>
                    <a:pt x="29066" y="120027"/>
                  </a:moveTo>
                  <a:cubicBezTo>
                    <a:pt x="27309" y="120040"/>
                    <a:pt x="25595" y="119492"/>
                    <a:pt x="24171" y="118460"/>
                  </a:cubicBezTo>
                  <a:cubicBezTo>
                    <a:pt x="21267" y="116320"/>
                    <a:pt x="20058" y="112561"/>
                    <a:pt x="21169" y="109128"/>
                  </a:cubicBezTo>
                  <a:lnTo>
                    <a:pt x="32133" y="75386"/>
                  </a:lnTo>
                  <a:lnTo>
                    <a:pt x="3417" y="54535"/>
                  </a:lnTo>
                  <a:cubicBezTo>
                    <a:pt x="-295" y="51826"/>
                    <a:pt x="-1109" y="46621"/>
                    <a:pt x="1600" y="42908"/>
                  </a:cubicBezTo>
                  <a:cubicBezTo>
                    <a:pt x="3164" y="40764"/>
                    <a:pt x="5658" y="39494"/>
                    <a:pt x="8312" y="39491"/>
                  </a:cubicBezTo>
                  <a:lnTo>
                    <a:pt x="43783" y="39491"/>
                  </a:lnTo>
                  <a:lnTo>
                    <a:pt x="54747" y="5750"/>
                  </a:lnTo>
                  <a:cubicBezTo>
                    <a:pt x="56170" y="1380"/>
                    <a:pt x="60862" y="-1011"/>
                    <a:pt x="65235" y="410"/>
                  </a:cubicBezTo>
                  <a:cubicBezTo>
                    <a:pt x="67764" y="1233"/>
                    <a:pt x="69751" y="3218"/>
                    <a:pt x="70574" y="5750"/>
                  </a:cubicBezTo>
                  <a:lnTo>
                    <a:pt x="81538" y="39491"/>
                  </a:lnTo>
                  <a:lnTo>
                    <a:pt x="117009" y="39491"/>
                  </a:lnTo>
                  <a:cubicBezTo>
                    <a:pt x="121603" y="39497"/>
                    <a:pt x="125327" y="43226"/>
                    <a:pt x="125320" y="47822"/>
                  </a:cubicBezTo>
                  <a:cubicBezTo>
                    <a:pt x="125317" y="50477"/>
                    <a:pt x="124047" y="52970"/>
                    <a:pt x="121904" y="54535"/>
                  </a:cubicBezTo>
                  <a:lnTo>
                    <a:pt x="93220" y="75386"/>
                  </a:lnTo>
                  <a:lnTo>
                    <a:pt x="104184" y="109128"/>
                  </a:lnTo>
                  <a:cubicBezTo>
                    <a:pt x="105300" y="112567"/>
                    <a:pt x="104074" y="116333"/>
                    <a:pt x="101150" y="118460"/>
                  </a:cubicBezTo>
                  <a:cubicBezTo>
                    <a:pt x="98210" y="120513"/>
                    <a:pt x="94300" y="120513"/>
                    <a:pt x="91360" y="118460"/>
                  </a:cubicBezTo>
                  <a:lnTo>
                    <a:pt x="62546" y="97609"/>
                  </a:lnTo>
                  <a:lnTo>
                    <a:pt x="33830" y="118460"/>
                  </a:lnTo>
                  <a:cubicBezTo>
                    <a:pt x="32448" y="119475"/>
                    <a:pt x="30780" y="120024"/>
                    <a:pt x="29066" y="120027"/>
                  </a:cubicBezTo>
                  <a:close/>
                </a:path>
              </a:pathLst>
            </a:custGeom>
            <a:noFill/>
            <a:ln w="16073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30" name="Freeform 229">
              <a:extLst>
                <a:ext uri="{FF2B5EF4-FFF2-40B4-BE49-F238E27FC236}">
                  <a16:creationId xmlns:a16="http://schemas.microsoft.com/office/drawing/2014/main" id="{3F08708E-3CDF-AB4E-B158-AF1C790C1452}"/>
                </a:ext>
              </a:extLst>
            </p:cNvPr>
            <p:cNvSpPr/>
            <p:nvPr/>
          </p:nvSpPr>
          <p:spPr>
            <a:xfrm>
              <a:off x="10022139" y="3333050"/>
              <a:ext cx="510917" cy="459774"/>
            </a:xfrm>
            <a:custGeom>
              <a:avLst/>
              <a:gdLst>
                <a:gd name="connsiteX0" fmla="*/ 434102 w 510917"/>
                <a:gd name="connsiteY0" fmla="*/ 0 h 459774"/>
                <a:gd name="connsiteX1" fmla="*/ 76620 w 510917"/>
                <a:gd name="connsiteY1" fmla="*/ 0 h 459774"/>
                <a:gd name="connsiteX2" fmla="*/ 0 w 510917"/>
                <a:gd name="connsiteY2" fmla="*/ 76620 h 459774"/>
                <a:gd name="connsiteX3" fmla="*/ 0 w 510917"/>
                <a:gd name="connsiteY3" fmla="*/ 297929 h 459774"/>
                <a:gd name="connsiteX4" fmla="*/ 76620 w 510917"/>
                <a:gd name="connsiteY4" fmla="*/ 374549 h 459774"/>
                <a:gd name="connsiteX5" fmla="*/ 100278 w 510917"/>
                <a:gd name="connsiteY5" fmla="*/ 374549 h 459774"/>
                <a:gd name="connsiteX6" fmla="*/ 85300 w 510917"/>
                <a:gd name="connsiteY6" fmla="*/ 449602 h 459774"/>
                <a:gd name="connsiteX7" fmla="*/ 91999 w 510917"/>
                <a:gd name="connsiteY7" fmla="*/ 459613 h 459774"/>
                <a:gd name="connsiteX8" fmla="*/ 97602 w 510917"/>
                <a:gd name="connsiteY8" fmla="*/ 458804 h 459774"/>
                <a:gd name="connsiteX9" fmla="*/ 257498 w 510917"/>
                <a:gd name="connsiteY9" fmla="*/ 374712 h 459774"/>
                <a:gd name="connsiteX10" fmla="*/ 434134 w 510917"/>
                <a:gd name="connsiteY10" fmla="*/ 374712 h 459774"/>
                <a:gd name="connsiteX11" fmla="*/ 510917 w 510917"/>
                <a:gd name="connsiteY11" fmla="*/ 298092 h 459774"/>
                <a:gd name="connsiteX12" fmla="*/ 510917 w 510917"/>
                <a:gd name="connsiteY12" fmla="*/ 76620 h 459774"/>
                <a:gd name="connsiteX13" fmla="*/ 434102 w 510917"/>
                <a:gd name="connsiteY13" fmla="*/ 0 h 459774"/>
                <a:gd name="connsiteX14" fmla="*/ 493688 w 510917"/>
                <a:gd name="connsiteY14" fmla="*/ 297929 h 459774"/>
                <a:gd name="connsiteX15" fmla="*/ 434102 w 510917"/>
                <a:gd name="connsiteY15" fmla="*/ 357515 h 459774"/>
                <a:gd name="connsiteX16" fmla="*/ 255344 w 510917"/>
                <a:gd name="connsiteY16" fmla="*/ 357515 h 459774"/>
                <a:gd name="connsiteX17" fmla="*/ 251396 w 510917"/>
                <a:gd name="connsiteY17" fmla="*/ 358494 h 459774"/>
                <a:gd name="connsiteX18" fmla="*/ 105499 w 510917"/>
                <a:gd name="connsiteY18" fmla="*/ 435375 h 459774"/>
                <a:gd name="connsiteX19" fmla="*/ 119008 w 510917"/>
                <a:gd name="connsiteY19" fmla="*/ 367794 h 459774"/>
                <a:gd name="connsiteX20" fmla="*/ 112287 w 510917"/>
                <a:gd name="connsiteY20" fmla="*/ 357743 h 459774"/>
                <a:gd name="connsiteX21" fmla="*/ 112286 w 510917"/>
                <a:gd name="connsiteY21" fmla="*/ 357743 h 459774"/>
                <a:gd name="connsiteX22" fmla="*/ 110655 w 510917"/>
                <a:gd name="connsiteY22" fmla="*/ 357580 h 459774"/>
                <a:gd name="connsiteX23" fmla="*/ 76620 w 510917"/>
                <a:gd name="connsiteY23" fmla="*/ 357580 h 459774"/>
                <a:gd name="connsiteX24" fmla="*/ 17034 w 510917"/>
                <a:gd name="connsiteY24" fmla="*/ 297929 h 459774"/>
                <a:gd name="connsiteX25" fmla="*/ 17034 w 510917"/>
                <a:gd name="connsiteY25" fmla="*/ 76620 h 459774"/>
                <a:gd name="connsiteX26" fmla="*/ 76620 w 510917"/>
                <a:gd name="connsiteY26" fmla="*/ 17034 h 459774"/>
                <a:gd name="connsiteX27" fmla="*/ 434102 w 510917"/>
                <a:gd name="connsiteY27" fmla="*/ 17034 h 459774"/>
                <a:gd name="connsiteX28" fmla="*/ 493688 w 510917"/>
                <a:gd name="connsiteY28" fmla="*/ 76620 h 45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10917" h="459774">
                  <a:moveTo>
                    <a:pt x="434102" y="0"/>
                  </a:moveTo>
                  <a:lnTo>
                    <a:pt x="76620" y="0"/>
                  </a:lnTo>
                  <a:cubicBezTo>
                    <a:pt x="34334" y="72"/>
                    <a:pt x="72" y="34334"/>
                    <a:pt x="0" y="76620"/>
                  </a:cubicBezTo>
                  <a:lnTo>
                    <a:pt x="0" y="297929"/>
                  </a:lnTo>
                  <a:cubicBezTo>
                    <a:pt x="72" y="340217"/>
                    <a:pt x="34334" y="374477"/>
                    <a:pt x="76620" y="374549"/>
                  </a:cubicBezTo>
                  <a:lnTo>
                    <a:pt x="100278" y="374549"/>
                  </a:lnTo>
                  <a:lnTo>
                    <a:pt x="85300" y="449602"/>
                  </a:lnTo>
                  <a:cubicBezTo>
                    <a:pt x="84385" y="454216"/>
                    <a:pt x="87385" y="458697"/>
                    <a:pt x="91999" y="459613"/>
                  </a:cubicBezTo>
                  <a:cubicBezTo>
                    <a:pt x="93904" y="459989"/>
                    <a:pt x="95881" y="459705"/>
                    <a:pt x="97602" y="458804"/>
                  </a:cubicBezTo>
                  <a:lnTo>
                    <a:pt x="257498" y="374712"/>
                  </a:lnTo>
                  <a:lnTo>
                    <a:pt x="434134" y="374712"/>
                  </a:lnTo>
                  <a:cubicBezTo>
                    <a:pt x="476484" y="374731"/>
                    <a:pt x="510846" y="340442"/>
                    <a:pt x="510917" y="298092"/>
                  </a:cubicBezTo>
                  <a:lnTo>
                    <a:pt x="510917" y="76620"/>
                  </a:lnTo>
                  <a:cubicBezTo>
                    <a:pt x="510846" y="34257"/>
                    <a:pt x="476465" y="-36"/>
                    <a:pt x="434102" y="0"/>
                  </a:cubicBezTo>
                  <a:close/>
                  <a:moveTo>
                    <a:pt x="493688" y="297929"/>
                  </a:moveTo>
                  <a:cubicBezTo>
                    <a:pt x="493652" y="330822"/>
                    <a:pt x="466995" y="357479"/>
                    <a:pt x="434102" y="357515"/>
                  </a:cubicBezTo>
                  <a:lnTo>
                    <a:pt x="255344" y="357515"/>
                  </a:lnTo>
                  <a:cubicBezTo>
                    <a:pt x="253968" y="357508"/>
                    <a:pt x="252611" y="357844"/>
                    <a:pt x="251396" y="358494"/>
                  </a:cubicBezTo>
                  <a:lnTo>
                    <a:pt x="105499" y="435375"/>
                  </a:lnTo>
                  <a:lnTo>
                    <a:pt x="119008" y="367794"/>
                  </a:lnTo>
                  <a:cubicBezTo>
                    <a:pt x="119928" y="363163"/>
                    <a:pt x="116918" y="358664"/>
                    <a:pt x="112287" y="357743"/>
                  </a:cubicBezTo>
                  <a:cubicBezTo>
                    <a:pt x="112287" y="357743"/>
                    <a:pt x="112287" y="357743"/>
                    <a:pt x="112286" y="357743"/>
                  </a:cubicBezTo>
                  <a:cubicBezTo>
                    <a:pt x="111749" y="357639"/>
                    <a:pt x="111203" y="357583"/>
                    <a:pt x="110655" y="357580"/>
                  </a:cubicBezTo>
                  <a:lnTo>
                    <a:pt x="76620" y="357580"/>
                  </a:lnTo>
                  <a:cubicBezTo>
                    <a:pt x="43701" y="357544"/>
                    <a:pt x="17034" y="330848"/>
                    <a:pt x="17034" y="297929"/>
                  </a:cubicBezTo>
                  <a:lnTo>
                    <a:pt x="17034" y="76620"/>
                  </a:lnTo>
                  <a:cubicBezTo>
                    <a:pt x="17070" y="43726"/>
                    <a:pt x="43726" y="17070"/>
                    <a:pt x="76620" y="17034"/>
                  </a:cubicBezTo>
                  <a:lnTo>
                    <a:pt x="434102" y="17034"/>
                  </a:lnTo>
                  <a:cubicBezTo>
                    <a:pt x="466995" y="17070"/>
                    <a:pt x="493652" y="43726"/>
                    <a:pt x="493688" y="76620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31" name="Graphic 65">
            <a:extLst>
              <a:ext uri="{FF2B5EF4-FFF2-40B4-BE49-F238E27FC236}">
                <a16:creationId xmlns:a16="http://schemas.microsoft.com/office/drawing/2014/main" id="{30A7013D-8EBC-2E42-85CB-7AE888E07247}"/>
              </a:ext>
            </a:extLst>
          </p:cNvPr>
          <p:cNvGrpSpPr/>
          <p:nvPr userDrawn="1"/>
        </p:nvGrpSpPr>
        <p:grpSpPr>
          <a:xfrm>
            <a:off x="6491063" y="4607992"/>
            <a:ext cx="437385" cy="356009"/>
            <a:chOff x="8672754" y="6007544"/>
            <a:chExt cx="610635" cy="507859"/>
          </a:xfrm>
          <a:solidFill>
            <a:schemeClr val="bg1"/>
          </a:solidFill>
        </p:grpSpPr>
        <p:sp>
          <p:nvSpPr>
            <p:cNvPr id="232" name="Freeform 231">
              <a:extLst>
                <a:ext uri="{FF2B5EF4-FFF2-40B4-BE49-F238E27FC236}">
                  <a16:creationId xmlns:a16="http://schemas.microsoft.com/office/drawing/2014/main" id="{95F9DD39-628D-2A4A-B055-FC4DACD49E03}"/>
                </a:ext>
              </a:extLst>
            </p:cNvPr>
            <p:cNvSpPr/>
            <p:nvPr/>
          </p:nvSpPr>
          <p:spPr>
            <a:xfrm>
              <a:off x="8721887" y="6330226"/>
              <a:ext cx="488096" cy="185177"/>
            </a:xfrm>
            <a:custGeom>
              <a:avLst/>
              <a:gdLst>
                <a:gd name="connsiteX0" fmla="*/ 312439 w 488096"/>
                <a:gd name="connsiteY0" fmla="*/ 157853 h 185177"/>
                <a:gd name="connsiteX1" fmla="*/ 249326 w 488096"/>
                <a:gd name="connsiteY1" fmla="*/ 164960 h 185177"/>
                <a:gd name="connsiteX2" fmla="*/ 137933 w 488096"/>
                <a:gd name="connsiteY2" fmla="*/ 133430 h 185177"/>
                <a:gd name="connsiteX3" fmla="*/ 100639 w 488096"/>
                <a:gd name="connsiteY3" fmla="*/ 137578 h 185177"/>
                <a:gd name="connsiteX4" fmla="*/ 91058 w 488096"/>
                <a:gd name="connsiteY4" fmla="*/ 142741 h 185177"/>
                <a:gd name="connsiteX5" fmla="*/ 93668 w 488096"/>
                <a:gd name="connsiteY5" fmla="*/ 48616 h 185177"/>
                <a:gd name="connsiteX6" fmla="*/ 195107 w 488096"/>
                <a:gd name="connsiteY6" fmla="*/ 43134 h 185177"/>
                <a:gd name="connsiteX7" fmla="*/ 201648 w 488096"/>
                <a:gd name="connsiteY7" fmla="*/ 46412 h 185177"/>
                <a:gd name="connsiteX8" fmla="*/ 239372 w 488096"/>
                <a:gd name="connsiteY8" fmla="*/ 56274 h 185177"/>
                <a:gd name="connsiteX9" fmla="*/ 305095 w 488096"/>
                <a:gd name="connsiteY9" fmla="*/ 58130 h 185177"/>
                <a:gd name="connsiteX10" fmla="*/ 342933 w 488096"/>
                <a:gd name="connsiteY10" fmla="*/ 90037 h 185177"/>
                <a:gd name="connsiteX11" fmla="*/ 244994 w 488096"/>
                <a:gd name="connsiteY11" fmla="*/ 87339 h 185177"/>
                <a:gd name="connsiteX12" fmla="*/ 235685 w 488096"/>
                <a:gd name="connsiteY12" fmla="*/ 96259 h 185177"/>
                <a:gd name="connsiteX13" fmla="*/ 244507 w 488096"/>
                <a:gd name="connsiteY13" fmla="*/ 105671 h 185177"/>
                <a:gd name="connsiteX14" fmla="*/ 352486 w 488096"/>
                <a:gd name="connsiteY14" fmla="*/ 108572 h 185177"/>
                <a:gd name="connsiteX15" fmla="*/ 352744 w 488096"/>
                <a:gd name="connsiteY15" fmla="*/ 108572 h 185177"/>
                <a:gd name="connsiteX16" fmla="*/ 361695 w 488096"/>
                <a:gd name="connsiteY16" fmla="*/ 99638 h 185177"/>
                <a:gd name="connsiteX17" fmla="*/ 361695 w 488096"/>
                <a:gd name="connsiteY17" fmla="*/ 99609 h 185177"/>
                <a:gd name="connsiteX18" fmla="*/ 360777 w 488096"/>
                <a:gd name="connsiteY18" fmla="*/ 87542 h 185177"/>
                <a:gd name="connsiteX19" fmla="*/ 433786 w 488096"/>
                <a:gd name="connsiteY19" fmla="*/ 52735 h 185177"/>
                <a:gd name="connsiteX20" fmla="*/ 434131 w 488096"/>
                <a:gd name="connsiteY20" fmla="*/ 52735 h 185177"/>
                <a:gd name="connsiteX21" fmla="*/ 465687 w 488096"/>
                <a:gd name="connsiteY21" fmla="*/ 57173 h 185177"/>
                <a:gd name="connsiteX22" fmla="*/ 18392 w 488096"/>
                <a:gd name="connsiteY22" fmla="*/ 160261 h 185177"/>
                <a:gd name="connsiteX23" fmla="*/ 22265 w 488096"/>
                <a:gd name="connsiteY23" fmla="*/ 18943 h 185177"/>
                <a:gd name="connsiteX24" fmla="*/ 76169 w 488096"/>
                <a:gd name="connsiteY24" fmla="*/ 20393 h 185177"/>
                <a:gd name="connsiteX25" fmla="*/ 72267 w 488096"/>
                <a:gd name="connsiteY25" fmla="*/ 161914 h 185177"/>
                <a:gd name="connsiteX26" fmla="*/ 426184 w 488096"/>
                <a:gd name="connsiteY26" fmla="*/ 36753 h 185177"/>
                <a:gd name="connsiteX27" fmla="*/ 355039 w 488096"/>
                <a:gd name="connsiteY27" fmla="*/ 70719 h 185177"/>
                <a:gd name="connsiteX28" fmla="*/ 305611 w 488096"/>
                <a:gd name="connsiteY28" fmla="*/ 39914 h 185177"/>
                <a:gd name="connsiteX29" fmla="*/ 239917 w 488096"/>
                <a:gd name="connsiteY29" fmla="*/ 38087 h 185177"/>
                <a:gd name="connsiteX30" fmla="*/ 210254 w 488096"/>
                <a:gd name="connsiteY30" fmla="*/ 30284 h 185177"/>
                <a:gd name="connsiteX31" fmla="*/ 203599 w 488096"/>
                <a:gd name="connsiteY31" fmla="*/ 26774 h 185177"/>
                <a:gd name="connsiteX32" fmla="*/ 94357 w 488096"/>
                <a:gd name="connsiteY32" fmla="*/ 26774 h 185177"/>
                <a:gd name="connsiteX33" fmla="*/ 94787 w 488096"/>
                <a:gd name="connsiteY33" fmla="*/ 11459 h 185177"/>
                <a:gd name="connsiteX34" fmla="*/ 85870 w 488096"/>
                <a:gd name="connsiteY34" fmla="*/ 2032 h 185177"/>
                <a:gd name="connsiteX35" fmla="*/ 85865 w 488096"/>
                <a:gd name="connsiteY35" fmla="*/ 2032 h 185177"/>
                <a:gd name="connsiteX36" fmla="*/ 13716 w 488096"/>
                <a:gd name="connsiteY36" fmla="*/ 2 h 185177"/>
                <a:gd name="connsiteX37" fmla="*/ 4393 w 488096"/>
                <a:gd name="connsiteY37" fmla="*/ 9023 h 185177"/>
                <a:gd name="connsiteX38" fmla="*/ 4 w 488096"/>
                <a:gd name="connsiteY38" fmla="*/ 168760 h 185177"/>
                <a:gd name="connsiteX39" fmla="*/ 8832 w 488096"/>
                <a:gd name="connsiteY39" fmla="*/ 178216 h 185177"/>
                <a:gd name="connsiteX40" fmla="*/ 8840 w 488096"/>
                <a:gd name="connsiteY40" fmla="*/ 178216 h 185177"/>
                <a:gd name="connsiteX41" fmla="*/ 8840 w 488096"/>
                <a:gd name="connsiteY41" fmla="*/ 178216 h 185177"/>
                <a:gd name="connsiteX42" fmla="*/ 80902 w 488096"/>
                <a:gd name="connsiteY42" fmla="*/ 180217 h 185177"/>
                <a:gd name="connsiteX43" fmla="*/ 81161 w 488096"/>
                <a:gd name="connsiteY43" fmla="*/ 180217 h 185177"/>
                <a:gd name="connsiteX44" fmla="*/ 90283 w 488096"/>
                <a:gd name="connsiteY44" fmla="*/ 171196 h 185177"/>
                <a:gd name="connsiteX45" fmla="*/ 90484 w 488096"/>
                <a:gd name="connsiteY45" fmla="*/ 163539 h 185177"/>
                <a:gd name="connsiteX46" fmla="*/ 109188 w 488096"/>
                <a:gd name="connsiteY46" fmla="*/ 153415 h 185177"/>
                <a:gd name="connsiteX47" fmla="*/ 133142 w 488096"/>
                <a:gd name="connsiteY47" fmla="*/ 150747 h 185177"/>
                <a:gd name="connsiteX48" fmla="*/ 245023 w 488096"/>
                <a:gd name="connsiteY48" fmla="*/ 182654 h 185177"/>
                <a:gd name="connsiteX49" fmla="*/ 245568 w 488096"/>
                <a:gd name="connsiteY49" fmla="*/ 182654 h 185177"/>
                <a:gd name="connsiteX50" fmla="*/ 320787 w 488096"/>
                <a:gd name="connsiteY50" fmla="*/ 173952 h 185177"/>
                <a:gd name="connsiteX51" fmla="*/ 321905 w 488096"/>
                <a:gd name="connsiteY51" fmla="*/ 173314 h 185177"/>
                <a:gd name="connsiteX52" fmla="*/ 483961 w 488096"/>
                <a:gd name="connsiteY52" fmla="*/ 67354 h 185177"/>
                <a:gd name="connsiteX53" fmla="*/ 486829 w 488096"/>
                <a:gd name="connsiteY53" fmla="*/ 55084 h 185177"/>
                <a:gd name="connsiteX54" fmla="*/ 426213 w 488096"/>
                <a:gd name="connsiteY54" fmla="*/ 36463 h 185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8096" h="185177">
                  <a:moveTo>
                    <a:pt x="312439" y="157853"/>
                  </a:moveTo>
                  <a:cubicBezTo>
                    <a:pt x="292667" y="166883"/>
                    <a:pt x="270578" y="169369"/>
                    <a:pt x="249326" y="164960"/>
                  </a:cubicBezTo>
                  <a:lnTo>
                    <a:pt x="137933" y="133430"/>
                  </a:lnTo>
                  <a:cubicBezTo>
                    <a:pt x="125440" y="129874"/>
                    <a:pt x="112070" y="131362"/>
                    <a:pt x="100639" y="137578"/>
                  </a:cubicBezTo>
                  <a:lnTo>
                    <a:pt x="91058" y="142741"/>
                  </a:lnTo>
                  <a:lnTo>
                    <a:pt x="93668" y="48616"/>
                  </a:lnTo>
                  <a:cubicBezTo>
                    <a:pt x="123966" y="28231"/>
                    <a:pt x="162833" y="26131"/>
                    <a:pt x="195107" y="43134"/>
                  </a:cubicBezTo>
                  <a:lnTo>
                    <a:pt x="201648" y="46412"/>
                  </a:lnTo>
                  <a:cubicBezTo>
                    <a:pt x="213333" y="52515"/>
                    <a:pt x="226225" y="55885"/>
                    <a:pt x="239372" y="56274"/>
                  </a:cubicBezTo>
                  <a:lnTo>
                    <a:pt x="305095" y="58130"/>
                  </a:lnTo>
                  <a:cubicBezTo>
                    <a:pt x="323495" y="58620"/>
                    <a:pt x="339152" y="71824"/>
                    <a:pt x="342933" y="90037"/>
                  </a:cubicBezTo>
                  <a:lnTo>
                    <a:pt x="244994" y="87339"/>
                  </a:lnTo>
                  <a:cubicBezTo>
                    <a:pt x="239989" y="87203"/>
                    <a:pt x="235820" y="91197"/>
                    <a:pt x="235685" y="96259"/>
                  </a:cubicBezTo>
                  <a:cubicBezTo>
                    <a:pt x="235551" y="101320"/>
                    <a:pt x="239501" y="105535"/>
                    <a:pt x="244507" y="105671"/>
                  </a:cubicBezTo>
                  <a:lnTo>
                    <a:pt x="352486" y="108572"/>
                  </a:lnTo>
                  <a:lnTo>
                    <a:pt x="352744" y="108572"/>
                  </a:lnTo>
                  <a:cubicBezTo>
                    <a:pt x="357656" y="108604"/>
                    <a:pt x="361663" y="104604"/>
                    <a:pt x="361695" y="99638"/>
                  </a:cubicBezTo>
                  <a:cubicBezTo>
                    <a:pt x="361695" y="99629"/>
                    <a:pt x="361695" y="99618"/>
                    <a:pt x="361695" y="99609"/>
                  </a:cubicBezTo>
                  <a:cubicBezTo>
                    <a:pt x="361807" y="95566"/>
                    <a:pt x="361497" y="91522"/>
                    <a:pt x="360777" y="87542"/>
                  </a:cubicBezTo>
                  <a:lnTo>
                    <a:pt x="433786" y="52735"/>
                  </a:lnTo>
                  <a:lnTo>
                    <a:pt x="434131" y="52735"/>
                  </a:lnTo>
                  <a:cubicBezTo>
                    <a:pt x="444527" y="47369"/>
                    <a:pt x="457132" y="49141"/>
                    <a:pt x="465687" y="57173"/>
                  </a:cubicBezTo>
                  <a:close/>
                  <a:moveTo>
                    <a:pt x="18392" y="160261"/>
                  </a:moveTo>
                  <a:lnTo>
                    <a:pt x="22265" y="18943"/>
                  </a:lnTo>
                  <a:lnTo>
                    <a:pt x="76169" y="20393"/>
                  </a:lnTo>
                  <a:lnTo>
                    <a:pt x="72267" y="161914"/>
                  </a:lnTo>
                  <a:close/>
                  <a:moveTo>
                    <a:pt x="426184" y="36753"/>
                  </a:moveTo>
                  <a:lnTo>
                    <a:pt x="355039" y="70719"/>
                  </a:lnTo>
                  <a:cubicBezTo>
                    <a:pt x="345197" y="52251"/>
                    <a:pt x="326349" y="40506"/>
                    <a:pt x="305611" y="39914"/>
                  </a:cubicBezTo>
                  <a:lnTo>
                    <a:pt x="239917" y="38087"/>
                  </a:lnTo>
                  <a:cubicBezTo>
                    <a:pt x="229581" y="37733"/>
                    <a:pt x="219451" y="35067"/>
                    <a:pt x="210254" y="30284"/>
                  </a:cubicBezTo>
                  <a:lnTo>
                    <a:pt x="203599" y="26774"/>
                  </a:lnTo>
                  <a:cubicBezTo>
                    <a:pt x="169378" y="8704"/>
                    <a:pt x="128578" y="8704"/>
                    <a:pt x="94357" y="26774"/>
                  </a:cubicBezTo>
                  <a:lnTo>
                    <a:pt x="94787" y="11459"/>
                  </a:lnTo>
                  <a:cubicBezTo>
                    <a:pt x="94899" y="6366"/>
                    <a:pt x="90907" y="2145"/>
                    <a:pt x="85870" y="2032"/>
                  </a:cubicBezTo>
                  <a:cubicBezTo>
                    <a:pt x="85868" y="2032"/>
                    <a:pt x="85867" y="2032"/>
                    <a:pt x="85865" y="2032"/>
                  </a:cubicBezTo>
                  <a:lnTo>
                    <a:pt x="13716" y="2"/>
                  </a:lnTo>
                  <a:cubicBezTo>
                    <a:pt x="8684" y="-97"/>
                    <a:pt x="4518" y="3935"/>
                    <a:pt x="4393" y="9023"/>
                  </a:cubicBezTo>
                  <a:lnTo>
                    <a:pt x="4" y="168760"/>
                  </a:lnTo>
                  <a:cubicBezTo>
                    <a:pt x="-141" y="173836"/>
                    <a:pt x="3812" y="178071"/>
                    <a:pt x="8832" y="178216"/>
                  </a:cubicBezTo>
                  <a:cubicBezTo>
                    <a:pt x="8835" y="178216"/>
                    <a:pt x="8837" y="178216"/>
                    <a:pt x="8840" y="178216"/>
                  </a:cubicBezTo>
                  <a:lnTo>
                    <a:pt x="8840" y="178216"/>
                  </a:lnTo>
                  <a:lnTo>
                    <a:pt x="80902" y="180217"/>
                  </a:lnTo>
                  <a:lnTo>
                    <a:pt x="81161" y="180217"/>
                  </a:lnTo>
                  <a:cubicBezTo>
                    <a:pt x="86128" y="180235"/>
                    <a:pt x="90189" y="176217"/>
                    <a:pt x="90283" y="171196"/>
                  </a:cubicBezTo>
                  <a:lnTo>
                    <a:pt x="90484" y="163539"/>
                  </a:lnTo>
                  <a:lnTo>
                    <a:pt x="109188" y="153415"/>
                  </a:lnTo>
                  <a:cubicBezTo>
                    <a:pt x="116532" y="149430"/>
                    <a:pt x="125117" y="148473"/>
                    <a:pt x="133142" y="150747"/>
                  </a:cubicBezTo>
                  <a:lnTo>
                    <a:pt x="245023" y="182654"/>
                  </a:lnTo>
                  <a:lnTo>
                    <a:pt x="245568" y="182654"/>
                  </a:lnTo>
                  <a:cubicBezTo>
                    <a:pt x="270916" y="187933"/>
                    <a:pt x="297272" y="184884"/>
                    <a:pt x="320787" y="173952"/>
                  </a:cubicBezTo>
                  <a:cubicBezTo>
                    <a:pt x="321188" y="173798"/>
                    <a:pt x="321567" y="173580"/>
                    <a:pt x="321905" y="173314"/>
                  </a:cubicBezTo>
                  <a:lnTo>
                    <a:pt x="483961" y="67354"/>
                  </a:lnTo>
                  <a:cubicBezTo>
                    <a:pt x="488040" y="64720"/>
                    <a:pt x="489311" y="59285"/>
                    <a:pt x="486829" y="55084"/>
                  </a:cubicBezTo>
                  <a:cubicBezTo>
                    <a:pt x="474778" y="33513"/>
                    <a:pt x="448096" y="25315"/>
                    <a:pt x="426213" y="36463"/>
                  </a:cubicBez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33" name="Freeform 232">
              <a:extLst>
                <a:ext uri="{FF2B5EF4-FFF2-40B4-BE49-F238E27FC236}">
                  <a16:creationId xmlns:a16="http://schemas.microsoft.com/office/drawing/2014/main" id="{5647A2AD-419E-0C45-B060-81514E2C0727}"/>
                </a:ext>
              </a:extLst>
            </p:cNvPr>
            <p:cNvSpPr/>
            <p:nvPr/>
          </p:nvSpPr>
          <p:spPr>
            <a:xfrm>
              <a:off x="8720601" y="6057693"/>
              <a:ext cx="221934" cy="163732"/>
            </a:xfrm>
            <a:custGeom>
              <a:avLst/>
              <a:gdLst>
                <a:gd name="connsiteX0" fmla="*/ 66784 w 221934"/>
                <a:gd name="connsiteY0" fmla="*/ 163732 h 163732"/>
                <a:gd name="connsiteX1" fmla="*/ 66439 w 221934"/>
                <a:gd name="connsiteY1" fmla="*/ 163732 h 163732"/>
                <a:gd name="connsiteX2" fmla="*/ 58206 w 221934"/>
                <a:gd name="connsiteY2" fmla="*/ 159933 h 163732"/>
                <a:gd name="connsiteX3" fmla="*/ 3069 w 221934"/>
                <a:gd name="connsiteY3" fmla="*/ 99397 h 163732"/>
                <a:gd name="connsiteX4" fmla="*/ 3786 w 221934"/>
                <a:gd name="connsiteY4" fmla="*/ 82718 h 163732"/>
                <a:gd name="connsiteX5" fmla="*/ 20281 w 221934"/>
                <a:gd name="connsiteY5" fmla="*/ 83443 h 163732"/>
                <a:gd name="connsiteX6" fmla="*/ 67329 w 221934"/>
                <a:gd name="connsiteY6" fmla="*/ 135103 h 163732"/>
                <a:gd name="connsiteX7" fmla="*/ 202504 w 221934"/>
                <a:gd name="connsiteY7" fmla="*/ 2980 h 163732"/>
                <a:gd name="connsiteX8" fmla="*/ 218987 w 221934"/>
                <a:gd name="connsiteY8" fmla="*/ 3964 h 163732"/>
                <a:gd name="connsiteX9" fmla="*/ 218712 w 221934"/>
                <a:gd name="connsiteY9" fmla="*/ 19949 h 163732"/>
                <a:gd name="connsiteX10" fmla="*/ 74816 w 221934"/>
                <a:gd name="connsiteY10" fmla="*/ 160426 h 163732"/>
                <a:gd name="connsiteX11" fmla="*/ 66784 w 221934"/>
                <a:gd name="connsiteY11" fmla="*/ 163732 h 16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934" h="163732">
                  <a:moveTo>
                    <a:pt x="66784" y="163732"/>
                  </a:moveTo>
                  <a:lnTo>
                    <a:pt x="66439" y="163732"/>
                  </a:lnTo>
                  <a:cubicBezTo>
                    <a:pt x="63301" y="163640"/>
                    <a:pt x="60332" y="162270"/>
                    <a:pt x="58206" y="159933"/>
                  </a:cubicBezTo>
                  <a:lnTo>
                    <a:pt x="3069" y="99397"/>
                  </a:lnTo>
                  <a:cubicBezTo>
                    <a:pt x="-1288" y="94591"/>
                    <a:pt x="-967" y="87124"/>
                    <a:pt x="3786" y="82718"/>
                  </a:cubicBezTo>
                  <a:cubicBezTo>
                    <a:pt x="8539" y="78313"/>
                    <a:pt x="15924" y="78637"/>
                    <a:pt x="20281" y="83443"/>
                  </a:cubicBezTo>
                  <a:lnTo>
                    <a:pt x="67329" y="135103"/>
                  </a:lnTo>
                  <a:lnTo>
                    <a:pt x="202504" y="2980"/>
                  </a:lnTo>
                  <a:cubicBezTo>
                    <a:pt x="207324" y="-1350"/>
                    <a:pt x="214704" y="-909"/>
                    <a:pt x="218987" y="3964"/>
                  </a:cubicBezTo>
                  <a:cubicBezTo>
                    <a:pt x="223020" y="8554"/>
                    <a:pt x="222901" y="15504"/>
                    <a:pt x="218712" y="19949"/>
                  </a:cubicBezTo>
                  <a:lnTo>
                    <a:pt x="74816" y="160426"/>
                  </a:lnTo>
                  <a:cubicBezTo>
                    <a:pt x="72661" y="162535"/>
                    <a:pt x="69783" y="163720"/>
                    <a:pt x="66784" y="163732"/>
                  </a:cubicBezTo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34" name="Freeform 233">
              <a:extLst>
                <a:ext uri="{FF2B5EF4-FFF2-40B4-BE49-F238E27FC236}">
                  <a16:creationId xmlns:a16="http://schemas.microsoft.com/office/drawing/2014/main" id="{D8525E8A-D34B-4046-BBED-01EB32C2BF8A}"/>
                </a:ext>
              </a:extLst>
            </p:cNvPr>
            <p:cNvSpPr/>
            <p:nvPr/>
          </p:nvSpPr>
          <p:spPr>
            <a:xfrm>
              <a:off x="8672754" y="6032054"/>
              <a:ext cx="260069" cy="262960"/>
            </a:xfrm>
            <a:custGeom>
              <a:avLst/>
              <a:gdLst>
                <a:gd name="connsiteX0" fmla="*/ 129777 w 260069"/>
                <a:gd name="connsiteY0" fmla="*/ 262960 h 262960"/>
                <a:gd name="connsiteX1" fmla="*/ 3294 w 260069"/>
                <a:gd name="connsiteY1" fmla="*/ 160800 h 262960"/>
                <a:gd name="connsiteX2" fmla="*/ 101134 w 260069"/>
                <a:gd name="connsiteY2" fmla="*/ 3303 h 262960"/>
                <a:gd name="connsiteX3" fmla="*/ 208209 w 260069"/>
                <a:gd name="connsiteY3" fmla="*/ 26357 h 262960"/>
                <a:gd name="connsiteX4" fmla="*/ 209586 w 260069"/>
                <a:gd name="connsiteY4" fmla="*/ 36277 h 262960"/>
                <a:gd name="connsiteX5" fmla="*/ 199775 w 260069"/>
                <a:gd name="connsiteY5" fmla="*/ 37669 h 262960"/>
                <a:gd name="connsiteX6" fmla="*/ 37241 w 260069"/>
                <a:gd name="connsiteY6" fmla="*/ 60881 h 262960"/>
                <a:gd name="connsiteX7" fmla="*/ 60197 w 260069"/>
                <a:gd name="connsiteY7" fmla="*/ 225220 h 262960"/>
                <a:gd name="connsiteX8" fmla="*/ 222731 w 260069"/>
                <a:gd name="connsiteY8" fmla="*/ 202009 h 262960"/>
                <a:gd name="connsiteX9" fmla="*/ 243121 w 260069"/>
                <a:gd name="connsiteY9" fmla="*/ 105225 h 262960"/>
                <a:gd name="connsiteX10" fmla="*/ 248385 w 260069"/>
                <a:gd name="connsiteY10" fmla="*/ 96740 h 262960"/>
                <a:gd name="connsiteX11" fmla="*/ 256777 w 260069"/>
                <a:gd name="connsiteY11" fmla="*/ 102063 h 262960"/>
                <a:gd name="connsiteX12" fmla="*/ 158981 w 260069"/>
                <a:gd name="connsiteY12" fmla="*/ 259595 h 262960"/>
                <a:gd name="connsiteX13" fmla="*/ 129663 w 260069"/>
                <a:gd name="connsiteY13" fmla="*/ 262960 h 26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0069" h="262960">
                  <a:moveTo>
                    <a:pt x="129777" y="262960"/>
                  </a:moveTo>
                  <a:cubicBezTo>
                    <a:pt x="69252" y="262783"/>
                    <a:pt x="16835" y="220447"/>
                    <a:pt x="3294" y="160800"/>
                  </a:cubicBezTo>
                  <a:cubicBezTo>
                    <a:pt x="-12702" y="89991"/>
                    <a:pt x="31102" y="19477"/>
                    <a:pt x="101134" y="3303"/>
                  </a:cubicBezTo>
                  <a:cubicBezTo>
                    <a:pt x="138441" y="-5313"/>
                    <a:pt x="177609" y="3120"/>
                    <a:pt x="208209" y="26357"/>
                  </a:cubicBezTo>
                  <a:cubicBezTo>
                    <a:pt x="211298" y="28712"/>
                    <a:pt x="211915" y="33153"/>
                    <a:pt x="209586" y="36277"/>
                  </a:cubicBezTo>
                  <a:cubicBezTo>
                    <a:pt x="207257" y="39401"/>
                    <a:pt x="202864" y="40024"/>
                    <a:pt x="199775" y="37669"/>
                  </a:cubicBezTo>
                  <a:cubicBezTo>
                    <a:pt x="148553" y="-1302"/>
                    <a:pt x="75784" y="9090"/>
                    <a:pt x="37241" y="60881"/>
                  </a:cubicBezTo>
                  <a:cubicBezTo>
                    <a:pt x="-1302" y="112671"/>
                    <a:pt x="8976" y="186249"/>
                    <a:pt x="60197" y="225220"/>
                  </a:cubicBezTo>
                  <a:cubicBezTo>
                    <a:pt x="111419" y="264193"/>
                    <a:pt x="184188" y="253800"/>
                    <a:pt x="222731" y="202009"/>
                  </a:cubicBezTo>
                  <a:cubicBezTo>
                    <a:pt x="243305" y="174363"/>
                    <a:pt x="250766" y="138948"/>
                    <a:pt x="243121" y="105225"/>
                  </a:cubicBezTo>
                  <a:cubicBezTo>
                    <a:pt x="242258" y="101412"/>
                    <a:pt x="244615" y="97613"/>
                    <a:pt x="248385" y="96740"/>
                  </a:cubicBezTo>
                  <a:cubicBezTo>
                    <a:pt x="252156" y="95867"/>
                    <a:pt x="255913" y="98250"/>
                    <a:pt x="256777" y="102063"/>
                  </a:cubicBezTo>
                  <a:cubicBezTo>
                    <a:pt x="272763" y="172864"/>
                    <a:pt x="228992" y="243373"/>
                    <a:pt x="158981" y="259595"/>
                  </a:cubicBezTo>
                  <a:cubicBezTo>
                    <a:pt x="149365" y="261832"/>
                    <a:pt x="139530" y="262960"/>
                    <a:pt x="129663" y="262960"/>
                  </a:cubicBezTo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35" name="Freeform 234">
              <a:extLst>
                <a:ext uri="{FF2B5EF4-FFF2-40B4-BE49-F238E27FC236}">
                  <a16:creationId xmlns:a16="http://schemas.microsoft.com/office/drawing/2014/main" id="{D4D65827-9206-384E-AE7D-CB94F53EF85E}"/>
                </a:ext>
              </a:extLst>
            </p:cNvPr>
            <p:cNvSpPr/>
            <p:nvPr/>
          </p:nvSpPr>
          <p:spPr>
            <a:xfrm>
              <a:off x="9093164" y="6125937"/>
              <a:ext cx="73790" cy="74603"/>
            </a:xfrm>
            <a:custGeom>
              <a:avLst/>
              <a:gdLst>
                <a:gd name="connsiteX0" fmla="*/ 36921 w 73790"/>
                <a:gd name="connsiteY0" fmla="*/ 12357 h 74603"/>
                <a:gd name="connsiteX1" fmla="*/ 12278 w 73790"/>
                <a:gd name="connsiteY1" fmla="*/ 37215 h 74603"/>
                <a:gd name="connsiteX2" fmla="*/ 36863 w 73790"/>
                <a:gd name="connsiteY2" fmla="*/ 62131 h 74603"/>
                <a:gd name="connsiteX3" fmla="*/ 61506 w 73790"/>
                <a:gd name="connsiteY3" fmla="*/ 37273 h 74603"/>
                <a:gd name="connsiteX4" fmla="*/ 36921 w 73790"/>
                <a:gd name="connsiteY4" fmla="*/ 12357 h 74603"/>
                <a:gd name="connsiteX5" fmla="*/ 36921 w 73790"/>
                <a:gd name="connsiteY5" fmla="*/ 74604 h 74603"/>
                <a:gd name="connsiteX6" fmla="*/ 0 w 73790"/>
                <a:gd name="connsiteY6" fmla="*/ 37331 h 74603"/>
                <a:gd name="connsiteX7" fmla="*/ 36863 w 73790"/>
                <a:gd name="connsiteY7" fmla="*/ 0 h 74603"/>
                <a:gd name="connsiteX8" fmla="*/ 73784 w 73790"/>
                <a:gd name="connsiteY8" fmla="*/ 37273 h 74603"/>
                <a:gd name="connsiteX9" fmla="*/ 38240 w 73790"/>
                <a:gd name="connsiteY9" fmla="*/ 74604 h 74603"/>
                <a:gd name="connsiteX10" fmla="*/ 36921 w 73790"/>
                <a:gd name="connsiteY10" fmla="*/ 74604 h 74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790" h="74603">
                  <a:moveTo>
                    <a:pt x="36921" y="12357"/>
                  </a:moveTo>
                  <a:cubicBezTo>
                    <a:pt x="23326" y="12341"/>
                    <a:pt x="12295" y="23470"/>
                    <a:pt x="12278" y="37215"/>
                  </a:cubicBezTo>
                  <a:cubicBezTo>
                    <a:pt x="12261" y="50960"/>
                    <a:pt x="23268" y="62115"/>
                    <a:pt x="36863" y="62131"/>
                  </a:cubicBezTo>
                  <a:cubicBezTo>
                    <a:pt x="50458" y="62147"/>
                    <a:pt x="61489" y="51018"/>
                    <a:pt x="61506" y="37273"/>
                  </a:cubicBezTo>
                  <a:cubicBezTo>
                    <a:pt x="61523" y="23528"/>
                    <a:pt x="50516" y="12373"/>
                    <a:pt x="36921" y="12357"/>
                  </a:cubicBezTo>
                  <a:moveTo>
                    <a:pt x="36921" y="74604"/>
                  </a:moveTo>
                  <a:cubicBezTo>
                    <a:pt x="16547" y="74620"/>
                    <a:pt x="17" y="57932"/>
                    <a:pt x="0" y="37331"/>
                  </a:cubicBezTo>
                  <a:cubicBezTo>
                    <a:pt x="-17" y="16730"/>
                    <a:pt x="16490" y="16"/>
                    <a:pt x="36863" y="0"/>
                  </a:cubicBezTo>
                  <a:cubicBezTo>
                    <a:pt x="57237" y="-16"/>
                    <a:pt x="73767" y="16672"/>
                    <a:pt x="73784" y="37273"/>
                  </a:cubicBezTo>
                  <a:cubicBezTo>
                    <a:pt x="74151" y="57501"/>
                    <a:pt x="58247" y="74207"/>
                    <a:pt x="38240" y="74604"/>
                  </a:cubicBezTo>
                  <a:lnTo>
                    <a:pt x="36921" y="74604"/>
                  </a:ln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36" name="Freeform 235">
              <a:extLst>
                <a:ext uri="{FF2B5EF4-FFF2-40B4-BE49-F238E27FC236}">
                  <a16:creationId xmlns:a16="http://schemas.microsoft.com/office/drawing/2014/main" id="{4598408D-9D0A-2345-B986-6722F012AD74}"/>
                </a:ext>
              </a:extLst>
            </p:cNvPr>
            <p:cNvSpPr/>
            <p:nvPr/>
          </p:nvSpPr>
          <p:spPr>
            <a:xfrm>
              <a:off x="8976434" y="6007544"/>
              <a:ext cx="306955" cy="310541"/>
            </a:xfrm>
            <a:custGeom>
              <a:avLst/>
              <a:gdLst>
                <a:gd name="connsiteX0" fmla="*/ 160535 w 306955"/>
                <a:gd name="connsiteY0" fmla="*/ 272735 h 310541"/>
                <a:gd name="connsiteX1" fmla="*/ 160535 w 306955"/>
                <a:gd name="connsiteY1" fmla="*/ 256549 h 310541"/>
                <a:gd name="connsiteX2" fmla="*/ 153073 w 306955"/>
                <a:gd name="connsiteY2" fmla="*/ 249911 h 310541"/>
                <a:gd name="connsiteX3" fmla="*/ 146507 w 306955"/>
                <a:gd name="connsiteY3" fmla="*/ 256549 h 310541"/>
                <a:gd name="connsiteX4" fmla="*/ 146507 w 306955"/>
                <a:gd name="connsiteY4" fmla="*/ 272735 h 310541"/>
                <a:gd name="connsiteX5" fmla="*/ 37753 w 306955"/>
                <a:gd name="connsiteY5" fmla="*/ 162744 h 310541"/>
                <a:gd name="connsiteX6" fmla="*/ 53760 w 306955"/>
                <a:gd name="connsiteY6" fmla="*/ 162744 h 310541"/>
                <a:gd name="connsiteX7" fmla="*/ 60760 w 306955"/>
                <a:gd name="connsiteY7" fmla="*/ 155666 h 310541"/>
                <a:gd name="connsiteX8" fmla="*/ 53760 w 306955"/>
                <a:gd name="connsiteY8" fmla="*/ 148589 h 310541"/>
                <a:gd name="connsiteX9" fmla="*/ 37753 w 306955"/>
                <a:gd name="connsiteY9" fmla="*/ 148589 h 310541"/>
                <a:gd name="connsiteX10" fmla="*/ 146507 w 306955"/>
                <a:gd name="connsiteY10" fmla="*/ 38655 h 310541"/>
                <a:gd name="connsiteX11" fmla="*/ 146507 w 306955"/>
                <a:gd name="connsiteY11" fmla="*/ 54841 h 310541"/>
                <a:gd name="connsiteX12" fmla="*/ 153073 w 306955"/>
                <a:gd name="connsiteY12" fmla="*/ 62386 h 310541"/>
                <a:gd name="connsiteX13" fmla="*/ 160535 w 306955"/>
                <a:gd name="connsiteY13" fmla="*/ 55748 h 310541"/>
                <a:gd name="connsiteX14" fmla="*/ 160535 w 306955"/>
                <a:gd name="connsiteY14" fmla="*/ 54841 h 310541"/>
                <a:gd name="connsiteX15" fmla="*/ 160535 w 306955"/>
                <a:gd name="connsiteY15" fmla="*/ 38655 h 310541"/>
                <a:gd name="connsiteX16" fmla="*/ 269260 w 306955"/>
                <a:gd name="connsiteY16" fmla="*/ 148647 h 310541"/>
                <a:gd name="connsiteX17" fmla="*/ 253253 w 306955"/>
                <a:gd name="connsiteY17" fmla="*/ 148647 h 310541"/>
                <a:gd name="connsiteX18" fmla="*/ 246253 w 306955"/>
                <a:gd name="connsiteY18" fmla="*/ 155724 h 310541"/>
                <a:gd name="connsiteX19" fmla="*/ 253253 w 306955"/>
                <a:gd name="connsiteY19" fmla="*/ 162802 h 310541"/>
                <a:gd name="connsiteX20" fmla="*/ 269260 w 306955"/>
                <a:gd name="connsiteY20" fmla="*/ 162802 h 310541"/>
                <a:gd name="connsiteX21" fmla="*/ 160535 w 306955"/>
                <a:gd name="connsiteY21" fmla="*/ 272793 h 310541"/>
                <a:gd name="connsiteX22" fmla="*/ 299956 w 306955"/>
                <a:gd name="connsiteY22" fmla="*/ 148647 h 310541"/>
                <a:gd name="connsiteX23" fmla="*/ 283174 w 306955"/>
                <a:gd name="connsiteY23" fmla="*/ 148647 h 310541"/>
                <a:gd name="connsiteX24" fmla="*/ 160449 w 306955"/>
                <a:gd name="connsiteY24" fmla="*/ 24500 h 310541"/>
                <a:gd name="connsiteX25" fmla="*/ 160449 w 306955"/>
                <a:gd name="connsiteY25" fmla="*/ 7561 h 310541"/>
                <a:gd name="connsiteX26" fmla="*/ 153882 w 306955"/>
                <a:gd name="connsiteY26" fmla="*/ 15 h 310541"/>
                <a:gd name="connsiteX27" fmla="*/ 146421 w 306955"/>
                <a:gd name="connsiteY27" fmla="*/ 6653 h 310541"/>
                <a:gd name="connsiteX28" fmla="*/ 146421 w 306955"/>
                <a:gd name="connsiteY28" fmla="*/ 7561 h 310541"/>
                <a:gd name="connsiteX29" fmla="*/ 146421 w 306955"/>
                <a:gd name="connsiteY29" fmla="*/ 24442 h 310541"/>
                <a:gd name="connsiteX30" fmla="*/ 23753 w 306955"/>
                <a:gd name="connsiteY30" fmla="*/ 148647 h 310541"/>
                <a:gd name="connsiteX31" fmla="*/ 7000 w 306955"/>
                <a:gd name="connsiteY31" fmla="*/ 148647 h 310541"/>
                <a:gd name="connsiteX32" fmla="*/ 0 w 306955"/>
                <a:gd name="connsiteY32" fmla="*/ 155724 h 310541"/>
                <a:gd name="connsiteX33" fmla="*/ 7000 w 306955"/>
                <a:gd name="connsiteY33" fmla="*/ 162802 h 310541"/>
                <a:gd name="connsiteX34" fmla="*/ 23753 w 306955"/>
                <a:gd name="connsiteY34" fmla="*/ 162802 h 310541"/>
                <a:gd name="connsiteX35" fmla="*/ 146507 w 306955"/>
                <a:gd name="connsiteY35" fmla="*/ 286948 h 310541"/>
                <a:gd name="connsiteX36" fmla="*/ 146507 w 306955"/>
                <a:gd name="connsiteY36" fmla="*/ 303888 h 310541"/>
                <a:gd name="connsiteX37" fmla="*/ 153968 w 306955"/>
                <a:gd name="connsiteY37" fmla="*/ 310527 h 310541"/>
                <a:gd name="connsiteX38" fmla="*/ 160535 w 306955"/>
                <a:gd name="connsiteY38" fmla="*/ 303888 h 310541"/>
                <a:gd name="connsiteX39" fmla="*/ 160535 w 306955"/>
                <a:gd name="connsiteY39" fmla="*/ 286948 h 310541"/>
                <a:gd name="connsiteX40" fmla="*/ 283260 w 306955"/>
                <a:gd name="connsiteY40" fmla="*/ 162802 h 310541"/>
                <a:gd name="connsiteX41" fmla="*/ 299956 w 306955"/>
                <a:gd name="connsiteY41" fmla="*/ 162802 h 310541"/>
                <a:gd name="connsiteX42" fmla="*/ 306955 w 306955"/>
                <a:gd name="connsiteY42" fmla="*/ 155724 h 310541"/>
                <a:gd name="connsiteX43" fmla="*/ 299956 w 306955"/>
                <a:gd name="connsiteY43" fmla="*/ 148647 h 310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06955" h="310541">
                  <a:moveTo>
                    <a:pt x="160535" y="272735"/>
                  </a:moveTo>
                  <a:lnTo>
                    <a:pt x="160535" y="256549"/>
                  </a:lnTo>
                  <a:cubicBezTo>
                    <a:pt x="160288" y="252633"/>
                    <a:pt x="156946" y="249661"/>
                    <a:pt x="153073" y="249911"/>
                  </a:cubicBezTo>
                  <a:cubicBezTo>
                    <a:pt x="149545" y="250139"/>
                    <a:pt x="146733" y="252982"/>
                    <a:pt x="146507" y="256549"/>
                  </a:cubicBezTo>
                  <a:lnTo>
                    <a:pt x="146507" y="272735"/>
                  </a:lnTo>
                  <a:cubicBezTo>
                    <a:pt x="87981" y="269109"/>
                    <a:pt x="41324" y="221919"/>
                    <a:pt x="37753" y="162744"/>
                  </a:cubicBezTo>
                  <a:lnTo>
                    <a:pt x="53760" y="162744"/>
                  </a:lnTo>
                  <a:cubicBezTo>
                    <a:pt x="57627" y="162744"/>
                    <a:pt x="60760" y="159575"/>
                    <a:pt x="60760" y="155666"/>
                  </a:cubicBezTo>
                  <a:cubicBezTo>
                    <a:pt x="60760" y="151757"/>
                    <a:pt x="57627" y="148589"/>
                    <a:pt x="53760" y="148589"/>
                  </a:cubicBezTo>
                  <a:lnTo>
                    <a:pt x="37753" y="148589"/>
                  </a:lnTo>
                  <a:cubicBezTo>
                    <a:pt x="41339" y="89430"/>
                    <a:pt x="87999" y="42266"/>
                    <a:pt x="146507" y="38655"/>
                  </a:cubicBezTo>
                  <a:lnTo>
                    <a:pt x="146507" y="54841"/>
                  </a:lnTo>
                  <a:cubicBezTo>
                    <a:pt x="146260" y="58757"/>
                    <a:pt x="149198" y="62136"/>
                    <a:pt x="153073" y="62386"/>
                  </a:cubicBezTo>
                  <a:cubicBezTo>
                    <a:pt x="156946" y="62637"/>
                    <a:pt x="160288" y="59665"/>
                    <a:pt x="160535" y="55748"/>
                  </a:cubicBezTo>
                  <a:cubicBezTo>
                    <a:pt x="160555" y="55446"/>
                    <a:pt x="160555" y="55143"/>
                    <a:pt x="160535" y="54841"/>
                  </a:cubicBezTo>
                  <a:lnTo>
                    <a:pt x="160535" y="38655"/>
                  </a:lnTo>
                  <a:cubicBezTo>
                    <a:pt x="219054" y="42283"/>
                    <a:pt x="265703" y="89476"/>
                    <a:pt x="269260" y="148647"/>
                  </a:cubicBezTo>
                  <a:lnTo>
                    <a:pt x="253253" y="148647"/>
                  </a:lnTo>
                  <a:cubicBezTo>
                    <a:pt x="249386" y="148647"/>
                    <a:pt x="246253" y="151815"/>
                    <a:pt x="246253" y="155724"/>
                  </a:cubicBezTo>
                  <a:cubicBezTo>
                    <a:pt x="246253" y="159633"/>
                    <a:pt x="249386" y="162802"/>
                    <a:pt x="253253" y="162802"/>
                  </a:cubicBezTo>
                  <a:lnTo>
                    <a:pt x="269260" y="162802"/>
                  </a:lnTo>
                  <a:cubicBezTo>
                    <a:pt x="265691" y="221967"/>
                    <a:pt x="219049" y="269152"/>
                    <a:pt x="160535" y="272793"/>
                  </a:cubicBezTo>
                  <a:moveTo>
                    <a:pt x="299956" y="148647"/>
                  </a:moveTo>
                  <a:lnTo>
                    <a:pt x="283174" y="148647"/>
                  </a:lnTo>
                  <a:cubicBezTo>
                    <a:pt x="279545" y="81683"/>
                    <a:pt x="226674" y="28200"/>
                    <a:pt x="160449" y="24500"/>
                  </a:cubicBezTo>
                  <a:lnTo>
                    <a:pt x="160449" y="7561"/>
                  </a:lnTo>
                  <a:cubicBezTo>
                    <a:pt x="160695" y="3644"/>
                    <a:pt x="157758" y="265"/>
                    <a:pt x="153882" y="15"/>
                  </a:cubicBezTo>
                  <a:cubicBezTo>
                    <a:pt x="150009" y="-236"/>
                    <a:pt x="146667" y="2736"/>
                    <a:pt x="146421" y="6653"/>
                  </a:cubicBezTo>
                  <a:cubicBezTo>
                    <a:pt x="146401" y="6955"/>
                    <a:pt x="146401" y="7258"/>
                    <a:pt x="146421" y="7561"/>
                  </a:cubicBezTo>
                  <a:lnTo>
                    <a:pt x="146421" y="24442"/>
                  </a:lnTo>
                  <a:cubicBezTo>
                    <a:pt x="80201" y="28187"/>
                    <a:pt x="27365" y="81687"/>
                    <a:pt x="23753" y="148647"/>
                  </a:cubicBezTo>
                  <a:lnTo>
                    <a:pt x="7000" y="148647"/>
                  </a:lnTo>
                  <a:cubicBezTo>
                    <a:pt x="3133" y="148647"/>
                    <a:pt x="0" y="151815"/>
                    <a:pt x="0" y="155724"/>
                  </a:cubicBezTo>
                  <a:cubicBezTo>
                    <a:pt x="0" y="159633"/>
                    <a:pt x="3133" y="162802"/>
                    <a:pt x="7000" y="162802"/>
                  </a:cubicBezTo>
                  <a:lnTo>
                    <a:pt x="23753" y="162802"/>
                  </a:lnTo>
                  <a:cubicBezTo>
                    <a:pt x="27371" y="229781"/>
                    <a:pt x="80265" y="283276"/>
                    <a:pt x="146507" y="286948"/>
                  </a:cubicBezTo>
                  <a:lnTo>
                    <a:pt x="146507" y="303888"/>
                  </a:lnTo>
                  <a:cubicBezTo>
                    <a:pt x="146753" y="307803"/>
                    <a:pt x="150095" y="310777"/>
                    <a:pt x="153968" y="310527"/>
                  </a:cubicBezTo>
                  <a:cubicBezTo>
                    <a:pt x="157497" y="310298"/>
                    <a:pt x="160308" y="307455"/>
                    <a:pt x="160535" y="303888"/>
                  </a:cubicBezTo>
                  <a:lnTo>
                    <a:pt x="160535" y="286948"/>
                  </a:lnTo>
                  <a:cubicBezTo>
                    <a:pt x="226766" y="283261"/>
                    <a:pt x="279645" y="229771"/>
                    <a:pt x="283260" y="162802"/>
                  </a:cubicBezTo>
                  <a:lnTo>
                    <a:pt x="299956" y="162802"/>
                  </a:lnTo>
                  <a:cubicBezTo>
                    <a:pt x="303823" y="162802"/>
                    <a:pt x="306955" y="159633"/>
                    <a:pt x="306955" y="155724"/>
                  </a:cubicBezTo>
                  <a:cubicBezTo>
                    <a:pt x="306955" y="151815"/>
                    <a:pt x="303823" y="148647"/>
                    <a:pt x="299956" y="148647"/>
                  </a:cubicBezTo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37" name="Graphic 67">
            <a:extLst>
              <a:ext uri="{FF2B5EF4-FFF2-40B4-BE49-F238E27FC236}">
                <a16:creationId xmlns:a16="http://schemas.microsoft.com/office/drawing/2014/main" id="{152E92EE-3D47-E044-824B-D2AE08A17D23}"/>
              </a:ext>
            </a:extLst>
          </p:cNvPr>
          <p:cNvGrpSpPr/>
          <p:nvPr userDrawn="1"/>
        </p:nvGrpSpPr>
        <p:grpSpPr>
          <a:xfrm>
            <a:off x="5653836" y="3963108"/>
            <a:ext cx="329561" cy="301984"/>
            <a:chOff x="7503897" y="5087595"/>
            <a:chExt cx="460101" cy="430791"/>
          </a:xfrm>
          <a:solidFill>
            <a:schemeClr val="bg1"/>
          </a:solidFill>
        </p:grpSpPr>
        <p:sp>
          <p:nvSpPr>
            <p:cNvPr id="238" name="Freeform 237">
              <a:extLst>
                <a:ext uri="{FF2B5EF4-FFF2-40B4-BE49-F238E27FC236}">
                  <a16:creationId xmlns:a16="http://schemas.microsoft.com/office/drawing/2014/main" id="{744CC12B-A14D-424E-A62D-94022AE7BB2C}"/>
                </a:ext>
              </a:extLst>
            </p:cNvPr>
            <p:cNvSpPr/>
            <p:nvPr/>
          </p:nvSpPr>
          <p:spPr>
            <a:xfrm>
              <a:off x="7575651" y="5119745"/>
              <a:ext cx="388347" cy="283513"/>
            </a:xfrm>
            <a:custGeom>
              <a:avLst/>
              <a:gdLst>
                <a:gd name="connsiteX0" fmla="*/ 116715 w 388347"/>
                <a:gd name="connsiteY0" fmla="*/ 283513 h 283513"/>
                <a:gd name="connsiteX1" fmla="*/ 116095 w 388347"/>
                <a:gd name="connsiteY1" fmla="*/ 283513 h 283513"/>
                <a:gd name="connsiteX2" fmla="*/ 101704 w 388347"/>
                <a:gd name="connsiteY2" fmla="*/ 276987 h 283513"/>
                <a:gd name="connsiteX3" fmla="*/ 5146 w 388347"/>
                <a:gd name="connsiteY3" fmla="*/ 172140 h 283513"/>
                <a:gd name="connsiteX4" fmla="*/ 6852 w 388347"/>
                <a:gd name="connsiteY4" fmla="*/ 143348 h 283513"/>
                <a:gd name="connsiteX5" fmla="*/ 35135 w 388347"/>
                <a:gd name="connsiteY5" fmla="*/ 144501 h 283513"/>
                <a:gd name="connsiteX6" fmla="*/ 117433 w 388347"/>
                <a:gd name="connsiteY6" fmla="*/ 233945 h 283513"/>
                <a:gd name="connsiteX7" fmla="*/ 354309 w 388347"/>
                <a:gd name="connsiteY7" fmla="*/ 5195 h 283513"/>
                <a:gd name="connsiteX8" fmla="*/ 383152 w 388347"/>
                <a:gd name="connsiteY8" fmla="*/ 6817 h 283513"/>
                <a:gd name="connsiteX9" fmla="*/ 382666 w 388347"/>
                <a:gd name="connsiteY9" fmla="*/ 34564 h 283513"/>
                <a:gd name="connsiteX10" fmla="*/ 130747 w 388347"/>
                <a:gd name="connsiteY10" fmla="*/ 277770 h 283513"/>
                <a:gd name="connsiteX11" fmla="*/ 116715 w 388347"/>
                <a:gd name="connsiteY11" fmla="*/ 283513 h 283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8347" h="283513">
                  <a:moveTo>
                    <a:pt x="116715" y="283513"/>
                  </a:moveTo>
                  <a:lnTo>
                    <a:pt x="116095" y="283513"/>
                  </a:lnTo>
                  <a:cubicBezTo>
                    <a:pt x="110618" y="283350"/>
                    <a:pt x="105436" y="280997"/>
                    <a:pt x="101704" y="276987"/>
                  </a:cubicBezTo>
                  <a:lnTo>
                    <a:pt x="5146" y="172140"/>
                  </a:lnTo>
                  <a:cubicBezTo>
                    <a:pt x="-2334" y="163718"/>
                    <a:pt x="-1570" y="150828"/>
                    <a:pt x="6852" y="143348"/>
                  </a:cubicBezTo>
                  <a:cubicBezTo>
                    <a:pt x="15055" y="136062"/>
                    <a:pt x="27552" y="136572"/>
                    <a:pt x="35135" y="144501"/>
                  </a:cubicBezTo>
                  <a:lnTo>
                    <a:pt x="117433" y="233945"/>
                  </a:lnTo>
                  <a:lnTo>
                    <a:pt x="354309" y="5195"/>
                  </a:lnTo>
                  <a:cubicBezTo>
                    <a:pt x="362721" y="-2322"/>
                    <a:pt x="375634" y="-1596"/>
                    <a:pt x="383152" y="6817"/>
                  </a:cubicBezTo>
                  <a:cubicBezTo>
                    <a:pt x="390263" y="14774"/>
                    <a:pt x="390051" y="26861"/>
                    <a:pt x="382666" y="34564"/>
                  </a:cubicBezTo>
                  <a:lnTo>
                    <a:pt x="130747" y="277770"/>
                  </a:lnTo>
                  <a:cubicBezTo>
                    <a:pt x="126987" y="281425"/>
                    <a:pt x="121959" y="283484"/>
                    <a:pt x="116715" y="283513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39" name="Freeform 238">
              <a:extLst>
                <a:ext uri="{FF2B5EF4-FFF2-40B4-BE49-F238E27FC236}">
                  <a16:creationId xmlns:a16="http://schemas.microsoft.com/office/drawing/2014/main" id="{96153FF8-840A-ED45-B450-31C90E5A897B}"/>
                </a:ext>
              </a:extLst>
            </p:cNvPr>
            <p:cNvSpPr/>
            <p:nvPr/>
          </p:nvSpPr>
          <p:spPr>
            <a:xfrm>
              <a:off x="7503897" y="5087595"/>
              <a:ext cx="430837" cy="430791"/>
            </a:xfrm>
            <a:custGeom>
              <a:avLst/>
              <a:gdLst>
                <a:gd name="connsiteX0" fmla="*/ 425345 w 430837"/>
                <a:gd name="connsiteY0" fmla="*/ 167253 h 430791"/>
                <a:gd name="connsiteX1" fmla="*/ 263539 w 430837"/>
                <a:gd name="connsiteY1" fmla="*/ 425300 h 430791"/>
                <a:gd name="connsiteX2" fmla="*/ 5492 w 430837"/>
                <a:gd name="connsiteY2" fmla="*/ 263493 h 430791"/>
                <a:gd name="connsiteX3" fmla="*/ 167299 w 430837"/>
                <a:gd name="connsiteY3" fmla="*/ 5446 h 430791"/>
                <a:gd name="connsiteX4" fmla="*/ 344875 w 430837"/>
                <a:gd name="connsiteY4" fmla="*/ 43251 h 430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0837" h="430791">
                  <a:moveTo>
                    <a:pt x="425345" y="167253"/>
                  </a:moveTo>
                  <a:cubicBezTo>
                    <a:pt x="451921" y="283191"/>
                    <a:pt x="379478" y="398725"/>
                    <a:pt x="263539" y="425300"/>
                  </a:cubicBezTo>
                  <a:cubicBezTo>
                    <a:pt x="147599" y="451876"/>
                    <a:pt x="32068" y="379433"/>
                    <a:pt x="5492" y="263493"/>
                  </a:cubicBezTo>
                  <a:cubicBezTo>
                    <a:pt x="-21084" y="147554"/>
                    <a:pt x="51359" y="32022"/>
                    <a:pt x="167299" y="5446"/>
                  </a:cubicBezTo>
                  <a:cubicBezTo>
                    <a:pt x="229170" y="-8736"/>
                    <a:pt x="294145" y="5097"/>
                    <a:pt x="344875" y="43251"/>
                  </a:cubicBezTo>
                </a:path>
              </a:pathLst>
            </a:custGeom>
            <a:noFill/>
            <a:ln w="24110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40" name="Graphic 69">
            <a:extLst>
              <a:ext uri="{FF2B5EF4-FFF2-40B4-BE49-F238E27FC236}">
                <a16:creationId xmlns:a16="http://schemas.microsoft.com/office/drawing/2014/main" id="{BB17CA45-EBBB-8040-9B1F-6D70F05D5D63}"/>
              </a:ext>
            </a:extLst>
          </p:cNvPr>
          <p:cNvGrpSpPr/>
          <p:nvPr userDrawn="1"/>
        </p:nvGrpSpPr>
        <p:grpSpPr>
          <a:xfrm>
            <a:off x="4800468" y="3354667"/>
            <a:ext cx="309574" cy="302971"/>
            <a:chOff x="6312506" y="4219633"/>
            <a:chExt cx="432198" cy="432198"/>
          </a:xfrm>
          <a:solidFill>
            <a:schemeClr val="bg1"/>
          </a:solidFill>
        </p:grpSpPr>
        <p:sp>
          <p:nvSpPr>
            <p:cNvPr id="241" name="Freeform 240">
              <a:extLst>
                <a:ext uri="{FF2B5EF4-FFF2-40B4-BE49-F238E27FC236}">
                  <a16:creationId xmlns:a16="http://schemas.microsoft.com/office/drawing/2014/main" id="{9284BD11-61E3-FF41-A2A2-06746D30589B}"/>
                </a:ext>
              </a:extLst>
            </p:cNvPr>
            <p:cNvSpPr/>
            <p:nvPr/>
          </p:nvSpPr>
          <p:spPr>
            <a:xfrm>
              <a:off x="6476984" y="4322952"/>
              <a:ext cx="174900" cy="233202"/>
            </a:xfrm>
            <a:custGeom>
              <a:avLst/>
              <a:gdLst>
                <a:gd name="connsiteX0" fmla="*/ 171718 w 174900"/>
                <a:gd name="connsiteY0" fmla="*/ 110591 h 233202"/>
                <a:gd name="connsiteX1" fmla="*/ 11372 w 174900"/>
                <a:gd name="connsiteY1" fmla="*/ 1272 h 233202"/>
                <a:gd name="connsiteX2" fmla="*/ 1271 w 174900"/>
                <a:gd name="connsiteY2" fmla="*/ 3161 h 233202"/>
                <a:gd name="connsiteX3" fmla="*/ 0 w 174900"/>
                <a:gd name="connsiteY3" fmla="*/ 7296 h 233202"/>
                <a:gd name="connsiteX4" fmla="*/ 0 w 174900"/>
                <a:gd name="connsiteY4" fmla="*/ 225907 h 233202"/>
                <a:gd name="connsiteX5" fmla="*/ 3890 w 174900"/>
                <a:gd name="connsiteY5" fmla="*/ 232363 h 233202"/>
                <a:gd name="connsiteX6" fmla="*/ 11372 w 174900"/>
                <a:gd name="connsiteY6" fmla="*/ 231931 h 233202"/>
                <a:gd name="connsiteX7" fmla="*/ 171718 w 174900"/>
                <a:gd name="connsiteY7" fmla="*/ 122612 h 233202"/>
                <a:gd name="connsiteX8" fmla="*/ 173644 w 174900"/>
                <a:gd name="connsiteY8" fmla="*/ 112518 h 233202"/>
                <a:gd name="connsiteX9" fmla="*/ 171718 w 174900"/>
                <a:gd name="connsiteY9" fmla="*/ 110591 h 233202"/>
                <a:gd name="connsiteX10" fmla="*/ 14560 w 174900"/>
                <a:gd name="connsiteY10" fmla="*/ 212131 h 233202"/>
                <a:gd name="connsiteX11" fmla="*/ 14560 w 174900"/>
                <a:gd name="connsiteY11" fmla="*/ 21072 h 233202"/>
                <a:gd name="connsiteX12" fmla="*/ 154673 w 174900"/>
                <a:gd name="connsiteY12" fmla="*/ 116615 h 23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900" h="233202">
                  <a:moveTo>
                    <a:pt x="171718" y="110591"/>
                  </a:moveTo>
                  <a:lnTo>
                    <a:pt x="11372" y="1272"/>
                  </a:lnTo>
                  <a:cubicBezTo>
                    <a:pt x="8061" y="-996"/>
                    <a:pt x="3539" y="-150"/>
                    <a:pt x="1271" y="3161"/>
                  </a:cubicBezTo>
                  <a:cubicBezTo>
                    <a:pt x="438" y="4378"/>
                    <a:pt x="-6" y="5820"/>
                    <a:pt x="0" y="7296"/>
                  </a:cubicBezTo>
                  <a:lnTo>
                    <a:pt x="0" y="225907"/>
                  </a:lnTo>
                  <a:cubicBezTo>
                    <a:pt x="-2" y="228614"/>
                    <a:pt x="1495" y="231099"/>
                    <a:pt x="3890" y="232363"/>
                  </a:cubicBezTo>
                  <a:cubicBezTo>
                    <a:pt x="6270" y="233622"/>
                    <a:pt x="9153" y="233454"/>
                    <a:pt x="11372" y="231931"/>
                  </a:cubicBezTo>
                  <a:lnTo>
                    <a:pt x="171718" y="122612"/>
                  </a:lnTo>
                  <a:cubicBezTo>
                    <a:pt x="175038" y="120356"/>
                    <a:pt x="175899" y="115837"/>
                    <a:pt x="173644" y="112518"/>
                  </a:cubicBezTo>
                  <a:cubicBezTo>
                    <a:pt x="173130" y="111760"/>
                    <a:pt x="172477" y="111106"/>
                    <a:pt x="171718" y="110591"/>
                  </a:cubicBezTo>
                  <a:close/>
                  <a:moveTo>
                    <a:pt x="14560" y="212131"/>
                  </a:moveTo>
                  <a:lnTo>
                    <a:pt x="14560" y="21072"/>
                  </a:lnTo>
                  <a:lnTo>
                    <a:pt x="154673" y="116615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42" name="Freeform 241">
              <a:extLst>
                <a:ext uri="{FF2B5EF4-FFF2-40B4-BE49-F238E27FC236}">
                  <a16:creationId xmlns:a16="http://schemas.microsoft.com/office/drawing/2014/main" id="{9ED3C8E3-CBE1-884C-82CC-9D9D3624E1E4}"/>
                </a:ext>
              </a:extLst>
            </p:cNvPr>
            <p:cNvSpPr/>
            <p:nvPr/>
          </p:nvSpPr>
          <p:spPr>
            <a:xfrm>
              <a:off x="6316638" y="4220929"/>
              <a:ext cx="437276" cy="437276"/>
            </a:xfrm>
            <a:custGeom>
              <a:avLst/>
              <a:gdLst>
                <a:gd name="connsiteX0" fmla="*/ 218638 w 437276"/>
                <a:gd name="connsiteY0" fmla="*/ 0 h 437276"/>
                <a:gd name="connsiteX1" fmla="*/ 0 w 437276"/>
                <a:gd name="connsiteY1" fmla="*/ 218638 h 437276"/>
                <a:gd name="connsiteX2" fmla="*/ 218638 w 437276"/>
                <a:gd name="connsiteY2" fmla="*/ 437276 h 437276"/>
                <a:gd name="connsiteX3" fmla="*/ 437276 w 437276"/>
                <a:gd name="connsiteY3" fmla="*/ 218638 h 437276"/>
                <a:gd name="connsiteX4" fmla="*/ 218638 w 437276"/>
                <a:gd name="connsiteY4" fmla="*/ 0 h 437276"/>
                <a:gd name="connsiteX5" fmla="*/ 218638 w 437276"/>
                <a:gd name="connsiteY5" fmla="*/ 422690 h 437276"/>
                <a:gd name="connsiteX6" fmla="*/ 14560 w 437276"/>
                <a:gd name="connsiteY6" fmla="*/ 218665 h 437276"/>
                <a:gd name="connsiteX7" fmla="*/ 218584 w 437276"/>
                <a:gd name="connsiteY7" fmla="*/ 14587 h 437276"/>
                <a:gd name="connsiteX8" fmla="*/ 422663 w 437276"/>
                <a:gd name="connsiteY8" fmla="*/ 218611 h 437276"/>
                <a:gd name="connsiteX9" fmla="*/ 422663 w 437276"/>
                <a:gd name="connsiteY9" fmla="*/ 218638 h 437276"/>
                <a:gd name="connsiteX10" fmla="*/ 218638 w 437276"/>
                <a:gd name="connsiteY10" fmla="*/ 422798 h 43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7276" h="437276">
                  <a:moveTo>
                    <a:pt x="218638" y="0"/>
                  </a:moveTo>
                  <a:cubicBezTo>
                    <a:pt x="97888" y="0"/>
                    <a:pt x="0" y="97888"/>
                    <a:pt x="0" y="218638"/>
                  </a:cubicBezTo>
                  <a:cubicBezTo>
                    <a:pt x="0" y="339389"/>
                    <a:pt x="97888" y="437276"/>
                    <a:pt x="218638" y="437276"/>
                  </a:cubicBezTo>
                  <a:cubicBezTo>
                    <a:pt x="339389" y="437276"/>
                    <a:pt x="437276" y="339389"/>
                    <a:pt x="437276" y="218638"/>
                  </a:cubicBezTo>
                  <a:cubicBezTo>
                    <a:pt x="437187" y="97925"/>
                    <a:pt x="339351" y="89"/>
                    <a:pt x="218638" y="0"/>
                  </a:cubicBezTo>
                  <a:close/>
                  <a:moveTo>
                    <a:pt x="218638" y="422690"/>
                  </a:moveTo>
                  <a:cubicBezTo>
                    <a:pt x="105944" y="422706"/>
                    <a:pt x="14575" y="331361"/>
                    <a:pt x="14560" y="218665"/>
                  </a:cubicBezTo>
                  <a:cubicBezTo>
                    <a:pt x="14545" y="105971"/>
                    <a:pt x="105890" y="14602"/>
                    <a:pt x="218584" y="14587"/>
                  </a:cubicBezTo>
                  <a:cubicBezTo>
                    <a:pt x="331280" y="14572"/>
                    <a:pt x="422646" y="105917"/>
                    <a:pt x="422663" y="218611"/>
                  </a:cubicBezTo>
                  <a:cubicBezTo>
                    <a:pt x="422663" y="218620"/>
                    <a:pt x="422663" y="218629"/>
                    <a:pt x="422663" y="218638"/>
                  </a:cubicBezTo>
                  <a:cubicBezTo>
                    <a:pt x="422587" y="331309"/>
                    <a:pt x="331310" y="422649"/>
                    <a:pt x="218638" y="422798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43" name="Graphic 71">
            <a:extLst>
              <a:ext uri="{FF2B5EF4-FFF2-40B4-BE49-F238E27FC236}">
                <a16:creationId xmlns:a16="http://schemas.microsoft.com/office/drawing/2014/main" id="{7ECA3A6C-A166-1B4D-A201-EF406DE3E021}"/>
              </a:ext>
            </a:extLst>
          </p:cNvPr>
          <p:cNvGrpSpPr/>
          <p:nvPr userDrawn="1"/>
        </p:nvGrpSpPr>
        <p:grpSpPr>
          <a:xfrm>
            <a:off x="6537868" y="2692959"/>
            <a:ext cx="343909" cy="336573"/>
            <a:chOff x="8738098" y="3275684"/>
            <a:chExt cx="480133" cy="480133"/>
          </a:xfrm>
          <a:solidFill>
            <a:schemeClr val="bg1"/>
          </a:solidFill>
        </p:grpSpPr>
        <p:sp>
          <p:nvSpPr>
            <p:cNvPr id="244" name="Freeform 243">
              <a:extLst>
                <a:ext uri="{FF2B5EF4-FFF2-40B4-BE49-F238E27FC236}">
                  <a16:creationId xmlns:a16="http://schemas.microsoft.com/office/drawing/2014/main" id="{5625E7B9-E4BA-814B-A50A-9096AE2B09B0}"/>
                </a:ext>
              </a:extLst>
            </p:cNvPr>
            <p:cNvSpPr/>
            <p:nvPr/>
          </p:nvSpPr>
          <p:spPr>
            <a:xfrm>
              <a:off x="8956558" y="3665251"/>
              <a:ext cx="60676" cy="60676"/>
            </a:xfrm>
            <a:custGeom>
              <a:avLst/>
              <a:gdLst>
                <a:gd name="connsiteX0" fmla="*/ 60677 w 60676"/>
                <a:gd name="connsiteY0" fmla="*/ 30338 h 60676"/>
                <a:gd name="connsiteX1" fmla="*/ 30338 w 60676"/>
                <a:gd name="connsiteY1" fmla="*/ 60677 h 60676"/>
                <a:gd name="connsiteX2" fmla="*/ 0 w 60676"/>
                <a:gd name="connsiteY2" fmla="*/ 30338 h 60676"/>
                <a:gd name="connsiteX3" fmla="*/ 30338 w 60676"/>
                <a:gd name="connsiteY3" fmla="*/ 0 h 60676"/>
                <a:gd name="connsiteX4" fmla="*/ 60677 w 60676"/>
                <a:gd name="connsiteY4" fmla="*/ 30338 h 60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76" h="60676">
                  <a:moveTo>
                    <a:pt x="60677" y="30338"/>
                  </a:moveTo>
                  <a:cubicBezTo>
                    <a:pt x="60677" y="47094"/>
                    <a:pt x="47094" y="60677"/>
                    <a:pt x="30338" y="60677"/>
                  </a:cubicBezTo>
                  <a:cubicBezTo>
                    <a:pt x="13583" y="60677"/>
                    <a:pt x="0" y="47094"/>
                    <a:pt x="0" y="30338"/>
                  </a:cubicBezTo>
                  <a:cubicBezTo>
                    <a:pt x="0" y="13583"/>
                    <a:pt x="13583" y="0"/>
                    <a:pt x="30338" y="0"/>
                  </a:cubicBezTo>
                  <a:cubicBezTo>
                    <a:pt x="47094" y="0"/>
                    <a:pt x="60677" y="13583"/>
                    <a:pt x="60677" y="30338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45" name="Freeform 244">
              <a:extLst>
                <a:ext uri="{FF2B5EF4-FFF2-40B4-BE49-F238E27FC236}">
                  <a16:creationId xmlns:a16="http://schemas.microsoft.com/office/drawing/2014/main" id="{6AFF4801-3A64-0447-81C5-FCAB3177E25A}"/>
                </a:ext>
              </a:extLst>
            </p:cNvPr>
            <p:cNvSpPr/>
            <p:nvPr/>
          </p:nvSpPr>
          <p:spPr>
            <a:xfrm>
              <a:off x="8752656" y="3339028"/>
              <a:ext cx="470542" cy="131576"/>
            </a:xfrm>
            <a:custGeom>
              <a:avLst/>
              <a:gdLst>
                <a:gd name="connsiteX0" fmla="*/ 465574 w 470542"/>
                <a:gd name="connsiteY0" fmla="*/ 100501 h 131576"/>
                <a:gd name="connsiteX1" fmla="*/ 21559 w 470542"/>
                <a:gd name="connsiteY1" fmla="*/ 83860 h 131576"/>
                <a:gd name="connsiteX2" fmla="*/ 4917 w 470542"/>
                <a:gd name="connsiteY2" fmla="*/ 100501 h 131576"/>
                <a:gd name="connsiteX3" fmla="*/ 5892 w 470542"/>
                <a:gd name="connsiteY3" fmla="*/ 126534 h 131576"/>
                <a:gd name="connsiteX4" fmla="*/ 31924 w 470542"/>
                <a:gd name="connsiteY4" fmla="*/ 125558 h 131576"/>
                <a:gd name="connsiteX5" fmla="*/ 424043 w 470542"/>
                <a:gd name="connsiteY5" fmla="*/ 111174 h 131576"/>
                <a:gd name="connsiteX6" fmla="*/ 438567 w 470542"/>
                <a:gd name="connsiteY6" fmla="*/ 125708 h 131576"/>
                <a:gd name="connsiteX7" fmla="*/ 464674 w 470542"/>
                <a:gd name="connsiteY7" fmla="*/ 126609 h 131576"/>
                <a:gd name="connsiteX8" fmla="*/ 465574 w 470542"/>
                <a:gd name="connsiteY8" fmla="*/ 100501 h 13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0542" h="131576">
                  <a:moveTo>
                    <a:pt x="465574" y="100501"/>
                  </a:moveTo>
                  <a:cubicBezTo>
                    <a:pt x="347558" y="-26706"/>
                    <a:pt x="148766" y="-34156"/>
                    <a:pt x="21559" y="83860"/>
                  </a:cubicBezTo>
                  <a:cubicBezTo>
                    <a:pt x="15805" y="89197"/>
                    <a:pt x="10254" y="94748"/>
                    <a:pt x="4917" y="100501"/>
                  </a:cubicBezTo>
                  <a:cubicBezTo>
                    <a:pt x="-2002" y="107959"/>
                    <a:pt x="-1566" y="119614"/>
                    <a:pt x="5892" y="126534"/>
                  </a:cubicBezTo>
                  <a:cubicBezTo>
                    <a:pt x="13350" y="133453"/>
                    <a:pt x="25005" y="133016"/>
                    <a:pt x="31924" y="125558"/>
                  </a:cubicBezTo>
                  <a:cubicBezTo>
                    <a:pt x="136233" y="13306"/>
                    <a:pt x="311791" y="6866"/>
                    <a:pt x="424043" y="111174"/>
                  </a:cubicBezTo>
                  <a:cubicBezTo>
                    <a:pt x="429063" y="115838"/>
                    <a:pt x="433907" y="120686"/>
                    <a:pt x="438567" y="125708"/>
                  </a:cubicBezTo>
                  <a:cubicBezTo>
                    <a:pt x="445529" y="133166"/>
                    <a:pt x="457217" y="133569"/>
                    <a:pt x="464674" y="126609"/>
                  </a:cubicBezTo>
                  <a:cubicBezTo>
                    <a:pt x="472131" y="119648"/>
                    <a:pt x="472536" y="107959"/>
                    <a:pt x="465574" y="100501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46" name="Freeform 245">
              <a:extLst>
                <a:ext uri="{FF2B5EF4-FFF2-40B4-BE49-F238E27FC236}">
                  <a16:creationId xmlns:a16="http://schemas.microsoft.com/office/drawing/2014/main" id="{FA6CE309-5814-E544-9DD5-1DE687EDEFDB}"/>
                </a:ext>
              </a:extLst>
            </p:cNvPr>
            <p:cNvSpPr/>
            <p:nvPr/>
          </p:nvSpPr>
          <p:spPr>
            <a:xfrm>
              <a:off x="8819784" y="3445651"/>
              <a:ext cx="335811" cy="101093"/>
            </a:xfrm>
            <a:custGeom>
              <a:avLst/>
              <a:gdLst>
                <a:gd name="connsiteX0" fmla="*/ 330867 w 335811"/>
                <a:gd name="connsiteY0" fmla="*/ 69769 h 101093"/>
                <a:gd name="connsiteX1" fmla="*/ 168012 w 335811"/>
                <a:gd name="connsiteY1" fmla="*/ 0 h 101093"/>
                <a:gd name="connsiteX2" fmla="*/ 5337 w 335811"/>
                <a:gd name="connsiteY2" fmla="*/ 69769 h 101093"/>
                <a:gd name="connsiteX3" fmla="*/ 5427 w 335811"/>
                <a:gd name="connsiteY3" fmla="*/ 95757 h 101093"/>
                <a:gd name="connsiteX4" fmla="*/ 31414 w 335811"/>
                <a:gd name="connsiteY4" fmla="*/ 95667 h 101093"/>
                <a:gd name="connsiteX5" fmla="*/ 168012 w 335811"/>
                <a:gd name="connsiteY5" fmla="*/ 36760 h 101093"/>
                <a:gd name="connsiteX6" fmla="*/ 304760 w 335811"/>
                <a:gd name="connsiteY6" fmla="*/ 95667 h 101093"/>
                <a:gd name="connsiteX7" fmla="*/ 330765 w 335811"/>
                <a:gd name="connsiteY7" fmla="*/ 94976 h 101093"/>
                <a:gd name="connsiteX8" fmla="*/ 330867 w 335811"/>
                <a:gd name="connsiteY8" fmla="*/ 69769 h 101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5811" h="101093">
                  <a:moveTo>
                    <a:pt x="330867" y="69769"/>
                  </a:moveTo>
                  <a:cubicBezTo>
                    <a:pt x="288145" y="25601"/>
                    <a:pt x="229460" y="460"/>
                    <a:pt x="168012" y="0"/>
                  </a:cubicBezTo>
                  <a:cubicBezTo>
                    <a:pt x="106626" y="502"/>
                    <a:pt x="48013" y="25640"/>
                    <a:pt x="5337" y="69769"/>
                  </a:cubicBezTo>
                  <a:cubicBezTo>
                    <a:pt x="-1814" y="76970"/>
                    <a:pt x="-1774" y="88605"/>
                    <a:pt x="5427" y="95757"/>
                  </a:cubicBezTo>
                  <a:cubicBezTo>
                    <a:pt x="12628" y="102908"/>
                    <a:pt x="24263" y="102868"/>
                    <a:pt x="31414" y="95667"/>
                  </a:cubicBezTo>
                  <a:cubicBezTo>
                    <a:pt x="67210" y="58515"/>
                    <a:pt x="116424" y="37292"/>
                    <a:pt x="168012" y="36760"/>
                  </a:cubicBezTo>
                  <a:cubicBezTo>
                    <a:pt x="219654" y="37245"/>
                    <a:pt x="268930" y="58472"/>
                    <a:pt x="304760" y="95667"/>
                  </a:cubicBezTo>
                  <a:cubicBezTo>
                    <a:pt x="312133" y="102657"/>
                    <a:pt x="323776" y="102348"/>
                    <a:pt x="330765" y="94976"/>
                  </a:cubicBezTo>
                  <a:cubicBezTo>
                    <a:pt x="337454" y="87921"/>
                    <a:pt x="337499" y="76878"/>
                    <a:pt x="330867" y="69769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47" name="Freeform 246">
              <a:extLst>
                <a:ext uri="{FF2B5EF4-FFF2-40B4-BE49-F238E27FC236}">
                  <a16:creationId xmlns:a16="http://schemas.microsoft.com/office/drawing/2014/main" id="{1327EBBF-F32B-AE49-92E5-598E53E1B8E3}"/>
                </a:ext>
              </a:extLst>
            </p:cNvPr>
            <p:cNvSpPr/>
            <p:nvPr/>
          </p:nvSpPr>
          <p:spPr>
            <a:xfrm>
              <a:off x="8891399" y="3553140"/>
              <a:ext cx="191548" cy="70256"/>
            </a:xfrm>
            <a:custGeom>
              <a:avLst/>
              <a:gdLst>
                <a:gd name="connsiteX0" fmla="*/ 185792 w 191548"/>
                <a:gd name="connsiteY0" fmla="*/ 38411 h 70256"/>
                <a:gd name="connsiteX1" fmla="*/ 96337 w 191548"/>
                <a:gd name="connsiteY1" fmla="*/ 0 h 70256"/>
                <a:gd name="connsiteX2" fmla="*/ 94897 w 191548"/>
                <a:gd name="connsiteY2" fmla="*/ 0 h 70256"/>
                <a:gd name="connsiteX3" fmla="*/ 5442 w 191548"/>
                <a:gd name="connsiteY3" fmla="*/ 38411 h 70256"/>
                <a:gd name="connsiteX4" fmla="*/ 5322 w 191548"/>
                <a:gd name="connsiteY4" fmla="*/ 64398 h 70256"/>
                <a:gd name="connsiteX5" fmla="*/ 31309 w 191548"/>
                <a:gd name="connsiteY5" fmla="*/ 64518 h 70256"/>
                <a:gd name="connsiteX6" fmla="*/ 94897 w 191548"/>
                <a:gd name="connsiteY6" fmla="*/ 36760 h 70256"/>
                <a:gd name="connsiteX7" fmla="*/ 96247 w 191548"/>
                <a:gd name="connsiteY7" fmla="*/ 36760 h 70256"/>
                <a:gd name="connsiteX8" fmla="*/ 159805 w 191548"/>
                <a:gd name="connsiteY8" fmla="*/ 64518 h 70256"/>
                <a:gd name="connsiteX9" fmla="*/ 185810 w 191548"/>
                <a:gd name="connsiteY9" fmla="*/ 65208 h 70256"/>
                <a:gd name="connsiteX10" fmla="*/ 186500 w 191548"/>
                <a:gd name="connsiteY10" fmla="*/ 39203 h 70256"/>
                <a:gd name="connsiteX11" fmla="*/ 185702 w 191548"/>
                <a:gd name="connsiteY11" fmla="*/ 38411 h 70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1548" h="70256">
                  <a:moveTo>
                    <a:pt x="185792" y="38411"/>
                  </a:moveTo>
                  <a:cubicBezTo>
                    <a:pt x="161924" y="14726"/>
                    <a:pt x="129948" y="996"/>
                    <a:pt x="96337" y="0"/>
                  </a:cubicBezTo>
                  <a:lnTo>
                    <a:pt x="94897" y="0"/>
                  </a:lnTo>
                  <a:cubicBezTo>
                    <a:pt x="61285" y="990"/>
                    <a:pt x="29307" y="14721"/>
                    <a:pt x="5442" y="38411"/>
                  </a:cubicBezTo>
                  <a:cubicBezTo>
                    <a:pt x="-1767" y="45553"/>
                    <a:pt x="-1821" y="57190"/>
                    <a:pt x="5322" y="64398"/>
                  </a:cubicBezTo>
                  <a:cubicBezTo>
                    <a:pt x="12465" y="71606"/>
                    <a:pt x="24100" y="71660"/>
                    <a:pt x="31309" y="64518"/>
                  </a:cubicBezTo>
                  <a:cubicBezTo>
                    <a:pt x="48305" y="47665"/>
                    <a:pt x="70983" y="37765"/>
                    <a:pt x="94897" y="36760"/>
                  </a:cubicBezTo>
                  <a:lnTo>
                    <a:pt x="96247" y="36760"/>
                  </a:lnTo>
                  <a:cubicBezTo>
                    <a:pt x="120151" y="37771"/>
                    <a:pt x="142817" y="47671"/>
                    <a:pt x="159805" y="64518"/>
                  </a:cubicBezTo>
                  <a:cubicBezTo>
                    <a:pt x="166794" y="71891"/>
                    <a:pt x="178437" y="72200"/>
                    <a:pt x="185810" y="65208"/>
                  </a:cubicBezTo>
                  <a:cubicBezTo>
                    <a:pt x="193183" y="58219"/>
                    <a:pt x="193492" y="46576"/>
                    <a:pt x="186500" y="39203"/>
                  </a:cubicBezTo>
                  <a:cubicBezTo>
                    <a:pt x="186242" y="38930"/>
                    <a:pt x="185975" y="38666"/>
                    <a:pt x="185702" y="38411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48" name="Graphic 283">
            <a:extLst>
              <a:ext uri="{FF2B5EF4-FFF2-40B4-BE49-F238E27FC236}">
                <a16:creationId xmlns:a16="http://schemas.microsoft.com/office/drawing/2014/main" id="{C010FD7E-E99C-894F-9A43-EFE29E82B49B}"/>
              </a:ext>
            </a:extLst>
          </p:cNvPr>
          <p:cNvGrpSpPr/>
          <p:nvPr userDrawn="1"/>
        </p:nvGrpSpPr>
        <p:grpSpPr>
          <a:xfrm>
            <a:off x="8167654" y="1379483"/>
            <a:ext cx="396453" cy="387996"/>
            <a:chOff x="11013451" y="1300103"/>
            <a:chExt cx="587881" cy="587881"/>
          </a:xfrm>
          <a:solidFill>
            <a:schemeClr val="bg1"/>
          </a:solidFill>
        </p:grpSpPr>
        <p:sp>
          <p:nvSpPr>
            <p:cNvPr id="249" name="Freeform 248">
              <a:extLst>
                <a:ext uri="{FF2B5EF4-FFF2-40B4-BE49-F238E27FC236}">
                  <a16:creationId xmlns:a16="http://schemas.microsoft.com/office/drawing/2014/main" id="{FB59B968-67FD-7441-A0A1-E7950C95E5AC}"/>
                </a:ext>
              </a:extLst>
            </p:cNvPr>
            <p:cNvSpPr/>
            <p:nvPr/>
          </p:nvSpPr>
          <p:spPr>
            <a:xfrm>
              <a:off x="11013451" y="1300103"/>
              <a:ext cx="587881" cy="587881"/>
            </a:xfrm>
            <a:custGeom>
              <a:avLst/>
              <a:gdLst>
                <a:gd name="connsiteX0" fmla="*/ 0 w 587881"/>
                <a:gd name="connsiteY0" fmla="*/ 293941 h 587881"/>
                <a:gd name="connsiteX1" fmla="*/ 293941 w 587881"/>
                <a:gd name="connsiteY1" fmla="*/ 587881 h 587881"/>
                <a:gd name="connsiteX2" fmla="*/ 587881 w 587881"/>
                <a:gd name="connsiteY2" fmla="*/ 293941 h 587881"/>
                <a:gd name="connsiteX3" fmla="*/ 293941 w 587881"/>
                <a:gd name="connsiteY3" fmla="*/ 0 h 587881"/>
                <a:gd name="connsiteX4" fmla="*/ 0 w 587881"/>
                <a:gd name="connsiteY4" fmla="*/ 293941 h 587881"/>
                <a:gd name="connsiteX5" fmla="*/ 19596 w 587881"/>
                <a:gd name="connsiteY5" fmla="*/ 293941 h 587881"/>
                <a:gd name="connsiteX6" fmla="*/ 293941 w 587881"/>
                <a:gd name="connsiteY6" fmla="*/ 19596 h 587881"/>
                <a:gd name="connsiteX7" fmla="*/ 568279 w 587881"/>
                <a:gd name="connsiteY7" fmla="*/ 293941 h 587881"/>
                <a:gd name="connsiteX8" fmla="*/ 293941 w 587881"/>
                <a:gd name="connsiteY8" fmla="*/ 568280 h 587881"/>
                <a:gd name="connsiteX9" fmla="*/ 19596 w 587881"/>
                <a:gd name="connsiteY9" fmla="*/ 293941 h 587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7881" h="587881">
                  <a:moveTo>
                    <a:pt x="0" y="293941"/>
                  </a:moveTo>
                  <a:cubicBezTo>
                    <a:pt x="0" y="456016"/>
                    <a:pt x="131861" y="587881"/>
                    <a:pt x="293941" y="587881"/>
                  </a:cubicBezTo>
                  <a:cubicBezTo>
                    <a:pt x="456021" y="587881"/>
                    <a:pt x="587881" y="456021"/>
                    <a:pt x="587881" y="293941"/>
                  </a:cubicBezTo>
                  <a:cubicBezTo>
                    <a:pt x="587881" y="131861"/>
                    <a:pt x="456014" y="0"/>
                    <a:pt x="293941" y="0"/>
                  </a:cubicBezTo>
                  <a:cubicBezTo>
                    <a:pt x="131867" y="0"/>
                    <a:pt x="0" y="131861"/>
                    <a:pt x="0" y="293941"/>
                  </a:cubicBezTo>
                  <a:close/>
                  <a:moveTo>
                    <a:pt x="19596" y="293941"/>
                  </a:moveTo>
                  <a:cubicBezTo>
                    <a:pt x="19596" y="142668"/>
                    <a:pt x="142667" y="19596"/>
                    <a:pt x="293941" y="19596"/>
                  </a:cubicBezTo>
                  <a:cubicBezTo>
                    <a:pt x="445215" y="19596"/>
                    <a:pt x="568279" y="142667"/>
                    <a:pt x="568279" y="293941"/>
                  </a:cubicBezTo>
                  <a:cubicBezTo>
                    <a:pt x="568279" y="445215"/>
                    <a:pt x="445208" y="568280"/>
                    <a:pt x="293941" y="568280"/>
                  </a:cubicBezTo>
                  <a:cubicBezTo>
                    <a:pt x="142673" y="568280"/>
                    <a:pt x="19596" y="445208"/>
                    <a:pt x="19596" y="293941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50" name="Freeform 249">
              <a:extLst>
                <a:ext uri="{FF2B5EF4-FFF2-40B4-BE49-F238E27FC236}">
                  <a16:creationId xmlns:a16="http://schemas.microsoft.com/office/drawing/2014/main" id="{ECB0C67E-65B7-7C41-A2E7-7F439F12D3DD}"/>
                </a:ext>
              </a:extLst>
            </p:cNvPr>
            <p:cNvSpPr/>
            <p:nvPr/>
          </p:nvSpPr>
          <p:spPr>
            <a:xfrm>
              <a:off x="11297590" y="1367503"/>
              <a:ext cx="19596" cy="29394"/>
            </a:xfrm>
            <a:custGeom>
              <a:avLst/>
              <a:gdLst>
                <a:gd name="connsiteX0" fmla="*/ 19596 w 19596"/>
                <a:gd name="connsiteY0" fmla="*/ 19596 h 29394"/>
                <a:gd name="connsiteX1" fmla="*/ 19596 w 19596"/>
                <a:gd name="connsiteY1" fmla="*/ 9798 h 29394"/>
                <a:gd name="connsiteX2" fmla="*/ 9798 w 19596"/>
                <a:gd name="connsiteY2" fmla="*/ 0 h 29394"/>
                <a:gd name="connsiteX3" fmla="*/ 0 w 19596"/>
                <a:gd name="connsiteY3" fmla="*/ 9798 h 29394"/>
                <a:gd name="connsiteX4" fmla="*/ 0 w 19596"/>
                <a:gd name="connsiteY4" fmla="*/ 19596 h 29394"/>
                <a:gd name="connsiteX5" fmla="*/ 9798 w 19596"/>
                <a:gd name="connsiteY5" fmla="*/ 29394 h 29394"/>
                <a:gd name="connsiteX6" fmla="*/ 19596 w 19596"/>
                <a:gd name="connsiteY6" fmla="*/ 19596 h 2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96" h="29394">
                  <a:moveTo>
                    <a:pt x="19596" y="19596"/>
                  </a:moveTo>
                  <a:lnTo>
                    <a:pt x="19596" y="9798"/>
                  </a:lnTo>
                  <a:cubicBezTo>
                    <a:pt x="19596" y="4387"/>
                    <a:pt x="15209" y="0"/>
                    <a:pt x="9798" y="0"/>
                  </a:cubicBezTo>
                  <a:cubicBezTo>
                    <a:pt x="4387" y="0"/>
                    <a:pt x="0" y="4387"/>
                    <a:pt x="0" y="9798"/>
                  </a:cubicBezTo>
                  <a:lnTo>
                    <a:pt x="0" y="19596"/>
                  </a:lnTo>
                  <a:cubicBezTo>
                    <a:pt x="0" y="25007"/>
                    <a:pt x="4387" y="29394"/>
                    <a:pt x="9798" y="29394"/>
                  </a:cubicBezTo>
                  <a:cubicBezTo>
                    <a:pt x="15209" y="29394"/>
                    <a:pt x="19596" y="25007"/>
                    <a:pt x="19596" y="19596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51" name="Freeform 250">
              <a:extLst>
                <a:ext uri="{FF2B5EF4-FFF2-40B4-BE49-F238E27FC236}">
                  <a16:creationId xmlns:a16="http://schemas.microsoft.com/office/drawing/2014/main" id="{A8CED43E-1FF0-2442-B34D-F2FCE2DF25E9}"/>
                </a:ext>
              </a:extLst>
            </p:cNvPr>
            <p:cNvSpPr/>
            <p:nvPr/>
          </p:nvSpPr>
          <p:spPr>
            <a:xfrm>
              <a:off x="11297589" y="1788814"/>
              <a:ext cx="19596" cy="29493"/>
            </a:xfrm>
            <a:custGeom>
              <a:avLst/>
              <a:gdLst>
                <a:gd name="connsiteX0" fmla="*/ 1 w 19596"/>
                <a:gd name="connsiteY0" fmla="*/ 9798 h 29493"/>
                <a:gd name="connsiteX1" fmla="*/ 1 w 19596"/>
                <a:gd name="connsiteY1" fmla="*/ 19596 h 29493"/>
                <a:gd name="connsiteX2" fmla="*/ 9699 w 19596"/>
                <a:gd name="connsiteY2" fmla="*/ 29493 h 29493"/>
                <a:gd name="connsiteX3" fmla="*/ 19596 w 19596"/>
                <a:gd name="connsiteY3" fmla="*/ 19795 h 29493"/>
                <a:gd name="connsiteX4" fmla="*/ 19596 w 19596"/>
                <a:gd name="connsiteY4" fmla="*/ 19596 h 29493"/>
                <a:gd name="connsiteX5" fmla="*/ 19596 w 19596"/>
                <a:gd name="connsiteY5" fmla="*/ 9798 h 29493"/>
                <a:gd name="connsiteX6" fmla="*/ 9798 w 19596"/>
                <a:gd name="connsiteY6" fmla="*/ 0 h 29493"/>
                <a:gd name="connsiteX7" fmla="*/ 0 w 19596"/>
                <a:gd name="connsiteY7" fmla="*/ 9798 h 2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96" h="29493">
                  <a:moveTo>
                    <a:pt x="1" y="9798"/>
                  </a:moveTo>
                  <a:lnTo>
                    <a:pt x="1" y="19596"/>
                  </a:lnTo>
                  <a:cubicBezTo>
                    <a:pt x="-54" y="25007"/>
                    <a:pt x="4288" y="29438"/>
                    <a:pt x="9699" y="29493"/>
                  </a:cubicBezTo>
                  <a:cubicBezTo>
                    <a:pt x="15110" y="29548"/>
                    <a:pt x="19541" y="25206"/>
                    <a:pt x="19596" y="19795"/>
                  </a:cubicBezTo>
                  <a:cubicBezTo>
                    <a:pt x="19597" y="19728"/>
                    <a:pt x="19597" y="19662"/>
                    <a:pt x="19596" y="19596"/>
                  </a:cubicBezTo>
                  <a:lnTo>
                    <a:pt x="19596" y="9798"/>
                  </a:lnTo>
                  <a:cubicBezTo>
                    <a:pt x="19596" y="4387"/>
                    <a:pt x="15209" y="0"/>
                    <a:pt x="9798" y="0"/>
                  </a:cubicBezTo>
                  <a:cubicBezTo>
                    <a:pt x="4387" y="0"/>
                    <a:pt x="0" y="4387"/>
                    <a:pt x="0" y="9798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52" name="Freeform 251">
              <a:extLst>
                <a:ext uri="{FF2B5EF4-FFF2-40B4-BE49-F238E27FC236}">
                  <a16:creationId xmlns:a16="http://schemas.microsoft.com/office/drawing/2014/main" id="{A4DB82F8-34B0-E748-93E1-EC8E19CF6CA5}"/>
                </a:ext>
              </a:extLst>
            </p:cNvPr>
            <p:cNvSpPr/>
            <p:nvPr/>
          </p:nvSpPr>
          <p:spPr>
            <a:xfrm>
              <a:off x="11082036" y="1583057"/>
              <a:ext cx="29394" cy="19596"/>
            </a:xfrm>
            <a:custGeom>
              <a:avLst/>
              <a:gdLst>
                <a:gd name="connsiteX0" fmla="*/ 0 w 29394"/>
                <a:gd name="connsiteY0" fmla="*/ 9798 h 19596"/>
                <a:gd name="connsiteX1" fmla="*/ 9794 w 29394"/>
                <a:gd name="connsiteY1" fmla="*/ 19596 h 19596"/>
                <a:gd name="connsiteX2" fmla="*/ 9798 w 29394"/>
                <a:gd name="connsiteY2" fmla="*/ 19596 h 19596"/>
                <a:gd name="connsiteX3" fmla="*/ 19596 w 29394"/>
                <a:gd name="connsiteY3" fmla="*/ 19596 h 19596"/>
                <a:gd name="connsiteX4" fmla="*/ 29394 w 29394"/>
                <a:gd name="connsiteY4" fmla="*/ 9798 h 19596"/>
                <a:gd name="connsiteX5" fmla="*/ 19596 w 29394"/>
                <a:gd name="connsiteY5" fmla="*/ 0 h 19596"/>
                <a:gd name="connsiteX6" fmla="*/ 9798 w 29394"/>
                <a:gd name="connsiteY6" fmla="*/ 0 h 19596"/>
                <a:gd name="connsiteX7" fmla="*/ 0 w 29394"/>
                <a:gd name="connsiteY7" fmla="*/ 9794 h 19596"/>
                <a:gd name="connsiteX8" fmla="*/ 0 w 29394"/>
                <a:gd name="connsiteY8" fmla="*/ 9798 h 19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4" h="19596">
                  <a:moveTo>
                    <a:pt x="0" y="9798"/>
                  </a:moveTo>
                  <a:cubicBezTo>
                    <a:pt x="-1" y="15208"/>
                    <a:pt x="4384" y="19595"/>
                    <a:pt x="9794" y="19596"/>
                  </a:cubicBezTo>
                  <a:cubicBezTo>
                    <a:pt x="9795" y="19596"/>
                    <a:pt x="9797" y="19596"/>
                    <a:pt x="9798" y="19596"/>
                  </a:cubicBezTo>
                  <a:lnTo>
                    <a:pt x="19596" y="19596"/>
                  </a:lnTo>
                  <a:cubicBezTo>
                    <a:pt x="25007" y="19596"/>
                    <a:pt x="29394" y="15209"/>
                    <a:pt x="29394" y="9798"/>
                  </a:cubicBezTo>
                  <a:cubicBezTo>
                    <a:pt x="29394" y="4387"/>
                    <a:pt x="25007" y="0"/>
                    <a:pt x="19596" y="0"/>
                  </a:cubicBezTo>
                  <a:lnTo>
                    <a:pt x="9798" y="0"/>
                  </a:lnTo>
                  <a:cubicBezTo>
                    <a:pt x="4388" y="-1"/>
                    <a:pt x="1" y="4384"/>
                    <a:pt x="0" y="9794"/>
                  </a:cubicBezTo>
                  <a:cubicBezTo>
                    <a:pt x="0" y="9795"/>
                    <a:pt x="0" y="9797"/>
                    <a:pt x="0" y="9798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53" name="Freeform 252">
              <a:extLst>
                <a:ext uri="{FF2B5EF4-FFF2-40B4-BE49-F238E27FC236}">
                  <a16:creationId xmlns:a16="http://schemas.microsoft.com/office/drawing/2014/main" id="{EB709791-B637-3149-825E-D3FE7A164683}"/>
                </a:ext>
              </a:extLst>
            </p:cNvPr>
            <p:cNvSpPr/>
            <p:nvPr/>
          </p:nvSpPr>
          <p:spPr>
            <a:xfrm>
              <a:off x="11503352" y="1583057"/>
              <a:ext cx="29493" cy="19596"/>
            </a:xfrm>
            <a:custGeom>
              <a:avLst/>
              <a:gdLst>
                <a:gd name="connsiteX0" fmla="*/ 0 w 29493"/>
                <a:gd name="connsiteY0" fmla="*/ 9799 h 19596"/>
                <a:gd name="connsiteX1" fmla="*/ 9793 w 29493"/>
                <a:gd name="connsiteY1" fmla="*/ 19596 h 19596"/>
                <a:gd name="connsiteX2" fmla="*/ 9798 w 29493"/>
                <a:gd name="connsiteY2" fmla="*/ 19596 h 19596"/>
                <a:gd name="connsiteX3" fmla="*/ 19596 w 29493"/>
                <a:gd name="connsiteY3" fmla="*/ 19596 h 19596"/>
                <a:gd name="connsiteX4" fmla="*/ 29493 w 29493"/>
                <a:gd name="connsiteY4" fmla="*/ 9897 h 19596"/>
                <a:gd name="connsiteX5" fmla="*/ 19795 w 29493"/>
                <a:gd name="connsiteY5" fmla="*/ 1 h 19596"/>
                <a:gd name="connsiteX6" fmla="*/ 19596 w 29493"/>
                <a:gd name="connsiteY6" fmla="*/ 1 h 19596"/>
                <a:gd name="connsiteX7" fmla="*/ 9798 w 29493"/>
                <a:gd name="connsiteY7" fmla="*/ 1 h 19596"/>
                <a:gd name="connsiteX8" fmla="*/ 0 w 29493"/>
                <a:gd name="connsiteY8" fmla="*/ 9793 h 19596"/>
                <a:gd name="connsiteX9" fmla="*/ 0 w 29493"/>
                <a:gd name="connsiteY9" fmla="*/ 9799 h 19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493" h="19596">
                  <a:moveTo>
                    <a:pt x="0" y="9799"/>
                  </a:moveTo>
                  <a:cubicBezTo>
                    <a:pt x="-1" y="15208"/>
                    <a:pt x="4383" y="19594"/>
                    <a:pt x="9793" y="19596"/>
                  </a:cubicBezTo>
                  <a:cubicBezTo>
                    <a:pt x="9795" y="19596"/>
                    <a:pt x="9796" y="19596"/>
                    <a:pt x="9798" y="19596"/>
                  </a:cubicBezTo>
                  <a:lnTo>
                    <a:pt x="19596" y="19596"/>
                  </a:lnTo>
                  <a:cubicBezTo>
                    <a:pt x="25007" y="19650"/>
                    <a:pt x="29438" y="15308"/>
                    <a:pt x="29493" y="9897"/>
                  </a:cubicBezTo>
                  <a:cubicBezTo>
                    <a:pt x="29548" y="4486"/>
                    <a:pt x="25206" y="55"/>
                    <a:pt x="19795" y="1"/>
                  </a:cubicBezTo>
                  <a:cubicBezTo>
                    <a:pt x="19728" y="0"/>
                    <a:pt x="19662" y="0"/>
                    <a:pt x="19596" y="1"/>
                  </a:cubicBezTo>
                  <a:lnTo>
                    <a:pt x="9798" y="1"/>
                  </a:lnTo>
                  <a:cubicBezTo>
                    <a:pt x="4388" y="-1"/>
                    <a:pt x="2" y="4383"/>
                    <a:pt x="0" y="9793"/>
                  </a:cubicBezTo>
                  <a:cubicBezTo>
                    <a:pt x="0" y="9795"/>
                    <a:pt x="0" y="9797"/>
                    <a:pt x="0" y="9799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54" name="Freeform 253">
              <a:extLst>
                <a:ext uri="{FF2B5EF4-FFF2-40B4-BE49-F238E27FC236}">
                  <a16:creationId xmlns:a16="http://schemas.microsoft.com/office/drawing/2014/main" id="{46E3E343-51C6-4E43-986E-EA6FDDE1A2F2}"/>
                </a:ext>
              </a:extLst>
            </p:cNvPr>
            <p:cNvSpPr/>
            <p:nvPr/>
          </p:nvSpPr>
          <p:spPr>
            <a:xfrm>
              <a:off x="11145174" y="1430636"/>
              <a:ext cx="26680" cy="26676"/>
            </a:xfrm>
            <a:custGeom>
              <a:avLst/>
              <a:gdLst>
                <a:gd name="connsiteX0" fmla="*/ 2873 w 26680"/>
                <a:gd name="connsiteY0" fmla="*/ 2865 h 26676"/>
                <a:gd name="connsiteX1" fmla="*/ 2860 w 26680"/>
                <a:gd name="connsiteY1" fmla="*/ 16706 h 26676"/>
                <a:gd name="connsiteX2" fmla="*/ 2873 w 26680"/>
                <a:gd name="connsiteY2" fmla="*/ 16719 h 26676"/>
                <a:gd name="connsiteX3" fmla="*/ 9800 w 26680"/>
                <a:gd name="connsiteY3" fmla="*/ 23646 h 26676"/>
                <a:gd name="connsiteX4" fmla="*/ 23650 w 26680"/>
                <a:gd name="connsiteY4" fmla="*/ 23965 h 26676"/>
                <a:gd name="connsiteX5" fmla="*/ 23968 w 26680"/>
                <a:gd name="connsiteY5" fmla="*/ 10115 h 26676"/>
                <a:gd name="connsiteX6" fmla="*/ 23651 w 26680"/>
                <a:gd name="connsiteY6" fmla="*/ 9797 h 26676"/>
                <a:gd name="connsiteX7" fmla="*/ 16724 w 26680"/>
                <a:gd name="connsiteY7" fmla="*/ 2870 h 26676"/>
                <a:gd name="connsiteX8" fmla="*/ 2873 w 26680"/>
                <a:gd name="connsiteY8" fmla="*/ 2865 h 26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680" h="26676">
                  <a:moveTo>
                    <a:pt x="2873" y="2865"/>
                  </a:moveTo>
                  <a:cubicBezTo>
                    <a:pt x="-953" y="6684"/>
                    <a:pt x="-958" y="12881"/>
                    <a:pt x="2860" y="16706"/>
                  </a:cubicBezTo>
                  <a:cubicBezTo>
                    <a:pt x="2864" y="16711"/>
                    <a:pt x="2869" y="16715"/>
                    <a:pt x="2873" y="16719"/>
                  </a:cubicBezTo>
                  <a:lnTo>
                    <a:pt x="9800" y="23646"/>
                  </a:lnTo>
                  <a:cubicBezTo>
                    <a:pt x="13537" y="27559"/>
                    <a:pt x="19738" y="27701"/>
                    <a:pt x="23650" y="23965"/>
                  </a:cubicBezTo>
                  <a:cubicBezTo>
                    <a:pt x="27563" y="20228"/>
                    <a:pt x="27705" y="14027"/>
                    <a:pt x="23968" y="10115"/>
                  </a:cubicBezTo>
                  <a:cubicBezTo>
                    <a:pt x="23865" y="10007"/>
                    <a:pt x="23759" y="9901"/>
                    <a:pt x="23651" y="9797"/>
                  </a:cubicBezTo>
                  <a:lnTo>
                    <a:pt x="16724" y="2870"/>
                  </a:lnTo>
                  <a:cubicBezTo>
                    <a:pt x="12900" y="-955"/>
                    <a:pt x="6700" y="-957"/>
                    <a:pt x="2873" y="2865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55" name="Freeform 254">
              <a:extLst>
                <a:ext uri="{FF2B5EF4-FFF2-40B4-BE49-F238E27FC236}">
                  <a16:creationId xmlns:a16="http://schemas.microsoft.com/office/drawing/2014/main" id="{0FE236AA-0551-1747-B28F-F1D4A3565494}"/>
                </a:ext>
              </a:extLst>
            </p:cNvPr>
            <p:cNvSpPr/>
            <p:nvPr/>
          </p:nvSpPr>
          <p:spPr>
            <a:xfrm>
              <a:off x="11443078" y="1728546"/>
              <a:ext cx="26526" cy="26523"/>
            </a:xfrm>
            <a:custGeom>
              <a:avLst/>
              <a:gdLst>
                <a:gd name="connsiteX0" fmla="*/ 2873 w 26526"/>
                <a:gd name="connsiteY0" fmla="*/ 2871 h 26523"/>
                <a:gd name="connsiteX1" fmla="*/ 2861 w 26526"/>
                <a:gd name="connsiteY1" fmla="*/ 16715 h 26523"/>
                <a:gd name="connsiteX2" fmla="*/ 2873 w 26526"/>
                <a:gd name="connsiteY2" fmla="*/ 16726 h 26523"/>
                <a:gd name="connsiteX3" fmla="*/ 9800 w 26526"/>
                <a:gd name="connsiteY3" fmla="*/ 23653 h 26523"/>
                <a:gd name="connsiteX4" fmla="*/ 23656 w 26526"/>
                <a:gd name="connsiteY4" fmla="*/ 23654 h 26523"/>
                <a:gd name="connsiteX5" fmla="*/ 23657 w 26526"/>
                <a:gd name="connsiteY5" fmla="*/ 9798 h 26523"/>
                <a:gd name="connsiteX6" fmla="*/ 16730 w 26526"/>
                <a:gd name="connsiteY6" fmla="*/ 2871 h 26523"/>
                <a:gd name="connsiteX7" fmla="*/ 2876 w 26526"/>
                <a:gd name="connsiteY7" fmla="*/ 2867 h 26523"/>
                <a:gd name="connsiteX8" fmla="*/ 2873 w 26526"/>
                <a:gd name="connsiteY8" fmla="*/ 2871 h 26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526" h="26523">
                  <a:moveTo>
                    <a:pt x="2873" y="2871"/>
                  </a:moveTo>
                  <a:cubicBezTo>
                    <a:pt x="-953" y="6691"/>
                    <a:pt x="-958" y="12889"/>
                    <a:pt x="2861" y="16715"/>
                  </a:cubicBezTo>
                  <a:cubicBezTo>
                    <a:pt x="2865" y="16718"/>
                    <a:pt x="2869" y="16722"/>
                    <a:pt x="2873" y="16726"/>
                  </a:cubicBezTo>
                  <a:lnTo>
                    <a:pt x="9800" y="23653"/>
                  </a:lnTo>
                  <a:cubicBezTo>
                    <a:pt x="13626" y="27479"/>
                    <a:pt x="19829" y="27480"/>
                    <a:pt x="23656" y="23654"/>
                  </a:cubicBezTo>
                  <a:cubicBezTo>
                    <a:pt x="27482" y="19828"/>
                    <a:pt x="27483" y="13624"/>
                    <a:pt x="23657" y="9798"/>
                  </a:cubicBezTo>
                  <a:lnTo>
                    <a:pt x="16730" y="2871"/>
                  </a:lnTo>
                  <a:cubicBezTo>
                    <a:pt x="12905" y="-956"/>
                    <a:pt x="6703" y="-957"/>
                    <a:pt x="2876" y="2867"/>
                  </a:cubicBezTo>
                  <a:cubicBezTo>
                    <a:pt x="2875" y="2869"/>
                    <a:pt x="2874" y="2870"/>
                    <a:pt x="2873" y="2871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56" name="Freeform 255">
              <a:extLst>
                <a:ext uri="{FF2B5EF4-FFF2-40B4-BE49-F238E27FC236}">
                  <a16:creationId xmlns:a16="http://schemas.microsoft.com/office/drawing/2014/main" id="{3ECD4C6A-6CA1-424A-9D7D-D6B90971E9D7}"/>
                </a:ext>
              </a:extLst>
            </p:cNvPr>
            <p:cNvSpPr/>
            <p:nvPr/>
          </p:nvSpPr>
          <p:spPr>
            <a:xfrm>
              <a:off x="11145118" y="1728608"/>
              <a:ext cx="26521" cy="26521"/>
            </a:xfrm>
            <a:custGeom>
              <a:avLst/>
              <a:gdLst>
                <a:gd name="connsiteX0" fmla="*/ 2930 w 26521"/>
                <a:gd name="connsiteY0" fmla="*/ 9736 h 26521"/>
                <a:gd name="connsiteX1" fmla="*/ 2809 w 26521"/>
                <a:gd name="connsiteY1" fmla="*/ 23591 h 26521"/>
                <a:gd name="connsiteX2" fmla="*/ 16664 w 26521"/>
                <a:gd name="connsiteY2" fmla="*/ 23712 h 26521"/>
                <a:gd name="connsiteX3" fmla="*/ 16785 w 26521"/>
                <a:gd name="connsiteY3" fmla="*/ 23591 h 26521"/>
                <a:gd name="connsiteX4" fmla="*/ 23712 w 26521"/>
                <a:gd name="connsiteY4" fmla="*/ 16664 h 26521"/>
                <a:gd name="connsiteX5" fmla="*/ 23591 w 26521"/>
                <a:gd name="connsiteY5" fmla="*/ 2809 h 26521"/>
                <a:gd name="connsiteX6" fmla="*/ 9857 w 26521"/>
                <a:gd name="connsiteY6" fmla="*/ 2809 h 26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21" h="26521">
                  <a:moveTo>
                    <a:pt x="2930" y="9736"/>
                  </a:moveTo>
                  <a:cubicBezTo>
                    <a:pt x="-929" y="13529"/>
                    <a:pt x="-983" y="19732"/>
                    <a:pt x="2809" y="23591"/>
                  </a:cubicBezTo>
                  <a:cubicBezTo>
                    <a:pt x="6602" y="27450"/>
                    <a:pt x="12805" y="27504"/>
                    <a:pt x="16664" y="23712"/>
                  </a:cubicBezTo>
                  <a:cubicBezTo>
                    <a:pt x="16705" y="23672"/>
                    <a:pt x="16745" y="23631"/>
                    <a:pt x="16785" y="23591"/>
                  </a:cubicBezTo>
                  <a:lnTo>
                    <a:pt x="23712" y="16664"/>
                  </a:lnTo>
                  <a:cubicBezTo>
                    <a:pt x="27504" y="12804"/>
                    <a:pt x="27450" y="6601"/>
                    <a:pt x="23591" y="2809"/>
                  </a:cubicBezTo>
                  <a:cubicBezTo>
                    <a:pt x="19779" y="-937"/>
                    <a:pt x="13669" y="-936"/>
                    <a:pt x="9857" y="2809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57" name="Freeform 256">
              <a:extLst>
                <a:ext uri="{FF2B5EF4-FFF2-40B4-BE49-F238E27FC236}">
                  <a16:creationId xmlns:a16="http://schemas.microsoft.com/office/drawing/2014/main" id="{2DBFFC5B-779E-9640-976D-114F91F66F3D}"/>
                </a:ext>
              </a:extLst>
            </p:cNvPr>
            <p:cNvSpPr/>
            <p:nvPr/>
          </p:nvSpPr>
          <p:spPr>
            <a:xfrm>
              <a:off x="11443081" y="1430637"/>
              <a:ext cx="26519" cy="26519"/>
            </a:xfrm>
            <a:custGeom>
              <a:avLst/>
              <a:gdLst>
                <a:gd name="connsiteX0" fmla="*/ 2869 w 26519"/>
                <a:gd name="connsiteY0" fmla="*/ 9796 h 26519"/>
                <a:gd name="connsiteX1" fmla="*/ 2869 w 26519"/>
                <a:gd name="connsiteY1" fmla="*/ 23650 h 26519"/>
                <a:gd name="connsiteX2" fmla="*/ 16723 w 26519"/>
                <a:gd name="connsiteY2" fmla="*/ 23650 h 26519"/>
                <a:gd name="connsiteX3" fmla="*/ 23650 w 26519"/>
                <a:gd name="connsiteY3" fmla="*/ 16723 h 26519"/>
                <a:gd name="connsiteX4" fmla="*/ 23650 w 26519"/>
                <a:gd name="connsiteY4" fmla="*/ 2869 h 26519"/>
                <a:gd name="connsiteX5" fmla="*/ 9796 w 26519"/>
                <a:gd name="connsiteY5" fmla="*/ 2869 h 26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519" h="26519">
                  <a:moveTo>
                    <a:pt x="2869" y="9796"/>
                  </a:moveTo>
                  <a:cubicBezTo>
                    <a:pt x="-956" y="13622"/>
                    <a:pt x="-956" y="19825"/>
                    <a:pt x="2869" y="23650"/>
                  </a:cubicBezTo>
                  <a:cubicBezTo>
                    <a:pt x="6695" y="27476"/>
                    <a:pt x="12898" y="27476"/>
                    <a:pt x="16723" y="23650"/>
                  </a:cubicBezTo>
                  <a:lnTo>
                    <a:pt x="23650" y="16723"/>
                  </a:lnTo>
                  <a:cubicBezTo>
                    <a:pt x="27476" y="12898"/>
                    <a:pt x="27476" y="6695"/>
                    <a:pt x="23650" y="2869"/>
                  </a:cubicBezTo>
                  <a:cubicBezTo>
                    <a:pt x="19825" y="-956"/>
                    <a:pt x="13622" y="-956"/>
                    <a:pt x="9796" y="2869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58" name="Freeform 257">
              <a:extLst>
                <a:ext uri="{FF2B5EF4-FFF2-40B4-BE49-F238E27FC236}">
                  <a16:creationId xmlns:a16="http://schemas.microsoft.com/office/drawing/2014/main" id="{1ABC1D90-1C82-F346-91FB-A18EE8F4EB3F}"/>
                </a:ext>
              </a:extLst>
            </p:cNvPr>
            <p:cNvSpPr/>
            <p:nvPr/>
          </p:nvSpPr>
          <p:spPr>
            <a:xfrm>
              <a:off x="11268187" y="1418759"/>
              <a:ext cx="156876" cy="213297"/>
            </a:xfrm>
            <a:custGeom>
              <a:avLst/>
              <a:gdLst>
                <a:gd name="connsiteX0" fmla="*/ 146978 w 156876"/>
                <a:gd name="connsiteY0" fmla="*/ 164298 h 213297"/>
                <a:gd name="connsiteX1" fmla="*/ 77002 w 156876"/>
                <a:gd name="connsiteY1" fmla="*/ 164298 h 213297"/>
                <a:gd name="connsiteX2" fmla="*/ 49095 w 156876"/>
                <a:gd name="connsiteY2" fmla="*/ 136324 h 213297"/>
                <a:gd name="connsiteX3" fmla="*/ 49034 w 156876"/>
                <a:gd name="connsiteY3" fmla="*/ 9864 h 213297"/>
                <a:gd name="connsiteX4" fmla="*/ 39300 w 156876"/>
                <a:gd name="connsiteY4" fmla="*/ 0 h 213297"/>
                <a:gd name="connsiteX5" fmla="*/ 39234 w 156876"/>
                <a:gd name="connsiteY5" fmla="*/ 0 h 213297"/>
                <a:gd name="connsiteX6" fmla="*/ 29436 w 156876"/>
                <a:gd name="connsiteY6" fmla="*/ 9733 h 213297"/>
                <a:gd name="connsiteX7" fmla="*/ 29537 w 156876"/>
                <a:gd name="connsiteY7" fmla="*/ 35380 h 213297"/>
                <a:gd name="connsiteX8" fmla="*/ 29404 w 156876"/>
                <a:gd name="connsiteY8" fmla="*/ 36925 h 213297"/>
                <a:gd name="connsiteX9" fmla="*/ 29404 w 156876"/>
                <a:gd name="connsiteY9" fmla="*/ 136295 h 213297"/>
                <a:gd name="connsiteX10" fmla="*/ 1235 w 156876"/>
                <a:gd name="connsiteY10" fmla="*/ 183894 h 213297"/>
                <a:gd name="connsiteX11" fmla="*/ 48834 w 156876"/>
                <a:gd name="connsiteY11" fmla="*/ 212063 h 213297"/>
                <a:gd name="connsiteX12" fmla="*/ 77003 w 156876"/>
                <a:gd name="connsiteY12" fmla="*/ 183894 h 213297"/>
                <a:gd name="connsiteX13" fmla="*/ 146979 w 156876"/>
                <a:gd name="connsiteY13" fmla="*/ 183894 h 213297"/>
                <a:gd name="connsiteX14" fmla="*/ 156876 w 156876"/>
                <a:gd name="connsiteY14" fmla="*/ 174196 h 213297"/>
                <a:gd name="connsiteX15" fmla="*/ 147178 w 156876"/>
                <a:gd name="connsiteY15" fmla="*/ 164299 h 213297"/>
                <a:gd name="connsiteX16" fmla="*/ 146979 w 156876"/>
                <a:gd name="connsiteY16" fmla="*/ 164299 h 213297"/>
                <a:gd name="connsiteX17" fmla="*/ 39204 w 156876"/>
                <a:gd name="connsiteY17" fmla="*/ 193693 h 213297"/>
                <a:gd name="connsiteX18" fmla="*/ 19608 w 156876"/>
                <a:gd name="connsiteY18" fmla="*/ 174097 h 213297"/>
                <a:gd name="connsiteX19" fmla="*/ 39204 w 156876"/>
                <a:gd name="connsiteY19" fmla="*/ 154501 h 213297"/>
                <a:gd name="connsiteX20" fmla="*/ 58800 w 156876"/>
                <a:gd name="connsiteY20" fmla="*/ 174097 h 213297"/>
                <a:gd name="connsiteX21" fmla="*/ 39204 w 156876"/>
                <a:gd name="connsiteY21" fmla="*/ 193693 h 213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6876" h="213297">
                  <a:moveTo>
                    <a:pt x="146978" y="164298"/>
                  </a:moveTo>
                  <a:lnTo>
                    <a:pt x="77002" y="164298"/>
                  </a:lnTo>
                  <a:cubicBezTo>
                    <a:pt x="73434" y="150618"/>
                    <a:pt x="62767" y="139925"/>
                    <a:pt x="49095" y="136324"/>
                  </a:cubicBezTo>
                  <a:lnTo>
                    <a:pt x="49034" y="9864"/>
                  </a:lnTo>
                  <a:cubicBezTo>
                    <a:pt x="49069" y="4453"/>
                    <a:pt x="44712" y="37"/>
                    <a:pt x="39300" y="0"/>
                  </a:cubicBezTo>
                  <a:lnTo>
                    <a:pt x="39234" y="0"/>
                  </a:lnTo>
                  <a:cubicBezTo>
                    <a:pt x="33848" y="0"/>
                    <a:pt x="29473" y="4347"/>
                    <a:pt x="29436" y="9733"/>
                  </a:cubicBezTo>
                  <a:lnTo>
                    <a:pt x="29537" y="35380"/>
                  </a:lnTo>
                  <a:cubicBezTo>
                    <a:pt x="29452" y="35890"/>
                    <a:pt x="29408" y="36407"/>
                    <a:pt x="29404" y="36925"/>
                  </a:cubicBezTo>
                  <a:lnTo>
                    <a:pt x="29404" y="136295"/>
                  </a:lnTo>
                  <a:cubicBezTo>
                    <a:pt x="8481" y="141661"/>
                    <a:pt x="-4130" y="162971"/>
                    <a:pt x="1235" y="183894"/>
                  </a:cubicBezTo>
                  <a:cubicBezTo>
                    <a:pt x="6601" y="204817"/>
                    <a:pt x="27912" y="217428"/>
                    <a:pt x="48834" y="212063"/>
                  </a:cubicBezTo>
                  <a:cubicBezTo>
                    <a:pt x="62660" y="208517"/>
                    <a:pt x="73457" y="197720"/>
                    <a:pt x="77003" y="183894"/>
                  </a:cubicBezTo>
                  <a:lnTo>
                    <a:pt x="146979" y="183894"/>
                  </a:lnTo>
                  <a:cubicBezTo>
                    <a:pt x="152390" y="183949"/>
                    <a:pt x="156821" y="179607"/>
                    <a:pt x="156876" y="174196"/>
                  </a:cubicBezTo>
                  <a:cubicBezTo>
                    <a:pt x="156931" y="168785"/>
                    <a:pt x="152589" y="164354"/>
                    <a:pt x="147178" y="164299"/>
                  </a:cubicBezTo>
                  <a:cubicBezTo>
                    <a:pt x="147112" y="164298"/>
                    <a:pt x="147045" y="164298"/>
                    <a:pt x="146979" y="164299"/>
                  </a:cubicBezTo>
                  <a:close/>
                  <a:moveTo>
                    <a:pt x="39204" y="193693"/>
                  </a:moveTo>
                  <a:cubicBezTo>
                    <a:pt x="28381" y="193693"/>
                    <a:pt x="19608" y="184920"/>
                    <a:pt x="19608" y="174097"/>
                  </a:cubicBezTo>
                  <a:cubicBezTo>
                    <a:pt x="19608" y="163274"/>
                    <a:pt x="28381" y="154501"/>
                    <a:pt x="39204" y="154501"/>
                  </a:cubicBezTo>
                  <a:cubicBezTo>
                    <a:pt x="50027" y="154501"/>
                    <a:pt x="58800" y="163274"/>
                    <a:pt x="58800" y="174097"/>
                  </a:cubicBezTo>
                  <a:cubicBezTo>
                    <a:pt x="58789" y="184915"/>
                    <a:pt x="50022" y="193682"/>
                    <a:pt x="39204" y="193693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59" name="Graphic 268">
            <a:extLst>
              <a:ext uri="{FF2B5EF4-FFF2-40B4-BE49-F238E27FC236}">
                <a16:creationId xmlns:a16="http://schemas.microsoft.com/office/drawing/2014/main" id="{FF6F7BD3-1C45-FC41-A8A6-7E463E83007D}"/>
              </a:ext>
            </a:extLst>
          </p:cNvPr>
          <p:cNvGrpSpPr>
            <a:grpSpLocks/>
          </p:cNvGrpSpPr>
          <p:nvPr/>
        </p:nvGrpSpPr>
        <p:grpSpPr bwMode="auto">
          <a:xfrm>
            <a:off x="8131175" y="703263"/>
            <a:ext cx="454025" cy="265112"/>
            <a:chOff x="1793867" y="982299"/>
            <a:chExt cx="453909" cy="265576"/>
          </a:xfrm>
        </p:grpSpPr>
        <p:sp>
          <p:nvSpPr>
            <p:cNvPr id="260" name="Freeform 259">
              <a:extLst>
                <a:ext uri="{FF2B5EF4-FFF2-40B4-BE49-F238E27FC236}">
                  <a16:creationId xmlns:a16="http://schemas.microsoft.com/office/drawing/2014/main" id="{162EF3FE-B085-3746-938B-88869E1F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779" y="1051432"/>
              <a:ext cx="86912" cy="127264"/>
            </a:xfrm>
            <a:custGeom>
              <a:avLst/>
              <a:gdLst>
                <a:gd name="T0" fmla="*/ 0 w 86912"/>
                <a:gd name="T1" fmla="*/ 63632 h 127264"/>
                <a:gd name="T2" fmla="*/ 68935 w 86912"/>
                <a:gd name="T3" fmla="*/ 127265 h 127264"/>
                <a:gd name="T4" fmla="*/ 86912 w 86912"/>
                <a:gd name="T5" fmla="*/ 124771 h 127264"/>
                <a:gd name="T6" fmla="*/ 81850 w 86912"/>
                <a:gd name="T7" fmla="*/ 114170 h 127264"/>
                <a:gd name="T8" fmla="*/ 68935 w 86912"/>
                <a:gd name="T9" fmla="*/ 115678 h 127264"/>
                <a:gd name="T10" fmla="*/ 12552 w 86912"/>
                <a:gd name="T11" fmla="*/ 63632 h 127264"/>
                <a:gd name="T12" fmla="*/ 68935 w 86912"/>
                <a:gd name="T13" fmla="*/ 11587 h 127264"/>
                <a:gd name="T14" fmla="*/ 81850 w 86912"/>
                <a:gd name="T15" fmla="*/ 13095 h 127264"/>
                <a:gd name="T16" fmla="*/ 86912 w 86912"/>
                <a:gd name="T17" fmla="*/ 2493 h 127264"/>
                <a:gd name="T18" fmla="*/ 68935 w 86912"/>
                <a:gd name="T19" fmla="*/ 0 h 127264"/>
                <a:gd name="T20" fmla="*/ 0 w 86912"/>
                <a:gd name="T21" fmla="*/ 63632 h 12726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6912" h="127264">
                  <a:moveTo>
                    <a:pt x="0" y="63632"/>
                  </a:moveTo>
                  <a:cubicBezTo>
                    <a:pt x="50" y="98756"/>
                    <a:pt x="30884" y="127219"/>
                    <a:pt x="68935" y="127265"/>
                  </a:cubicBezTo>
                  <a:cubicBezTo>
                    <a:pt x="75021" y="127179"/>
                    <a:pt x="81067" y="126340"/>
                    <a:pt x="86912" y="124771"/>
                  </a:cubicBezTo>
                  <a:cubicBezTo>
                    <a:pt x="85074" y="121314"/>
                    <a:pt x="83394" y="117794"/>
                    <a:pt x="81850" y="114170"/>
                  </a:cubicBezTo>
                  <a:cubicBezTo>
                    <a:pt x="77625" y="115141"/>
                    <a:pt x="73290" y="115648"/>
                    <a:pt x="68935" y="115678"/>
                  </a:cubicBezTo>
                  <a:cubicBezTo>
                    <a:pt x="37796" y="115678"/>
                    <a:pt x="12552" y="92376"/>
                    <a:pt x="12552" y="63632"/>
                  </a:cubicBezTo>
                  <a:cubicBezTo>
                    <a:pt x="12552" y="34888"/>
                    <a:pt x="37796" y="11587"/>
                    <a:pt x="68935" y="11587"/>
                  </a:cubicBezTo>
                  <a:cubicBezTo>
                    <a:pt x="73290" y="11618"/>
                    <a:pt x="77625" y="12125"/>
                    <a:pt x="81850" y="13095"/>
                  </a:cubicBezTo>
                  <a:cubicBezTo>
                    <a:pt x="83371" y="9470"/>
                    <a:pt x="85074" y="5950"/>
                    <a:pt x="86912" y="2493"/>
                  </a:cubicBezTo>
                  <a:cubicBezTo>
                    <a:pt x="81067" y="924"/>
                    <a:pt x="75021" y="86"/>
                    <a:pt x="68935" y="0"/>
                  </a:cubicBezTo>
                  <a:cubicBezTo>
                    <a:pt x="30884" y="46"/>
                    <a:pt x="50" y="28508"/>
                    <a:pt x="0" y="6363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2384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261" name="Freeform 260">
              <a:extLst>
                <a:ext uri="{FF2B5EF4-FFF2-40B4-BE49-F238E27FC236}">
                  <a16:creationId xmlns:a16="http://schemas.microsoft.com/office/drawing/2014/main" id="{C367EE4B-7CDB-DA40-AC60-AB6BFA71C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3867" y="982299"/>
              <a:ext cx="218138" cy="265576"/>
            </a:xfrm>
            <a:custGeom>
              <a:avLst/>
              <a:gdLst/>
              <a:ahLst/>
              <a:cxnLst/>
              <a:rect l="0" t="0" r="r" b="b"/>
              <a:pathLst>
                <a:path w="218138" h="265576">
                  <a:moveTo>
                    <a:pt x="205995" y="243625"/>
                  </a:moveTo>
                  <a:lnTo>
                    <a:pt x="182026" y="252802"/>
                  </a:lnTo>
                  <a:lnTo>
                    <a:pt x="163436" y="233714"/>
                  </a:lnTo>
                  <a:cubicBezTo>
                    <a:pt x="162253" y="232489"/>
                    <a:pt x="160560" y="231788"/>
                    <a:pt x="158782" y="231786"/>
                  </a:cubicBezTo>
                  <a:lnTo>
                    <a:pt x="128934" y="231786"/>
                  </a:lnTo>
                  <a:cubicBezTo>
                    <a:pt x="127156" y="231788"/>
                    <a:pt x="125464" y="232489"/>
                    <a:pt x="124281" y="233714"/>
                  </a:cubicBezTo>
                  <a:lnTo>
                    <a:pt x="105600" y="252802"/>
                  </a:lnTo>
                  <a:lnTo>
                    <a:pt x="78884" y="242556"/>
                  </a:lnTo>
                  <a:lnTo>
                    <a:pt x="80291" y="216910"/>
                  </a:lnTo>
                  <a:cubicBezTo>
                    <a:pt x="80384" y="215273"/>
                    <a:pt x="79725" y="213676"/>
                    <a:pt x="78475" y="212510"/>
                  </a:cubicBezTo>
                  <a:lnTo>
                    <a:pt x="57434" y="193066"/>
                  </a:lnTo>
                  <a:cubicBezTo>
                    <a:pt x="56174" y="191908"/>
                    <a:pt x="54444" y="191292"/>
                    <a:pt x="52667" y="191369"/>
                  </a:cubicBezTo>
                  <a:lnTo>
                    <a:pt x="24975" y="192752"/>
                  </a:lnTo>
                  <a:lnTo>
                    <a:pt x="13785" y="168028"/>
                  </a:lnTo>
                  <a:lnTo>
                    <a:pt x="34441" y="150805"/>
                  </a:lnTo>
                  <a:cubicBezTo>
                    <a:pt x="35773" y="149709"/>
                    <a:pt x="36534" y="148137"/>
                    <a:pt x="36529" y="146489"/>
                  </a:cubicBezTo>
                  <a:lnTo>
                    <a:pt x="36529" y="119021"/>
                  </a:lnTo>
                  <a:cubicBezTo>
                    <a:pt x="36528" y="117374"/>
                    <a:pt x="35769" y="115805"/>
                    <a:pt x="34441" y="114704"/>
                  </a:cubicBezTo>
                  <a:lnTo>
                    <a:pt x="13785" y="97482"/>
                  </a:lnTo>
                  <a:lnTo>
                    <a:pt x="24975" y="72821"/>
                  </a:lnTo>
                  <a:lnTo>
                    <a:pt x="52781" y="74120"/>
                  </a:lnTo>
                  <a:cubicBezTo>
                    <a:pt x="54540" y="74125"/>
                    <a:pt x="56238" y="73528"/>
                    <a:pt x="57547" y="72444"/>
                  </a:cubicBezTo>
                  <a:lnTo>
                    <a:pt x="78589" y="53021"/>
                  </a:lnTo>
                  <a:cubicBezTo>
                    <a:pt x="79838" y="51855"/>
                    <a:pt x="80497" y="50258"/>
                    <a:pt x="80405" y="48621"/>
                  </a:cubicBezTo>
                  <a:lnTo>
                    <a:pt x="78884" y="23038"/>
                  </a:lnTo>
                  <a:lnTo>
                    <a:pt x="105600" y="12708"/>
                  </a:lnTo>
                  <a:lnTo>
                    <a:pt x="124281" y="31796"/>
                  </a:lnTo>
                  <a:cubicBezTo>
                    <a:pt x="125466" y="33015"/>
                    <a:pt x="127159" y="33709"/>
                    <a:pt x="128934" y="33703"/>
                  </a:cubicBezTo>
                  <a:lnTo>
                    <a:pt x="158714" y="33703"/>
                  </a:lnTo>
                  <a:cubicBezTo>
                    <a:pt x="160513" y="33727"/>
                    <a:pt x="162234" y="33032"/>
                    <a:pt x="163436" y="31796"/>
                  </a:cubicBezTo>
                  <a:lnTo>
                    <a:pt x="182026" y="12708"/>
                  </a:lnTo>
                  <a:lnTo>
                    <a:pt x="206018" y="21885"/>
                  </a:lnTo>
                  <a:cubicBezTo>
                    <a:pt x="209922" y="19092"/>
                    <a:pt x="213962" y="16522"/>
                    <a:pt x="218139" y="14175"/>
                  </a:cubicBezTo>
                  <a:cubicBezTo>
                    <a:pt x="217912" y="14070"/>
                    <a:pt x="217912" y="13861"/>
                    <a:pt x="217662" y="13777"/>
                  </a:cubicBezTo>
                  <a:lnTo>
                    <a:pt x="182729" y="430"/>
                  </a:lnTo>
                  <a:cubicBezTo>
                    <a:pt x="180270" y="-481"/>
                    <a:pt x="177457" y="112"/>
                    <a:pt x="175670" y="1918"/>
                  </a:cubicBezTo>
                  <a:lnTo>
                    <a:pt x="155922" y="22137"/>
                  </a:lnTo>
                  <a:lnTo>
                    <a:pt x="131658" y="22137"/>
                  </a:lnTo>
                  <a:lnTo>
                    <a:pt x="111956" y="1918"/>
                  </a:lnTo>
                  <a:cubicBezTo>
                    <a:pt x="110175" y="101"/>
                    <a:pt x="107354" y="-493"/>
                    <a:pt x="104896" y="430"/>
                  </a:cubicBezTo>
                  <a:lnTo>
                    <a:pt x="70009" y="13777"/>
                  </a:lnTo>
                  <a:cubicBezTo>
                    <a:pt x="67545" y="14722"/>
                    <a:pt x="65991" y="16995"/>
                    <a:pt x="66127" y="19455"/>
                  </a:cubicBezTo>
                  <a:lnTo>
                    <a:pt x="67626" y="46693"/>
                  </a:lnTo>
                  <a:lnTo>
                    <a:pt x="50534" y="62491"/>
                  </a:lnTo>
                  <a:lnTo>
                    <a:pt x="21026" y="61108"/>
                  </a:lnTo>
                  <a:cubicBezTo>
                    <a:pt x="18394" y="61053"/>
                    <a:pt x="15981" y="62455"/>
                    <a:pt x="14897" y="64670"/>
                  </a:cubicBezTo>
                  <a:lnTo>
                    <a:pt x="484" y="96832"/>
                  </a:lnTo>
                  <a:cubicBezTo>
                    <a:pt x="-545" y="99099"/>
                    <a:pt x="103" y="101719"/>
                    <a:pt x="2095" y="103348"/>
                  </a:cubicBezTo>
                  <a:lnTo>
                    <a:pt x="23999" y="121577"/>
                  </a:lnTo>
                  <a:lnTo>
                    <a:pt x="23999" y="143933"/>
                  </a:lnTo>
                  <a:lnTo>
                    <a:pt x="2095" y="162162"/>
                  </a:lnTo>
                  <a:cubicBezTo>
                    <a:pt x="103" y="163791"/>
                    <a:pt x="-545" y="166411"/>
                    <a:pt x="484" y="168678"/>
                  </a:cubicBezTo>
                  <a:lnTo>
                    <a:pt x="14943" y="200924"/>
                  </a:lnTo>
                  <a:cubicBezTo>
                    <a:pt x="15976" y="203178"/>
                    <a:pt x="18422" y="204600"/>
                    <a:pt x="21071" y="204485"/>
                  </a:cubicBezTo>
                  <a:lnTo>
                    <a:pt x="50579" y="203082"/>
                  </a:lnTo>
                  <a:lnTo>
                    <a:pt x="67671" y="218880"/>
                  </a:lnTo>
                  <a:lnTo>
                    <a:pt x="66173" y="246118"/>
                  </a:lnTo>
                  <a:cubicBezTo>
                    <a:pt x="66032" y="248574"/>
                    <a:pt x="67589" y="250843"/>
                    <a:pt x="70054" y="251775"/>
                  </a:cubicBezTo>
                  <a:lnTo>
                    <a:pt x="104942" y="265122"/>
                  </a:lnTo>
                  <a:cubicBezTo>
                    <a:pt x="107396" y="266085"/>
                    <a:pt x="110243" y="265485"/>
                    <a:pt x="112001" y="263634"/>
                  </a:cubicBezTo>
                  <a:lnTo>
                    <a:pt x="131749" y="243436"/>
                  </a:lnTo>
                  <a:lnTo>
                    <a:pt x="155922" y="243436"/>
                  </a:lnTo>
                  <a:lnTo>
                    <a:pt x="175670" y="263634"/>
                  </a:lnTo>
                  <a:cubicBezTo>
                    <a:pt x="176851" y="264873"/>
                    <a:pt x="178558" y="265577"/>
                    <a:pt x="180346" y="265562"/>
                  </a:cubicBezTo>
                  <a:cubicBezTo>
                    <a:pt x="181165" y="265574"/>
                    <a:pt x="181978" y="265424"/>
                    <a:pt x="182729" y="265122"/>
                  </a:cubicBezTo>
                  <a:lnTo>
                    <a:pt x="217662" y="251775"/>
                  </a:lnTo>
                  <a:cubicBezTo>
                    <a:pt x="217912" y="251628"/>
                    <a:pt x="217912" y="251419"/>
                    <a:pt x="218139" y="251419"/>
                  </a:cubicBezTo>
                  <a:cubicBezTo>
                    <a:pt x="213947" y="249016"/>
                    <a:pt x="209899" y="246439"/>
                    <a:pt x="205995" y="24368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2384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262" name="Freeform 261">
              <a:extLst>
                <a:ext uri="{FF2B5EF4-FFF2-40B4-BE49-F238E27FC236}">
                  <a16:creationId xmlns:a16="http://schemas.microsoft.com/office/drawing/2014/main" id="{D9763D89-6988-D64C-8835-BC3FAA4521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5339" y="1013757"/>
              <a:ext cx="232437" cy="156748"/>
            </a:xfrm>
            <a:custGeom>
              <a:avLst/>
              <a:gdLst>
                <a:gd name="T0" fmla="*/ 69756 w 232437"/>
                <a:gd name="T1" fmla="*/ 156748 h 156748"/>
                <a:gd name="T2" fmla="*/ 69393 w 232437"/>
                <a:gd name="T3" fmla="*/ 156748 h 156748"/>
                <a:gd name="T4" fmla="*/ 60767 w 232437"/>
                <a:gd name="T5" fmla="*/ 153144 h 156748"/>
                <a:gd name="T6" fmla="*/ 2909 w 232437"/>
                <a:gd name="T7" fmla="*/ 95169 h 156748"/>
                <a:gd name="T8" fmla="*/ 4315 w 232437"/>
                <a:gd name="T9" fmla="*/ 79251 h 156748"/>
                <a:gd name="T10" fmla="*/ 20886 w 232437"/>
                <a:gd name="T11" fmla="*/ 79874 h 156748"/>
                <a:gd name="T12" fmla="*/ 70187 w 232437"/>
                <a:gd name="T13" fmla="*/ 129342 h 156748"/>
                <a:gd name="T14" fmla="*/ 212075 w 232437"/>
                <a:gd name="T15" fmla="*/ 2853 h 156748"/>
                <a:gd name="T16" fmla="*/ 229347 w 232437"/>
                <a:gd name="T17" fmla="*/ 3791 h 156748"/>
                <a:gd name="T18" fmla="*/ 229053 w 232437"/>
                <a:gd name="T19" fmla="*/ 19091 h 156748"/>
                <a:gd name="T20" fmla="*/ 78154 w 232437"/>
                <a:gd name="T21" fmla="*/ 153563 h 156748"/>
                <a:gd name="T22" fmla="*/ 69756 w 232437"/>
                <a:gd name="T23" fmla="*/ 156748 h 1567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32437" h="156748">
                  <a:moveTo>
                    <a:pt x="69756" y="156748"/>
                  </a:moveTo>
                  <a:lnTo>
                    <a:pt x="69393" y="156748"/>
                  </a:lnTo>
                  <a:cubicBezTo>
                    <a:pt x="66109" y="156669"/>
                    <a:pt x="62999" y="155369"/>
                    <a:pt x="60767" y="153144"/>
                  </a:cubicBezTo>
                  <a:lnTo>
                    <a:pt x="2909" y="95169"/>
                  </a:lnTo>
                  <a:cubicBezTo>
                    <a:pt x="-1465" y="90415"/>
                    <a:pt x="-835" y="83288"/>
                    <a:pt x="4315" y="79251"/>
                  </a:cubicBezTo>
                  <a:cubicBezTo>
                    <a:pt x="9172" y="75444"/>
                    <a:pt x="16381" y="75715"/>
                    <a:pt x="20886" y="79874"/>
                  </a:cubicBezTo>
                  <a:lnTo>
                    <a:pt x="70187" y="129342"/>
                  </a:lnTo>
                  <a:lnTo>
                    <a:pt x="212075" y="2853"/>
                  </a:lnTo>
                  <a:cubicBezTo>
                    <a:pt x="217125" y="-1291"/>
                    <a:pt x="224858" y="-871"/>
                    <a:pt x="229347" y="3791"/>
                  </a:cubicBezTo>
                  <a:cubicBezTo>
                    <a:pt x="233578" y="8184"/>
                    <a:pt x="233450" y="14839"/>
                    <a:pt x="229053" y="19091"/>
                  </a:cubicBezTo>
                  <a:lnTo>
                    <a:pt x="78154" y="153563"/>
                  </a:lnTo>
                  <a:cubicBezTo>
                    <a:pt x="75908" y="155589"/>
                    <a:pt x="72897" y="156731"/>
                    <a:pt x="69756" y="15674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2384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263" name="Freeform 262">
              <a:extLst>
                <a:ext uri="{FF2B5EF4-FFF2-40B4-BE49-F238E27FC236}">
                  <a16:creationId xmlns:a16="http://schemas.microsoft.com/office/drawing/2014/main" id="{3E0DC75C-9C80-E947-A77C-FBFECC93C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4892" y="989204"/>
              <a:ext cx="272611" cy="251763"/>
            </a:xfrm>
            <a:custGeom>
              <a:avLst/>
              <a:gdLst>
                <a:gd name="T0" fmla="*/ 136092 w 272611"/>
                <a:gd name="T1" fmla="*/ 251764 h 251763"/>
                <a:gd name="T2" fmla="*/ 0 w 272611"/>
                <a:gd name="T3" fmla="*/ 125623 h 251763"/>
                <a:gd name="T4" fmla="*/ 136653 w 272611"/>
                <a:gd name="T5" fmla="*/ 0 h 251763"/>
                <a:gd name="T6" fmla="*/ 218328 w 272611"/>
                <a:gd name="T7" fmla="*/ 25268 h 251763"/>
                <a:gd name="T8" fmla="*/ 219209 w 272611"/>
                <a:gd name="T9" fmla="*/ 34834 h 251763"/>
                <a:gd name="T10" fmla="*/ 209498 w 272611"/>
                <a:gd name="T11" fmla="*/ 36101 h 251763"/>
                <a:gd name="T12" fmla="*/ 39185 w 272611"/>
                <a:gd name="T13" fmla="*/ 58243 h 251763"/>
                <a:gd name="T14" fmla="*/ 63173 w 272611"/>
                <a:gd name="T15" fmla="*/ 215455 h 251763"/>
                <a:gd name="T16" fmla="*/ 233485 w 272611"/>
                <a:gd name="T17" fmla="*/ 193313 h 251763"/>
                <a:gd name="T18" fmla="*/ 254895 w 272611"/>
                <a:gd name="T19" fmla="*/ 100760 h 251763"/>
                <a:gd name="T20" fmla="*/ 260041 w 272611"/>
                <a:gd name="T21" fmla="*/ 92451 h 251763"/>
                <a:gd name="T22" fmla="*/ 269042 w 272611"/>
                <a:gd name="T23" fmla="*/ 97201 h 251763"/>
                <a:gd name="T24" fmla="*/ 269172 w 272611"/>
                <a:gd name="T25" fmla="*/ 97722 h 251763"/>
                <a:gd name="T26" fmla="*/ 166354 w 272611"/>
                <a:gd name="T27" fmla="*/ 248616 h 251763"/>
                <a:gd name="T28" fmla="*/ 136001 w 272611"/>
                <a:gd name="T29" fmla="*/ 251764 h 2517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2611" h="251763">
                  <a:moveTo>
                    <a:pt x="136092" y="251764"/>
                  </a:moveTo>
                  <a:cubicBezTo>
                    <a:pt x="60775" y="251621"/>
                    <a:pt x="-155" y="195146"/>
                    <a:pt x="0" y="125623"/>
                  </a:cubicBezTo>
                  <a:cubicBezTo>
                    <a:pt x="155" y="56100"/>
                    <a:pt x="61336" y="-143"/>
                    <a:pt x="136653" y="0"/>
                  </a:cubicBezTo>
                  <a:cubicBezTo>
                    <a:pt x="166120" y="56"/>
                    <a:pt x="194775" y="8921"/>
                    <a:pt x="218328" y="25268"/>
                  </a:cubicBezTo>
                  <a:cubicBezTo>
                    <a:pt x="221433" y="27685"/>
                    <a:pt x="221827" y="31968"/>
                    <a:pt x="219209" y="34834"/>
                  </a:cubicBezTo>
                  <a:cubicBezTo>
                    <a:pt x="216794" y="37478"/>
                    <a:pt x="212612" y="38023"/>
                    <a:pt x="209498" y="36101"/>
                  </a:cubicBezTo>
                  <a:cubicBezTo>
                    <a:pt x="155844" y="-1198"/>
                    <a:pt x="79592" y="8716"/>
                    <a:pt x="39185" y="58243"/>
                  </a:cubicBezTo>
                  <a:cubicBezTo>
                    <a:pt x="-1222" y="107770"/>
                    <a:pt x="9518" y="178156"/>
                    <a:pt x="63173" y="215455"/>
                  </a:cubicBezTo>
                  <a:cubicBezTo>
                    <a:pt x="116827" y="252753"/>
                    <a:pt x="193079" y="242840"/>
                    <a:pt x="233485" y="193313"/>
                  </a:cubicBezTo>
                  <a:cubicBezTo>
                    <a:pt x="255049" y="166882"/>
                    <a:pt x="262883" y="133016"/>
                    <a:pt x="254895" y="100760"/>
                  </a:cubicBezTo>
                  <a:cubicBezTo>
                    <a:pt x="253830" y="97154"/>
                    <a:pt x="256134" y="93434"/>
                    <a:pt x="260041" y="92451"/>
                  </a:cubicBezTo>
                  <a:cubicBezTo>
                    <a:pt x="263948" y="91468"/>
                    <a:pt x="267978" y="93595"/>
                    <a:pt x="269042" y="97201"/>
                  </a:cubicBezTo>
                  <a:cubicBezTo>
                    <a:pt x="269093" y="97373"/>
                    <a:pt x="269136" y="97547"/>
                    <a:pt x="269172" y="97722"/>
                  </a:cubicBezTo>
                  <a:cubicBezTo>
                    <a:pt x="285920" y="165599"/>
                    <a:pt x="239887" y="233156"/>
                    <a:pt x="166354" y="248616"/>
                  </a:cubicBezTo>
                  <a:cubicBezTo>
                    <a:pt x="156395" y="250710"/>
                    <a:pt x="146214" y="251766"/>
                    <a:pt x="136001" y="25176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2384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073474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0F6C85C-7C8B-8C47-BFC0-2E4F159508D9}"/>
              </a:ext>
            </a:extLst>
          </p:cNvPr>
          <p:cNvSpPr txBox="1"/>
          <p:nvPr userDrawn="1"/>
        </p:nvSpPr>
        <p:spPr>
          <a:xfrm>
            <a:off x="1114425" y="2471738"/>
            <a:ext cx="2081856" cy="272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>
                <a:latin typeface="+mj-lt"/>
              </a:rPr>
              <a:t>Social Media Icon S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A24801C-95F9-C740-B868-0D61B5B0599B}"/>
              </a:ext>
            </a:extLst>
          </p:cNvPr>
          <p:cNvSpPr txBox="1"/>
          <p:nvPr userDrawn="1"/>
        </p:nvSpPr>
        <p:spPr>
          <a:xfrm>
            <a:off x="1119188" y="2017713"/>
            <a:ext cx="1652587" cy="2714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>
                <a:latin typeface="+mj-lt"/>
              </a:rPr>
              <a:t>Ellab Slide Assets</a:t>
            </a:r>
          </a:p>
        </p:txBody>
      </p:sp>
      <p:sp>
        <p:nvSpPr>
          <p:cNvPr id="4" name="Google Shape;199;p25">
            <a:extLst>
              <a:ext uri="{FF2B5EF4-FFF2-40B4-BE49-F238E27FC236}">
                <a16:creationId xmlns:a16="http://schemas.microsoft.com/office/drawing/2014/main" id="{CDDCDC54-1A6E-0C44-ABD5-969D9B3DCD8F}"/>
              </a:ext>
            </a:extLst>
          </p:cNvPr>
          <p:cNvSpPr>
            <a:spLocks noChangeArrowheads="1"/>
          </p:cNvSpPr>
          <p:nvPr userDrawn="1"/>
        </p:nvSpPr>
        <p:spPr bwMode="auto">
          <a:xfrm flipH="1">
            <a:off x="3557588" y="2606675"/>
            <a:ext cx="3903662" cy="2047875"/>
          </a:xfrm>
          <a:prstGeom prst="rect">
            <a:avLst/>
          </a:prstGeom>
          <a:gradFill rotWithShape="1">
            <a:gsLst>
              <a:gs pos="0">
                <a:srgbClr val="9EC9DF"/>
              </a:gs>
              <a:gs pos="56000">
                <a:srgbClr val="5C97BA"/>
              </a:gs>
              <a:gs pos="100000">
                <a:srgbClr val="1F6898"/>
              </a:gs>
            </a:gsLst>
            <a:lin ang="66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91425" rIns="91425" bIns="91425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>
              <a:solidFill>
                <a:srgbClr val="FFFFFF"/>
              </a:solidFill>
              <a:latin typeface="Avenir Next" panose="020B0503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580B09-42CA-0A47-861F-1A87E807DB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62438" y="1958975"/>
            <a:ext cx="304800" cy="2667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133DDFD8-3821-6946-818A-0964A4C9D1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51575" y="1920875"/>
            <a:ext cx="279400" cy="2667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DB078E-F3FE-4F4C-AAD4-8C7A6A5F520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249863" y="1958975"/>
            <a:ext cx="317500" cy="2286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F97B4363-5781-554C-9F51-4C8217DC0D6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151563" y="1182688"/>
            <a:ext cx="508000" cy="50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422458B-75BF-E84A-B47A-0D44B67CFC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162550" y="1173163"/>
            <a:ext cx="520700" cy="5207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7AC20C8A-3F37-6043-B350-4CEB0872928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175125" y="1182688"/>
            <a:ext cx="520700" cy="520700"/>
          </a:xfrm>
          <a:prstGeom prst="rect">
            <a:avLst/>
          </a:prstGeom>
        </p:spPr>
      </p:pic>
      <p:grpSp>
        <p:nvGrpSpPr>
          <p:cNvPr id="11" name="Graphic 56">
            <a:extLst>
              <a:ext uri="{FF2B5EF4-FFF2-40B4-BE49-F238E27FC236}">
                <a16:creationId xmlns:a16="http://schemas.microsoft.com/office/drawing/2014/main" id="{8EEF3527-F754-3D4E-86B1-0336A4640DB2}"/>
              </a:ext>
            </a:extLst>
          </p:cNvPr>
          <p:cNvGrpSpPr/>
          <p:nvPr userDrawn="1"/>
        </p:nvGrpSpPr>
        <p:grpSpPr>
          <a:xfrm>
            <a:off x="4360614" y="3965526"/>
            <a:ext cx="308452" cy="261981"/>
            <a:chOff x="5341096" y="5478279"/>
            <a:chExt cx="308452" cy="261981"/>
          </a:xfrm>
          <a:solidFill>
            <a:schemeClr val="bg1"/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3196F9E-6E8E-C64F-B921-E7A253A44919}"/>
                </a:ext>
              </a:extLst>
            </p:cNvPr>
            <p:cNvSpPr/>
            <p:nvPr/>
          </p:nvSpPr>
          <p:spPr>
            <a:xfrm>
              <a:off x="5341106" y="5478279"/>
              <a:ext cx="308442" cy="261981"/>
            </a:xfrm>
            <a:custGeom>
              <a:avLst/>
              <a:gdLst>
                <a:gd name="connsiteX0" fmla="*/ 307284 w 308442"/>
                <a:gd name="connsiteY0" fmla="*/ 31435 h 261981"/>
                <a:gd name="connsiteX1" fmla="*/ 276130 w 308442"/>
                <a:gd name="connsiteY1" fmla="*/ 40617 h 261981"/>
                <a:gd name="connsiteX2" fmla="*/ 291499 w 308442"/>
                <a:gd name="connsiteY2" fmla="*/ 26577 h 261981"/>
                <a:gd name="connsiteX3" fmla="*/ 301880 w 308442"/>
                <a:gd name="connsiteY3" fmla="*/ 7070 h 261981"/>
                <a:gd name="connsiteX4" fmla="*/ 301816 w 308442"/>
                <a:gd name="connsiteY4" fmla="*/ 5393 h 261981"/>
                <a:gd name="connsiteX5" fmla="*/ 300172 w 308442"/>
                <a:gd name="connsiteY5" fmla="*/ 5536 h 261981"/>
                <a:gd name="connsiteX6" fmla="*/ 263162 w 308442"/>
                <a:gd name="connsiteY6" fmla="*/ 20138 h 261981"/>
                <a:gd name="connsiteX7" fmla="*/ 260612 w 308442"/>
                <a:gd name="connsiteY7" fmla="*/ 19443 h 261981"/>
                <a:gd name="connsiteX8" fmla="*/ 257380 w 308442"/>
                <a:gd name="connsiteY8" fmla="*/ 16033 h 261981"/>
                <a:gd name="connsiteX9" fmla="*/ 239443 w 308442"/>
                <a:gd name="connsiteY9" fmla="*/ 4707 h 261981"/>
                <a:gd name="connsiteX10" fmla="*/ 211946 w 308442"/>
                <a:gd name="connsiteY10" fmla="*/ 135 h 261981"/>
                <a:gd name="connsiteX11" fmla="*/ 185853 w 308442"/>
                <a:gd name="connsiteY11" fmla="*/ 7755 h 261981"/>
                <a:gd name="connsiteX12" fmla="*/ 164813 w 308442"/>
                <a:gd name="connsiteY12" fmla="*/ 25481 h 261981"/>
                <a:gd name="connsiteX13" fmla="*/ 152242 w 308442"/>
                <a:gd name="connsiteY13" fmla="*/ 51437 h 261981"/>
                <a:gd name="connsiteX14" fmla="*/ 151577 w 308442"/>
                <a:gd name="connsiteY14" fmla="*/ 78850 h 261981"/>
                <a:gd name="connsiteX15" fmla="*/ 150303 w 308442"/>
                <a:gd name="connsiteY15" fmla="*/ 80384 h 261981"/>
                <a:gd name="connsiteX16" fmla="*/ 23081 w 308442"/>
                <a:gd name="connsiteY16" fmla="*/ 13604 h 261981"/>
                <a:gd name="connsiteX17" fmla="*/ 19580 w 308442"/>
                <a:gd name="connsiteY17" fmla="*/ 13737 h 261981"/>
                <a:gd name="connsiteX18" fmla="*/ 30608 w 308442"/>
                <a:gd name="connsiteY18" fmla="*/ 92318 h 261981"/>
                <a:gd name="connsiteX19" fmla="*/ 38422 w 308442"/>
                <a:gd name="connsiteY19" fmla="*/ 99405 h 261981"/>
                <a:gd name="connsiteX20" fmla="*/ 13844 w 308442"/>
                <a:gd name="connsiteY20" fmla="*/ 92318 h 261981"/>
                <a:gd name="connsiteX21" fmla="*/ 11480 w 308442"/>
                <a:gd name="connsiteY21" fmla="*/ 93642 h 261981"/>
                <a:gd name="connsiteX22" fmla="*/ 11886 w 308442"/>
                <a:gd name="connsiteY22" fmla="*/ 101158 h 261981"/>
                <a:gd name="connsiteX23" fmla="*/ 52074 w 308442"/>
                <a:gd name="connsiteY23" fmla="*/ 154764 h 261981"/>
                <a:gd name="connsiteX24" fmla="*/ 60229 w 308442"/>
                <a:gd name="connsiteY24" fmla="*/ 157336 h 261981"/>
                <a:gd name="connsiteX25" fmla="*/ 36196 w 308442"/>
                <a:gd name="connsiteY25" fmla="*/ 158117 h 261981"/>
                <a:gd name="connsiteX26" fmla="*/ 34442 w 308442"/>
                <a:gd name="connsiteY26" fmla="*/ 160413 h 261981"/>
                <a:gd name="connsiteX27" fmla="*/ 85020 w 308442"/>
                <a:gd name="connsiteY27" fmla="*/ 204075 h 261981"/>
                <a:gd name="connsiteX28" fmla="*/ 91901 w 308442"/>
                <a:gd name="connsiteY28" fmla="*/ 205028 h 261981"/>
                <a:gd name="connsiteX29" fmla="*/ 91495 w 308442"/>
                <a:gd name="connsiteY29" fmla="*/ 205447 h 261981"/>
                <a:gd name="connsiteX30" fmla="*/ 56960 w 308442"/>
                <a:gd name="connsiteY30" fmla="*/ 224325 h 261981"/>
                <a:gd name="connsiteX31" fmla="*/ 4506 w 308442"/>
                <a:gd name="connsiteY31" fmla="*/ 231250 h 261981"/>
                <a:gd name="connsiteX32" fmla="*/ 332 w 308442"/>
                <a:gd name="connsiteY32" fmla="*/ 231250 h 261981"/>
                <a:gd name="connsiteX33" fmla="*/ 1135 w 308442"/>
                <a:gd name="connsiteY33" fmla="*/ 233155 h 261981"/>
                <a:gd name="connsiteX34" fmla="*/ 12062 w 308442"/>
                <a:gd name="connsiteY34" fmla="*/ 239823 h 261981"/>
                <a:gd name="connsiteX35" fmla="*/ 47095 w 308442"/>
                <a:gd name="connsiteY35" fmla="*/ 254320 h 261981"/>
                <a:gd name="connsiteX36" fmla="*/ 228396 w 308442"/>
                <a:gd name="connsiteY36" fmla="*/ 210609 h 261981"/>
                <a:gd name="connsiteX37" fmla="*/ 278577 w 308442"/>
                <a:gd name="connsiteY37" fmla="*/ 67477 h 261981"/>
                <a:gd name="connsiteX38" fmla="*/ 282327 w 308442"/>
                <a:gd name="connsiteY38" fmla="*/ 63200 h 261981"/>
                <a:gd name="connsiteX39" fmla="*/ 306896 w 308442"/>
                <a:gd name="connsiteY39" fmla="*/ 36730 h 261981"/>
                <a:gd name="connsiteX40" fmla="*/ 308411 w 308442"/>
                <a:gd name="connsiteY40" fmla="*/ 31663 h 261981"/>
                <a:gd name="connsiteX41" fmla="*/ 308411 w 308442"/>
                <a:gd name="connsiteY41" fmla="*/ 31435 h 261981"/>
                <a:gd name="connsiteX42" fmla="*/ 307284 w 308442"/>
                <a:gd name="connsiteY42" fmla="*/ 31435 h 261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08442" h="261981">
                  <a:moveTo>
                    <a:pt x="307284" y="31435"/>
                  </a:moveTo>
                  <a:cubicBezTo>
                    <a:pt x="297321" y="35852"/>
                    <a:pt x="286851" y="38938"/>
                    <a:pt x="276130" y="40617"/>
                  </a:cubicBezTo>
                  <a:cubicBezTo>
                    <a:pt x="281145" y="39740"/>
                    <a:pt x="288543" y="30368"/>
                    <a:pt x="291499" y="26577"/>
                  </a:cubicBezTo>
                  <a:cubicBezTo>
                    <a:pt x="296127" y="20812"/>
                    <a:pt x="299650" y="14192"/>
                    <a:pt x="301880" y="7070"/>
                  </a:cubicBezTo>
                  <a:cubicBezTo>
                    <a:pt x="302148" y="6517"/>
                    <a:pt x="302352" y="5812"/>
                    <a:pt x="301816" y="5393"/>
                  </a:cubicBezTo>
                  <a:cubicBezTo>
                    <a:pt x="301278" y="5161"/>
                    <a:pt x="300664" y="5214"/>
                    <a:pt x="300172" y="5536"/>
                  </a:cubicBezTo>
                  <a:cubicBezTo>
                    <a:pt x="288474" y="11977"/>
                    <a:pt x="276041" y="16883"/>
                    <a:pt x="263162" y="20138"/>
                  </a:cubicBezTo>
                  <a:cubicBezTo>
                    <a:pt x="262253" y="20436"/>
                    <a:pt x="261259" y="20165"/>
                    <a:pt x="260612" y="19443"/>
                  </a:cubicBezTo>
                  <a:cubicBezTo>
                    <a:pt x="259622" y="18221"/>
                    <a:pt x="258541" y="17081"/>
                    <a:pt x="257380" y="16033"/>
                  </a:cubicBezTo>
                  <a:cubicBezTo>
                    <a:pt x="252031" y="11286"/>
                    <a:pt x="245974" y="7462"/>
                    <a:pt x="239443" y="4707"/>
                  </a:cubicBezTo>
                  <a:cubicBezTo>
                    <a:pt x="230727" y="1070"/>
                    <a:pt x="221328" y="-493"/>
                    <a:pt x="211946" y="135"/>
                  </a:cubicBezTo>
                  <a:cubicBezTo>
                    <a:pt x="202830" y="780"/>
                    <a:pt x="193944" y="3375"/>
                    <a:pt x="185853" y="7755"/>
                  </a:cubicBezTo>
                  <a:cubicBezTo>
                    <a:pt x="177744" y="12127"/>
                    <a:pt x="170584" y="18158"/>
                    <a:pt x="164813" y="25481"/>
                  </a:cubicBezTo>
                  <a:cubicBezTo>
                    <a:pt x="158824" y="33076"/>
                    <a:pt x="154532" y="41938"/>
                    <a:pt x="152242" y="51437"/>
                  </a:cubicBezTo>
                  <a:cubicBezTo>
                    <a:pt x="150277" y="60441"/>
                    <a:pt x="150051" y="69756"/>
                    <a:pt x="151577" y="78850"/>
                  </a:cubicBezTo>
                  <a:cubicBezTo>
                    <a:pt x="151771" y="80384"/>
                    <a:pt x="151642" y="80584"/>
                    <a:pt x="150303" y="80384"/>
                  </a:cubicBezTo>
                  <a:cubicBezTo>
                    <a:pt x="99466" y="72564"/>
                    <a:pt x="57329" y="53799"/>
                    <a:pt x="23081" y="13604"/>
                  </a:cubicBezTo>
                  <a:cubicBezTo>
                    <a:pt x="21603" y="11861"/>
                    <a:pt x="20790" y="11861"/>
                    <a:pt x="19580" y="13737"/>
                  </a:cubicBezTo>
                  <a:cubicBezTo>
                    <a:pt x="4608" y="36873"/>
                    <a:pt x="11905" y="74049"/>
                    <a:pt x="30608" y="92318"/>
                  </a:cubicBezTo>
                  <a:cubicBezTo>
                    <a:pt x="33102" y="94757"/>
                    <a:pt x="35661" y="97186"/>
                    <a:pt x="38422" y="99405"/>
                  </a:cubicBezTo>
                  <a:cubicBezTo>
                    <a:pt x="29855" y="98750"/>
                    <a:pt x="21499" y="96341"/>
                    <a:pt x="13844" y="92318"/>
                  </a:cubicBezTo>
                  <a:cubicBezTo>
                    <a:pt x="12357" y="91366"/>
                    <a:pt x="11618" y="91909"/>
                    <a:pt x="11480" y="93642"/>
                  </a:cubicBezTo>
                  <a:cubicBezTo>
                    <a:pt x="11391" y="96155"/>
                    <a:pt x="11527" y="98671"/>
                    <a:pt x="11886" y="101158"/>
                  </a:cubicBezTo>
                  <a:cubicBezTo>
                    <a:pt x="14936" y="125189"/>
                    <a:pt x="30289" y="145669"/>
                    <a:pt x="52074" y="154764"/>
                  </a:cubicBezTo>
                  <a:cubicBezTo>
                    <a:pt x="54690" y="155934"/>
                    <a:pt x="57426" y="156797"/>
                    <a:pt x="60229" y="157336"/>
                  </a:cubicBezTo>
                  <a:cubicBezTo>
                    <a:pt x="52316" y="158971"/>
                    <a:pt x="44194" y="159235"/>
                    <a:pt x="36196" y="158117"/>
                  </a:cubicBezTo>
                  <a:cubicBezTo>
                    <a:pt x="34442" y="157765"/>
                    <a:pt x="33777" y="158670"/>
                    <a:pt x="34442" y="160413"/>
                  </a:cubicBezTo>
                  <a:cubicBezTo>
                    <a:pt x="45036" y="190178"/>
                    <a:pt x="67896" y="199036"/>
                    <a:pt x="85020" y="204075"/>
                  </a:cubicBezTo>
                  <a:cubicBezTo>
                    <a:pt x="87310" y="204494"/>
                    <a:pt x="89638" y="204494"/>
                    <a:pt x="91901" y="205028"/>
                  </a:cubicBezTo>
                  <a:cubicBezTo>
                    <a:pt x="91762" y="205247"/>
                    <a:pt x="91624" y="205247"/>
                    <a:pt x="91495" y="205447"/>
                  </a:cubicBezTo>
                  <a:cubicBezTo>
                    <a:pt x="85814" y="214381"/>
                    <a:pt x="66122" y="221020"/>
                    <a:pt x="56960" y="224325"/>
                  </a:cubicBezTo>
                  <a:cubicBezTo>
                    <a:pt x="40164" y="230506"/>
                    <a:pt x="22271" y="232868"/>
                    <a:pt x="4506" y="231250"/>
                  </a:cubicBezTo>
                  <a:cubicBezTo>
                    <a:pt x="1736" y="230821"/>
                    <a:pt x="1089" y="230850"/>
                    <a:pt x="332" y="231250"/>
                  </a:cubicBezTo>
                  <a:cubicBezTo>
                    <a:pt x="-426" y="231650"/>
                    <a:pt x="230" y="232431"/>
                    <a:pt x="1135" y="233155"/>
                  </a:cubicBezTo>
                  <a:cubicBezTo>
                    <a:pt x="4710" y="235584"/>
                    <a:pt x="8349" y="237746"/>
                    <a:pt x="12062" y="239823"/>
                  </a:cubicBezTo>
                  <a:cubicBezTo>
                    <a:pt x="23191" y="245959"/>
                    <a:pt x="34939" y="250821"/>
                    <a:pt x="47095" y="254320"/>
                  </a:cubicBezTo>
                  <a:cubicBezTo>
                    <a:pt x="110106" y="272265"/>
                    <a:pt x="181087" y="259082"/>
                    <a:pt x="228396" y="210609"/>
                  </a:cubicBezTo>
                  <a:cubicBezTo>
                    <a:pt x="265554" y="172509"/>
                    <a:pt x="278577" y="120036"/>
                    <a:pt x="278577" y="67477"/>
                  </a:cubicBezTo>
                  <a:cubicBezTo>
                    <a:pt x="278577" y="65420"/>
                    <a:pt x="280932" y="64277"/>
                    <a:pt x="282327" y="63200"/>
                  </a:cubicBezTo>
                  <a:cubicBezTo>
                    <a:pt x="291723" y="55658"/>
                    <a:pt x="300000" y="46741"/>
                    <a:pt x="306896" y="36730"/>
                  </a:cubicBezTo>
                  <a:cubicBezTo>
                    <a:pt x="307967" y="35280"/>
                    <a:pt x="308504" y="33484"/>
                    <a:pt x="308411" y="31663"/>
                  </a:cubicBezTo>
                  <a:lnTo>
                    <a:pt x="308411" y="31435"/>
                  </a:lnTo>
                  <a:cubicBezTo>
                    <a:pt x="308484" y="30568"/>
                    <a:pt x="308540" y="30815"/>
                    <a:pt x="307284" y="31435"/>
                  </a:cubicBezTo>
                  <a:close/>
                </a:path>
              </a:pathLst>
            </a:custGeom>
            <a:grpFill/>
            <a:ln w="923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0F541F3-B09C-BE42-882A-9314FE2AEF91}"/>
                </a:ext>
              </a:extLst>
            </p:cNvPr>
            <p:cNvSpPr/>
            <p:nvPr/>
          </p:nvSpPr>
          <p:spPr>
            <a:xfrm>
              <a:off x="5341096" y="5478282"/>
              <a:ext cx="9236" cy="9525"/>
            </a:xfrm>
            <a:custGeom>
              <a:avLst/>
              <a:gdLst/>
              <a:ahLst/>
              <a:cxnLst/>
              <a:rect l="l" t="t" r="r" b="b"/>
              <a:pathLst>
                <a:path w="9236" h="9525"/>
              </a:pathLst>
            </a:custGeom>
            <a:grpFill/>
            <a:ln w="923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C5FFC013-5646-3249-8440-298FA294D3F9}"/>
                </a:ext>
              </a:extLst>
            </p:cNvPr>
            <p:cNvSpPr/>
            <p:nvPr/>
          </p:nvSpPr>
          <p:spPr>
            <a:xfrm>
              <a:off x="5430347" y="5739162"/>
              <a:ext cx="2354" cy="9525"/>
            </a:xfrm>
            <a:custGeom>
              <a:avLst/>
              <a:gdLst>
                <a:gd name="connsiteX0" fmla="*/ 2355 w 2354"/>
                <a:gd name="connsiteY0" fmla="*/ 0 h 9525"/>
                <a:gd name="connsiteX1" fmla="*/ 2355 w 235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4" h="9525">
                  <a:moveTo>
                    <a:pt x="2355" y="0"/>
                  </a:moveTo>
                  <a:cubicBezTo>
                    <a:pt x="1949" y="0"/>
                    <a:pt x="-2734" y="0"/>
                    <a:pt x="2355" y="0"/>
                  </a:cubicBezTo>
                  <a:close/>
                </a:path>
              </a:pathLst>
            </a:custGeom>
            <a:grpFill/>
            <a:ln w="923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40E1F37-C5A5-264B-B496-FA5415381A18}"/>
                </a:ext>
              </a:extLst>
            </p:cNvPr>
            <p:cNvSpPr/>
            <p:nvPr/>
          </p:nvSpPr>
          <p:spPr>
            <a:xfrm>
              <a:off x="5443083" y="5739201"/>
              <a:ext cx="2430" cy="237"/>
            </a:xfrm>
            <a:custGeom>
              <a:avLst/>
              <a:gdLst>
                <a:gd name="connsiteX0" fmla="*/ 0 w 2430"/>
                <a:gd name="connsiteY0" fmla="*/ 237 h 237"/>
                <a:gd name="connsiteX1" fmla="*/ 0 w 2430"/>
                <a:gd name="connsiteY1" fmla="*/ 237 h 237"/>
                <a:gd name="connsiteX2" fmla="*/ 0 w 2430"/>
                <a:gd name="connsiteY2" fmla="*/ 237 h 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0" h="237">
                  <a:moveTo>
                    <a:pt x="0" y="237"/>
                  </a:moveTo>
                  <a:cubicBezTo>
                    <a:pt x="0" y="-296"/>
                    <a:pt x="5468" y="237"/>
                    <a:pt x="0" y="237"/>
                  </a:cubicBezTo>
                  <a:cubicBezTo>
                    <a:pt x="0" y="-39"/>
                    <a:pt x="674" y="237"/>
                    <a:pt x="0" y="237"/>
                  </a:cubicBezTo>
                  <a:close/>
                </a:path>
              </a:pathLst>
            </a:custGeom>
            <a:grpFill/>
            <a:ln w="923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6746AC8-159F-D749-8DA5-16A2139C9549}"/>
                </a:ext>
              </a:extLst>
            </p:cNvPr>
            <p:cNvSpPr/>
            <p:nvPr/>
          </p:nvSpPr>
          <p:spPr>
            <a:xfrm>
              <a:off x="5550909" y="5478672"/>
              <a:ext cx="1274" cy="207"/>
            </a:xfrm>
            <a:custGeom>
              <a:avLst/>
              <a:gdLst>
                <a:gd name="connsiteX0" fmla="*/ 1275 w 1274"/>
                <a:gd name="connsiteY0" fmla="*/ 0 h 207"/>
                <a:gd name="connsiteX1" fmla="*/ 0 w 1274"/>
                <a:gd name="connsiteY1" fmla="*/ 0 h 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4" h="207">
                  <a:moveTo>
                    <a:pt x="1275" y="0"/>
                  </a:moveTo>
                  <a:cubicBezTo>
                    <a:pt x="892" y="277"/>
                    <a:pt x="382" y="277"/>
                    <a:pt x="0" y="0"/>
                  </a:cubicBezTo>
                  <a:close/>
                </a:path>
              </a:pathLst>
            </a:custGeom>
            <a:grpFill/>
            <a:ln w="923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7" name="Graphic 58">
            <a:extLst>
              <a:ext uri="{FF2B5EF4-FFF2-40B4-BE49-F238E27FC236}">
                <a16:creationId xmlns:a16="http://schemas.microsoft.com/office/drawing/2014/main" id="{8806C1A4-8920-5C43-AB64-A9B01A4C6B6D}"/>
              </a:ext>
            </a:extLst>
          </p:cNvPr>
          <p:cNvGrpSpPr/>
          <p:nvPr userDrawn="1"/>
        </p:nvGrpSpPr>
        <p:grpSpPr>
          <a:xfrm>
            <a:off x="6368560" y="3927429"/>
            <a:ext cx="281393" cy="265384"/>
            <a:chOff x="7329020" y="5440182"/>
            <a:chExt cx="281393" cy="265384"/>
          </a:xfrm>
          <a:solidFill>
            <a:schemeClr val="bg1"/>
          </a:solidFill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225E5E8D-1FC6-8048-ABD8-D4661F8BE01D}"/>
                </a:ext>
              </a:extLst>
            </p:cNvPr>
            <p:cNvSpPr/>
            <p:nvPr/>
          </p:nvSpPr>
          <p:spPr>
            <a:xfrm>
              <a:off x="7332950" y="5522386"/>
              <a:ext cx="277462" cy="183180"/>
            </a:xfrm>
            <a:custGeom>
              <a:avLst/>
              <a:gdLst>
                <a:gd name="connsiteX0" fmla="*/ 277463 w 277462"/>
                <a:gd name="connsiteY0" fmla="*/ 80575 h 183180"/>
                <a:gd name="connsiteX1" fmla="*/ 277463 w 277462"/>
                <a:gd name="connsiteY1" fmla="*/ 178794 h 183180"/>
                <a:gd name="connsiteX2" fmla="*/ 273011 w 277462"/>
                <a:gd name="connsiteY2" fmla="*/ 183181 h 183180"/>
                <a:gd name="connsiteX3" fmla="*/ 221667 w 277462"/>
                <a:gd name="connsiteY3" fmla="*/ 183181 h 183180"/>
                <a:gd name="connsiteX4" fmla="*/ 217215 w 277462"/>
                <a:gd name="connsiteY4" fmla="*/ 178794 h 183180"/>
                <a:gd name="connsiteX5" fmla="*/ 217215 w 277462"/>
                <a:gd name="connsiteY5" fmla="*/ 87445 h 183180"/>
                <a:gd name="connsiteX6" fmla="*/ 186704 w 277462"/>
                <a:gd name="connsiteY6" fmla="*/ 46980 h 183180"/>
                <a:gd name="connsiteX7" fmla="*/ 155803 w 277462"/>
                <a:gd name="connsiteY7" fmla="*/ 68739 h 183180"/>
                <a:gd name="connsiteX8" fmla="*/ 153800 w 277462"/>
                <a:gd name="connsiteY8" fmla="*/ 83233 h 183180"/>
                <a:gd name="connsiteX9" fmla="*/ 153800 w 277462"/>
                <a:gd name="connsiteY9" fmla="*/ 178785 h 183180"/>
                <a:gd name="connsiteX10" fmla="*/ 149358 w 277462"/>
                <a:gd name="connsiteY10" fmla="*/ 183181 h 183180"/>
                <a:gd name="connsiteX11" fmla="*/ 98023 w 277462"/>
                <a:gd name="connsiteY11" fmla="*/ 183181 h 183180"/>
                <a:gd name="connsiteX12" fmla="*/ 93571 w 277462"/>
                <a:gd name="connsiteY12" fmla="*/ 178822 h 183180"/>
                <a:gd name="connsiteX13" fmla="*/ 93571 w 277462"/>
                <a:gd name="connsiteY13" fmla="*/ 178785 h 183180"/>
                <a:gd name="connsiteX14" fmla="*/ 93683 w 277462"/>
                <a:gd name="connsiteY14" fmla="*/ 8694 h 183180"/>
                <a:gd name="connsiteX15" fmla="*/ 98022 w 277462"/>
                <a:gd name="connsiteY15" fmla="*/ 4244 h 183180"/>
                <a:gd name="connsiteX16" fmla="*/ 98125 w 277462"/>
                <a:gd name="connsiteY16" fmla="*/ 4243 h 183180"/>
                <a:gd name="connsiteX17" fmla="*/ 149349 w 277462"/>
                <a:gd name="connsiteY17" fmla="*/ 4243 h 183180"/>
                <a:gd name="connsiteX18" fmla="*/ 153800 w 277462"/>
                <a:gd name="connsiteY18" fmla="*/ 8639 h 183180"/>
                <a:gd name="connsiteX19" fmla="*/ 153800 w 277462"/>
                <a:gd name="connsiteY19" fmla="*/ 29607 h 183180"/>
                <a:gd name="connsiteX20" fmla="*/ 153400 w 277462"/>
                <a:gd name="connsiteY20" fmla="*/ 30187 h 183180"/>
                <a:gd name="connsiteX21" fmla="*/ 153800 w 277462"/>
                <a:gd name="connsiteY21" fmla="*/ 30187 h 183180"/>
                <a:gd name="connsiteX22" fmla="*/ 153800 w 277462"/>
                <a:gd name="connsiteY22" fmla="*/ 29607 h 183180"/>
                <a:gd name="connsiteX23" fmla="*/ 208097 w 277462"/>
                <a:gd name="connsiteY23" fmla="*/ 50 h 183180"/>
                <a:gd name="connsiteX24" fmla="*/ 277454 w 277462"/>
                <a:gd name="connsiteY24" fmla="*/ 80566 h 183180"/>
                <a:gd name="connsiteX25" fmla="*/ 4452 w 277462"/>
                <a:gd name="connsiteY25" fmla="*/ 183181 h 183180"/>
                <a:gd name="connsiteX26" fmla="*/ 55787 w 277462"/>
                <a:gd name="connsiteY26" fmla="*/ 183181 h 183180"/>
                <a:gd name="connsiteX27" fmla="*/ 60239 w 277462"/>
                <a:gd name="connsiteY27" fmla="*/ 178794 h 183180"/>
                <a:gd name="connsiteX28" fmla="*/ 60239 w 277462"/>
                <a:gd name="connsiteY28" fmla="*/ 8639 h 183180"/>
                <a:gd name="connsiteX29" fmla="*/ 55787 w 277462"/>
                <a:gd name="connsiteY29" fmla="*/ 4243 h 183180"/>
                <a:gd name="connsiteX30" fmla="*/ 4452 w 277462"/>
                <a:gd name="connsiteY30" fmla="*/ 4243 h 183180"/>
                <a:gd name="connsiteX31" fmla="*/ 0 w 277462"/>
                <a:gd name="connsiteY31" fmla="*/ 8639 h 183180"/>
                <a:gd name="connsiteX32" fmla="*/ 0 w 277462"/>
                <a:gd name="connsiteY32" fmla="*/ 178776 h 183180"/>
                <a:gd name="connsiteX33" fmla="*/ 4442 w 277462"/>
                <a:gd name="connsiteY33" fmla="*/ 183181 h 183180"/>
                <a:gd name="connsiteX34" fmla="*/ 4452 w 277462"/>
                <a:gd name="connsiteY34" fmla="*/ 183181 h 18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77462" h="183180">
                  <a:moveTo>
                    <a:pt x="277463" y="80575"/>
                  </a:moveTo>
                  <a:lnTo>
                    <a:pt x="277463" y="178794"/>
                  </a:lnTo>
                  <a:cubicBezTo>
                    <a:pt x="277458" y="181218"/>
                    <a:pt x="275466" y="183181"/>
                    <a:pt x="273011" y="183181"/>
                  </a:cubicBezTo>
                  <a:lnTo>
                    <a:pt x="221667" y="183181"/>
                  </a:lnTo>
                  <a:cubicBezTo>
                    <a:pt x="219212" y="183181"/>
                    <a:pt x="217220" y="181218"/>
                    <a:pt x="217215" y="178794"/>
                  </a:cubicBezTo>
                  <a:lnTo>
                    <a:pt x="217215" y="87445"/>
                  </a:lnTo>
                  <a:cubicBezTo>
                    <a:pt x="217215" y="63405"/>
                    <a:pt x="208516" y="46980"/>
                    <a:pt x="186704" y="46980"/>
                  </a:cubicBezTo>
                  <a:cubicBezTo>
                    <a:pt x="172783" y="47058"/>
                    <a:pt x="160414" y="55768"/>
                    <a:pt x="155803" y="68739"/>
                  </a:cubicBezTo>
                  <a:cubicBezTo>
                    <a:pt x="154251" y="73410"/>
                    <a:pt x="153573" y="78321"/>
                    <a:pt x="153800" y="83233"/>
                  </a:cubicBezTo>
                  <a:lnTo>
                    <a:pt x="153800" y="178785"/>
                  </a:lnTo>
                  <a:cubicBezTo>
                    <a:pt x="153800" y="181209"/>
                    <a:pt x="151813" y="183176"/>
                    <a:pt x="149358" y="183181"/>
                  </a:cubicBezTo>
                  <a:lnTo>
                    <a:pt x="98023" y="183181"/>
                  </a:lnTo>
                  <a:cubicBezTo>
                    <a:pt x="95575" y="183191"/>
                    <a:pt x="93581" y="181239"/>
                    <a:pt x="93571" y="178822"/>
                  </a:cubicBezTo>
                  <a:cubicBezTo>
                    <a:pt x="93571" y="178809"/>
                    <a:pt x="93571" y="178797"/>
                    <a:pt x="93571" y="178785"/>
                  </a:cubicBezTo>
                  <a:cubicBezTo>
                    <a:pt x="93683" y="154460"/>
                    <a:pt x="94204" y="36431"/>
                    <a:pt x="93683" y="8694"/>
                  </a:cubicBezTo>
                  <a:cubicBezTo>
                    <a:pt x="93637" y="6282"/>
                    <a:pt x="95579" y="4290"/>
                    <a:pt x="98022" y="4244"/>
                  </a:cubicBezTo>
                  <a:cubicBezTo>
                    <a:pt x="98056" y="4243"/>
                    <a:pt x="98091" y="4243"/>
                    <a:pt x="98125" y="4243"/>
                  </a:cubicBezTo>
                  <a:lnTo>
                    <a:pt x="149349" y="4243"/>
                  </a:lnTo>
                  <a:cubicBezTo>
                    <a:pt x="151807" y="4243"/>
                    <a:pt x="153800" y="6211"/>
                    <a:pt x="153800" y="8639"/>
                  </a:cubicBezTo>
                  <a:lnTo>
                    <a:pt x="153800" y="29607"/>
                  </a:lnTo>
                  <a:cubicBezTo>
                    <a:pt x="153679" y="29801"/>
                    <a:pt x="153512" y="29994"/>
                    <a:pt x="153400" y="30187"/>
                  </a:cubicBezTo>
                  <a:lnTo>
                    <a:pt x="153800" y="30187"/>
                  </a:lnTo>
                  <a:lnTo>
                    <a:pt x="153800" y="29607"/>
                  </a:lnTo>
                  <a:cubicBezTo>
                    <a:pt x="164913" y="10539"/>
                    <a:pt x="185836" y="-851"/>
                    <a:pt x="208097" y="50"/>
                  </a:cubicBezTo>
                  <a:cubicBezTo>
                    <a:pt x="247735" y="50"/>
                    <a:pt x="277454" y="25616"/>
                    <a:pt x="277454" y="80566"/>
                  </a:cubicBezTo>
                  <a:close/>
                  <a:moveTo>
                    <a:pt x="4452" y="183181"/>
                  </a:moveTo>
                  <a:lnTo>
                    <a:pt x="55787" y="183181"/>
                  </a:lnTo>
                  <a:cubicBezTo>
                    <a:pt x="58242" y="183181"/>
                    <a:pt x="60234" y="181218"/>
                    <a:pt x="60239" y="178794"/>
                  </a:cubicBezTo>
                  <a:lnTo>
                    <a:pt x="60239" y="8639"/>
                  </a:lnTo>
                  <a:cubicBezTo>
                    <a:pt x="60239" y="6211"/>
                    <a:pt x="58246" y="4243"/>
                    <a:pt x="55787" y="4243"/>
                  </a:cubicBezTo>
                  <a:lnTo>
                    <a:pt x="4452" y="4243"/>
                  </a:lnTo>
                  <a:cubicBezTo>
                    <a:pt x="1993" y="4243"/>
                    <a:pt x="0" y="6211"/>
                    <a:pt x="0" y="8639"/>
                  </a:cubicBezTo>
                  <a:lnTo>
                    <a:pt x="0" y="178776"/>
                  </a:lnTo>
                  <a:cubicBezTo>
                    <a:pt x="-5" y="181203"/>
                    <a:pt x="1984" y="183176"/>
                    <a:pt x="4442" y="183181"/>
                  </a:cubicBezTo>
                  <a:cubicBezTo>
                    <a:pt x="4446" y="183181"/>
                    <a:pt x="4449" y="183181"/>
                    <a:pt x="4452" y="183181"/>
                  </a:cubicBezTo>
                  <a:close/>
                </a:path>
              </a:pathLst>
            </a:custGeom>
            <a:grpFill/>
            <a:ln w="920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46B3160-B3ED-6A40-86C0-EEAC4EDF6661}"/>
                </a:ext>
              </a:extLst>
            </p:cNvPr>
            <p:cNvSpPr/>
            <p:nvPr/>
          </p:nvSpPr>
          <p:spPr>
            <a:xfrm>
              <a:off x="7329020" y="5440182"/>
              <a:ext cx="64504" cy="63695"/>
            </a:xfrm>
            <a:custGeom>
              <a:avLst/>
              <a:gdLst>
                <a:gd name="connsiteX0" fmla="*/ 64504 w 64504"/>
                <a:gd name="connsiteY0" fmla="*/ 31848 h 63695"/>
                <a:gd name="connsiteX1" fmla="*/ 32252 w 64504"/>
                <a:gd name="connsiteY1" fmla="*/ 63695 h 63695"/>
                <a:gd name="connsiteX2" fmla="*/ 0 w 64504"/>
                <a:gd name="connsiteY2" fmla="*/ 31848 h 63695"/>
                <a:gd name="connsiteX3" fmla="*/ 32252 w 64504"/>
                <a:gd name="connsiteY3" fmla="*/ 0 h 63695"/>
                <a:gd name="connsiteX4" fmla="*/ 64504 w 64504"/>
                <a:gd name="connsiteY4" fmla="*/ 31848 h 63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504" h="63695">
                  <a:moveTo>
                    <a:pt x="64504" y="31848"/>
                  </a:moveTo>
                  <a:cubicBezTo>
                    <a:pt x="64504" y="49437"/>
                    <a:pt x="50064" y="63695"/>
                    <a:pt x="32252" y="63695"/>
                  </a:cubicBezTo>
                  <a:cubicBezTo>
                    <a:pt x="14440" y="63695"/>
                    <a:pt x="0" y="49437"/>
                    <a:pt x="0" y="31848"/>
                  </a:cubicBezTo>
                  <a:cubicBezTo>
                    <a:pt x="0" y="14259"/>
                    <a:pt x="14440" y="0"/>
                    <a:pt x="32252" y="0"/>
                  </a:cubicBezTo>
                  <a:cubicBezTo>
                    <a:pt x="50062" y="5"/>
                    <a:pt x="64499" y="14261"/>
                    <a:pt x="64504" y="31848"/>
                  </a:cubicBezTo>
                  <a:close/>
                </a:path>
              </a:pathLst>
            </a:custGeom>
            <a:grpFill/>
            <a:ln w="920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sp>
        <p:nvSpPr>
          <p:cNvPr id="20" name="Graphic 60">
            <a:extLst>
              <a:ext uri="{FF2B5EF4-FFF2-40B4-BE49-F238E27FC236}">
                <a16:creationId xmlns:a16="http://schemas.microsoft.com/office/drawing/2014/main" id="{D4147838-EC53-7A46-A4FA-07E59147C86F}"/>
              </a:ext>
            </a:extLst>
          </p:cNvPr>
          <p:cNvSpPr>
            <a:spLocks/>
          </p:cNvSpPr>
          <p:nvPr userDrawn="1"/>
        </p:nvSpPr>
        <p:spPr bwMode="auto">
          <a:xfrm>
            <a:off x="5368925" y="3965575"/>
            <a:ext cx="314325" cy="225425"/>
          </a:xfrm>
          <a:custGeom>
            <a:avLst/>
            <a:gdLst>
              <a:gd name="T0" fmla="*/ 315632 w 315632"/>
              <a:gd name="T1" fmla="*/ 70085 h 225361"/>
              <a:gd name="T2" fmla="*/ 246922 w 315632"/>
              <a:gd name="T3" fmla="*/ 0 h 225361"/>
              <a:gd name="T4" fmla="*/ 68711 w 315632"/>
              <a:gd name="T5" fmla="*/ 0 h 225361"/>
              <a:gd name="T6" fmla="*/ 0 w 315632"/>
              <a:gd name="T7" fmla="*/ 70085 h 225361"/>
              <a:gd name="T8" fmla="*/ 0 w 315632"/>
              <a:gd name="T9" fmla="*/ 155258 h 225361"/>
              <a:gd name="T10" fmla="*/ 68692 w 315632"/>
              <a:gd name="T11" fmla="*/ 225362 h 225361"/>
              <a:gd name="T12" fmla="*/ 68711 w 315632"/>
              <a:gd name="T13" fmla="*/ 225362 h 225361"/>
              <a:gd name="T14" fmla="*/ 246922 w 315632"/>
              <a:gd name="T15" fmla="*/ 225362 h 225361"/>
              <a:gd name="T16" fmla="*/ 315632 w 315632"/>
              <a:gd name="T17" fmla="*/ 155277 h 225361"/>
              <a:gd name="T18" fmla="*/ 315632 w 315632"/>
              <a:gd name="T19" fmla="*/ 155258 h 225361"/>
              <a:gd name="T20" fmla="*/ 203191 w 315632"/>
              <a:gd name="T21" fmla="*/ 116977 h 225361"/>
              <a:gd name="T22" fmla="*/ 132117 w 315632"/>
              <a:gd name="T23" fmla="*/ 156734 h 225361"/>
              <a:gd name="T24" fmla="*/ 126253 w 315632"/>
              <a:gd name="T25" fmla="*/ 152571 h 225361"/>
              <a:gd name="T26" fmla="*/ 126253 w 315632"/>
              <a:gd name="T27" fmla="*/ 70961 h 225361"/>
              <a:gd name="T28" fmla="*/ 132211 w 315632"/>
              <a:gd name="T29" fmla="*/ 66846 h 225361"/>
              <a:gd name="T30" fmla="*/ 203770 w 315632"/>
              <a:gd name="T31" fmla="*/ 108699 h 225361"/>
              <a:gd name="T32" fmla="*/ 205088 w 315632"/>
              <a:gd name="T33" fmla="*/ 115299 h 225361"/>
              <a:gd name="T34" fmla="*/ 203191 w 315632"/>
              <a:gd name="T35" fmla="*/ 116977 h 225361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15632" h="225361">
                <a:moveTo>
                  <a:pt x="315632" y="70085"/>
                </a:moveTo>
                <a:cubicBezTo>
                  <a:pt x="315632" y="31378"/>
                  <a:pt x="284870" y="0"/>
                  <a:pt x="246922" y="0"/>
                </a:cubicBezTo>
                <a:lnTo>
                  <a:pt x="68711" y="0"/>
                </a:lnTo>
                <a:cubicBezTo>
                  <a:pt x="30763" y="0"/>
                  <a:pt x="0" y="31378"/>
                  <a:pt x="0" y="70085"/>
                </a:cubicBezTo>
                <a:lnTo>
                  <a:pt x="0" y="155258"/>
                </a:lnTo>
                <a:cubicBezTo>
                  <a:pt x="-10" y="193964"/>
                  <a:pt x="30744" y="225351"/>
                  <a:pt x="68692" y="225362"/>
                </a:cubicBezTo>
                <a:cubicBezTo>
                  <a:pt x="68698" y="225362"/>
                  <a:pt x="68705" y="225362"/>
                  <a:pt x="68711" y="225362"/>
                </a:cubicBezTo>
                <a:lnTo>
                  <a:pt x="246922" y="225362"/>
                </a:lnTo>
                <a:cubicBezTo>
                  <a:pt x="284870" y="225362"/>
                  <a:pt x="315632" y="193983"/>
                  <a:pt x="315632" y="155277"/>
                </a:cubicBezTo>
                <a:cubicBezTo>
                  <a:pt x="315632" y="155270"/>
                  <a:pt x="315632" y="155264"/>
                  <a:pt x="315632" y="155258"/>
                </a:cubicBezTo>
                <a:lnTo>
                  <a:pt x="315632" y="70085"/>
                </a:lnTo>
                <a:close/>
                <a:moveTo>
                  <a:pt x="203191" y="116977"/>
                </a:moveTo>
                <a:lnTo>
                  <a:pt x="132117" y="156734"/>
                </a:lnTo>
                <a:cubicBezTo>
                  <a:pt x="129036" y="158439"/>
                  <a:pt x="126253" y="156153"/>
                  <a:pt x="126253" y="152571"/>
                </a:cubicBezTo>
                <a:lnTo>
                  <a:pt x="126253" y="70961"/>
                </a:lnTo>
                <a:cubicBezTo>
                  <a:pt x="126253" y="67332"/>
                  <a:pt x="129120" y="65056"/>
                  <a:pt x="132211" y="66846"/>
                </a:cubicBezTo>
                <a:lnTo>
                  <a:pt x="203770" y="108699"/>
                </a:lnTo>
                <a:cubicBezTo>
                  <a:pt x="205920" y="110150"/>
                  <a:pt x="206511" y="113105"/>
                  <a:pt x="205088" y="115299"/>
                </a:cubicBezTo>
                <a:cubicBezTo>
                  <a:pt x="204618" y="116024"/>
                  <a:pt x="203961" y="116605"/>
                  <a:pt x="203191" y="1169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245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/>
          </a:p>
        </p:txBody>
      </p:sp>
      <p:grpSp>
        <p:nvGrpSpPr>
          <p:cNvPr id="21" name="Graphic 68">
            <a:extLst>
              <a:ext uri="{FF2B5EF4-FFF2-40B4-BE49-F238E27FC236}">
                <a16:creationId xmlns:a16="http://schemas.microsoft.com/office/drawing/2014/main" id="{3A0DA5DD-74D4-2E43-A495-F5B21A1A1772}"/>
              </a:ext>
            </a:extLst>
          </p:cNvPr>
          <p:cNvGrpSpPr/>
          <p:nvPr userDrawn="1"/>
        </p:nvGrpSpPr>
        <p:grpSpPr>
          <a:xfrm>
            <a:off x="6238166" y="2991252"/>
            <a:ext cx="512647" cy="512647"/>
            <a:chOff x="7214710" y="3648200"/>
            <a:chExt cx="512647" cy="512647"/>
          </a:xfrm>
          <a:solidFill>
            <a:schemeClr val="bg1"/>
          </a:solidFill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5AF48E07-DB8A-8F4B-9EA6-02D6EB3FFC9F}"/>
                </a:ext>
              </a:extLst>
            </p:cNvPr>
            <p:cNvSpPr/>
            <p:nvPr/>
          </p:nvSpPr>
          <p:spPr>
            <a:xfrm>
              <a:off x="7214710" y="3648200"/>
              <a:ext cx="512647" cy="512647"/>
            </a:xfrm>
            <a:custGeom>
              <a:avLst/>
              <a:gdLst>
                <a:gd name="connsiteX0" fmla="*/ 256333 w 512647"/>
                <a:gd name="connsiteY0" fmla="*/ 512647 h 512647"/>
                <a:gd name="connsiteX1" fmla="*/ 0 w 512647"/>
                <a:gd name="connsiteY1" fmla="*/ 256333 h 512647"/>
                <a:gd name="connsiteX2" fmla="*/ 256314 w 512647"/>
                <a:gd name="connsiteY2" fmla="*/ 0 h 512647"/>
                <a:gd name="connsiteX3" fmla="*/ 512647 w 512647"/>
                <a:gd name="connsiteY3" fmla="*/ 256314 h 512647"/>
                <a:gd name="connsiteX4" fmla="*/ 512647 w 512647"/>
                <a:gd name="connsiteY4" fmla="*/ 256324 h 512647"/>
                <a:gd name="connsiteX5" fmla="*/ 256333 w 512647"/>
                <a:gd name="connsiteY5" fmla="*/ 512647 h 512647"/>
                <a:gd name="connsiteX6" fmla="*/ 256333 w 512647"/>
                <a:gd name="connsiteY6" fmla="*/ 27592 h 512647"/>
                <a:gd name="connsiteX7" fmla="*/ 27601 w 512647"/>
                <a:gd name="connsiteY7" fmla="*/ 256324 h 512647"/>
                <a:gd name="connsiteX8" fmla="*/ 256333 w 512647"/>
                <a:gd name="connsiteY8" fmla="*/ 485055 h 512647"/>
                <a:gd name="connsiteX9" fmla="*/ 485065 w 512647"/>
                <a:gd name="connsiteY9" fmla="*/ 256324 h 512647"/>
                <a:gd name="connsiteX10" fmla="*/ 256333 w 512647"/>
                <a:gd name="connsiteY10" fmla="*/ 27592 h 512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2647" h="512647">
                  <a:moveTo>
                    <a:pt x="256333" y="512647"/>
                  </a:moveTo>
                  <a:cubicBezTo>
                    <a:pt x="114769" y="512652"/>
                    <a:pt x="5" y="397897"/>
                    <a:pt x="0" y="256333"/>
                  </a:cubicBezTo>
                  <a:cubicBezTo>
                    <a:pt x="-5" y="114769"/>
                    <a:pt x="114751" y="5"/>
                    <a:pt x="256314" y="0"/>
                  </a:cubicBezTo>
                  <a:cubicBezTo>
                    <a:pt x="397878" y="-5"/>
                    <a:pt x="512642" y="114751"/>
                    <a:pt x="512647" y="256314"/>
                  </a:cubicBezTo>
                  <a:cubicBezTo>
                    <a:pt x="512647" y="256317"/>
                    <a:pt x="512647" y="256321"/>
                    <a:pt x="512647" y="256324"/>
                  </a:cubicBezTo>
                  <a:cubicBezTo>
                    <a:pt x="512487" y="397817"/>
                    <a:pt x="397826" y="512481"/>
                    <a:pt x="256333" y="512647"/>
                  </a:cubicBezTo>
                  <a:close/>
                  <a:moveTo>
                    <a:pt x="256333" y="27592"/>
                  </a:moveTo>
                  <a:cubicBezTo>
                    <a:pt x="130008" y="27592"/>
                    <a:pt x="27601" y="129999"/>
                    <a:pt x="27601" y="256324"/>
                  </a:cubicBezTo>
                  <a:cubicBezTo>
                    <a:pt x="27601" y="382649"/>
                    <a:pt x="130008" y="485055"/>
                    <a:pt x="256333" y="485055"/>
                  </a:cubicBezTo>
                  <a:cubicBezTo>
                    <a:pt x="382658" y="485055"/>
                    <a:pt x="485065" y="382649"/>
                    <a:pt x="485065" y="256324"/>
                  </a:cubicBezTo>
                  <a:cubicBezTo>
                    <a:pt x="484920" y="130059"/>
                    <a:pt x="382598" y="27737"/>
                    <a:pt x="256333" y="27592"/>
                  </a:cubicBezTo>
                  <a:close/>
                </a:path>
              </a:pathLst>
            </a:custGeom>
            <a:grpFill/>
            <a:ln w="934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C7B66D43-A863-9F48-BA14-EC748EDDE4E7}"/>
                </a:ext>
              </a:extLst>
            </p:cNvPr>
            <p:cNvSpPr/>
            <p:nvPr/>
          </p:nvSpPr>
          <p:spPr>
            <a:xfrm>
              <a:off x="7348982" y="3845529"/>
              <a:ext cx="266963" cy="178553"/>
            </a:xfrm>
            <a:custGeom>
              <a:avLst/>
              <a:gdLst>
                <a:gd name="connsiteX0" fmla="*/ 266963 w 266963"/>
                <a:gd name="connsiteY0" fmla="*/ 78515 h 178553"/>
                <a:gd name="connsiteX1" fmla="*/ 266963 w 266963"/>
                <a:gd name="connsiteY1" fmla="*/ 174217 h 178553"/>
                <a:gd name="connsiteX2" fmla="*/ 262683 w 266963"/>
                <a:gd name="connsiteY2" fmla="*/ 178497 h 178553"/>
                <a:gd name="connsiteX3" fmla="*/ 213275 w 266963"/>
                <a:gd name="connsiteY3" fmla="*/ 178497 h 178553"/>
                <a:gd name="connsiteX4" fmla="*/ 208995 w 266963"/>
                <a:gd name="connsiteY4" fmla="*/ 174217 h 178553"/>
                <a:gd name="connsiteX5" fmla="*/ 208995 w 266963"/>
                <a:gd name="connsiteY5" fmla="*/ 85213 h 178553"/>
                <a:gd name="connsiteX6" fmla="*/ 179634 w 266963"/>
                <a:gd name="connsiteY6" fmla="*/ 45796 h 178553"/>
                <a:gd name="connsiteX7" fmla="*/ 149898 w 266963"/>
                <a:gd name="connsiteY7" fmla="*/ 67029 h 178553"/>
                <a:gd name="connsiteX8" fmla="*/ 148016 w 266963"/>
                <a:gd name="connsiteY8" fmla="*/ 81140 h 178553"/>
                <a:gd name="connsiteX9" fmla="*/ 148016 w 266963"/>
                <a:gd name="connsiteY9" fmla="*/ 174273 h 178553"/>
                <a:gd name="connsiteX10" fmla="*/ 143736 w 266963"/>
                <a:gd name="connsiteY10" fmla="*/ 178554 h 178553"/>
                <a:gd name="connsiteX11" fmla="*/ 94337 w 266963"/>
                <a:gd name="connsiteY11" fmla="*/ 178554 h 178553"/>
                <a:gd name="connsiteX12" fmla="*/ 90048 w 266963"/>
                <a:gd name="connsiteY12" fmla="*/ 174302 h 178553"/>
                <a:gd name="connsiteX13" fmla="*/ 90048 w 266963"/>
                <a:gd name="connsiteY13" fmla="*/ 174273 h 178553"/>
                <a:gd name="connsiteX14" fmla="*/ 90151 w 266963"/>
                <a:gd name="connsiteY14" fmla="*/ 8534 h 178553"/>
                <a:gd name="connsiteX15" fmla="*/ 94356 w 266963"/>
                <a:gd name="connsiteY15" fmla="*/ 4197 h 178553"/>
                <a:gd name="connsiteX16" fmla="*/ 94432 w 266963"/>
                <a:gd name="connsiteY16" fmla="*/ 4197 h 178553"/>
                <a:gd name="connsiteX17" fmla="*/ 143726 w 266963"/>
                <a:gd name="connsiteY17" fmla="*/ 4197 h 178553"/>
                <a:gd name="connsiteX18" fmla="*/ 147960 w 266963"/>
                <a:gd name="connsiteY18" fmla="*/ 8421 h 178553"/>
                <a:gd name="connsiteX19" fmla="*/ 147960 w 266963"/>
                <a:gd name="connsiteY19" fmla="*/ 28854 h 178553"/>
                <a:gd name="connsiteX20" fmla="*/ 147583 w 266963"/>
                <a:gd name="connsiteY20" fmla="*/ 29418 h 178553"/>
                <a:gd name="connsiteX21" fmla="*/ 147960 w 266963"/>
                <a:gd name="connsiteY21" fmla="*/ 29418 h 178553"/>
                <a:gd name="connsiteX22" fmla="*/ 147960 w 266963"/>
                <a:gd name="connsiteY22" fmla="*/ 28854 h 178553"/>
                <a:gd name="connsiteX23" fmla="*/ 200208 w 266963"/>
                <a:gd name="connsiteY23" fmla="*/ 48 h 178553"/>
                <a:gd name="connsiteX24" fmla="*/ 266945 w 266963"/>
                <a:gd name="connsiteY24" fmla="*/ 78515 h 178553"/>
                <a:gd name="connsiteX25" fmla="*/ 4280 w 266963"/>
                <a:gd name="connsiteY25" fmla="*/ 178497 h 178553"/>
                <a:gd name="connsiteX26" fmla="*/ 53669 w 266963"/>
                <a:gd name="connsiteY26" fmla="*/ 178497 h 178553"/>
                <a:gd name="connsiteX27" fmla="*/ 57950 w 266963"/>
                <a:gd name="connsiteY27" fmla="*/ 174217 h 178553"/>
                <a:gd name="connsiteX28" fmla="*/ 57950 w 266963"/>
                <a:gd name="connsiteY28" fmla="*/ 8421 h 178553"/>
                <a:gd name="connsiteX29" fmla="*/ 53669 w 266963"/>
                <a:gd name="connsiteY29" fmla="*/ 4140 h 178553"/>
                <a:gd name="connsiteX30" fmla="*/ 4280 w 266963"/>
                <a:gd name="connsiteY30" fmla="*/ 4140 h 178553"/>
                <a:gd name="connsiteX31" fmla="*/ 0 w 266963"/>
                <a:gd name="connsiteY31" fmla="*/ 8421 h 178553"/>
                <a:gd name="connsiteX32" fmla="*/ 0 w 266963"/>
                <a:gd name="connsiteY32" fmla="*/ 174217 h 178553"/>
                <a:gd name="connsiteX33" fmla="*/ 4262 w 266963"/>
                <a:gd name="connsiteY33" fmla="*/ 178497 h 178553"/>
                <a:gd name="connsiteX34" fmla="*/ 4280 w 266963"/>
                <a:gd name="connsiteY34" fmla="*/ 178497 h 178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66963" h="178553">
                  <a:moveTo>
                    <a:pt x="266963" y="78515"/>
                  </a:moveTo>
                  <a:lnTo>
                    <a:pt x="266963" y="174217"/>
                  </a:lnTo>
                  <a:cubicBezTo>
                    <a:pt x="266963" y="176581"/>
                    <a:pt x="265047" y="178497"/>
                    <a:pt x="262683" y="178497"/>
                  </a:cubicBezTo>
                  <a:lnTo>
                    <a:pt x="213275" y="178497"/>
                  </a:lnTo>
                  <a:cubicBezTo>
                    <a:pt x="210911" y="178497"/>
                    <a:pt x="208995" y="176581"/>
                    <a:pt x="208995" y="174217"/>
                  </a:cubicBezTo>
                  <a:lnTo>
                    <a:pt x="208995" y="85213"/>
                  </a:lnTo>
                  <a:cubicBezTo>
                    <a:pt x="208995" y="61789"/>
                    <a:pt x="200622" y="45796"/>
                    <a:pt x="179634" y="45796"/>
                  </a:cubicBezTo>
                  <a:cubicBezTo>
                    <a:pt x="166231" y="45878"/>
                    <a:pt x="154327" y="54378"/>
                    <a:pt x="149898" y="67029"/>
                  </a:cubicBezTo>
                  <a:cubicBezTo>
                    <a:pt x="148426" y="71581"/>
                    <a:pt x="147788" y="76361"/>
                    <a:pt x="148016" y="81140"/>
                  </a:cubicBezTo>
                  <a:lnTo>
                    <a:pt x="148016" y="174273"/>
                  </a:lnTo>
                  <a:cubicBezTo>
                    <a:pt x="148016" y="176637"/>
                    <a:pt x="146100" y="178554"/>
                    <a:pt x="143736" y="178554"/>
                  </a:cubicBezTo>
                  <a:lnTo>
                    <a:pt x="94337" y="178554"/>
                  </a:lnTo>
                  <a:cubicBezTo>
                    <a:pt x="91979" y="178564"/>
                    <a:pt x="90058" y="176660"/>
                    <a:pt x="90048" y="174302"/>
                  </a:cubicBezTo>
                  <a:cubicBezTo>
                    <a:pt x="90048" y="174292"/>
                    <a:pt x="90048" y="174283"/>
                    <a:pt x="90048" y="174273"/>
                  </a:cubicBezTo>
                  <a:cubicBezTo>
                    <a:pt x="90161" y="150567"/>
                    <a:pt x="90659" y="35561"/>
                    <a:pt x="90151" y="8534"/>
                  </a:cubicBezTo>
                  <a:cubicBezTo>
                    <a:pt x="90115" y="6175"/>
                    <a:pt x="91997" y="4234"/>
                    <a:pt x="94356" y="4197"/>
                  </a:cubicBezTo>
                  <a:cubicBezTo>
                    <a:pt x="94381" y="4197"/>
                    <a:pt x="94406" y="4197"/>
                    <a:pt x="94432" y="4197"/>
                  </a:cubicBezTo>
                  <a:lnTo>
                    <a:pt x="143726" y="4197"/>
                  </a:lnTo>
                  <a:cubicBezTo>
                    <a:pt x="146050" y="4222"/>
                    <a:pt x="147929" y="6097"/>
                    <a:pt x="147960" y="8421"/>
                  </a:cubicBezTo>
                  <a:lnTo>
                    <a:pt x="147960" y="28854"/>
                  </a:lnTo>
                  <a:cubicBezTo>
                    <a:pt x="147847" y="29042"/>
                    <a:pt x="147687" y="29239"/>
                    <a:pt x="147583" y="29418"/>
                  </a:cubicBezTo>
                  <a:lnTo>
                    <a:pt x="147960" y="29418"/>
                  </a:lnTo>
                  <a:lnTo>
                    <a:pt x="147960" y="28854"/>
                  </a:lnTo>
                  <a:cubicBezTo>
                    <a:pt x="158654" y="10273"/>
                    <a:pt x="178787" y="-827"/>
                    <a:pt x="200208" y="48"/>
                  </a:cubicBezTo>
                  <a:cubicBezTo>
                    <a:pt x="238346" y="48"/>
                    <a:pt x="266945" y="24968"/>
                    <a:pt x="266945" y="78515"/>
                  </a:cubicBezTo>
                  <a:close/>
                  <a:moveTo>
                    <a:pt x="4280" y="178497"/>
                  </a:moveTo>
                  <a:lnTo>
                    <a:pt x="53669" y="178497"/>
                  </a:lnTo>
                  <a:cubicBezTo>
                    <a:pt x="56033" y="178497"/>
                    <a:pt x="57950" y="176581"/>
                    <a:pt x="57950" y="174217"/>
                  </a:cubicBezTo>
                  <a:lnTo>
                    <a:pt x="57950" y="8421"/>
                  </a:lnTo>
                  <a:cubicBezTo>
                    <a:pt x="57950" y="6057"/>
                    <a:pt x="56033" y="4140"/>
                    <a:pt x="53669" y="4140"/>
                  </a:cubicBezTo>
                  <a:lnTo>
                    <a:pt x="4280" y="4140"/>
                  </a:lnTo>
                  <a:cubicBezTo>
                    <a:pt x="1916" y="4140"/>
                    <a:pt x="0" y="6057"/>
                    <a:pt x="0" y="8421"/>
                  </a:cubicBezTo>
                  <a:lnTo>
                    <a:pt x="0" y="174217"/>
                  </a:lnTo>
                  <a:cubicBezTo>
                    <a:pt x="-5" y="176576"/>
                    <a:pt x="1903" y="178492"/>
                    <a:pt x="4262" y="178497"/>
                  </a:cubicBezTo>
                  <a:cubicBezTo>
                    <a:pt x="4268" y="178497"/>
                    <a:pt x="4274" y="178497"/>
                    <a:pt x="4280" y="178497"/>
                  </a:cubicBezTo>
                  <a:close/>
                </a:path>
              </a:pathLst>
            </a:custGeom>
            <a:grpFill/>
            <a:ln w="934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2D42565C-30A4-B844-9934-B79F40023594}"/>
                </a:ext>
              </a:extLst>
            </p:cNvPr>
            <p:cNvSpPr/>
            <p:nvPr/>
          </p:nvSpPr>
          <p:spPr>
            <a:xfrm>
              <a:off x="7345200" y="3765435"/>
              <a:ext cx="62051" cy="62051"/>
            </a:xfrm>
            <a:custGeom>
              <a:avLst/>
              <a:gdLst>
                <a:gd name="connsiteX0" fmla="*/ 62051 w 62051"/>
                <a:gd name="connsiteY0" fmla="*/ 31026 h 62051"/>
                <a:gd name="connsiteX1" fmla="*/ 31026 w 62051"/>
                <a:gd name="connsiteY1" fmla="*/ 62051 h 62051"/>
                <a:gd name="connsiteX2" fmla="*/ 0 w 62051"/>
                <a:gd name="connsiteY2" fmla="*/ 31026 h 62051"/>
                <a:gd name="connsiteX3" fmla="*/ 31026 w 62051"/>
                <a:gd name="connsiteY3" fmla="*/ 0 h 62051"/>
                <a:gd name="connsiteX4" fmla="*/ 62051 w 62051"/>
                <a:gd name="connsiteY4" fmla="*/ 31026 h 62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051" h="62051">
                  <a:moveTo>
                    <a:pt x="62051" y="31026"/>
                  </a:moveTo>
                  <a:cubicBezTo>
                    <a:pt x="62051" y="48161"/>
                    <a:pt x="48161" y="62051"/>
                    <a:pt x="31026" y="62051"/>
                  </a:cubicBezTo>
                  <a:cubicBezTo>
                    <a:pt x="13891" y="62051"/>
                    <a:pt x="0" y="48161"/>
                    <a:pt x="0" y="31026"/>
                  </a:cubicBezTo>
                  <a:cubicBezTo>
                    <a:pt x="0" y="13891"/>
                    <a:pt x="13891" y="0"/>
                    <a:pt x="31026" y="0"/>
                  </a:cubicBezTo>
                  <a:cubicBezTo>
                    <a:pt x="48161" y="0"/>
                    <a:pt x="62051" y="13891"/>
                    <a:pt x="62051" y="31026"/>
                  </a:cubicBezTo>
                  <a:close/>
                </a:path>
              </a:pathLst>
            </a:custGeom>
            <a:grpFill/>
            <a:ln w="934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5" name="Graphic 70">
            <a:extLst>
              <a:ext uri="{FF2B5EF4-FFF2-40B4-BE49-F238E27FC236}">
                <a16:creationId xmlns:a16="http://schemas.microsoft.com/office/drawing/2014/main" id="{F4A9C928-0EC8-014E-8264-1798A3ED9FA3}"/>
              </a:ext>
            </a:extLst>
          </p:cNvPr>
          <p:cNvGrpSpPr/>
          <p:nvPr userDrawn="1"/>
        </p:nvGrpSpPr>
        <p:grpSpPr>
          <a:xfrm>
            <a:off x="5250554" y="2982608"/>
            <a:ext cx="516780" cy="516780"/>
            <a:chOff x="6227098" y="3639556"/>
            <a:chExt cx="516780" cy="516780"/>
          </a:xfrm>
          <a:solidFill>
            <a:schemeClr val="bg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D28AA1EC-2D9B-3C4E-9D73-3DC3E462013A}"/>
                </a:ext>
              </a:extLst>
            </p:cNvPr>
            <p:cNvSpPr/>
            <p:nvPr/>
          </p:nvSpPr>
          <p:spPr>
            <a:xfrm>
              <a:off x="6227098" y="3639556"/>
              <a:ext cx="516780" cy="516780"/>
            </a:xfrm>
            <a:custGeom>
              <a:avLst/>
              <a:gdLst>
                <a:gd name="connsiteX0" fmla="*/ 258400 w 516780"/>
                <a:gd name="connsiteY0" fmla="*/ 516781 h 516780"/>
                <a:gd name="connsiteX1" fmla="*/ 0 w 516780"/>
                <a:gd name="connsiteY1" fmla="*/ 258400 h 516780"/>
                <a:gd name="connsiteX2" fmla="*/ 258381 w 516780"/>
                <a:gd name="connsiteY2" fmla="*/ 0 h 516780"/>
                <a:gd name="connsiteX3" fmla="*/ 516781 w 516780"/>
                <a:gd name="connsiteY3" fmla="*/ 258381 h 516780"/>
                <a:gd name="connsiteX4" fmla="*/ 516781 w 516780"/>
                <a:gd name="connsiteY4" fmla="*/ 258400 h 516780"/>
                <a:gd name="connsiteX5" fmla="*/ 258400 w 516780"/>
                <a:gd name="connsiteY5" fmla="*/ 516781 h 516780"/>
                <a:gd name="connsiteX6" fmla="*/ 258400 w 516780"/>
                <a:gd name="connsiteY6" fmla="*/ 27768 h 516780"/>
                <a:gd name="connsiteX7" fmla="*/ 27758 w 516780"/>
                <a:gd name="connsiteY7" fmla="*/ 258390 h 516780"/>
                <a:gd name="connsiteX8" fmla="*/ 258381 w 516780"/>
                <a:gd name="connsiteY8" fmla="*/ 489032 h 516780"/>
                <a:gd name="connsiteX9" fmla="*/ 489023 w 516780"/>
                <a:gd name="connsiteY9" fmla="*/ 258409 h 516780"/>
                <a:gd name="connsiteX10" fmla="*/ 489023 w 516780"/>
                <a:gd name="connsiteY10" fmla="*/ 258400 h 516780"/>
                <a:gd name="connsiteX11" fmla="*/ 258400 w 516780"/>
                <a:gd name="connsiteY11" fmla="*/ 27768 h 5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6780" h="516780">
                  <a:moveTo>
                    <a:pt x="258400" y="516781"/>
                  </a:moveTo>
                  <a:cubicBezTo>
                    <a:pt x="115695" y="516786"/>
                    <a:pt x="5" y="401105"/>
                    <a:pt x="0" y="258400"/>
                  </a:cubicBezTo>
                  <a:cubicBezTo>
                    <a:pt x="-5" y="115695"/>
                    <a:pt x="115676" y="5"/>
                    <a:pt x="258381" y="0"/>
                  </a:cubicBezTo>
                  <a:cubicBezTo>
                    <a:pt x="401086" y="-5"/>
                    <a:pt x="516775" y="115676"/>
                    <a:pt x="516781" y="258381"/>
                  </a:cubicBezTo>
                  <a:cubicBezTo>
                    <a:pt x="516781" y="258387"/>
                    <a:pt x="516781" y="258393"/>
                    <a:pt x="516781" y="258400"/>
                  </a:cubicBezTo>
                  <a:cubicBezTo>
                    <a:pt x="516619" y="401032"/>
                    <a:pt x="401032" y="516619"/>
                    <a:pt x="258400" y="516781"/>
                  </a:cubicBezTo>
                  <a:close/>
                  <a:moveTo>
                    <a:pt x="258400" y="27768"/>
                  </a:moveTo>
                  <a:cubicBezTo>
                    <a:pt x="131025" y="27762"/>
                    <a:pt x="27763" y="131016"/>
                    <a:pt x="27758" y="258390"/>
                  </a:cubicBezTo>
                  <a:cubicBezTo>
                    <a:pt x="27753" y="385765"/>
                    <a:pt x="131006" y="489027"/>
                    <a:pt x="258381" y="489032"/>
                  </a:cubicBezTo>
                  <a:cubicBezTo>
                    <a:pt x="385755" y="489037"/>
                    <a:pt x="489017" y="385784"/>
                    <a:pt x="489023" y="258409"/>
                  </a:cubicBezTo>
                  <a:cubicBezTo>
                    <a:pt x="489023" y="258406"/>
                    <a:pt x="489023" y="258403"/>
                    <a:pt x="489023" y="258400"/>
                  </a:cubicBezTo>
                  <a:cubicBezTo>
                    <a:pt x="488882" y="131087"/>
                    <a:pt x="385712" y="27914"/>
                    <a:pt x="258400" y="27768"/>
                  </a:cubicBezTo>
                  <a:close/>
                </a:path>
              </a:pathLst>
            </a:custGeom>
            <a:grpFill/>
            <a:ln w="935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F6C54609-306B-CF44-82B1-A2BA1AD981A4}"/>
                </a:ext>
              </a:extLst>
            </p:cNvPr>
            <p:cNvSpPr/>
            <p:nvPr/>
          </p:nvSpPr>
          <p:spPr>
            <a:xfrm>
              <a:off x="6335394" y="3792415"/>
              <a:ext cx="304808" cy="213363"/>
            </a:xfrm>
            <a:custGeom>
              <a:avLst/>
              <a:gdLst>
                <a:gd name="connsiteX0" fmla="*/ 304808 w 304808"/>
                <a:gd name="connsiteY0" fmla="*/ 66356 h 213363"/>
                <a:gd name="connsiteX1" fmla="*/ 238462 w 304808"/>
                <a:gd name="connsiteY1" fmla="*/ 0 h 213363"/>
                <a:gd name="connsiteX2" fmla="*/ 66356 w 304808"/>
                <a:gd name="connsiteY2" fmla="*/ 0 h 213363"/>
                <a:gd name="connsiteX3" fmla="*/ 0 w 304808"/>
                <a:gd name="connsiteY3" fmla="*/ 66356 h 213363"/>
                <a:gd name="connsiteX4" fmla="*/ 0 w 304808"/>
                <a:gd name="connsiteY4" fmla="*/ 147008 h 213363"/>
                <a:gd name="connsiteX5" fmla="*/ 66356 w 304808"/>
                <a:gd name="connsiteY5" fmla="*/ 213364 h 213363"/>
                <a:gd name="connsiteX6" fmla="*/ 238462 w 304808"/>
                <a:gd name="connsiteY6" fmla="*/ 213364 h 213363"/>
                <a:gd name="connsiteX7" fmla="*/ 304808 w 304808"/>
                <a:gd name="connsiteY7" fmla="*/ 147008 h 213363"/>
                <a:gd name="connsiteX8" fmla="*/ 196228 w 304808"/>
                <a:gd name="connsiteY8" fmla="*/ 110748 h 213363"/>
                <a:gd name="connsiteX9" fmla="*/ 127590 w 304808"/>
                <a:gd name="connsiteY9" fmla="*/ 148390 h 213363"/>
                <a:gd name="connsiteX10" fmla="*/ 121910 w 304808"/>
                <a:gd name="connsiteY10" fmla="*/ 144452 h 213363"/>
                <a:gd name="connsiteX11" fmla="*/ 121910 w 304808"/>
                <a:gd name="connsiteY11" fmla="*/ 67180 h 213363"/>
                <a:gd name="connsiteX12" fmla="*/ 127666 w 304808"/>
                <a:gd name="connsiteY12" fmla="*/ 63289 h 213363"/>
                <a:gd name="connsiteX13" fmla="*/ 196777 w 304808"/>
                <a:gd name="connsiteY13" fmla="*/ 102919 h 213363"/>
                <a:gd name="connsiteX14" fmla="*/ 198073 w 304808"/>
                <a:gd name="connsiteY14" fmla="*/ 109145 h 213363"/>
                <a:gd name="connsiteX15" fmla="*/ 196228 w 304808"/>
                <a:gd name="connsiteY15" fmla="*/ 110748 h 213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4808" h="213363">
                  <a:moveTo>
                    <a:pt x="304808" y="66356"/>
                  </a:moveTo>
                  <a:cubicBezTo>
                    <a:pt x="304808" y="29712"/>
                    <a:pt x="275105" y="5"/>
                    <a:pt x="238462" y="0"/>
                  </a:cubicBezTo>
                  <a:lnTo>
                    <a:pt x="66356" y="0"/>
                  </a:lnTo>
                  <a:cubicBezTo>
                    <a:pt x="29709" y="0"/>
                    <a:pt x="0" y="29709"/>
                    <a:pt x="0" y="66356"/>
                  </a:cubicBezTo>
                  <a:lnTo>
                    <a:pt x="0" y="147008"/>
                  </a:lnTo>
                  <a:cubicBezTo>
                    <a:pt x="0" y="183655"/>
                    <a:pt x="29709" y="213364"/>
                    <a:pt x="66356" y="213364"/>
                  </a:cubicBezTo>
                  <a:lnTo>
                    <a:pt x="238462" y="213364"/>
                  </a:lnTo>
                  <a:cubicBezTo>
                    <a:pt x="275105" y="213359"/>
                    <a:pt x="304808" y="183652"/>
                    <a:pt x="304808" y="147008"/>
                  </a:cubicBezTo>
                  <a:close/>
                  <a:moveTo>
                    <a:pt x="196228" y="110748"/>
                  </a:moveTo>
                  <a:lnTo>
                    <a:pt x="127590" y="148390"/>
                  </a:lnTo>
                  <a:cubicBezTo>
                    <a:pt x="124608" y="150009"/>
                    <a:pt x="121910" y="147841"/>
                    <a:pt x="121910" y="144452"/>
                  </a:cubicBezTo>
                  <a:lnTo>
                    <a:pt x="121910" y="67180"/>
                  </a:lnTo>
                  <a:cubicBezTo>
                    <a:pt x="121910" y="63743"/>
                    <a:pt x="124684" y="61594"/>
                    <a:pt x="127666" y="63289"/>
                  </a:cubicBezTo>
                  <a:lnTo>
                    <a:pt x="196777" y="102919"/>
                  </a:lnTo>
                  <a:cubicBezTo>
                    <a:pt x="198854" y="104280"/>
                    <a:pt x="199435" y="107068"/>
                    <a:pt x="198073" y="109145"/>
                  </a:cubicBezTo>
                  <a:cubicBezTo>
                    <a:pt x="197618" y="109839"/>
                    <a:pt x="196979" y="110394"/>
                    <a:pt x="196228" y="110748"/>
                  </a:cubicBezTo>
                  <a:close/>
                </a:path>
              </a:pathLst>
            </a:custGeom>
            <a:grpFill/>
            <a:ln w="935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8" name="Graphic 73">
            <a:extLst>
              <a:ext uri="{FF2B5EF4-FFF2-40B4-BE49-F238E27FC236}">
                <a16:creationId xmlns:a16="http://schemas.microsoft.com/office/drawing/2014/main" id="{EBF782EB-082E-484F-B3C3-522E6804D04A}"/>
              </a:ext>
            </a:extLst>
          </p:cNvPr>
          <p:cNvGrpSpPr/>
          <p:nvPr userDrawn="1"/>
        </p:nvGrpSpPr>
        <p:grpSpPr>
          <a:xfrm>
            <a:off x="4262942" y="2991252"/>
            <a:ext cx="516780" cy="516780"/>
            <a:chOff x="5239486" y="3648200"/>
            <a:chExt cx="516780" cy="516780"/>
          </a:xfrm>
          <a:solidFill>
            <a:schemeClr val="bg1"/>
          </a:solidFill>
        </p:grpSpPr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63324CA2-5670-E24C-861A-64ADBC52D56E}"/>
                </a:ext>
              </a:extLst>
            </p:cNvPr>
            <p:cNvSpPr/>
            <p:nvPr/>
          </p:nvSpPr>
          <p:spPr>
            <a:xfrm>
              <a:off x="5239486" y="3648200"/>
              <a:ext cx="516780" cy="516780"/>
            </a:xfrm>
            <a:custGeom>
              <a:avLst/>
              <a:gdLst>
                <a:gd name="connsiteX0" fmla="*/ 258390 w 516780"/>
                <a:gd name="connsiteY0" fmla="*/ 516781 h 516780"/>
                <a:gd name="connsiteX1" fmla="*/ 0 w 516780"/>
                <a:gd name="connsiteY1" fmla="*/ 258390 h 516780"/>
                <a:gd name="connsiteX2" fmla="*/ 258390 w 516780"/>
                <a:gd name="connsiteY2" fmla="*/ 0 h 516780"/>
                <a:gd name="connsiteX3" fmla="*/ 516781 w 516780"/>
                <a:gd name="connsiteY3" fmla="*/ 258390 h 516780"/>
                <a:gd name="connsiteX4" fmla="*/ 516781 w 516780"/>
                <a:gd name="connsiteY4" fmla="*/ 258400 h 516780"/>
                <a:gd name="connsiteX5" fmla="*/ 258390 w 516780"/>
                <a:gd name="connsiteY5" fmla="*/ 516781 h 516780"/>
                <a:gd name="connsiteX6" fmla="*/ 258390 w 516780"/>
                <a:gd name="connsiteY6" fmla="*/ 27768 h 516780"/>
                <a:gd name="connsiteX7" fmla="*/ 27758 w 516780"/>
                <a:gd name="connsiteY7" fmla="*/ 258400 h 516780"/>
                <a:gd name="connsiteX8" fmla="*/ 258390 w 516780"/>
                <a:gd name="connsiteY8" fmla="*/ 489032 h 516780"/>
                <a:gd name="connsiteX9" fmla="*/ 489023 w 516780"/>
                <a:gd name="connsiteY9" fmla="*/ 258400 h 516780"/>
                <a:gd name="connsiteX10" fmla="*/ 258390 w 516780"/>
                <a:gd name="connsiteY10" fmla="*/ 27768 h 5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6780" h="516780">
                  <a:moveTo>
                    <a:pt x="258390" y="516781"/>
                  </a:moveTo>
                  <a:cubicBezTo>
                    <a:pt x="115685" y="516781"/>
                    <a:pt x="0" y="401095"/>
                    <a:pt x="0" y="258390"/>
                  </a:cubicBezTo>
                  <a:cubicBezTo>
                    <a:pt x="0" y="115685"/>
                    <a:pt x="115685" y="0"/>
                    <a:pt x="258390" y="0"/>
                  </a:cubicBezTo>
                  <a:cubicBezTo>
                    <a:pt x="401095" y="0"/>
                    <a:pt x="516781" y="115685"/>
                    <a:pt x="516781" y="258390"/>
                  </a:cubicBezTo>
                  <a:cubicBezTo>
                    <a:pt x="516781" y="258393"/>
                    <a:pt x="516781" y="258397"/>
                    <a:pt x="516781" y="258400"/>
                  </a:cubicBezTo>
                  <a:cubicBezTo>
                    <a:pt x="516619" y="401036"/>
                    <a:pt x="401027" y="516624"/>
                    <a:pt x="258390" y="516781"/>
                  </a:cubicBezTo>
                  <a:close/>
                  <a:moveTo>
                    <a:pt x="258390" y="27768"/>
                  </a:moveTo>
                  <a:cubicBezTo>
                    <a:pt x="131016" y="27768"/>
                    <a:pt x="27758" y="131025"/>
                    <a:pt x="27758" y="258400"/>
                  </a:cubicBezTo>
                  <a:cubicBezTo>
                    <a:pt x="27758" y="385774"/>
                    <a:pt x="131016" y="489032"/>
                    <a:pt x="258390" y="489032"/>
                  </a:cubicBezTo>
                  <a:cubicBezTo>
                    <a:pt x="385765" y="489032"/>
                    <a:pt x="489023" y="385774"/>
                    <a:pt x="489023" y="258400"/>
                  </a:cubicBezTo>
                  <a:cubicBezTo>
                    <a:pt x="488882" y="131083"/>
                    <a:pt x="385707" y="27908"/>
                    <a:pt x="258390" y="27768"/>
                  </a:cubicBezTo>
                  <a:close/>
                </a:path>
              </a:pathLst>
            </a:custGeom>
            <a:grpFill/>
            <a:ln w="935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605B3612-68C5-F644-9CE3-83B7B8B6631E}"/>
                </a:ext>
              </a:extLst>
            </p:cNvPr>
            <p:cNvSpPr/>
            <p:nvPr/>
          </p:nvSpPr>
          <p:spPr>
            <a:xfrm>
              <a:off x="5346360" y="3782590"/>
              <a:ext cx="301184" cy="248063"/>
            </a:xfrm>
            <a:custGeom>
              <a:avLst/>
              <a:gdLst>
                <a:gd name="connsiteX0" fmla="*/ 300030 w 301184"/>
                <a:gd name="connsiteY0" fmla="*/ 29707 h 248063"/>
                <a:gd name="connsiteX1" fmla="*/ 269602 w 301184"/>
                <a:gd name="connsiteY1" fmla="*/ 38398 h 248063"/>
                <a:gd name="connsiteX2" fmla="*/ 284617 w 301184"/>
                <a:gd name="connsiteY2" fmla="*/ 25143 h 248063"/>
                <a:gd name="connsiteX3" fmla="*/ 294747 w 301184"/>
                <a:gd name="connsiteY3" fmla="*/ 6692 h 248063"/>
                <a:gd name="connsiteX4" fmla="*/ 294690 w 301184"/>
                <a:gd name="connsiteY4" fmla="*/ 5111 h 248063"/>
                <a:gd name="connsiteX5" fmla="*/ 293071 w 301184"/>
                <a:gd name="connsiteY5" fmla="*/ 5243 h 248063"/>
                <a:gd name="connsiteX6" fmla="*/ 256944 w 301184"/>
                <a:gd name="connsiteY6" fmla="*/ 19075 h 248063"/>
                <a:gd name="connsiteX7" fmla="*/ 254445 w 301184"/>
                <a:gd name="connsiteY7" fmla="*/ 18412 h 248063"/>
                <a:gd name="connsiteX8" fmla="*/ 251292 w 301184"/>
                <a:gd name="connsiteY8" fmla="*/ 15184 h 248063"/>
                <a:gd name="connsiteX9" fmla="*/ 233787 w 301184"/>
                <a:gd name="connsiteY9" fmla="*/ 4457 h 248063"/>
                <a:gd name="connsiteX10" fmla="*/ 206938 w 301184"/>
                <a:gd name="connsiteY10" fmla="*/ 131 h 248063"/>
                <a:gd name="connsiteX11" fmla="*/ 181462 w 301184"/>
                <a:gd name="connsiteY11" fmla="*/ 7326 h 248063"/>
                <a:gd name="connsiteX12" fmla="*/ 160918 w 301184"/>
                <a:gd name="connsiteY12" fmla="*/ 24111 h 248063"/>
                <a:gd name="connsiteX13" fmla="*/ 148610 w 301184"/>
                <a:gd name="connsiteY13" fmla="*/ 48726 h 248063"/>
                <a:gd name="connsiteX14" fmla="*/ 147957 w 301184"/>
                <a:gd name="connsiteY14" fmla="*/ 74676 h 248063"/>
                <a:gd name="connsiteX15" fmla="*/ 146707 w 301184"/>
                <a:gd name="connsiteY15" fmla="*/ 76125 h 248063"/>
                <a:gd name="connsiteX16" fmla="*/ 22535 w 301184"/>
                <a:gd name="connsiteY16" fmla="*/ 12921 h 248063"/>
                <a:gd name="connsiteX17" fmla="*/ 19107 w 301184"/>
                <a:gd name="connsiteY17" fmla="*/ 13044 h 248063"/>
                <a:gd name="connsiteX18" fmla="*/ 29843 w 301184"/>
                <a:gd name="connsiteY18" fmla="*/ 87447 h 248063"/>
                <a:gd name="connsiteX19" fmla="*/ 37474 w 301184"/>
                <a:gd name="connsiteY19" fmla="*/ 94160 h 248063"/>
                <a:gd name="connsiteX20" fmla="*/ 13512 w 301184"/>
                <a:gd name="connsiteY20" fmla="*/ 87447 h 248063"/>
                <a:gd name="connsiteX21" fmla="*/ 11212 w 301184"/>
                <a:gd name="connsiteY21" fmla="*/ 88697 h 248063"/>
                <a:gd name="connsiteX22" fmla="*/ 11600 w 301184"/>
                <a:gd name="connsiteY22" fmla="*/ 95807 h 248063"/>
                <a:gd name="connsiteX23" fmla="*/ 50851 w 301184"/>
                <a:gd name="connsiteY23" fmla="*/ 146571 h 248063"/>
                <a:gd name="connsiteX24" fmla="*/ 58804 w 301184"/>
                <a:gd name="connsiteY24" fmla="*/ 149004 h 248063"/>
                <a:gd name="connsiteX25" fmla="*/ 35344 w 301184"/>
                <a:gd name="connsiteY25" fmla="*/ 149638 h 248063"/>
                <a:gd name="connsiteX26" fmla="*/ 33630 w 301184"/>
                <a:gd name="connsiteY26" fmla="*/ 151806 h 248063"/>
                <a:gd name="connsiteX27" fmla="*/ 83011 w 301184"/>
                <a:gd name="connsiteY27" fmla="*/ 193187 h 248063"/>
                <a:gd name="connsiteX28" fmla="*/ 89733 w 301184"/>
                <a:gd name="connsiteY28" fmla="*/ 194134 h 248063"/>
                <a:gd name="connsiteX29" fmla="*/ 89336 w 301184"/>
                <a:gd name="connsiteY29" fmla="*/ 194532 h 248063"/>
                <a:gd name="connsiteX30" fmla="*/ 55613 w 301184"/>
                <a:gd name="connsiteY30" fmla="*/ 212397 h 248063"/>
                <a:gd name="connsiteX31" fmla="*/ 4395 w 301184"/>
                <a:gd name="connsiteY31" fmla="*/ 218957 h 248063"/>
                <a:gd name="connsiteX32" fmla="*/ 324 w 301184"/>
                <a:gd name="connsiteY32" fmla="*/ 218957 h 248063"/>
                <a:gd name="connsiteX33" fmla="*/ 1110 w 301184"/>
                <a:gd name="connsiteY33" fmla="*/ 220794 h 248063"/>
                <a:gd name="connsiteX34" fmla="*/ 11780 w 301184"/>
                <a:gd name="connsiteY34" fmla="*/ 227118 h 248063"/>
                <a:gd name="connsiteX35" fmla="*/ 46013 w 301184"/>
                <a:gd name="connsiteY35" fmla="*/ 240808 h 248063"/>
                <a:gd name="connsiteX36" fmla="*/ 223051 w 301184"/>
                <a:gd name="connsiteY36" fmla="*/ 199417 h 248063"/>
                <a:gd name="connsiteX37" fmla="*/ 272035 w 301184"/>
                <a:gd name="connsiteY37" fmla="*/ 63902 h 248063"/>
                <a:gd name="connsiteX38" fmla="*/ 275708 w 301184"/>
                <a:gd name="connsiteY38" fmla="*/ 59850 h 248063"/>
                <a:gd name="connsiteX39" fmla="*/ 299689 w 301184"/>
                <a:gd name="connsiteY39" fmla="*/ 34800 h 248063"/>
                <a:gd name="connsiteX40" fmla="*/ 301175 w 301184"/>
                <a:gd name="connsiteY40" fmla="*/ 30000 h 248063"/>
                <a:gd name="connsiteX41" fmla="*/ 301175 w 301184"/>
                <a:gd name="connsiteY41" fmla="*/ 29735 h 248063"/>
                <a:gd name="connsiteX42" fmla="*/ 300030 w 301184"/>
                <a:gd name="connsiteY42" fmla="*/ 29707 h 24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01184" h="248063">
                  <a:moveTo>
                    <a:pt x="300030" y="29707"/>
                  </a:moveTo>
                  <a:cubicBezTo>
                    <a:pt x="290300" y="33891"/>
                    <a:pt x="280074" y="36812"/>
                    <a:pt x="269602" y="38398"/>
                  </a:cubicBezTo>
                  <a:cubicBezTo>
                    <a:pt x="274506" y="37574"/>
                    <a:pt x="281730" y="28703"/>
                    <a:pt x="284617" y="25143"/>
                  </a:cubicBezTo>
                  <a:cubicBezTo>
                    <a:pt x="289133" y="19690"/>
                    <a:pt x="292570" y="13429"/>
                    <a:pt x="294747" y="6692"/>
                  </a:cubicBezTo>
                  <a:cubicBezTo>
                    <a:pt x="295012" y="6161"/>
                    <a:pt x="295211" y="5508"/>
                    <a:pt x="294690" y="5111"/>
                  </a:cubicBezTo>
                  <a:cubicBezTo>
                    <a:pt x="294162" y="4883"/>
                    <a:pt x="293556" y="4933"/>
                    <a:pt x="293071" y="5243"/>
                  </a:cubicBezTo>
                  <a:cubicBezTo>
                    <a:pt x="281651" y="11339"/>
                    <a:pt x="269515" y="15985"/>
                    <a:pt x="256944" y="19075"/>
                  </a:cubicBezTo>
                  <a:cubicBezTo>
                    <a:pt x="256053" y="19352"/>
                    <a:pt x="255082" y="19094"/>
                    <a:pt x="254445" y="18412"/>
                  </a:cubicBezTo>
                  <a:cubicBezTo>
                    <a:pt x="253481" y="17254"/>
                    <a:pt x="252427" y="16175"/>
                    <a:pt x="251292" y="15184"/>
                  </a:cubicBezTo>
                  <a:cubicBezTo>
                    <a:pt x="246075" y="10686"/>
                    <a:pt x="240163" y="7064"/>
                    <a:pt x="233787" y="4457"/>
                  </a:cubicBezTo>
                  <a:cubicBezTo>
                    <a:pt x="225278" y="1008"/>
                    <a:pt x="216100" y="-471"/>
                    <a:pt x="206938" y="131"/>
                  </a:cubicBezTo>
                  <a:cubicBezTo>
                    <a:pt x="198038" y="733"/>
                    <a:pt x="189362" y="3184"/>
                    <a:pt x="181462" y="7326"/>
                  </a:cubicBezTo>
                  <a:cubicBezTo>
                    <a:pt x="173542" y="11464"/>
                    <a:pt x="166551" y="17176"/>
                    <a:pt x="160918" y="24111"/>
                  </a:cubicBezTo>
                  <a:cubicBezTo>
                    <a:pt x="155050" y="31309"/>
                    <a:pt x="150848" y="39714"/>
                    <a:pt x="148610" y="48726"/>
                  </a:cubicBezTo>
                  <a:cubicBezTo>
                    <a:pt x="146690" y="57249"/>
                    <a:pt x="146468" y="66067"/>
                    <a:pt x="147957" y="74676"/>
                  </a:cubicBezTo>
                  <a:cubicBezTo>
                    <a:pt x="148156" y="76125"/>
                    <a:pt x="148023" y="76323"/>
                    <a:pt x="146707" y="76125"/>
                  </a:cubicBezTo>
                  <a:cubicBezTo>
                    <a:pt x="97080" y="68740"/>
                    <a:pt x="55935" y="50980"/>
                    <a:pt x="22535" y="12921"/>
                  </a:cubicBezTo>
                  <a:cubicBezTo>
                    <a:pt x="21086" y="11264"/>
                    <a:pt x="20300" y="11264"/>
                    <a:pt x="19107" y="13044"/>
                  </a:cubicBezTo>
                  <a:cubicBezTo>
                    <a:pt x="4499" y="34951"/>
                    <a:pt x="11590" y="70151"/>
                    <a:pt x="29843" y="87447"/>
                  </a:cubicBezTo>
                  <a:cubicBezTo>
                    <a:pt x="32276" y="89748"/>
                    <a:pt x="34785" y="92058"/>
                    <a:pt x="37474" y="94160"/>
                  </a:cubicBezTo>
                  <a:cubicBezTo>
                    <a:pt x="29122" y="93526"/>
                    <a:pt x="20978" y="91245"/>
                    <a:pt x="13512" y="87447"/>
                  </a:cubicBezTo>
                  <a:cubicBezTo>
                    <a:pt x="12064" y="86501"/>
                    <a:pt x="11335" y="87050"/>
                    <a:pt x="11212" y="88697"/>
                  </a:cubicBezTo>
                  <a:cubicBezTo>
                    <a:pt x="11120" y="91074"/>
                    <a:pt x="11249" y="93454"/>
                    <a:pt x="11600" y="95807"/>
                  </a:cubicBezTo>
                  <a:cubicBezTo>
                    <a:pt x="14580" y="118565"/>
                    <a:pt x="29576" y="137959"/>
                    <a:pt x="50851" y="146571"/>
                  </a:cubicBezTo>
                  <a:cubicBezTo>
                    <a:pt x="53402" y="147679"/>
                    <a:pt x="56070" y="148495"/>
                    <a:pt x="58804" y="149004"/>
                  </a:cubicBezTo>
                  <a:cubicBezTo>
                    <a:pt x="51073" y="150517"/>
                    <a:pt x="43145" y="150732"/>
                    <a:pt x="35344" y="149638"/>
                  </a:cubicBezTo>
                  <a:cubicBezTo>
                    <a:pt x="33630" y="149307"/>
                    <a:pt x="32977" y="150168"/>
                    <a:pt x="33630" y="151806"/>
                  </a:cubicBezTo>
                  <a:cubicBezTo>
                    <a:pt x="41801" y="173230"/>
                    <a:pt x="60489" y="188890"/>
                    <a:pt x="83011" y="193187"/>
                  </a:cubicBezTo>
                  <a:cubicBezTo>
                    <a:pt x="85246" y="193576"/>
                    <a:pt x="87489" y="193576"/>
                    <a:pt x="89733" y="194134"/>
                  </a:cubicBezTo>
                  <a:cubicBezTo>
                    <a:pt x="89601" y="194333"/>
                    <a:pt x="89459" y="194333"/>
                    <a:pt x="89336" y="194532"/>
                  </a:cubicBezTo>
                  <a:cubicBezTo>
                    <a:pt x="83788" y="202977"/>
                    <a:pt x="64569" y="209272"/>
                    <a:pt x="55613" y="212397"/>
                  </a:cubicBezTo>
                  <a:cubicBezTo>
                    <a:pt x="39213" y="218249"/>
                    <a:pt x="21741" y="220487"/>
                    <a:pt x="4395" y="218957"/>
                  </a:cubicBezTo>
                  <a:cubicBezTo>
                    <a:pt x="1640" y="218550"/>
                    <a:pt x="1063" y="218579"/>
                    <a:pt x="324" y="218957"/>
                  </a:cubicBezTo>
                  <a:cubicBezTo>
                    <a:pt x="-414" y="219336"/>
                    <a:pt x="220" y="220074"/>
                    <a:pt x="1110" y="220794"/>
                  </a:cubicBezTo>
                  <a:cubicBezTo>
                    <a:pt x="4604" y="223104"/>
                    <a:pt x="8154" y="225139"/>
                    <a:pt x="11780" y="227118"/>
                  </a:cubicBezTo>
                  <a:cubicBezTo>
                    <a:pt x="22656" y="232920"/>
                    <a:pt x="34136" y="237511"/>
                    <a:pt x="46013" y="240808"/>
                  </a:cubicBezTo>
                  <a:cubicBezTo>
                    <a:pt x="107551" y="257802"/>
                    <a:pt x="176832" y="245314"/>
                    <a:pt x="223051" y="199417"/>
                  </a:cubicBezTo>
                  <a:cubicBezTo>
                    <a:pt x="259320" y="163375"/>
                    <a:pt x="272035" y="113672"/>
                    <a:pt x="272035" y="63902"/>
                  </a:cubicBezTo>
                  <a:cubicBezTo>
                    <a:pt x="272035" y="61952"/>
                    <a:pt x="274345" y="60882"/>
                    <a:pt x="275708" y="59850"/>
                  </a:cubicBezTo>
                  <a:cubicBezTo>
                    <a:pt x="284880" y="52714"/>
                    <a:pt x="292959" y="44274"/>
                    <a:pt x="299689" y="34800"/>
                  </a:cubicBezTo>
                  <a:cubicBezTo>
                    <a:pt x="300737" y="33426"/>
                    <a:pt x="301264" y="31726"/>
                    <a:pt x="301175" y="30000"/>
                  </a:cubicBezTo>
                  <a:lnTo>
                    <a:pt x="301175" y="29735"/>
                  </a:lnTo>
                  <a:cubicBezTo>
                    <a:pt x="301175" y="28911"/>
                    <a:pt x="301251" y="29148"/>
                    <a:pt x="300030" y="29707"/>
                  </a:cubicBezTo>
                  <a:close/>
                </a:path>
              </a:pathLst>
            </a:custGeom>
            <a:grpFill/>
            <a:ln w="935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FF51D40-D599-3841-9C6C-E9D315872477}"/>
                </a:ext>
              </a:extLst>
            </p:cNvPr>
            <p:cNvSpPr/>
            <p:nvPr/>
          </p:nvSpPr>
          <p:spPr>
            <a:xfrm>
              <a:off x="5239496" y="3648210"/>
              <a:ext cx="9467" cy="9467"/>
            </a:xfrm>
            <a:custGeom>
              <a:avLst/>
              <a:gdLst/>
              <a:ahLst/>
              <a:cxnLst/>
              <a:rect l="l" t="t" r="r" b="b"/>
              <a:pathLst>
                <a:path w="9467" h="9467"/>
              </a:pathLst>
            </a:custGeom>
            <a:grpFill/>
            <a:ln w="935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E0CD0925-8469-6743-BC86-3FE974A18B3B}"/>
                </a:ext>
              </a:extLst>
            </p:cNvPr>
            <p:cNvSpPr/>
            <p:nvPr/>
          </p:nvSpPr>
          <p:spPr>
            <a:xfrm>
              <a:off x="5433490" y="4029561"/>
              <a:ext cx="2300" cy="9467"/>
            </a:xfrm>
            <a:custGeom>
              <a:avLst/>
              <a:gdLst>
                <a:gd name="connsiteX0" fmla="*/ 2300 w 2300"/>
                <a:gd name="connsiteY0" fmla="*/ 0 h 9467"/>
                <a:gd name="connsiteX1" fmla="*/ 2300 w 2300"/>
                <a:gd name="connsiteY1" fmla="*/ 0 h 9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0" h="9467">
                  <a:moveTo>
                    <a:pt x="2300" y="0"/>
                  </a:moveTo>
                  <a:cubicBezTo>
                    <a:pt x="1902" y="0"/>
                    <a:pt x="-2670" y="0"/>
                    <a:pt x="2300" y="0"/>
                  </a:cubicBezTo>
                  <a:close/>
                </a:path>
              </a:pathLst>
            </a:custGeom>
            <a:grpFill/>
            <a:ln w="935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ECEB7F84-E3F1-9743-A377-D382CB78F087}"/>
                </a:ext>
              </a:extLst>
            </p:cNvPr>
            <p:cNvSpPr/>
            <p:nvPr/>
          </p:nvSpPr>
          <p:spPr>
            <a:xfrm>
              <a:off x="5445929" y="4029599"/>
              <a:ext cx="2373" cy="227"/>
            </a:xfrm>
            <a:custGeom>
              <a:avLst/>
              <a:gdLst>
                <a:gd name="connsiteX0" fmla="*/ 0 w 2373"/>
                <a:gd name="connsiteY0" fmla="*/ 227 h 227"/>
                <a:gd name="connsiteX1" fmla="*/ 0 w 2373"/>
                <a:gd name="connsiteY1" fmla="*/ 227 h 227"/>
                <a:gd name="connsiteX2" fmla="*/ 0 w 2373"/>
                <a:gd name="connsiteY2" fmla="*/ 227 h 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3" h="227">
                  <a:moveTo>
                    <a:pt x="0" y="227"/>
                  </a:moveTo>
                  <a:cubicBezTo>
                    <a:pt x="0" y="-284"/>
                    <a:pt x="5340" y="227"/>
                    <a:pt x="0" y="227"/>
                  </a:cubicBezTo>
                  <a:cubicBezTo>
                    <a:pt x="0" y="-38"/>
                    <a:pt x="653" y="227"/>
                    <a:pt x="0" y="227"/>
                  </a:cubicBezTo>
                  <a:close/>
                </a:path>
              </a:pathLst>
            </a:custGeom>
            <a:grpFill/>
            <a:ln w="935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E93FBCBA-D664-4B42-A19D-84DA6877D9E3}"/>
                </a:ext>
              </a:extLst>
            </p:cNvPr>
            <p:cNvSpPr/>
            <p:nvPr/>
          </p:nvSpPr>
          <p:spPr>
            <a:xfrm>
              <a:off x="5551205" y="3782929"/>
              <a:ext cx="1249" cy="199"/>
            </a:xfrm>
            <a:custGeom>
              <a:avLst/>
              <a:gdLst>
                <a:gd name="connsiteX0" fmla="*/ 1250 w 1249"/>
                <a:gd name="connsiteY0" fmla="*/ 0 h 199"/>
                <a:gd name="connsiteX1" fmla="*/ 0 w 1249"/>
                <a:gd name="connsiteY1" fmla="*/ 0 h 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9" h="199">
                  <a:moveTo>
                    <a:pt x="1250" y="0"/>
                  </a:moveTo>
                  <a:cubicBezTo>
                    <a:pt x="875" y="266"/>
                    <a:pt x="374" y="266"/>
                    <a:pt x="0" y="0"/>
                  </a:cubicBezTo>
                  <a:close/>
                </a:path>
              </a:pathLst>
            </a:custGeom>
            <a:grpFill/>
            <a:ln w="935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64659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684D94-625A-4EEA-AB58-6D4875FA6D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26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684D94-625A-4EEA-AB58-6D4875FA6D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30;p4">
            <a:extLst>
              <a:ext uri="{FF2B5EF4-FFF2-40B4-BE49-F238E27FC236}">
                <a16:creationId xmlns:a16="http://schemas.microsoft.com/office/drawing/2014/main" id="{B00CD058-E979-3847-951D-E572702AE66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6" y="502922"/>
            <a:ext cx="6894049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96252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2130A62-2C17-F742-B0E1-FBF6748B556A}"/>
              </a:ext>
            </a:extLst>
          </p:cNvPr>
          <p:cNvSpPr txBox="1"/>
          <p:nvPr userDrawn="1"/>
        </p:nvSpPr>
        <p:spPr>
          <a:xfrm>
            <a:off x="1114425" y="2471738"/>
            <a:ext cx="1652588" cy="273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>
                <a:latin typeface="+mj-lt"/>
              </a:rPr>
              <a:t>Miscellaneou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2AA744E-8FCE-BB47-B697-70D02C109838}"/>
              </a:ext>
            </a:extLst>
          </p:cNvPr>
          <p:cNvSpPr txBox="1"/>
          <p:nvPr userDrawn="1"/>
        </p:nvSpPr>
        <p:spPr>
          <a:xfrm>
            <a:off x="1119188" y="2017713"/>
            <a:ext cx="1652587" cy="2714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>
                <a:latin typeface="+mj-lt"/>
              </a:rPr>
              <a:t>Ellab Slide Assets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E96A32F2-6667-4742-9647-1410E6B2D92E}"/>
              </a:ext>
            </a:extLst>
          </p:cNvPr>
          <p:cNvSpPr/>
          <p:nvPr userDrawn="1"/>
        </p:nvSpPr>
        <p:spPr>
          <a:xfrm>
            <a:off x="0" y="461963"/>
            <a:ext cx="541338" cy="309562"/>
          </a:xfrm>
          <a:custGeom>
            <a:avLst/>
            <a:gdLst>
              <a:gd name="connsiteX0" fmla="*/ 1739247 w 1894250"/>
              <a:gd name="connsiteY0" fmla="*/ 0 h 244927"/>
              <a:gd name="connsiteX1" fmla="*/ 0 w 1894250"/>
              <a:gd name="connsiteY1" fmla="*/ 0 h 244927"/>
              <a:gd name="connsiteX2" fmla="*/ 0 w 1894250"/>
              <a:gd name="connsiteY2" fmla="*/ 244927 h 244927"/>
              <a:gd name="connsiteX3" fmla="*/ 1894250 w 1894250"/>
              <a:gd name="connsiteY3" fmla="*/ 244927 h 244927"/>
              <a:gd name="connsiteX4" fmla="*/ 1739247 w 1894250"/>
              <a:gd name="connsiteY4" fmla="*/ 0 h 244927"/>
              <a:gd name="connsiteX0" fmla="*/ 1739247 w 1894250"/>
              <a:gd name="connsiteY0" fmla="*/ 0 h 251591"/>
              <a:gd name="connsiteX1" fmla="*/ 0 w 1894250"/>
              <a:gd name="connsiteY1" fmla="*/ 0 h 251591"/>
              <a:gd name="connsiteX2" fmla="*/ 1432693 w 1894250"/>
              <a:gd name="connsiteY2" fmla="*/ 251591 h 251591"/>
              <a:gd name="connsiteX3" fmla="*/ 1894250 w 1894250"/>
              <a:gd name="connsiteY3" fmla="*/ 244927 h 251591"/>
              <a:gd name="connsiteX4" fmla="*/ 1739247 w 1894250"/>
              <a:gd name="connsiteY4" fmla="*/ 0 h 251591"/>
              <a:gd name="connsiteX0" fmla="*/ 1739247 w 1894250"/>
              <a:gd name="connsiteY0" fmla="*/ 0 h 244927"/>
              <a:gd name="connsiteX1" fmla="*/ 0 w 1894250"/>
              <a:gd name="connsiteY1" fmla="*/ 0 h 244927"/>
              <a:gd name="connsiteX2" fmla="*/ 1415849 w 1894250"/>
              <a:gd name="connsiteY2" fmla="*/ 243169 h 244927"/>
              <a:gd name="connsiteX3" fmla="*/ 1894250 w 1894250"/>
              <a:gd name="connsiteY3" fmla="*/ 244927 h 244927"/>
              <a:gd name="connsiteX4" fmla="*/ 1739247 w 1894250"/>
              <a:gd name="connsiteY4" fmla="*/ 0 h 244927"/>
              <a:gd name="connsiteX0" fmla="*/ 323398 w 478401"/>
              <a:gd name="connsiteY0" fmla="*/ 2106 h 247033"/>
              <a:gd name="connsiteX1" fmla="*/ 1180 w 478401"/>
              <a:gd name="connsiteY1" fmla="*/ 0 h 247033"/>
              <a:gd name="connsiteX2" fmla="*/ 0 w 478401"/>
              <a:gd name="connsiteY2" fmla="*/ 245275 h 247033"/>
              <a:gd name="connsiteX3" fmla="*/ 478401 w 478401"/>
              <a:gd name="connsiteY3" fmla="*/ 247033 h 247033"/>
              <a:gd name="connsiteX4" fmla="*/ 323398 w 478401"/>
              <a:gd name="connsiteY4" fmla="*/ 2106 h 247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8401" h="247033">
                <a:moveTo>
                  <a:pt x="323398" y="2106"/>
                </a:moveTo>
                <a:lnTo>
                  <a:pt x="1180" y="0"/>
                </a:lnTo>
                <a:cubicBezTo>
                  <a:pt x="787" y="81758"/>
                  <a:pt x="393" y="163517"/>
                  <a:pt x="0" y="245275"/>
                </a:cubicBezTo>
                <a:lnTo>
                  <a:pt x="478401" y="247033"/>
                </a:lnTo>
                <a:lnTo>
                  <a:pt x="323398" y="2106"/>
                </a:lnTo>
                <a:close/>
              </a:path>
            </a:pathLst>
          </a:custGeom>
          <a:solidFill>
            <a:srgbClr val="9EC9DF"/>
          </a:solidFill>
          <a:ln w="3592" cap="flat">
            <a:noFill/>
            <a:prstDash val="solid"/>
            <a:miter/>
          </a:ln>
        </p:spPr>
        <p:txBody>
          <a:bodyPr anchor="ctr"/>
          <a:lstStyle/>
          <a:p>
            <a:pPr marL="5999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>
                <a:solidFill>
                  <a:schemeClr val="bg1"/>
                </a:solidFill>
                <a:latin typeface="AvenirNext LT Pro Medium" panose="020B0504020202020204" pitchFamily="34" charset="77"/>
              </a:rPr>
              <a:t>1</a:t>
            </a:r>
          </a:p>
        </p:txBody>
      </p:sp>
      <p:sp>
        <p:nvSpPr>
          <p:cNvPr id="7" name="Graphic 2">
            <a:extLst>
              <a:ext uri="{FF2B5EF4-FFF2-40B4-BE49-F238E27FC236}">
                <a16:creationId xmlns:a16="http://schemas.microsoft.com/office/drawing/2014/main" id="{20E19422-1985-2F46-85AF-6DA531197EE8}"/>
              </a:ext>
            </a:extLst>
          </p:cNvPr>
          <p:cNvSpPr>
            <a:spLocks/>
          </p:cNvSpPr>
          <p:nvPr userDrawn="1"/>
        </p:nvSpPr>
        <p:spPr bwMode="auto">
          <a:xfrm>
            <a:off x="2789238" y="241300"/>
            <a:ext cx="1144587" cy="1062038"/>
          </a:xfrm>
          <a:custGeom>
            <a:avLst/>
            <a:gdLst>
              <a:gd name="T0" fmla="*/ 233919 w 3318440"/>
              <a:gd name="T1" fmla="*/ 16935 h 3077833"/>
              <a:gd name="T2" fmla="*/ 431140 w 3318440"/>
              <a:gd name="T3" fmla="*/ 21280 h 3077833"/>
              <a:gd name="T4" fmla="*/ 593867 w 3318440"/>
              <a:gd name="T5" fmla="*/ 138747 h 3077833"/>
              <a:gd name="T6" fmla="*/ 741192 w 3318440"/>
              <a:gd name="T7" fmla="*/ 276500 h 3077833"/>
              <a:gd name="T8" fmla="*/ 890249 w 3318440"/>
              <a:gd name="T9" fmla="*/ 295302 h 3077833"/>
              <a:gd name="T10" fmla="*/ 966151 w 3318440"/>
              <a:gd name="T11" fmla="*/ 274217 h 3077833"/>
              <a:gd name="T12" fmla="*/ 1131638 w 3318440"/>
              <a:gd name="T13" fmla="*/ 357501 h 3077833"/>
              <a:gd name="T14" fmla="*/ 1145341 w 3318440"/>
              <a:gd name="T15" fmla="*/ 415502 h 3077833"/>
              <a:gd name="T16" fmla="*/ 1102999 w 3318440"/>
              <a:gd name="T17" fmla="*/ 500729 h 3077833"/>
              <a:gd name="T18" fmla="*/ 673250 w 3318440"/>
              <a:gd name="T19" fmla="*/ 785271 h 3077833"/>
              <a:gd name="T20" fmla="*/ 540863 w 3318440"/>
              <a:gd name="T21" fmla="*/ 870830 h 3077833"/>
              <a:gd name="T22" fmla="*/ 339158 w 3318440"/>
              <a:gd name="T23" fmla="*/ 1054787 h 3077833"/>
              <a:gd name="T24" fmla="*/ 172028 w 3318440"/>
              <a:gd name="T25" fmla="*/ 1043988 h 3077833"/>
              <a:gd name="T26" fmla="*/ 111633 w 3318440"/>
              <a:gd name="T27" fmla="*/ 1022736 h 3077833"/>
              <a:gd name="T28" fmla="*/ 52538 w 3318440"/>
              <a:gd name="T29" fmla="*/ 958314 h 3077833"/>
              <a:gd name="T30" fmla="*/ 26722 w 3318440"/>
              <a:gd name="T31" fmla="*/ 537500 h 3077833"/>
              <a:gd name="T32" fmla="*/ 102692 w 3318440"/>
              <a:gd name="T33" fmla="*/ 225899 h 3077833"/>
              <a:gd name="T34" fmla="*/ 233919 w 3318440"/>
              <a:gd name="T35" fmla="*/ 16935 h 307783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18440" h="3077833">
                <a:moveTo>
                  <a:pt x="677701" y="49064"/>
                </a:moveTo>
                <a:cubicBezTo>
                  <a:pt x="858385" y="-25154"/>
                  <a:pt x="1067582" y="-10491"/>
                  <a:pt x="1249083" y="61653"/>
                </a:cubicBezTo>
                <a:cubicBezTo>
                  <a:pt x="1430584" y="133797"/>
                  <a:pt x="1586774" y="259454"/>
                  <a:pt x="1720530" y="401972"/>
                </a:cubicBezTo>
                <a:cubicBezTo>
                  <a:pt x="1854600" y="544833"/>
                  <a:pt x="1973958" y="710131"/>
                  <a:pt x="2147357" y="801067"/>
                </a:cubicBezTo>
                <a:cubicBezTo>
                  <a:pt x="2280248" y="870129"/>
                  <a:pt x="2433368" y="889444"/>
                  <a:pt x="2579199" y="855541"/>
                </a:cubicBezTo>
                <a:cubicBezTo>
                  <a:pt x="2653281" y="838024"/>
                  <a:pt x="2724001" y="806938"/>
                  <a:pt x="2799100" y="794454"/>
                </a:cubicBezTo>
                <a:cubicBezTo>
                  <a:pt x="2987762" y="763054"/>
                  <a:pt x="3191013" y="865390"/>
                  <a:pt x="3278544" y="1035740"/>
                </a:cubicBezTo>
                <a:cubicBezTo>
                  <a:pt x="3306562" y="1087179"/>
                  <a:pt x="3320274" y="1145214"/>
                  <a:pt x="3318244" y="1203778"/>
                </a:cubicBezTo>
                <a:cubicBezTo>
                  <a:pt x="3312441" y="1297188"/>
                  <a:pt x="3256006" y="1379333"/>
                  <a:pt x="3195572" y="1450696"/>
                </a:cubicBezTo>
                <a:cubicBezTo>
                  <a:pt x="2871434" y="1833435"/>
                  <a:pt x="2395590" y="2044576"/>
                  <a:pt x="1950517" y="2275062"/>
                </a:cubicBezTo>
                <a:cubicBezTo>
                  <a:pt x="1814938" y="2345275"/>
                  <a:pt x="1679282" y="2419417"/>
                  <a:pt x="1566971" y="2522942"/>
                </a:cubicBezTo>
                <a:cubicBezTo>
                  <a:pt x="1370568" y="2703987"/>
                  <a:pt x="1237933" y="2978043"/>
                  <a:pt x="982596" y="3055896"/>
                </a:cubicBezTo>
                <a:cubicBezTo>
                  <a:pt x="825884" y="3103691"/>
                  <a:pt x="657395" y="3064212"/>
                  <a:pt x="498394" y="3024610"/>
                </a:cubicBezTo>
                <a:cubicBezTo>
                  <a:pt x="438197" y="3009662"/>
                  <a:pt x="377051" y="2994247"/>
                  <a:pt x="323418" y="2963038"/>
                </a:cubicBezTo>
                <a:cubicBezTo>
                  <a:pt x="249620" y="2920162"/>
                  <a:pt x="195132" y="2850254"/>
                  <a:pt x="152212" y="2776398"/>
                </a:cubicBezTo>
                <a:cubicBezTo>
                  <a:pt x="-57450" y="2415734"/>
                  <a:pt x="-18054" y="1963516"/>
                  <a:pt x="77417" y="1557228"/>
                </a:cubicBezTo>
                <a:cubicBezTo>
                  <a:pt x="148280" y="1255759"/>
                  <a:pt x="246743" y="960522"/>
                  <a:pt x="297517" y="654467"/>
                </a:cubicBezTo>
                <a:cubicBezTo>
                  <a:pt x="340162" y="397396"/>
                  <a:pt x="413826" y="157394"/>
                  <a:pt x="677701" y="49064"/>
                </a:cubicBezTo>
                <a:close/>
              </a:path>
            </a:pathLst>
          </a:custGeom>
          <a:solidFill>
            <a:srgbClr val="E6ECF4"/>
          </a:solidFill>
          <a:ln>
            <a:noFill/>
          </a:ln>
          <a:extLst>
            <a:ext uri="{91240B29-F687-4F45-9708-019B960494DF}">
              <a14:hiddenLine xmlns:a14="http://schemas.microsoft.com/office/drawing/2010/main" w="9498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/>
          </a:p>
        </p:txBody>
      </p:sp>
      <p:pic>
        <p:nvPicPr>
          <p:cNvPr id="8" name="Graphic 5">
            <a:extLst>
              <a:ext uri="{FF2B5EF4-FFF2-40B4-BE49-F238E27FC236}">
                <a16:creationId xmlns:a16="http://schemas.microsoft.com/office/drawing/2014/main" id="{A22B70CD-ABD0-2744-839D-DB52446006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89238" y="3543659"/>
            <a:ext cx="2670935" cy="345716"/>
          </a:xfrm>
          <a:prstGeom prst="rect">
            <a:avLst/>
          </a:prstGeom>
        </p:spPr>
      </p:pic>
      <p:sp>
        <p:nvSpPr>
          <p:cNvPr id="9" name="Graphic 16">
            <a:extLst>
              <a:ext uri="{FF2B5EF4-FFF2-40B4-BE49-F238E27FC236}">
                <a16:creationId xmlns:a16="http://schemas.microsoft.com/office/drawing/2014/main" id="{01816A34-AA40-AA4A-939C-55CFC06C881E}"/>
              </a:ext>
            </a:extLst>
          </p:cNvPr>
          <p:cNvSpPr>
            <a:spLocks/>
          </p:cNvSpPr>
          <p:nvPr userDrawn="1"/>
        </p:nvSpPr>
        <p:spPr bwMode="auto">
          <a:xfrm>
            <a:off x="2789238" y="4071938"/>
            <a:ext cx="1643062" cy="1274762"/>
          </a:xfrm>
          <a:custGeom>
            <a:avLst/>
            <a:gdLst>
              <a:gd name="T0" fmla="*/ 0 w 9963851"/>
              <a:gd name="T1" fmla="*/ 1274271 h 6857505"/>
              <a:gd name="T2" fmla="*/ 0 w 9963851"/>
              <a:gd name="T3" fmla="*/ 1270680 h 6857505"/>
              <a:gd name="T4" fmla="*/ 148 w 9963851"/>
              <a:gd name="T5" fmla="*/ 9458 h 6857505"/>
              <a:gd name="T6" fmla="*/ 2803 w 9963851"/>
              <a:gd name="T7" fmla="*/ 0 h 6857505"/>
              <a:gd name="T8" fmla="*/ 1643775 w 9963851"/>
              <a:gd name="T9" fmla="*/ 172783 h 6857505"/>
              <a:gd name="T10" fmla="*/ 1287644 w 9963851"/>
              <a:gd name="T11" fmla="*/ 1274271 h 6857505"/>
              <a:gd name="T12" fmla="*/ 0 w 9963851"/>
              <a:gd name="T13" fmla="*/ 1274271 h 685750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963851" h="6857505">
                <a:moveTo>
                  <a:pt x="0" y="6857505"/>
                </a:moveTo>
                <a:lnTo>
                  <a:pt x="0" y="6838181"/>
                </a:lnTo>
                <a:lnTo>
                  <a:pt x="895" y="50897"/>
                </a:lnTo>
                <a:lnTo>
                  <a:pt x="16989" y="0"/>
                </a:lnTo>
                <a:lnTo>
                  <a:pt x="9963851" y="929832"/>
                </a:lnTo>
                <a:lnTo>
                  <a:pt x="7805138" y="6857505"/>
                </a:lnTo>
                <a:lnTo>
                  <a:pt x="0" y="6857505"/>
                </a:lnTo>
                <a:close/>
              </a:path>
            </a:pathLst>
          </a:custGeom>
          <a:solidFill>
            <a:srgbClr val="EFF5F9"/>
          </a:solidFill>
          <a:ln>
            <a:noFill/>
          </a:ln>
          <a:extLst>
            <a:ext uri="{91240B29-F687-4F45-9708-019B960494DF}">
              <a14:hiddenLine xmlns:a14="http://schemas.microsoft.com/office/drawing/2010/main" w="8678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/>
          </a:p>
        </p:txBody>
      </p:sp>
      <p:pic>
        <p:nvPicPr>
          <p:cNvPr id="10" name="Graphic 7">
            <a:extLst>
              <a:ext uri="{FF2B5EF4-FFF2-40B4-BE49-F238E27FC236}">
                <a16:creationId xmlns:a16="http://schemas.microsoft.com/office/drawing/2014/main" id="{E1E13A33-B17B-7841-9591-C14AD857DA3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89238" y="3248025"/>
            <a:ext cx="1520825" cy="196850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DA520F0C-3701-FF41-AA68-58ECF91C4805}"/>
              </a:ext>
            </a:extLst>
          </p:cNvPr>
          <p:cNvSpPr/>
          <p:nvPr userDrawn="1"/>
        </p:nvSpPr>
        <p:spPr>
          <a:xfrm>
            <a:off x="5553075" y="279400"/>
            <a:ext cx="1062038" cy="1062038"/>
          </a:xfrm>
          <a:prstGeom prst="ellipse">
            <a:avLst/>
          </a:prstGeom>
          <a:noFill/>
          <a:ln w="9525" cap="rnd"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Avenir Next" panose="020B050302020202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CDDF218B-574A-7A42-BFA8-C108FE577E77}"/>
              </a:ext>
            </a:extLst>
          </p:cNvPr>
          <p:cNvSpPr>
            <a:spLocks/>
          </p:cNvSpPr>
          <p:nvPr userDrawn="1"/>
        </p:nvSpPr>
        <p:spPr>
          <a:xfrm rot="6883338">
            <a:off x="4216794" y="329619"/>
            <a:ext cx="954874" cy="954874"/>
          </a:xfrm>
          <a:prstGeom prst="ellipse">
            <a:avLst/>
          </a:prstGeom>
          <a:blipFill>
            <a:blip r:embed="rId4"/>
            <a:stretch>
              <a:fillRect l="-3643" t="-31574" r="-154175" b="-12609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Avenir Next" panose="020B0503020202020204" pitchFamily="34" charset="0"/>
            </a:endParaRPr>
          </a:p>
        </p:txBody>
      </p:sp>
      <p:grpSp>
        <p:nvGrpSpPr>
          <p:cNvPr id="27" name="Group 22">
            <a:extLst>
              <a:ext uri="{FF2B5EF4-FFF2-40B4-BE49-F238E27FC236}">
                <a16:creationId xmlns:a16="http://schemas.microsoft.com/office/drawing/2014/main" id="{9870B37D-4941-A643-816F-FF582B82BF84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008813" y="-20638"/>
            <a:ext cx="1524000" cy="1527176"/>
            <a:chOff x="7252844" y="606854"/>
            <a:chExt cx="3743024" cy="3750831"/>
          </a:xfrm>
        </p:grpSpPr>
        <p:grpSp>
          <p:nvGrpSpPr>
            <p:cNvPr id="28" name="Group 23">
              <a:extLst>
                <a:ext uri="{FF2B5EF4-FFF2-40B4-BE49-F238E27FC236}">
                  <a16:creationId xmlns:a16="http://schemas.microsoft.com/office/drawing/2014/main" id="{07AC6C1F-6BAA-0B4E-9E2A-76BF94641D3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252844" y="606854"/>
              <a:ext cx="3743024" cy="3750831"/>
              <a:chOff x="7536611" y="1330745"/>
              <a:chExt cx="4786736" cy="4796721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295B4B96-99E8-7F4F-98DB-552139A36513}"/>
                  </a:ext>
                </a:extLst>
              </p:cNvPr>
              <p:cNvSpPr>
                <a:spLocks/>
              </p:cNvSpPr>
              <p:nvPr userDrawn="1"/>
            </p:nvSpPr>
            <p:spPr>
              <a:xfrm rot="6883338">
                <a:off x="8260229" y="1448824"/>
                <a:ext cx="1604681" cy="1368523"/>
              </a:xfrm>
              <a:prstGeom prst="ellipse">
                <a:avLst/>
              </a:prstGeom>
              <a:blipFill>
                <a:blip r:embed="rId4"/>
                <a:stretch>
                  <a:fillRect l="3955" t="-21998" r="-161773" b="-135670"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Avenir Next" panose="020B0503020202020204" pitchFamily="34" charset="0"/>
                </a:endParaRPr>
              </a:p>
            </p:txBody>
          </p:sp>
          <p:grpSp>
            <p:nvGrpSpPr>
              <p:cNvPr id="31" name="Group 26">
                <a:extLst>
                  <a:ext uri="{FF2B5EF4-FFF2-40B4-BE49-F238E27FC236}">
                    <a16:creationId xmlns:a16="http://schemas.microsoft.com/office/drawing/2014/main" id="{51A6786E-D396-DE41-BCA4-A778AE224144}"/>
                  </a:ext>
                </a:extLst>
              </p:cNvPr>
              <p:cNvGrpSpPr>
                <a:grpSpLocks/>
              </p:cNvGrpSpPr>
              <p:nvPr userDrawn="1"/>
            </p:nvGrpSpPr>
            <p:grpSpPr bwMode="auto">
              <a:xfrm>
                <a:off x="7536611" y="1854176"/>
                <a:ext cx="4786736" cy="4273290"/>
                <a:chOff x="6096000" y="1097280"/>
                <a:chExt cx="4786736" cy="4273290"/>
              </a:xfrm>
            </p:grpSpPr>
            <p:sp>
              <p:nvSpPr>
                <p:cNvPr id="32" name="Graphic 2">
                  <a:extLst>
                    <a:ext uri="{FF2B5EF4-FFF2-40B4-BE49-F238E27FC236}">
                      <a16:creationId xmlns:a16="http://schemas.microsoft.com/office/drawing/2014/main" id="{852E5E7B-8BE0-7A40-B86F-3DA50257709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6275385" y="1097280"/>
                  <a:ext cx="4607351" cy="4273290"/>
                </a:xfrm>
                <a:custGeom>
                  <a:avLst/>
                  <a:gdLst>
                    <a:gd name="T0" fmla="*/ 940926 w 3318440"/>
                    <a:gd name="T1" fmla="*/ 68121 h 3077833"/>
                    <a:gd name="T2" fmla="*/ 1734238 w 3318440"/>
                    <a:gd name="T3" fmla="*/ 85600 h 3077833"/>
                    <a:gd name="T4" fmla="*/ 2388799 w 3318440"/>
                    <a:gd name="T5" fmla="*/ 558101 h 3077833"/>
                    <a:gd name="T6" fmla="*/ 2981409 w 3318440"/>
                    <a:gd name="T7" fmla="*/ 1112208 h 3077833"/>
                    <a:gd name="T8" fmla="*/ 3580982 w 3318440"/>
                    <a:gd name="T9" fmla="*/ 1187841 h 3077833"/>
                    <a:gd name="T10" fmla="*/ 3886295 w 3318440"/>
                    <a:gd name="T11" fmla="*/ 1103027 h 3077833"/>
                    <a:gd name="T12" fmla="*/ 4551959 w 3318440"/>
                    <a:gd name="T13" fmla="*/ 1438030 h 3077833"/>
                    <a:gd name="T14" fmla="*/ 4607079 w 3318440"/>
                    <a:gd name="T15" fmla="*/ 1671336 h 3077833"/>
                    <a:gd name="T16" fmla="*/ 4436760 w 3318440"/>
                    <a:gd name="T17" fmla="*/ 2014159 h 3077833"/>
                    <a:gd name="T18" fmla="*/ 2708115 w 3318440"/>
                    <a:gd name="T19" fmla="*/ 3158716 h 3077833"/>
                    <a:gd name="T20" fmla="*/ 2175596 w 3318440"/>
                    <a:gd name="T21" fmla="*/ 3502875 h 3077833"/>
                    <a:gd name="T22" fmla="*/ 1364245 w 3318440"/>
                    <a:gd name="T23" fmla="*/ 4242832 h 3077833"/>
                    <a:gd name="T24" fmla="*/ 691975 w 3318440"/>
                    <a:gd name="T25" fmla="*/ 4199395 h 3077833"/>
                    <a:gd name="T26" fmla="*/ 449036 w 3318440"/>
                    <a:gd name="T27" fmla="*/ 4113908 h 3077833"/>
                    <a:gd name="T28" fmla="*/ 211332 w 3318440"/>
                    <a:gd name="T29" fmla="*/ 3854775 h 3077833"/>
                    <a:gd name="T30" fmla="*/ 107486 w 3318440"/>
                    <a:gd name="T31" fmla="*/ 2162069 h 3077833"/>
                    <a:gd name="T32" fmla="*/ 413075 w 3318440"/>
                    <a:gd name="T33" fmla="*/ 908668 h 3077833"/>
                    <a:gd name="T34" fmla="*/ 940926 w 3318440"/>
                    <a:gd name="T35" fmla="*/ 68121 h 307783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3318440" h="3077833">
                      <a:moveTo>
                        <a:pt x="677701" y="49064"/>
                      </a:moveTo>
                      <a:cubicBezTo>
                        <a:pt x="858385" y="-25154"/>
                        <a:pt x="1067582" y="-10491"/>
                        <a:pt x="1249083" y="61653"/>
                      </a:cubicBezTo>
                      <a:cubicBezTo>
                        <a:pt x="1430584" y="133797"/>
                        <a:pt x="1586774" y="259454"/>
                        <a:pt x="1720530" y="401972"/>
                      </a:cubicBezTo>
                      <a:cubicBezTo>
                        <a:pt x="1854600" y="544833"/>
                        <a:pt x="1973958" y="710131"/>
                        <a:pt x="2147357" y="801067"/>
                      </a:cubicBezTo>
                      <a:cubicBezTo>
                        <a:pt x="2280248" y="870129"/>
                        <a:pt x="2433368" y="889444"/>
                        <a:pt x="2579199" y="855541"/>
                      </a:cubicBezTo>
                      <a:cubicBezTo>
                        <a:pt x="2653281" y="838024"/>
                        <a:pt x="2724001" y="806938"/>
                        <a:pt x="2799100" y="794454"/>
                      </a:cubicBezTo>
                      <a:cubicBezTo>
                        <a:pt x="2987762" y="763054"/>
                        <a:pt x="3191013" y="865390"/>
                        <a:pt x="3278544" y="1035740"/>
                      </a:cubicBezTo>
                      <a:cubicBezTo>
                        <a:pt x="3306562" y="1087179"/>
                        <a:pt x="3320274" y="1145214"/>
                        <a:pt x="3318244" y="1203778"/>
                      </a:cubicBezTo>
                      <a:cubicBezTo>
                        <a:pt x="3312441" y="1297188"/>
                        <a:pt x="3256006" y="1379333"/>
                        <a:pt x="3195572" y="1450696"/>
                      </a:cubicBezTo>
                      <a:cubicBezTo>
                        <a:pt x="2871434" y="1833435"/>
                        <a:pt x="2395590" y="2044576"/>
                        <a:pt x="1950517" y="2275062"/>
                      </a:cubicBezTo>
                      <a:cubicBezTo>
                        <a:pt x="1814938" y="2345275"/>
                        <a:pt x="1679282" y="2419417"/>
                        <a:pt x="1566971" y="2522942"/>
                      </a:cubicBezTo>
                      <a:cubicBezTo>
                        <a:pt x="1370568" y="2703987"/>
                        <a:pt x="1237933" y="2978043"/>
                        <a:pt x="982596" y="3055896"/>
                      </a:cubicBezTo>
                      <a:cubicBezTo>
                        <a:pt x="825884" y="3103691"/>
                        <a:pt x="657395" y="3064212"/>
                        <a:pt x="498394" y="3024610"/>
                      </a:cubicBezTo>
                      <a:cubicBezTo>
                        <a:pt x="438197" y="3009662"/>
                        <a:pt x="377051" y="2994247"/>
                        <a:pt x="323418" y="2963038"/>
                      </a:cubicBezTo>
                      <a:cubicBezTo>
                        <a:pt x="249620" y="2920162"/>
                        <a:pt x="195132" y="2850254"/>
                        <a:pt x="152212" y="2776398"/>
                      </a:cubicBezTo>
                      <a:cubicBezTo>
                        <a:pt x="-57450" y="2415734"/>
                        <a:pt x="-18054" y="1963516"/>
                        <a:pt x="77417" y="1557228"/>
                      </a:cubicBezTo>
                      <a:cubicBezTo>
                        <a:pt x="148280" y="1255759"/>
                        <a:pt x="246743" y="960522"/>
                        <a:pt x="297517" y="654467"/>
                      </a:cubicBezTo>
                      <a:cubicBezTo>
                        <a:pt x="340162" y="397396"/>
                        <a:pt x="413826" y="157394"/>
                        <a:pt x="677701" y="49064"/>
                      </a:cubicBezTo>
                      <a:close/>
                    </a:path>
                  </a:pathLst>
                </a:custGeom>
                <a:solidFill>
                  <a:srgbClr val="E6EC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498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  <p:sp>
              <p:nvSpPr>
                <p:cNvPr id="33" name="Oval 32">
                  <a:extLst>
                    <a:ext uri="{FF2B5EF4-FFF2-40B4-BE49-F238E27FC236}">
                      <a16:creationId xmlns:a16="http://schemas.microsoft.com/office/drawing/2014/main" id="{B1F7FDA9-13F5-5648-ACD4-E0F34B3C2FB9}"/>
                    </a:ext>
                  </a:extLst>
                </p:cNvPr>
                <p:cNvSpPr/>
                <p:nvPr userDrawn="1"/>
              </p:nvSpPr>
              <p:spPr>
                <a:xfrm>
                  <a:off x="6096000" y="1177178"/>
                  <a:ext cx="4118587" cy="4113612"/>
                </a:xfrm>
                <a:prstGeom prst="ellipse">
                  <a:avLst/>
                </a:prstGeom>
                <a:noFill/>
                <a:ln w="9525" cap="rnd">
                  <a:solidFill>
                    <a:srgbClr val="D2E282"/>
                  </a:solidFill>
                  <a:prstDash val="sysDash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Avenir Next" panose="020B0503020202020204" pitchFamily="34" charset="0"/>
                  </a:endParaRPr>
                </a:p>
              </p:txBody>
            </p:sp>
          </p:grpSp>
        </p:grp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5DCF62D-30A3-CE4C-A84B-34C0C6985085}"/>
                </a:ext>
              </a:extLst>
            </p:cNvPr>
            <p:cNvSpPr/>
            <p:nvPr/>
          </p:nvSpPr>
          <p:spPr>
            <a:xfrm>
              <a:off x="7389027" y="1213279"/>
              <a:ext cx="2947278" cy="2947278"/>
            </a:xfrm>
            <a:prstGeom prst="ellipse">
              <a:avLst/>
            </a:prstGeom>
            <a:blipFill>
              <a:blip r:embed="rId5"/>
              <a:stretch>
                <a:fillRect l="-72938" t="-34620" r="-41006" b="-2688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4" name="Graphic 6">
            <a:extLst>
              <a:ext uri="{FF2B5EF4-FFF2-40B4-BE49-F238E27FC236}">
                <a16:creationId xmlns:a16="http://schemas.microsoft.com/office/drawing/2014/main" id="{879A9C83-5B10-524D-A42C-DAC38B2E427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359400" y="1397000"/>
            <a:ext cx="1593850" cy="1595438"/>
            <a:chOff x="3599679" y="932681"/>
            <a:chExt cx="4995947" cy="4995947"/>
          </a:xfrm>
        </p:grpSpPr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A8312D10-8C18-8C48-9825-A5812292AC49}"/>
                </a:ext>
              </a:extLst>
            </p:cNvPr>
            <p:cNvSpPr>
              <a:spLocks/>
            </p:cNvSpPr>
            <p:nvPr/>
          </p:nvSpPr>
          <p:spPr bwMode="auto">
            <a:xfrm rot="9600000">
              <a:off x="4148719" y="1481721"/>
              <a:ext cx="3897868" cy="3897867"/>
            </a:xfrm>
            <a:custGeom>
              <a:avLst/>
              <a:gdLst>
                <a:gd name="T0" fmla="*/ 1948995 w 3897868"/>
                <a:gd name="T1" fmla="*/ 60 h 3897867"/>
                <a:gd name="T2" fmla="*/ 3897929 w 3897868"/>
                <a:gd name="T3" fmla="*/ 1948994 h 3897867"/>
                <a:gd name="T4" fmla="*/ 1949223 w 3897868"/>
                <a:gd name="T5" fmla="*/ 3897927 h 3897867"/>
                <a:gd name="T6" fmla="*/ 1948995 w 3897868"/>
                <a:gd name="T7" fmla="*/ 3897927 h 3897867"/>
                <a:gd name="T8" fmla="*/ 61 w 3897868"/>
                <a:gd name="T9" fmla="*/ 1948994 h 3897867"/>
                <a:gd name="T10" fmla="*/ 595265 w 3897868"/>
                <a:gd name="T11" fmla="*/ 546940 h 389786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97868" h="3897867">
                  <a:moveTo>
                    <a:pt x="1948995" y="60"/>
                  </a:moveTo>
                  <a:cubicBezTo>
                    <a:pt x="3025358" y="60"/>
                    <a:pt x="3897929" y="872631"/>
                    <a:pt x="3897929" y="1948994"/>
                  </a:cubicBezTo>
                  <a:cubicBezTo>
                    <a:pt x="3897992" y="3025297"/>
                    <a:pt x="3025526" y="3897865"/>
                    <a:pt x="1949223" y="3897927"/>
                  </a:cubicBezTo>
                  <a:cubicBezTo>
                    <a:pt x="1949147" y="3897927"/>
                    <a:pt x="1949071" y="3897927"/>
                    <a:pt x="1948995" y="3897927"/>
                  </a:cubicBezTo>
                  <a:cubicBezTo>
                    <a:pt x="872632" y="3897927"/>
                    <a:pt x="61" y="3025356"/>
                    <a:pt x="61" y="1948994"/>
                  </a:cubicBezTo>
                  <a:cubicBezTo>
                    <a:pt x="-518" y="1420135"/>
                    <a:pt x="214403" y="913868"/>
                    <a:pt x="595265" y="546940"/>
                  </a:cubicBezTo>
                </a:path>
              </a:pathLst>
            </a:custGeom>
            <a:noFill/>
            <a:ln w="28521" cap="flat">
              <a:solidFill>
                <a:srgbClr val="AB003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grpSp>
          <p:nvGrpSpPr>
            <p:cNvPr id="36" name="Graphic 6">
              <a:extLst>
                <a:ext uri="{FF2B5EF4-FFF2-40B4-BE49-F238E27FC236}">
                  <a16:creationId xmlns:a16="http://schemas.microsoft.com/office/drawing/2014/main" id="{902EA165-573B-ED4A-A634-BE906E04FE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81804" y="4486301"/>
              <a:ext cx="1007741" cy="785277"/>
              <a:chOff x="6981804" y="4486301"/>
              <a:chExt cx="1007741" cy="785277"/>
            </a:xfrm>
          </p:grpSpPr>
          <p:grpSp>
            <p:nvGrpSpPr>
              <p:cNvPr id="37" name="Graphic 6">
                <a:extLst>
                  <a:ext uri="{FF2B5EF4-FFF2-40B4-BE49-F238E27FC236}">
                    <a16:creationId xmlns:a16="http://schemas.microsoft.com/office/drawing/2014/main" id="{88C4A6A9-57A8-684F-A63F-BA90FD089C6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981804" y="4486301"/>
                <a:ext cx="439470" cy="785277"/>
                <a:chOff x="6981804" y="4486301"/>
                <a:chExt cx="439470" cy="785277"/>
              </a:xfrm>
            </p:grpSpPr>
            <p:sp>
              <p:nvSpPr>
                <p:cNvPr id="41" name="Freeform 36">
                  <a:extLst>
                    <a:ext uri="{FF2B5EF4-FFF2-40B4-BE49-F238E27FC236}">
                      <a16:creationId xmlns:a16="http://schemas.microsoft.com/office/drawing/2014/main" id="{C5BF0FAC-CB86-3743-B488-535164379A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81804" y="4486301"/>
                  <a:ext cx="439470" cy="785277"/>
                </a:xfrm>
                <a:custGeom>
                  <a:avLst/>
                  <a:gdLst>
                    <a:gd name="T0" fmla="*/ 358 w 439470"/>
                    <a:gd name="T1" fmla="*/ 701098 h 785277"/>
                    <a:gd name="T2" fmla="*/ 192104 w 439470"/>
                    <a:gd name="T3" fmla="*/ 429940 h 785277"/>
                    <a:gd name="T4" fmla="*/ 358 w 439470"/>
                    <a:gd name="T5" fmla="*/ 429940 h 785277"/>
                    <a:gd name="T6" fmla="*/ 358 w 439470"/>
                    <a:gd name="T7" fmla="*/ 376 h 785277"/>
                    <a:gd name="T8" fmla="*/ 439828 w 439470"/>
                    <a:gd name="T9" fmla="*/ 376 h 785277"/>
                    <a:gd name="T10" fmla="*/ 439828 w 439470"/>
                    <a:gd name="T11" fmla="*/ 429940 h 785277"/>
                    <a:gd name="T12" fmla="*/ 439419 w 439470"/>
                    <a:gd name="T13" fmla="*/ 429940 h 785277"/>
                    <a:gd name="T14" fmla="*/ 53549 w 439470"/>
                    <a:gd name="T15" fmla="*/ 785653 h 785277"/>
                    <a:gd name="T16" fmla="*/ 358 w 439470"/>
                    <a:gd name="T17" fmla="*/ 701098 h 7852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39470" h="785277">
                      <a:moveTo>
                        <a:pt x="358" y="701098"/>
                      </a:moveTo>
                      <a:cubicBezTo>
                        <a:pt x="181228" y="646138"/>
                        <a:pt x="191895" y="467473"/>
                        <a:pt x="192104" y="429940"/>
                      </a:cubicBezTo>
                      <a:lnTo>
                        <a:pt x="358" y="429940"/>
                      </a:lnTo>
                      <a:lnTo>
                        <a:pt x="358" y="376"/>
                      </a:lnTo>
                      <a:lnTo>
                        <a:pt x="439828" y="376"/>
                      </a:lnTo>
                      <a:lnTo>
                        <a:pt x="439828" y="429940"/>
                      </a:lnTo>
                      <a:lnTo>
                        <a:pt x="439419" y="429940"/>
                      </a:lnTo>
                      <a:cubicBezTo>
                        <a:pt x="434827" y="581063"/>
                        <a:pt x="256970" y="748072"/>
                        <a:pt x="53549" y="785653"/>
                      </a:cubicBezTo>
                      <a:cubicBezTo>
                        <a:pt x="55917" y="783058"/>
                        <a:pt x="1204" y="704397"/>
                        <a:pt x="358" y="701098"/>
                      </a:cubicBezTo>
                      <a:close/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  <p:sp>
              <p:nvSpPr>
                <p:cNvPr id="42" name="Freeform 37">
                  <a:extLst>
                    <a:ext uri="{FF2B5EF4-FFF2-40B4-BE49-F238E27FC236}">
                      <a16:creationId xmlns:a16="http://schemas.microsoft.com/office/drawing/2014/main" id="{B0D7F642-BCB4-9148-A5F0-B7EB0338C6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81804" y="4486301"/>
                  <a:ext cx="439465" cy="785258"/>
                </a:xfrm>
                <a:custGeom>
                  <a:avLst/>
                  <a:gdLst>
                    <a:gd name="T0" fmla="*/ 72892 w 439465"/>
                    <a:gd name="T1" fmla="*/ 742593 h 785258"/>
                    <a:gd name="T2" fmla="*/ 181636 w 439465"/>
                    <a:gd name="T3" fmla="*/ 701637 h 785258"/>
                    <a:gd name="T4" fmla="*/ 295190 w 439465"/>
                    <a:gd name="T5" fmla="*/ 622487 h 785258"/>
                    <a:gd name="T6" fmla="*/ 401402 w 439465"/>
                    <a:gd name="T7" fmla="*/ 428789 h 785258"/>
                    <a:gd name="T8" fmla="*/ 401796 w 439465"/>
                    <a:gd name="T9" fmla="*/ 415812 h 785258"/>
                    <a:gd name="T10" fmla="*/ 401796 w 439465"/>
                    <a:gd name="T11" fmla="*/ 38404 h 785258"/>
                    <a:gd name="T12" fmla="*/ 38386 w 439465"/>
                    <a:gd name="T13" fmla="*/ 38404 h 785258"/>
                    <a:gd name="T14" fmla="*/ 38386 w 439465"/>
                    <a:gd name="T15" fmla="*/ 391914 h 785258"/>
                    <a:gd name="T16" fmla="*/ 192107 w 439465"/>
                    <a:gd name="T17" fmla="*/ 391914 h 785258"/>
                    <a:gd name="T18" fmla="*/ 230353 w 439465"/>
                    <a:gd name="T19" fmla="*/ 391914 h 785258"/>
                    <a:gd name="T20" fmla="*/ 230134 w 439465"/>
                    <a:gd name="T21" fmla="*/ 430160 h 785258"/>
                    <a:gd name="T22" fmla="*/ 198655 w 439465"/>
                    <a:gd name="T23" fmla="*/ 574594 h 785258"/>
                    <a:gd name="T24" fmla="*/ 132755 w 439465"/>
                    <a:gd name="T25" fmla="*/ 668422 h 785258"/>
                    <a:gd name="T26" fmla="*/ 57830 w 439465"/>
                    <a:gd name="T27" fmla="*/ 719566 h 785258"/>
                    <a:gd name="T28" fmla="*/ 72892 w 439465"/>
                    <a:gd name="T29" fmla="*/ 742593 h 785258"/>
                    <a:gd name="T30" fmla="*/ 53545 w 439465"/>
                    <a:gd name="T31" fmla="*/ 785634 h 785258"/>
                    <a:gd name="T32" fmla="*/ 358 w 439465"/>
                    <a:gd name="T33" fmla="*/ 701102 h 785258"/>
                    <a:gd name="T34" fmla="*/ 192107 w 439465"/>
                    <a:gd name="T35" fmla="*/ 429942 h 785258"/>
                    <a:gd name="T36" fmla="*/ 358 w 439465"/>
                    <a:gd name="T37" fmla="*/ 429942 h 785258"/>
                    <a:gd name="T38" fmla="*/ 358 w 439465"/>
                    <a:gd name="T39" fmla="*/ 376 h 785258"/>
                    <a:gd name="T40" fmla="*/ 439824 w 439465"/>
                    <a:gd name="T41" fmla="*/ 376 h 785258"/>
                    <a:gd name="T42" fmla="*/ 439824 w 439465"/>
                    <a:gd name="T43" fmla="*/ 429942 h 785258"/>
                    <a:gd name="T44" fmla="*/ 439413 w 439465"/>
                    <a:gd name="T45" fmla="*/ 429942 h 785258"/>
                    <a:gd name="T46" fmla="*/ 53545 w 439465"/>
                    <a:gd name="T47" fmla="*/ 785634 h 785258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439465" h="785258">
                      <a:moveTo>
                        <a:pt x="72892" y="742593"/>
                      </a:moveTo>
                      <a:cubicBezTo>
                        <a:pt x="109820" y="733525"/>
                        <a:pt x="146290" y="719797"/>
                        <a:pt x="181636" y="701637"/>
                      </a:cubicBezTo>
                      <a:cubicBezTo>
                        <a:pt x="223588" y="680084"/>
                        <a:pt x="261793" y="653454"/>
                        <a:pt x="295190" y="622487"/>
                      </a:cubicBezTo>
                      <a:cubicBezTo>
                        <a:pt x="360802" y="561650"/>
                        <a:pt x="399514" y="491050"/>
                        <a:pt x="401402" y="428789"/>
                      </a:cubicBezTo>
                      <a:lnTo>
                        <a:pt x="401796" y="415812"/>
                      </a:lnTo>
                      <a:lnTo>
                        <a:pt x="401796" y="38404"/>
                      </a:lnTo>
                      <a:lnTo>
                        <a:pt x="38386" y="38404"/>
                      </a:lnTo>
                      <a:lnTo>
                        <a:pt x="38386" y="391914"/>
                      </a:lnTo>
                      <a:lnTo>
                        <a:pt x="192107" y="391914"/>
                      </a:lnTo>
                      <a:lnTo>
                        <a:pt x="230353" y="391914"/>
                      </a:lnTo>
                      <a:lnTo>
                        <a:pt x="230134" y="430160"/>
                      </a:lnTo>
                      <a:cubicBezTo>
                        <a:pt x="230004" y="452843"/>
                        <a:pt x="226676" y="512324"/>
                        <a:pt x="198655" y="574594"/>
                      </a:cubicBezTo>
                      <a:cubicBezTo>
                        <a:pt x="182329" y="610875"/>
                        <a:pt x="160157" y="642444"/>
                        <a:pt x="132755" y="668422"/>
                      </a:cubicBezTo>
                      <a:cubicBezTo>
                        <a:pt x="110978" y="689069"/>
                        <a:pt x="85898" y="706177"/>
                        <a:pt x="57830" y="719566"/>
                      </a:cubicBezTo>
                      <a:cubicBezTo>
                        <a:pt x="63057" y="727452"/>
                        <a:pt x="68302" y="735429"/>
                        <a:pt x="72892" y="742593"/>
                      </a:cubicBezTo>
                      <a:moveTo>
                        <a:pt x="53545" y="785634"/>
                      </a:moveTo>
                      <a:cubicBezTo>
                        <a:pt x="55918" y="783053"/>
                        <a:pt x="1201" y="704394"/>
                        <a:pt x="358" y="701102"/>
                      </a:cubicBezTo>
                      <a:cubicBezTo>
                        <a:pt x="181225" y="646141"/>
                        <a:pt x="191891" y="467481"/>
                        <a:pt x="192107" y="429942"/>
                      </a:cubicBezTo>
                      <a:lnTo>
                        <a:pt x="358" y="429942"/>
                      </a:lnTo>
                      <a:lnTo>
                        <a:pt x="358" y="376"/>
                      </a:lnTo>
                      <a:lnTo>
                        <a:pt x="439824" y="376"/>
                      </a:lnTo>
                      <a:lnTo>
                        <a:pt x="439824" y="429942"/>
                      </a:lnTo>
                      <a:lnTo>
                        <a:pt x="439413" y="429942"/>
                      </a:lnTo>
                      <a:cubicBezTo>
                        <a:pt x="434831" y="581060"/>
                        <a:pt x="256974" y="748073"/>
                        <a:pt x="53545" y="785634"/>
                      </a:cubicBezTo>
                      <a:close/>
                    </a:path>
                  </a:pathLst>
                </a:custGeom>
                <a:solidFill>
                  <a:srgbClr val="AB003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</p:grpSp>
          <p:grpSp>
            <p:nvGrpSpPr>
              <p:cNvPr id="38" name="Graphic 6">
                <a:extLst>
                  <a:ext uri="{FF2B5EF4-FFF2-40B4-BE49-F238E27FC236}">
                    <a16:creationId xmlns:a16="http://schemas.microsoft.com/office/drawing/2014/main" id="{E3853DCC-E65B-BD40-858F-290B322DFC7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550075" y="4486301"/>
                <a:ext cx="439470" cy="785277"/>
                <a:chOff x="7550075" y="4486301"/>
                <a:chExt cx="439470" cy="785277"/>
              </a:xfrm>
            </p:grpSpPr>
            <p:sp>
              <p:nvSpPr>
                <p:cNvPr id="39" name="Freeform 34">
                  <a:extLst>
                    <a:ext uri="{FF2B5EF4-FFF2-40B4-BE49-F238E27FC236}">
                      <a16:creationId xmlns:a16="http://schemas.microsoft.com/office/drawing/2014/main" id="{4B464448-8FC2-FA40-B197-04E57F10E0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50075" y="4486301"/>
                  <a:ext cx="439470" cy="785277"/>
                </a:xfrm>
                <a:custGeom>
                  <a:avLst/>
                  <a:gdLst>
                    <a:gd name="T0" fmla="*/ 417 w 439470"/>
                    <a:gd name="T1" fmla="*/ 701098 h 785277"/>
                    <a:gd name="T2" fmla="*/ 192164 w 439470"/>
                    <a:gd name="T3" fmla="*/ 429940 h 785277"/>
                    <a:gd name="T4" fmla="*/ 417 w 439470"/>
                    <a:gd name="T5" fmla="*/ 429940 h 785277"/>
                    <a:gd name="T6" fmla="*/ 417 w 439470"/>
                    <a:gd name="T7" fmla="*/ 376 h 785277"/>
                    <a:gd name="T8" fmla="*/ 439888 w 439470"/>
                    <a:gd name="T9" fmla="*/ 376 h 785277"/>
                    <a:gd name="T10" fmla="*/ 439888 w 439470"/>
                    <a:gd name="T11" fmla="*/ 429940 h 785277"/>
                    <a:gd name="T12" fmla="*/ 439479 w 439470"/>
                    <a:gd name="T13" fmla="*/ 429940 h 785277"/>
                    <a:gd name="T14" fmla="*/ 53609 w 439470"/>
                    <a:gd name="T15" fmla="*/ 785653 h 785277"/>
                    <a:gd name="T16" fmla="*/ 417 w 439470"/>
                    <a:gd name="T17" fmla="*/ 701098 h 7852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39470" h="785277">
                      <a:moveTo>
                        <a:pt x="417" y="701098"/>
                      </a:moveTo>
                      <a:cubicBezTo>
                        <a:pt x="181288" y="646138"/>
                        <a:pt x="191955" y="467473"/>
                        <a:pt x="192164" y="429940"/>
                      </a:cubicBezTo>
                      <a:lnTo>
                        <a:pt x="417" y="429940"/>
                      </a:lnTo>
                      <a:lnTo>
                        <a:pt x="417" y="376"/>
                      </a:lnTo>
                      <a:lnTo>
                        <a:pt x="439888" y="376"/>
                      </a:lnTo>
                      <a:lnTo>
                        <a:pt x="439888" y="429940"/>
                      </a:lnTo>
                      <a:lnTo>
                        <a:pt x="439479" y="429940"/>
                      </a:lnTo>
                      <a:cubicBezTo>
                        <a:pt x="434887" y="581063"/>
                        <a:pt x="257030" y="748072"/>
                        <a:pt x="53609" y="785653"/>
                      </a:cubicBezTo>
                      <a:cubicBezTo>
                        <a:pt x="55976" y="783058"/>
                        <a:pt x="1264" y="704397"/>
                        <a:pt x="417" y="701098"/>
                      </a:cubicBezTo>
                      <a:close/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  <p:sp>
              <p:nvSpPr>
                <p:cNvPr id="40" name="Freeform 35">
                  <a:extLst>
                    <a:ext uri="{FF2B5EF4-FFF2-40B4-BE49-F238E27FC236}">
                      <a16:creationId xmlns:a16="http://schemas.microsoft.com/office/drawing/2014/main" id="{42A249DC-B5FC-CD4A-A428-95898EC262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50075" y="4486301"/>
                  <a:ext cx="439465" cy="785258"/>
                </a:xfrm>
                <a:custGeom>
                  <a:avLst/>
                  <a:gdLst>
                    <a:gd name="T0" fmla="*/ 72952 w 439465"/>
                    <a:gd name="T1" fmla="*/ 742593 h 785258"/>
                    <a:gd name="T2" fmla="*/ 181696 w 439465"/>
                    <a:gd name="T3" fmla="*/ 701637 h 785258"/>
                    <a:gd name="T4" fmla="*/ 295250 w 439465"/>
                    <a:gd name="T5" fmla="*/ 622487 h 785258"/>
                    <a:gd name="T6" fmla="*/ 401462 w 439465"/>
                    <a:gd name="T7" fmla="*/ 428789 h 785258"/>
                    <a:gd name="T8" fmla="*/ 401855 w 439465"/>
                    <a:gd name="T9" fmla="*/ 415812 h 785258"/>
                    <a:gd name="T10" fmla="*/ 401855 w 439465"/>
                    <a:gd name="T11" fmla="*/ 38404 h 785258"/>
                    <a:gd name="T12" fmla="*/ 38445 w 439465"/>
                    <a:gd name="T13" fmla="*/ 38404 h 785258"/>
                    <a:gd name="T14" fmla="*/ 38445 w 439465"/>
                    <a:gd name="T15" fmla="*/ 391914 h 785258"/>
                    <a:gd name="T16" fmla="*/ 192166 w 439465"/>
                    <a:gd name="T17" fmla="*/ 391914 h 785258"/>
                    <a:gd name="T18" fmla="*/ 230413 w 439465"/>
                    <a:gd name="T19" fmla="*/ 391914 h 785258"/>
                    <a:gd name="T20" fmla="*/ 230194 w 439465"/>
                    <a:gd name="T21" fmla="*/ 430160 h 785258"/>
                    <a:gd name="T22" fmla="*/ 198715 w 439465"/>
                    <a:gd name="T23" fmla="*/ 574594 h 785258"/>
                    <a:gd name="T24" fmla="*/ 132815 w 439465"/>
                    <a:gd name="T25" fmla="*/ 668422 h 785258"/>
                    <a:gd name="T26" fmla="*/ 57890 w 439465"/>
                    <a:gd name="T27" fmla="*/ 719566 h 785258"/>
                    <a:gd name="T28" fmla="*/ 72952 w 439465"/>
                    <a:gd name="T29" fmla="*/ 742593 h 785258"/>
                    <a:gd name="T30" fmla="*/ 53605 w 439465"/>
                    <a:gd name="T31" fmla="*/ 785634 h 785258"/>
                    <a:gd name="T32" fmla="*/ 417 w 439465"/>
                    <a:gd name="T33" fmla="*/ 701102 h 785258"/>
                    <a:gd name="T34" fmla="*/ 192166 w 439465"/>
                    <a:gd name="T35" fmla="*/ 429942 h 785258"/>
                    <a:gd name="T36" fmla="*/ 417 w 439465"/>
                    <a:gd name="T37" fmla="*/ 429942 h 785258"/>
                    <a:gd name="T38" fmla="*/ 417 w 439465"/>
                    <a:gd name="T39" fmla="*/ 376 h 785258"/>
                    <a:gd name="T40" fmla="*/ 439883 w 439465"/>
                    <a:gd name="T41" fmla="*/ 376 h 785258"/>
                    <a:gd name="T42" fmla="*/ 439883 w 439465"/>
                    <a:gd name="T43" fmla="*/ 429942 h 785258"/>
                    <a:gd name="T44" fmla="*/ 439472 w 439465"/>
                    <a:gd name="T45" fmla="*/ 429942 h 785258"/>
                    <a:gd name="T46" fmla="*/ 53605 w 439465"/>
                    <a:gd name="T47" fmla="*/ 785634 h 785258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439465" h="785258">
                      <a:moveTo>
                        <a:pt x="72952" y="742593"/>
                      </a:moveTo>
                      <a:cubicBezTo>
                        <a:pt x="109880" y="733525"/>
                        <a:pt x="146349" y="719797"/>
                        <a:pt x="181696" y="701637"/>
                      </a:cubicBezTo>
                      <a:cubicBezTo>
                        <a:pt x="223648" y="680084"/>
                        <a:pt x="261853" y="653454"/>
                        <a:pt x="295250" y="622487"/>
                      </a:cubicBezTo>
                      <a:cubicBezTo>
                        <a:pt x="360861" y="561650"/>
                        <a:pt x="399574" y="491050"/>
                        <a:pt x="401462" y="428789"/>
                      </a:cubicBezTo>
                      <a:lnTo>
                        <a:pt x="401855" y="415812"/>
                      </a:lnTo>
                      <a:lnTo>
                        <a:pt x="401855" y="38404"/>
                      </a:lnTo>
                      <a:lnTo>
                        <a:pt x="38445" y="38404"/>
                      </a:lnTo>
                      <a:lnTo>
                        <a:pt x="38445" y="391914"/>
                      </a:lnTo>
                      <a:lnTo>
                        <a:pt x="192166" y="391914"/>
                      </a:lnTo>
                      <a:lnTo>
                        <a:pt x="230413" y="391914"/>
                      </a:lnTo>
                      <a:lnTo>
                        <a:pt x="230194" y="430160"/>
                      </a:lnTo>
                      <a:cubicBezTo>
                        <a:pt x="230064" y="452843"/>
                        <a:pt x="226736" y="512324"/>
                        <a:pt x="198715" y="574594"/>
                      </a:cubicBezTo>
                      <a:cubicBezTo>
                        <a:pt x="182389" y="610875"/>
                        <a:pt x="160217" y="642444"/>
                        <a:pt x="132815" y="668422"/>
                      </a:cubicBezTo>
                      <a:cubicBezTo>
                        <a:pt x="111038" y="689069"/>
                        <a:pt x="85958" y="706177"/>
                        <a:pt x="57890" y="719566"/>
                      </a:cubicBezTo>
                      <a:cubicBezTo>
                        <a:pt x="63116" y="727452"/>
                        <a:pt x="68362" y="735429"/>
                        <a:pt x="72952" y="742593"/>
                      </a:cubicBezTo>
                      <a:moveTo>
                        <a:pt x="53605" y="785634"/>
                      </a:moveTo>
                      <a:cubicBezTo>
                        <a:pt x="55978" y="783053"/>
                        <a:pt x="1260" y="704394"/>
                        <a:pt x="417" y="701102"/>
                      </a:cubicBezTo>
                      <a:cubicBezTo>
                        <a:pt x="181285" y="646141"/>
                        <a:pt x="191951" y="467481"/>
                        <a:pt x="192166" y="429942"/>
                      </a:cubicBezTo>
                      <a:lnTo>
                        <a:pt x="417" y="429942"/>
                      </a:lnTo>
                      <a:lnTo>
                        <a:pt x="417" y="376"/>
                      </a:lnTo>
                      <a:lnTo>
                        <a:pt x="439883" y="376"/>
                      </a:lnTo>
                      <a:lnTo>
                        <a:pt x="439883" y="429942"/>
                      </a:lnTo>
                      <a:lnTo>
                        <a:pt x="439472" y="429942"/>
                      </a:lnTo>
                      <a:cubicBezTo>
                        <a:pt x="434890" y="581060"/>
                        <a:pt x="257034" y="748073"/>
                        <a:pt x="53605" y="785634"/>
                      </a:cubicBezTo>
                      <a:close/>
                    </a:path>
                  </a:pathLst>
                </a:custGeom>
                <a:solidFill>
                  <a:srgbClr val="AB003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43" name="Graphic 4">
            <a:extLst>
              <a:ext uri="{FF2B5EF4-FFF2-40B4-BE49-F238E27FC236}">
                <a16:creationId xmlns:a16="http://schemas.microsoft.com/office/drawing/2014/main" id="{15D1D908-6203-9848-8E09-36AB283BD40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092950" y="1654175"/>
            <a:ext cx="1165225" cy="1165225"/>
            <a:chOff x="788860" y="567191"/>
            <a:chExt cx="3899224" cy="3898124"/>
          </a:xfrm>
        </p:grpSpPr>
        <p:sp>
          <p:nvSpPr>
            <p:cNvPr id="44" name="Freeform 39">
              <a:extLst>
                <a:ext uri="{FF2B5EF4-FFF2-40B4-BE49-F238E27FC236}">
                  <a16:creationId xmlns:a16="http://schemas.microsoft.com/office/drawing/2014/main" id="{DF477ACA-EF9B-D240-9F56-8E04A3F97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60" y="567191"/>
              <a:ext cx="3899224" cy="3898124"/>
            </a:xfrm>
            <a:custGeom>
              <a:avLst/>
              <a:gdLst>
                <a:gd name="T0" fmla="*/ 2616132 w 3899224"/>
                <a:gd name="T1" fmla="*/ 3777374 h 3898124"/>
                <a:gd name="T2" fmla="*/ 117694 w 3899224"/>
                <a:gd name="T3" fmla="*/ 2612767 h 3898124"/>
                <a:gd name="T4" fmla="*/ 1282301 w 3899224"/>
                <a:gd name="T5" fmla="*/ 115278 h 3898124"/>
                <a:gd name="T6" fmla="*/ 1282301 w 3899224"/>
                <a:gd name="T7" fmla="*/ 115278 h 3898124"/>
                <a:gd name="T8" fmla="*/ 3780739 w 3899224"/>
                <a:gd name="T9" fmla="*/ 1279885 h 3898124"/>
                <a:gd name="T10" fmla="*/ 3700881 w 3899224"/>
                <a:gd name="T11" fmla="*/ 2801004 h 38981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99224" h="3898124">
                  <a:moveTo>
                    <a:pt x="2616132" y="3777374"/>
                  </a:moveTo>
                  <a:cubicBezTo>
                    <a:pt x="1604589" y="4145295"/>
                    <a:pt x="486566" y="3624311"/>
                    <a:pt x="117694" y="2612767"/>
                  </a:cubicBezTo>
                  <a:cubicBezTo>
                    <a:pt x="-250226" y="1601222"/>
                    <a:pt x="270757" y="483201"/>
                    <a:pt x="1282301" y="115278"/>
                  </a:cubicBezTo>
                  <a:cubicBezTo>
                    <a:pt x="1282301" y="115278"/>
                    <a:pt x="1282301" y="115278"/>
                    <a:pt x="1282301" y="115278"/>
                  </a:cubicBezTo>
                  <a:cubicBezTo>
                    <a:pt x="2293846" y="-252642"/>
                    <a:pt x="3411868" y="268342"/>
                    <a:pt x="3780739" y="1279885"/>
                  </a:cubicBezTo>
                  <a:cubicBezTo>
                    <a:pt x="3962323" y="1777101"/>
                    <a:pt x="3933802" y="2325654"/>
                    <a:pt x="3700881" y="2801004"/>
                  </a:cubicBezTo>
                </a:path>
              </a:pathLst>
            </a:custGeom>
            <a:noFill/>
            <a:ln w="28521" cap="flat">
              <a:solidFill>
                <a:srgbClr val="AB003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grpSp>
          <p:nvGrpSpPr>
            <p:cNvPr id="45" name="Graphic 4">
              <a:extLst>
                <a:ext uri="{FF2B5EF4-FFF2-40B4-BE49-F238E27FC236}">
                  <a16:creationId xmlns:a16="http://schemas.microsoft.com/office/drawing/2014/main" id="{943E92BD-79A6-A04E-A319-4F43D2C2014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23023" y="3571901"/>
              <a:ext cx="1007494" cy="785277"/>
              <a:chOff x="3623023" y="3571901"/>
              <a:chExt cx="1007494" cy="785277"/>
            </a:xfrm>
          </p:grpSpPr>
          <p:grpSp>
            <p:nvGrpSpPr>
              <p:cNvPr id="46" name="Graphic 4">
                <a:extLst>
                  <a:ext uri="{FF2B5EF4-FFF2-40B4-BE49-F238E27FC236}">
                    <a16:creationId xmlns:a16="http://schemas.microsoft.com/office/drawing/2014/main" id="{D9790C06-6845-094B-BC93-C9A27B1D9F8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623023" y="3571901"/>
                <a:ext cx="439223" cy="785277"/>
                <a:chOff x="3623023" y="3571901"/>
                <a:chExt cx="439223" cy="785277"/>
              </a:xfrm>
            </p:grpSpPr>
            <p:sp>
              <p:nvSpPr>
                <p:cNvPr id="50" name="Freeform 45">
                  <a:extLst>
                    <a:ext uri="{FF2B5EF4-FFF2-40B4-BE49-F238E27FC236}">
                      <a16:creationId xmlns:a16="http://schemas.microsoft.com/office/drawing/2014/main" id="{BC69D9DA-33FC-574B-88A1-48ACCBA6DD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3023" y="3571901"/>
                  <a:ext cx="439223" cy="785277"/>
                </a:xfrm>
                <a:custGeom>
                  <a:avLst/>
                  <a:gdLst>
                    <a:gd name="T0" fmla="*/ 358 w 439223"/>
                    <a:gd name="T1" fmla="*/ 701041 h 785277"/>
                    <a:gd name="T2" fmla="*/ 192399 w 439223"/>
                    <a:gd name="T3" fmla="*/ 430092 h 785277"/>
                    <a:gd name="T4" fmla="*/ 358 w 439223"/>
                    <a:gd name="T5" fmla="*/ 430092 h 785277"/>
                    <a:gd name="T6" fmla="*/ 358 w 439223"/>
                    <a:gd name="T7" fmla="*/ 376 h 785277"/>
                    <a:gd name="T8" fmla="*/ 439581 w 439223"/>
                    <a:gd name="T9" fmla="*/ 376 h 785277"/>
                    <a:gd name="T10" fmla="*/ 439581 w 439223"/>
                    <a:gd name="T11" fmla="*/ 430092 h 785277"/>
                    <a:gd name="T12" fmla="*/ 439581 w 439223"/>
                    <a:gd name="T13" fmla="*/ 430092 h 785277"/>
                    <a:gd name="T14" fmla="*/ 53597 w 439223"/>
                    <a:gd name="T15" fmla="*/ 785653 h 785277"/>
                    <a:gd name="T16" fmla="*/ 358 w 439223"/>
                    <a:gd name="T17" fmla="*/ 701041 h 7852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39223" h="785277">
                      <a:moveTo>
                        <a:pt x="358" y="701041"/>
                      </a:moveTo>
                      <a:cubicBezTo>
                        <a:pt x="180991" y="645901"/>
                        <a:pt x="191448" y="467169"/>
                        <a:pt x="192399" y="430092"/>
                      </a:cubicBezTo>
                      <a:lnTo>
                        <a:pt x="358" y="430092"/>
                      </a:lnTo>
                      <a:lnTo>
                        <a:pt x="358" y="376"/>
                      </a:lnTo>
                      <a:lnTo>
                        <a:pt x="439581" y="376"/>
                      </a:lnTo>
                      <a:lnTo>
                        <a:pt x="439581" y="430092"/>
                      </a:lnTo>
                      <a:cubicBezTo>
                        <a:pt x="434827" y="581253"/>
                        <a:pt x="257047" y="747625"/>
                        <a:pt x="53597" y="785653"/>
                      </a:cubicBezTo>
                      <a:cubicBezTo>
                        <a:pt x="55498" y="782801"/>
                        <a:pt x="1308" y="704844"/>
                        <a:pt x="358" y="701041"/>
                      </a:cubicBezTo>
                      <a:close/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  <p:sp>
              <p:nvSpPr>
                <p:cNvPr id="51" name="Freeform 46">
                  <a:extLst>
                    <a:ext uri="{FF2B5EF4-FFF2-40B4-BE49-F238E27FC236}">
                      <a16:creationId xmlns:a16="http://schemas.microsoft.com/office/drawing/2014/main" id="{447AEBAA-4034-824A-B15A-A8549368A6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3023" y="3571901"/>
                  <a:ext cx="439223" cy="785277"/>
                </a:xfrm>
                <a:custGeom>
                  <a:avLst/>
                  <a:gdLst>
                    <a:gd name="T0" fmla="*/ 53597 w 439223"/>
                    <a:gd name="T1" fmla="*/ 785653 h 785277"/>
                    <a:gd name="T2" fmla="*/ 358 w 439223"/>
                    <a:gd name="T3" fmla="*/ 701041 h 785277"/>
                    <a:gd name="T4" fmla="*/ 192399 w 439223"/>
                    <a:gd name="T5" fmla="*/ 430092 h 785277"/>
                    <a:gd name="T6" fmla="*/ 358 w 439223"/>
                    <a:gd name="T7" fmla="*/ 430092 h 785277"/>
                    <a:gd name="T8" fmla="*/ 358 w 439223"/>
                    <a:gd name="T9" fmla="*/ 376 h 785277"/>
                    <a:gd name="T10" fmla="*/ 439581 w 439223"/>
                    <a:gd name="T11" fmla="*/ 376 h 785277"/>
                    <a:gd name="T12" fmla="*/ 439581 w 439223"/>
                    <a:gd name="T13" fmla="*/ 430092 h 785277"/>
                    <a:gd name="T14" fmla="*/ 439581 w 439223"/>
                    <a:gd name="T15" fmla="*/ 430092 h 785277"/>
                    <a:gd name="T16" fmla="*/ 53597 w 439223"/>
                    <a:gd name="T17" fmla="*/ 785653 h 7852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39223" h="785277">
                      <a:moveTo>
                        <a:pt x="53597" y="785653"/>
                      </a:moveTo>
                      <a:cubicBezTo>
                        <a:pt x="55498" y="782801"/>
                        <a:pt x="1308" y="704844"/>
                        <a:pt x="358" y="701041"/>
                      </a:cubicBezTo>
                      <a:cubicBezTo>
                        <a:pt x="180991" y="645901"/>
                        <a:pt x="191448" y="467169"/>
                        <a:pt x="192399" y="430092"/>
                      </a:cubicBezTo>
                      <a:lnTo>
                        <a:pt x="358" y="430092"/>
                      </a:lnTo>
                      <a:lnTo>
                        <a:pt x="358" y="376"/>
                      </a:lnTo>
                      <a:lnTo>
                        <a:pt x="439581" y="376"/>
                      </a:lnTo>
                      <a:lnTo>
                        <a:pt x="439581" y="430092"/>
                      </a:lnTo>
                      <a:cubicBezTo>
                        <a:pt x="434827" y="581253"/>
                        <a:pt x="257047" y="747625"/>
                        <a:pt x="53597" y="785653"/>
                      </a:cubicBezTo>
                      <a:close/>
                    </a:path>
                  </a:pathLst>
                </a:custGeom>
                <a:solidFill>
                  <a:srgbClr val="AB003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</p:grpSp>
          <p:grpSp>
            <p:nvGrpSpPr>
              <p:cNvPr id="47" name="Graphic 4">
                <a:extLst>
                  <a:ext uri="{FF2B5EF4-FFF2-40B4-BE49-F238E27FC236}">
                    <a16:creationId xmlns:a16="http://schemas.microsoft.com/office/drawing/2014/main" id="{D56400D6-915F-1F44-A00E-029EE58F349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91294" y="3571901"/>
                <a:ext cx="439223" cy="785277"/>
                <a:chOff x="4191294" y="3571901"/>
                <a:chExt cx="439223" cy="785277"/>
              </a:xfrm>
            </p:grpSpPr>
            <p:sp>
              <p:nvSpPr>
                <p:cNvPr id="48" name="Freeform 43">
                  <a:extLst>
                    <a:ext uri="{FF2B5EF4-FFF2-40B4-BE49-F238E27FC236}">
                      <a16:creationId xmlns:a16="http://schemas.microsoft.com/office/drawing/2014/main" id="{FC175D10-8B97-C649-BDAE-F6330056A1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1294" y="3571901"/>
                  <a:ext cx="439223" cy="785277"/>
                </a:xfrm>
                <a:custGeom>
                  <a:avLst/>
                  <a:gdLst>
                    <a:gd name="T0" fmla="*/ 417 w 439223"/>
                    <a:gd name="T1" fmla="*/ 701041 h 785277"/>
                    <a:gd name="T2" fmla="*/ 192459 w 439223"/>
                    <a:gd name="T3" fmla="*/ 430092 h 785277"/>
                    <a:gd name="T4" fmla="*/ 417 w 439223"/>
                    <a:gd name="T5" fmla="*/ 430092 h 785277"/>
                    <a:gd name="T6" fmla="*/ 417 w 439223"/>
                    <a:gd name="T7" fmla="*/ 376 h 785277"/>
                    <a:gd name="T8" fmla="*/ 439641 w 439223"/>
                    <a:gd name="T9" fmla="*/ 376 h 785277"/>
                    <a:gd name="T10" fmla="*/ 439641 w 439223"/>
                    <a:gd name="T11" fmla="*/ 430092 h 785277"/>
                    <a:gd name="T12" fmla="*/ 439641 w 439223"/>
                    <a:gd name="T13" fmla="*/ 430092 h 785277"/>
                    <a:gd name="T14" fmla="*/ 53657 w 439223"/>
                    <a:gd name="T15" fmla="*/ 785653 h 785277"/>
                    <a:gd name="T16" fmla="*/ 417 w 439223"/>
                    <a:gd name="T17" fmla="*/ 701041 h 7852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39223" h="785277">
                      <a:moveTo>
                        <a:pt x="417" y="701041"/>
                      </a:moveTo>
                      <a:cubicBezTo>
                        <a:pt x="181050" y="645901"/>
                        <a:pt x="191508" y="467169"/>
                        <a:pt x="192459" y="430092"/>
                      </a:cubicBezTo>
                      <a:lnTo>
                        <a:pt x="417" y="430092"/>
                      </a:lnTo>
                      <a:lnTo>
                        <a:pt x="417" y="376"/>
                      </a:lnTo>
                      <a:lnTo>
                        <a:pt x="439641" y="376"/>
                      </a:lnTo>
                      <a:lnTo>
                        <a:pt x="439641" y="430092"/>
                      </a:lnTo>
                      <a:cubicBezTo>
                        <a:pt x="434887" y="581253"/>
                        <a:pt x="257106" y="747625"/>
                        <a:pt x="53657" y="785653"/>
                      </a:cubicBezTo>
                      <a:cubicBezTo>
                        <a:pt x="55558" y="782801"/>
                        <a:pt x="1368" y="704844"/>
                        <a:pt x="417" y="701041"/>
                      </a:cubicBezTo>
                      <a:close/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  <p:sp>
              <p:nvSpPr>
                <p:cNvPr id="49" name="Freeform 44">
                  <a:extLst>
                    <a:ext uri="{FF2B5EF4-FFF2-40B4-BE49-F238E27FC236}">
                      <a16:creationId xmlns:a16="http://schemas.microsoft.com/office/drawing/2014/main" id="{2B149BB8-F6AF-9B4A-A344-19B38C9842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1294" y="3571901"/>
                  <a:ext cx="439223" cy="785277"/>
                </a:xfrm>
                <a:custGeom>
                  <a:avLst/>
                  <a:gdLst>
                    <a:gd name="T0" fmla="*/ 53657 w 439223"/>
                    <a:gd name="T1" fmla="*/ 785653 h 785277"/>
                    <a:gd name="T2" fmla="*/ 417 w 439223"/>
                    <a:gd name="T3" fmla="*/ 701041 h 785277"/>
                    <a:gd name="T4" fmla="*/ 192459 w 439223"/>
                    <a:gd name="T5" fmla="*/ 430092 h 785277"/>
                    <a:gd name="T6" fmla="*/ 417 w 439223"/>
                    <a:gd name="T7" fmla="*/ 430092 h 785277"/>
                    <a:gd name="T8" fmla="*/ 417 w 439223"/>
                    <a:gd name="T9" fmla="*/ 376 h 785277"/>
                    <a:gd name="T10" fmla="*/ 439641 w 439223"/>
                    <a:gd name="T11" fmla="*/ 376 h 785277"/>
                    <a:gd name="T12" fmla="*/ 439641 w 439223"/>
                    <a:gd name="T13" fmla="*/ 430092 h 785277"/>
                    <a:gd name="T14" fmla="*/ 439641 w 439223"/>
                    <a:gd name="T15" fmla="*/ 430092 h 785277"/>
                    <a:gd name="T16" fmla="*/ 53657 w 439223"/>
                    <a:gd name="T17" fmla="*/ 785653 h 7852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39223" h="785277">
                      <a:moveTo>
                        <a:pt x="53657" y="785653"/>
                      </a:moveTo>
                      <a:cubicBezTo>
                        <a:pt x="55558" y="782801"/>
                        <a:pt x="1368" y="704844"/>
                        <a:pt x="417" y="701041"/>
                      </a:cubicBezTo>
                      <a:cubicBezTo>
                        <a:pt x="181050" y="645901"/>
                        <a:pt x="191508" y="467169"/>
                        <a:pt x="192459" y="430092"/>
                      </a:cubicBezTo>
                      <a:lnTo>
                        <a:pt x="417" y="430092"/>
                      </a:lnTo>
                      <a:lnTo>
                        <a:pt x="417" y="376"/>
                      </a:lnTo>
                      <a:lnTo>
                        <a:pt x="439641" y="376"/>
                      </a:lnTo>
                      <a:lnTo>
                        <a:pt x="439641" y="430092"/>
                      </a:lnTo>
                      <a:cubicBezTo>
                        <a:pt x="434887" y="581253"/>
                        <a:pt x="257106" y="747625"/>
                        <a:pt x="53657" y="785653"/>
                      </a:cubicBezTo>
                      <a:close/>
                    </a:path>
                  </a:pathLst>
                </a:custGeom>
                <a:solidFill>
                  <a:srgbClr val="AB003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52" name="Graphic 2">
            <a:extLst>
              <a:ext uri="{FF2B5EF4-FFF2-40B4-BE49-F238E27FC236}">
                <a16:creationId xmlns:a16="http://schemas.microsoft.com/office/drawing/2014/main" id="{14910258-3712-0A46-8767-68DDB562E2A4}"/>
              </a:ext>
            </a:extLst>
          </p:cNvPr>
          <p:cNvSpPr>
            <a:spLocks/>
          </p:cNvSpPr>
          <p:nvPr userDrawn="1"/>
        </p:nvSpPr>
        <p:spPr bwMode="auto">
          <a:xfrm>
            <a:off x="313891" y="4386220"/>
            <a:ext cx="2282825" cy="298450"/>
          </a:xfrm>
          <a:custGeom>
            <a:avLst/>
            <a:gdLst>
              <a:gd name="T0" fmla="*/ 2099397 w 2972803"/>
              <a:gd name="T1" fmla="*/ 294133 h 387630"/>
              <a:gd name="T2" fmla="*/ 0 w 2972803"/>
              <a:gd name="T3" fmla="*/ 297710 h 387630"/>
              <a:gd name="T4" fmla="*/ 0 w 2972803"/>
              <a:gd name="T5" fmla="*/ 402 h 387630"/>
              <a:gd name="T6" fmla="*/ 2283190 w 2972803"/>
              <a:gd name="T7" fmla="*/ 0 h 387630"/>
              <a:gd name="T8" fmla="*/ 2099397 w 2972803"/>
              <a:gd name="T9" fmla="*/ 294133 h 3876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972803"/>
              <a:gd name="T16" fmla="*/ 0 h 387630"/>
              <a:gd name="T17" fmla="*/ 2972803 w 2972803"/>
              <a:gd name="T18" fmla="*/ 387630 h 38763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972803" h="387630">
                <a:moveTo>
                  <a:pt x="2733497" y="382972"/>
                </a:moveTo>
                <a:lnTo>
                  <a:pt x="0" y="387630"/>
                </a:lnTo>
                <a:lnTo>
                  <a:pt x="0" y="523"/>
                </a:lnTo>
                <a:lnTo>
                  <a:pt x="2972803" y="0"/>
                </a:lnTo>
                <a:lnTo>
                  <a:pt x="2733497" y="382972"/>
                </a:lnTo>
                <a:close/>
              </a:path>
            </a:pathLst>
          </a:custGeom>
          <a:solidFill>
            <a:srgbClr val="BB283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6842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b="1" dirty="0">
                <a:solidFill>
                  <a:schemeClr val="bg1"/>
                </a:solidFill>
                <a:latin typeface="AvenirNext LT Pro Medium" panose="020B0504020202020204" pitchFamily="34" charset="77"/>
              </a:rPr>
              <a:t>	ellab.com</a:t>
            </a:r>
          </a:p>
        </p:txBody>
      </p:sp>
      <p:sp>
        <p:nvSpPr>
          <p:cNvPr id="12" name="Picture Placeholder 21"/>
          <p:cNvSpPr>
            <a:spLocks noGrp="1"/>
          </p:cNvSpPr>
          <p:nvPr>
            <p:ph type="pic" sz="quarter" idx="12"/>
          </p:nvPr>
        </p:nvSpPr>
        <p:spPr>
          <a:xfrm>
            <a:off x="4119117" y="1563957"/>
            <a:ext cx="1122849" cy="1122849"/>
          </a:xfrm>
          <a:custGeom>
            <a:avLst/>
            <a:gdLst>
              <a:gd name="connsiteX0" fmla="*/ 1382865 w 2765730"/>
              <a:gd name="connsiteY0" fmla="*/ 0 h 2765730"/>
              <a:gd name="connsiteX1" fmla="*/ 2765730 w 2765730"/>
              <a:gd name="connsiteY1" fmla="*/ 1382865 h 2765730"/>
              <a:gd name="connsiteX2" fmla="*/ 1382865 w 2765730"/>
              <a:gd name="connsiteY2" fmla="*/ 2765730 h 2765730"/>
              <a:gd name="connsiteX3" fmla="*/ 0 w 2765730"/>
              <a:gd name="connsiteY3" fmla="*/ 1382865 h 2765730"/>
              <a:gd name="connsiteX4" fmla="*/ 1382865 w 2765730"/>
              <a:gd name="connsiteY4" fmla="*/ 0 h 27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65730" h="2765730">
                <a:moveTo>
                  <a:pt x="1382865" y="0"/>
                </a:moveTo>
                <a:cubicBezTo>
                  <a:pt x="2146600" y="0"/>
                  <a:pt x="2765730" y="619130"/>
                  <a:pt x="2765730" y="1382865"/>
                </a:cubicBezTo>
                <a:cubicBezTo>
                  <a:pt x="2765730" y="2146600"/>
                  <a:pt x="2146600" y="2765730"/>
                  <a:pt x="1382865" y="2765730"/>
                </a:cubicBezTo>
                <a:cubicBezTo>
                  <a:pt x="619130" y="2765730"/>
                  <a:pt x="0" y="2146600"/>
                  <a:pt x="0" y="1382865"/>
                </a:cubicBezTo>
                <a:cubicBezTo>
                  <a:pt x="0" y="619130"/>
                  <a:pt x="619130" y="0"/>
                  <a:pt x="1382865" y="0"/>
                </a:cubicBezTo>
                <a:close/>
              </a:path>
            </a:pathLst>
          </a:custGeom>
          <a:solidFill>
            <a:srgbClr val="E6ECF4"/>
          </a:solidFill>
        </p:spPr>
        <p:txBody>
          <a:bodyPr wrap="square">
            <a:noAutofit/>
          </a:bodyPr>
          <a:lstStyle>
            <a:lvl1pPr>
              <a:defRPr sz="1400" b="0" i="0">
                <a:latin typeface="+mn-l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3" name="Picture Placeholder 51"/>
          <p:cNvSpPr>
            <a:spLocks noGrp="1"/>
          </p:cNvSpPr>
          <p:nvPr>
            <p:ph type="pic" sz="quarter" idx="13"/>
          </p:nvPr>
        </p:nvSpPr>
        <p:spPr>
          <a:xfrm>
            <a:off x="2789043" y="1634232"/>
            <a:ext cx="1145409" cy="1062360"/>
          </a:xfrm>
          <a:custGeom>
            <a:avLst/>
            <a:gdLst>
              <a:gd name="connsiteX0" fmla="*/ 627866 w 2163396"/>
              <a:gd name="connsiteY0" fmla="*/ 309 h 2006537"/>
              <a:gd name="connsiteX1" fmla="*/ 814317 w 2163396"/>
              <a:gd name="connsiteY1" fmla="*/ 40195 h 2006537"/>
              <a:gd name="connsiteX2" fmla="*/ 1121668 w 2163396"/>
              <a:gd name="connsiteY2" fmla="*/ 262059 h 2006537"/>
              <a:gd name="connsiteX3" fmla="*/ 1399930 w 2163396"/>
              <a:gd name="connsiteY3" fmla="*/ 522242 h 2006537"/>
              <a:gd name="connsiteX4" fmla="*/ 1681462 w 2163396"/>
              <a:gd name="connsiteY4" fmla="*/ 557755 h 2006537"/>
              <a:gd name="connsiteX5" fmla="*/ 1824822 w 2163396"/>
              <a:gd name="connsiteY5" fmla="*/ 517931 h 2006537"/>
              <a:gd name="connsiteX6" fmla="*/ 2137387 w 2163396"/>
              <a:gd name="connsiteY6" fmla="*/ 675233 h 2006537"/>
              <a:gd name="connsiteX7" fmla="*/ 2163268 w 2163396"/>
              <a:gd name="connsiteY7" fmla="*/ 784782 h 2006537"/>
              <a:gd name="connsiteX8" fmla="*/ 2083295 w 2163396"/>
              <a:gd name="connsiteY8" fmla="*/ 945756 h 2006537"/>
              <a:gd name="connsiteX9" fmla="*/ 1271604 w 2163396"/>
              <a:gd name="connsiteY9" fmla="*/ 1483186 h 2006537"/>
              <a:gd name="connsiteX10" fmla="*/ 1021558 w 2163396"/>
              <a:gd name="connsiteY10" fmla="*/ 1644786 h 2006537"/>
              <a:gd name="connsiteX11" fmla="*/ 640586 w 2163396"/>
              <a:gd name="connsiteY11" fmla="*/ 1992236 h 2006537"/>
              <a:gd name="connsiteX12" fmla="*/ 324919 w 2163396"/>
              <a:gd name="connsiteY12" fmla="*/ 1971839 h 2006537"/>
              <a:gd name="connsiteX13" fmla="*/ 210847 w 2163396"/>
              <a:gd name="connsiteY13" fmla="*/ 1931699 h 2006537"/>
              <a:gd name="connsiteX14" fmla="*/ 99232 w 2163396"/>
              <a:gd name="connsiteY14" fmla="*/ 1810022 h 2006537"/>
              <a:gd name="connsiteX15" fmla="*/ 50471 w 2163396"/>
              <a:gd name="connsiteY15" fmla="*/ 1015207 h 2006537"/>
              <a:gd name="connsiteX16" fmla="*/ 193961 w 2163396"/>
              <a:gd name="connsiteY16" fmla="*/ 426669 h 2006537"/>
              <a:gd name="connsiteX17" fmla="*/ 441815 w 2163396"/>
              <a:gd name="connsiteY17" fmla="*/ 31987 h 2006537"/>
              <a:gd name="connsiteX18" fmla="*/ 627866 w 2163396"/>
              <a:gd name="connsiteY18" fmla="*/ 309 h 2006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63396" h="2006537">
                <a:moveTo>
                  <a:pt x="627866" y="309"/>
                </a:moveTo>
                <a:cubicBezTo>
                  <a:pt x="691477" y="2530"/>
                  <a:pt x="755154" y="16678"/>
                  <a:pt x="814317" y="40195"/>
                </a:cubicBezTo>
                <a:cubicBezTo>
                  <a:pt x="932643" y="87228"/>
                  <a:pt x="1034468" y="169147"/>
                  <a:pt x="1121668" y="262059"/>
                </a:cubicBezTo>
                <a:cubicBezTo>
                  <a:pt x="1209073" y="355195"/>
                  <a:pt x="1286886" y="462958"/>
                  <a:pt x="1399930" y="522242"/>
                </a:cubicBezTo>
                <a:cubicBezTo>
                  <a:pt x="1486566" y="567266"/>
                  <a:pt x="1586390" y="579858"/>
                  <a:pt x="1681462" y="557755"/>
                </a:cubicBezTo>
                <a:cubicBezTo>
                  <a:pt x="1729758" y="546335"/>
                  <a:pt x="1775863" y="526069"/>
                  <a:pt x="1824822" y="517931"/>
                </a:cubicBezTo>
                <a:cubicBezTo>
                  <a:pt x="1947817" y="497460"/>
                  <a:pt x="2080322" y="564176"/>
                  <a:pt x="2137387" y="675233"/>
                </a:cubicBezTo>
                <a:cubicBezTo>
                  <a:pt x="2155652" y="708767"/>
                  <a:pt x="2164592" y="746602"/>
                  <a:pt x="2163268" y="784782"/>
                </a:cubicBezTo>
                <a:cubicBezTo>
                  <a:pt x="2159485" y="845679"/>
                  <a:pt x="2122693" y="899232"/>
                  <a:pt x="2083295" y="945756"/>
                </a:cubicBezTo>
                <a:cubicBezTo>
                  <a:pt x="1871979" y="1195275"/>
                  <a:pt x="1561761" y="1332924"/>
                  <a:pt x="1271604" y="1483186"/>
                </a:cubicBezTo>
                <a:cubicBezTo>
                  <a:pt x="1183216" y="1528960"/>
                  <a:pt x="1094777" y="1577295"/>
                  <a:pt x="1021558" y="1644786"/>
                </a:cubicBezTo>
                <a:cubicBezTo>
                  <a:pt x="893517" y="1762815"/>
                  <a:pt x="807048" y="1941481"/>
                  <a:pt x="640586" y="1992236"/>
                </a:cubicBezTo>
                <a:cubicBezTo>
                  <a:pt x="538420" y="2023395"/>
                  <a:pt x="428577" y="1997657"/>
                  <a:pt x="324919" y="1971839"/>
                </a:cubicBezTo>
                <a:cubicBezTo>
                  <a:pt x="285675" y="1962094"/>
                  <a:pt x="245812" y="1952045"/>
                  <a:pt x="210847" y="1931699"/>
                </a:cubicBezTo>
                <a:cubicBezTo>
                  <a:pt x="162735" y="1903747"/>
                  <a:pt x="127213" y="1858171"/>
                  <a:pt x="99232" y="1810022"/>
                </a:cubicBezTo>
                <a:cubicBezTo>
                  <a:pt x="-37453" y="1574894"/>
                  <a:pt x="-11770" y="1280079"/>
                  <a:pt x="50471" y="1015207"/>
                </a:cubicBezTo>
                <a:cubicBezTo>
                  <a:pt x="96669" y="818670"/>
                  <a:pt x="160860" y="626196"/>
                  <a:pt x="193961" y="426669"/>
                </a:cubicBezTo>
                <a:cubicBezTo>
                  <a:pt x="221763" y="259076"/>
                  <a:pt x="269786" y="102611"/>
                  <a:pt x="441815" y="31987"/>
                </a:cubicBezTo>
                <a:cubicBezTo>
                  <a:pt x="500712" y="7795"/>
                  <a:pt x="564256" y="-1912"/>
                  <a:pt x="627866" y="309"/>
                </a:cubicBezTo>
                <a:close/>
              </a:path>
            </a:pathLst>
          </a:custGeom>
          <a:solidFill>
            <a:srgbClr val="E6ECF4"/>
          </a:solidFill>
        </p:spPr>
        <p:txBody>
          <a:bodyPr wrap="square">
            <a:noAutofit/>
          </a:bodyPr>
          <a:lstStyle>
            <a:lvl1pPr>
              <a:defRPr sz="1400" b="0" i="0">
                <a:latin typeface="+mn-l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9B8AB0E-EFF5-7E4F-BC4A-4DB5599F1C13}"/>
              </a:ext>
            </a:extLst>
          </p:cNvPr>
          <p:cNvSpPr txBox="1"/>
          <p:nvPr userDrawn="1"/>
        </p:nvSpPr>
        <p:spPr>
          <a:xfrm>
            <a:off x="216575" y="4882272"/>
            <a:ext cx="17928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b="0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This is the Default Text box</a:t>
            </a:r>
          </a:p>
        </p:txBody>
      </p:sp>
    </p:spTree>
    <p:extLst>
      <p:ext uri="{BB962C8B-B14F-4D97-AF65-F5344CB8AC3E}">
        <p14:creationId xmlns:p14="http://schemas.microsoft.com/office/powerpoint/2010/main" val="35178190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462F7F5-C407-044A-A9F2-88C6AB294D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0671567"/>
              </p:ext>
            </p:extLst>
          </p:nvPr>
        </p:nvGraphicFramePr>
        <p:xfrm>
          <a:off x="2168525" y="2963863"/>
          <a:ext cx="6497637" cy="2581488"/>
        </p:xfrm>
        <a:graphic>
          <a:graphicData uri="http://schemas.openxmlformats.org/drawingml/2006/table">
            <a:tbl>
              <a:tblPr/>
              <a:tblGrid>
                <a:gridCol w="9357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05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14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357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02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400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5145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7856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57088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 dirty="0">
                          <a:solidFill>
                            <a:srgbClr val="1F6898"/>
                          </a:solidFill>
                          <a:effectLst/>
                          <a:latin typeface="+mn-lt"/>
                        </a:rPr>
                        <a:t> ​</a:t>
                      </a:r>
                      <a:endParaRPr lang="en-US" sz="1600" b="0" i="0" dirty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olumn</a:t>
                      </a:r>
                      <a:endParaRPr lang="en-US" sz="1600" b="0" i="0" dirty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  <a:p>
                      <a:pPr algn="ctr" fontAlgn="base"/>
                      <a:r>
                        <a:rPr lang="en-US" sz="900" b="0" i="0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itle </a:t>
                      </a:r>
                      <a:r>
                        <a:rPr lang="en-US" sz="900" b="0" i="0" dirty="0">
                          <a:solidFill>
                            <a:srgbClr val="1F6898"/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 dirty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  <a:p>
                      <a:pPr algn="ctr" fontAlgn="base"/>
                      <a:r>
                        <a:rPr lang="en-US" sz="700" b="0" i="0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ub-title</a:t>
                      </a:r>
                      <a:endParaRPr lang="en-US" sz="1600" b="0" i="0" dirty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9C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olumn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  <a:p>
                      <a:pPr algn="ctr" fontAlgn="base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itle</a:t>
                      </a:r>
                      <a:r>
                        <a:rPr lang="en-US" sz="900" b="0" i="0">
                          <a:solidFill>
                            <a:srgbClr val="1F6898"/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  <a:p>
                      <a:pPr algn="ctr" fontAlgn="base"/>
                      <a:r>
                        <a:rPr lang="en-US" sz="7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ub-title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9C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itle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689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itle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689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itle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689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itle®</a:t>
                      </a:r>
                      <a:r>
                        <a:rPr lang="en-US" sz="900" b="0" i="0">
                          <a:solidFill>
                            <a:srgbClr val="1F6898"/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68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2796">
                <a:tc>
                  <a:txBody>
                    <a:bodyPr/>
                    <a:lstStyle/>
                    <a:p>
                      <a:pPr algn="l" fontAlgn="base"/>
                      <a:r>
                        <a:rPr lang="en-US" sz="9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Row</a:t>
                      </a:r>
                      <a:endParaRPr lang="en-US" sz="1600" b="1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algn="l" fontAlgn="base"/>
                      <a:r>
                        <a:rPr lang="en-US" sz="6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Sub-title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  <a:endParaRPr lang="en-US" sz="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  <a:endParaRPr lang="en-US" sz="6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  <a:endParaRPr lang="en-US" sz="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  <a:endParaRPr lang="en-US" sz="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€ 0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€ 0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35">
                <a:tc>
                  <a:txBody>
                    <a:bodyPr/>
                    <a:lstStyle/>
                    <a:p>
                      <a:pPr algn="l" fontAlgn="auto"/>
                      <a:r>
                        <a:rPr lang="en-US" sz="6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1,000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1,000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1,000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000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000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000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5680">
                <a:tc>
                  <a:txBody>
                    <a:bodyPr/>
                    <a:lstStyle/>
                    <a:p>
                      <a:pPr algn="l" fontAlgn="base"/>
                      <a:r>
                        <a:rPr lang="en-US" sz="9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Row</a:t>
                      </a:r>
                      <a:endParaRPr lang="en-US" sz="1600" b="1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Span two rows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Text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Text</a:t>
                      </a:r>
                      <a:endParaRPr lang="en-US" sz="16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Span two rows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3308">
                <a:tc>
                  <a:txBody>
                    <a:bodyPr/>
                    <a:lstStyle/>
                    <a:p>
                      <a:pPr algn="l" fontAlgn="base"/>
                      <a:r>
                        <a:rPr lang="en-US" sz="9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Row</a:t>
                      </a:r>
                      <a:endParaRPr lang="en-US" sz="1600" b="1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6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Text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12700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Text</a:t>
                      </a:r>
                      <a:endParaRPr lang="en-US" sz="16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12700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5680">
                <a:tc>
                  <a:txBody>
                    <a:bodyPr/>
                    <a:lstStyle/>
                    <a:p>
                      <a:pPr algn="l" fontAlgn="base"/>
                      <a:r>
                        <a:rPr lang="en-US" sz="9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Row</a:t>
                      </a:r>
                      <a:endParaRPr lang="en-US" sz="1600" b="1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000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000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000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​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000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9164">
                <a:tc>
                  <a:txBody>
                    <a:bodyPr/>
                    <a:lstStyle/>
                    <a:p>
                      <a:pPr algn="l" fontAlgn="base"/>
                      <a:r>
                        <a:rPr lang="en-US" sz="9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Row</a:t>
                      </a:r>
                    </a:p>
                    <a:p>
                      <a:pPr algn="l" fontAlgn="base"/>
                      <a:r>
                        <a:rPr lang="en-US" sz="6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Sub-title</a:t>
                      </a:r>
                      <a:endParaRPr lang="en-GB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r>
                        <a:rPr lang="en-US" sz="7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7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 €0</a:t>
                      </a:r>
                      <a:endParaRPr lang="en-US" sz="7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16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4725">
                <a:tc>
                  <a:txBody>
                    <a:bodyPr/>
                    <a:lstStyle/>
                    <a:p>
                      <a:pPr algn="l" fontAlgn="base"/>
                      <a:r>
                        <a:rPr lang="en-US" sz="9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Row</a:t>
                      </a:r>
                    </a:p>
                    <a:p>
                      <a:pPr algn="l" fontAlgn="base"/>
                      <a:r>
                        <a:rPr lang="en-GB" sz="6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- </a:t>
                      </a:r>
                      <a:r>
                        <a:rPr lang="en-US" sz="6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Sub-title</a:t>
                      </a:r>
                      <a:endParaRPr lang="en-GB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1600" b="1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700" b="1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&gt; €0</a:t>
                      </a:r>
                      <a:endParaRPr lang="en-US" sz="700" b="1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700" b="1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700" b="1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700" b="1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6937C13-6CF7-5F43-9D1B-10F08CDB614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9801617"/>
              </p:ext>
            </p:extLst>
          </p:nvPr>
        </p:nvGraphicFramePr>
        <p:xfrm>
          <a:off x="4400487" y="464466"/>
          <a:ext cx="4266006" cy="2037294"/>
        </p:xfrm>
        <a:graphic>
          <a:graphicData uri="http://schemas.openxmlformats.org/drawingml/2006/table">
            <a:tbl>
              <a:tblPr>
                <a:solidFill>
                  <a:schemeClr val="bg1"/>
                </a:solidFill>
              </a:tblPr>
              <a:tblGrid>
                <a:gridCol w="2140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59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itle</a:t>
                      </a: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DK" sz="700" b="1" i="0" u="none" strike="noStrike" cap="none" normalizeH="0" baseline="0">
                        <a:ln>
                          <a:noFill/>
                        </a:ln>
                        <a:solidFill>
                          <a:srgbClr val="58595B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1511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511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1511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itle</a:t>
                      </a: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DK" sz="700" b="1" i="0" u="none" strike="noStrike" cap="none" normalizeH="0" baseline="0">
                        <a:ln>
                          <a:noFill/>
                        </a:ln>
                        <a:solidFill>
                          <a:srgbClr val="58595B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1511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sng" strike="noStrike" cap="none" normalizeH="0" baseline="0" dirty="0">
                          <a:ln>
                            <a:noFill/>
                          </a:ln>
                          <a:solidFill>
                            <a:srgbClr val="1F6898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nk</a:t>
                      </a:r>
                      <a:endParaRPr kumimoji="0" lang="en-US" altLang="en-DK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1F6898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853EA09-363F-BC47-AB7F-BB35F912F4C5}"/>
              </a:ext>
            </a:extLst>
          </p:cNvPr>
          <p:cNvSpPr txBox="1"/>
          <p:nvPr userDrawn="1"/>
        </p:nvSpPr>
        <p:spPr>
          <a:xfrm>
            <a:off x="354013" y="4208463"/>
            <a:ext cx="1652587" cy="2714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 dirty="0">
                <a:latin typeface="+mj-lt"/>
              </a:rPr>
              <a:t>Complex tab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06B65A-F703-F443-B886-9A0CA3734544}"/>
              </a:ext>
            </a:extLst>
          </p:cNvPr>
          <p:cNvSpPr txBox="1"/>
          <p:nvPr userDrawn="1"/>
        </p:nvSpPr>
        <p:spPr>
          <a:xfrm>
            <a:off x="354013" y="1071563"/>
            <a:ext cx="2465387" cy="273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>
                <a:latin typeface="+mj-lt"/>
              </a:rPr>
              <a:t>Standard table</a:t>
            </a:r>
          </a:p>
        </p:txBody>
      </p:sp>
    </p:spTree>
    <p:extLst>
      <p:ext uri="{BB962C8B-B14F-4D97-AF65-F5344CB8AC3E}">
        <p14:creationId xmlns:p14="http://schemas.microsoft.com/office/powerpoint/2010/main" val="35262267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98F8CC-9094-40E5-82CF-866292A5DD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14221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98F8CC-9094-40E5-82CF-866292A5D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oogle Shape;44;p6">
            <a:extLst>
              <a:ext uri="{FF2B5EF4-FFF2-40B4-BE49-F238E27FC236}">
                <a16:creationId xmlns:a16="http://schemas.microsoft.com/office/drawing/2014/main" id="{0B8AFFC2-1746-1441-B457-2F1810CF5E02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77864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Google Shape;30;p4"/>
          <p:cNvSpPr txBox="1">
            <a:spLocks noGrp="1"/>
          </p:cNvSpPr>
          <p:nvPr>
            <p:ph type="title"/>
          </p:nvPr>
        </p:nvSpPr>
        <p:spPr>
          <a:xfrm>
            <a:off x="610338" y="502923"/>
            <a:ext cx="6958438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16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10337" y="1102780"/>
            <a:ext cx="6957112" cy="236629"/>
          </a:xfrm>
          <a:prstGeom prst="rect">
            <a:avLst/>
          </a:prstGeom>
        </p:spPr>
        <p:txBody>
          <a:bodyPr/>
          <a:lstStyle>
            <a:lvl1pPr>
              <a:buNone/>
              <a:defRPr sz="1050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10336" y="1474354"/>
            <a:ext cx="8092230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440" b="1" i="0">
                <a:latin typeface="+mj-lt"/>
              </a:defRPr>
            </a:lvl1pPr>
            <a:lvl2pPr marL="271347">
              <a:buClr>
                <a:srgbClr val="1F6898"/>
              </a:buClr>
              <a:buSzPct val="80000"/>
              <a:defRPr sz="108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39995">
              <a:buClr>
                <a:srgbClr val="1F6898"/>
              </a:buClr>
              <a:buSzPct val="80000"/>
              <a:defRPr sz="108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09992">
              <a:buClr>
                <a:srgbClr val="1F6898"/>
              </a:buClr>
              <a:buSzPct val="80000"/>
              <a:defRPr sz="108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079990">
              <a:buClr>
                <a:srgbClr val="1F6898"/>
              </a:buClr>
              <a:buSzPct val="80000"/>
              <a:defRPr sz="108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28290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7AF500B-C25C-E649-89E5-D9891EC78C2F}"/>
              </a:ext>
            </a:extLst>
          </p:cNvPr>
          <p:cNvSpPr/>
          <p:nvPr userDrawn="1"/>
        </p:nvSpPr>
        <p:spPr>
          <a:xfrm flipH="1">
            <a:off x="0" y="1"/>
            <a:ext cx="5353050" cy="5359400"/>
          </a:xfrm>
          <a:custGeom>
            <a:avLst/>
            <a:gdLst>
              <a:gd name="connsiteX0" fmla="*/ 0 w 4940290"/>
              <a:gd name="connsiteY0" fmla="*/ 0 h 5367403"/>
              <a:gd name="connsiteX1" fmla="*/ 4940290 w 4940290"/>
              <a:gd name="connsiteY1" fmla="*/ 0 h 5367403"/>
              <a:gd name="connsiteX2" fmla="*/ 4940290 w 4940290"/>
              <a:gd name="connsiteY2" fmla="*/ 5367403 h 5367403"/>
              <a:gd name="connsiteX3" fmla="*/ 0 w 4940290"/>
              <a:gd name="connsiteY3" fmla="*/ 5367403 h 5367403"/>
              <a:gd name="connsiteX4" fmla="*/ 0 w 4940290"/>
              <a:gd name="connsiteY4" fmla="*/ 0 h 5367403"/>
              <a:gd name="connsiteX0" fmla="*/ 1139868 w 6080158"/>
              <a:gd name="connsiteY0" fmla="*/ 0 h 5367403"/>
              <a:gd name="connsiteX1" fmla="*/ 6080158 w 6080158"/>
              <a:gd name="connsiteY1" fmla="*/ 0 h 5367403"/>
              <a:gd name="connsiteX2" fmla="*/ 6080158 w 6080158"/>
              <a:gd name="connsiteY2" fmla="*/ 5367403 h 5367403"/>
              <a:gd name="connsiteX3" fmla="*/ 0 w 6080158"/>
              <a:gd name="connsiteY3" fmla="*/ 5367403 h 5367403"/>
              <a:gd name="connsiteX4" fmla="*/ 1139868 w 6080158"/>
              <a:gd name="connsiteY4" fmla="*/ 0 h 5367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0158" h="5367403">
                <a:moveTo>
                  <a:pt x="1139868" y="0"/>
                </a:moveTo>
                <a:lnTo>
                  <a:pt x="6080158" y="0"/>
                </a:lnTo>
                <a:lnTo>
                  <a:pt x="6080158" y="5367403"/>
                </a:lnTo>
                <a:lnTo>
                  <a:pt x="0" y="5367403"/>
                </a:lnTo>
                <a:lnTo>
                  <a:pt x="1139868" y="0"/>
                </a:lnTo>
                <a:close/>
              </a:path>
            </a:pathLst>
          </a:custGeom>
          <a:solidFill>
            <a:srgbClr val="EFF5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684D94-625A-4EEA-AB58-6D4875FA6D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3688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684D94-625A-4EEA-AB58-6D4875FA6D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30;p4">
            <a:extLst>
              <a:ext uri="{FF2B5EF4-FFF2-40B4-BE49-F238E27FC236}">
                <a16:creationId xmlns:a16="http://schemas.microsoft.com/office/drawing/2014/main" id="{B00CD058-E979-3847-951D-E572702AE66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6" y="502922"/>
            <a:ext cx="6894049" cy="41147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" name="Google Shape;44;p6">
            <a:extLst>
              <a:ext uri="{FF2B5EF4-FFF2-40B4-BE49-F238E27FC236}">
                <a16:creationId xmlns:a16="http://schemas.microsoft.com/office/drawing/2014/main" id="{4BEBE899-0004-DF46-8C37-A41BEA43E901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D7BF20D-DBE6-304B-87D3-FD3B2BC8DD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6957112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17F1C5A-6CEE-D449-81C3-2EC1B97058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6" y="1474353"/>
            <a:ext cx="8092230" cy="4001203"/>
          </a:xfrm>
          <a:prstGeom prst="rect">
            <a:avLst/>
          </a:prstGeom>
        </p:spPr>
        <p:txBody>
          <a:bodyPr/>
          <a:lstStyle>
            <a:lvl1pPr>
              <a:buNone/>
              <a:defRPr sz="1600" b="1" i="0">
                <a:latin typeface="+mj-lt"/>
              </a:defRPr>
            </a:lvl1pPr>
            <a:lvl2pPr marL="301497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599994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899991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199988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18496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79DC79-200D-4071-92DD-B4FDFED92C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7013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79DC79-200D-4071-92DD-B4FDFED92C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oogle Shape;44;p6">
            <a:extLst>
              <a:ext uri="{FF2B5EF4-FFF2-40B4-BE49-F238E27FC236}">
                <a16:creationId xmlns:a16="http://schemas.microsoft.com/office/drawing/2014/main" id="{F84D2D49-02FF-E74A-AE78-A2E87625DE12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2038749" y="1488726"/>
            <a:ext cx="1650603" cy="1834004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16073" y="1488725"/>
            <a:ext cx="1650603" cy="1834004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610338" y="3963247"/>
            <a:ext cx="5310187" cy="1248833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38750" y="3264168"/>
            <a:ext cx="1650602" cy="213196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167" b="0" i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1740301" y="3477361"/>
            <a:ext cx="2247500" cy="309269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0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5216272" y="3255958"/>
            <a:ext cx="1650602" cy="213196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167" b="0" i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4917823" y="3469154"/>
            <a:ext cx="2247500" cy="309269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0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1740301" y="1187221"/>
            <a:ext cx="2247500" cy="213196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4917625" y="1195298"/>
            <a:ext cx="2247500" cy="213196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2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oogle Shape;30;p4">
            <a:extLst>
              <a:ext uri="{FF2B5EF4-FFF2-40B4-BE49-F238E27FC236}">
                <a16:creationId xmlns:a16="http://schemas.microsoft.com/office/drawing/2014/main" id="{094F96A1-32B1-1C42-B82D-A037AC9A3FB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5311200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649909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BD87-B614-4B38-AC7D-BEDD9A0B0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04800"/>
            <a:ext cx="7886700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7771328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0C3F68-67DB-4A32-9C3D-2B7663846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226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0C3F68-67DB-4A32-9C3D-2B7663846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5370279F-85A1-7B4C-A7B3-6F4A1F58E7E6}"/>
              </a:ext>
            </a:extLst>
          </p:cNvPr>
          <p:cNvSpPr/>
          <p:nvPr userDrawn="1"/>
        </p:nvSpPr>
        <p:spPr>
          <a:xfrm>
            <a:off x="0" y="1474788"/>
            <a:ext cx="9144000" cy="2459037"/>
          </a:xfrm>
          <a:prstGeom prst="rect">
            <a:avLst/>
          </a:prstGeom>
          <a:solidFill>
            <a:srgbClr val="F5F5F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cxnSp>
        <p:nvCxnSpPr>
          <p:cNvPr id="13" name="Google Shape;44;p6">
            <a:extLst>
              <a:ext uri="{FF2B5EF4-FFF2-40B4-BE49-F238E27FC236}">
                <a16:creationId xmlns:a16="http://schemas.microsoft.com/office/drawing/2014/main" id="{0AB63359-7775-6249-8D4E-8661DDABDBE0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677863" y="968375"/>
            <a:ext cx="676275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4" name="Graphic 6">
            <a:extLst>
              <a:ext uri="{FF2B5EF4-FFF2-40B4-BE49-F238E27FC236}">
                <a16:creationId xmlns:a16="http://schemas.microsoft.com/office/drawing/2014/main" id="{4E41B788-9A54-CA4F-B82D-FADE3224D8C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532188" y="1397000"/>
            <a:ext cx="2074862" cy="2074863"/>
            <a:chOff x="3599679" y="932681"/>
            <a:chExt cx="4995947" cy="4995947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1B12AFAF-CD80-1F47-82CF-5615744EA87E}"/>
                </a:ext>
              </a:extLst>
            </p:cNvPr>
            <p:cNvSpPr/>
            <p:nvPr/>
          </p:nvSpPr>
          <p:spPr>
            <a:xfrm rot="9600000">
              <a:off x="4150112" y="1483114"/>
              <a:ext cx="3895080" cy="3895081"/>
            </a:xfrm>
            <a:custGeom>
              <a:avLst/>
              <a:gdLst>
                <a:gd name="connsiteX0" fmla="*/ 1948995 w 3897868"/>
                <a:gd name="connsiteY0" fmla="*/ 60 h 3897867"/>
                <a:gd name="connsiteX1" fmla="*/ 3897929 w 3897868"/>
                <a:gd name="connsiteY1" fmla="*/ 1948994 h 3897867"/>
                <a:gd name="connsiteX2" fmla="*/ 1949223 w 3897868"/>
                <a:gd name="connsiteY2" fmla="*/ 3897927 h 3897867"/>
                <a:gd name="connsiteX3" fmla="*/ 1948995 w 3897868"/>
                <a:gd name="connsiteY3" fmla="*/ 3897927 h 3897867"/>
                <a:gd name="connsiteX4" fmla="*/ 61 w 3897868"/>
                <a:gd name="connsiteY4" fmla="*/ 1948994 h 3897867"/>
                <a:gd name="connsiteX5" fmla="*/ 595265 w 3897868"/>
                <a:gd name="connsiteY5" fmla="*/ 546940 h 3897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97868" h="3897867">
                  <a:moveTo>
                    <a:pt x="1948995" y="60"/>
                  </a:moveTo>
                  <a:cubicBezTo>
                    <a:pt x="3025358" y="60"/>
                    <a:pt x="3897929" y="872631"/>
                    <a:pt x="3897929" y="1948994"/>
                  </a:cubicBezTo>
                  <a:cubicBezTo>
                    <a:pt x="3897992" y="3025297"/>
                    <a:pt x="3025526" y="3897865"/>
                    <a:pt x="1949223" y="3897927"/>
                  </a:cubicBezTo>
                  <a:cubicBezTo>
                    <a:pt x="1949147" y="3897927"/>
                    <a:pt x="1949071" y="3897927"/>
                    <a:pt x="1948995" y="3897927"/>
                  </a:cubicBezTo>
                  <a:cubicBezTo>
                    <a:pt x="872632" y="3897927"/>
                    <a:pt x="61" y="3025356"/>
                    <a:pt x="61" y="1948994"/>
                  </a:cubicBezTo>
                  <a:cubicBezTo>
                    <a:pt x="-518" y="1420135"/>
                    <a:pt x="214403" y="913868"/>
                    <a:pt x="595265" y="546940"/>
                  </a:cubicBezTo>
                </a:path>
              </a:pathLst>
            </a:custGeom>
            <a:noFill/>
            <a:ln w="28521" cap="flat">
              <a:solidFill>
                <a:srgbClr val="AB003A"/>
              </a:solidFill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grpSp>
          <p:nvGrpSpPr>
            <p:cNvPr id="16" name="Graphic 6">
              <a:extLst>
                <a:ext uri="{FF2B5EF4-FFF2-40B4-BE49-F238E27FC236}">
                  <a16:creationId xmlns:a16="http://schemas.microsoft.com/office/drawing/2014/main" id="{9037EC33-F6DF-194B-A88C-71E3F2E319E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81804" y="4486301"/>
              <a:ext cx="1007741" cy="785277"/>
              <a:chOff x="6981804" y="4486301"/>
              <a:chExt cx="1007741" cy="785277"/>
            </a:xfrm>
          </p:grpSpPr>
          <p:grpSp>
            <p:nvGrpSpPr>
              <p:cNvPr id="17" name="Graphic 6">
                <a:extLst>
                  <a:ext uri="{FF2B5EF4-FFF2-40B4-BE49-F238E27FC236}">
                    <a16:creationId xmlns:a16="http://schemas.microsoft.com/office/drawing/2014/main" id="{0E41743F-CCB2-4649-A79D-201CAF21F1E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981804" y="4486301"/>
                <a:ext cx="439470" cy="785277"/>
                <a:chOff x="6981804" y="4486301"/>
                <a:chExt cx="439470" cy="785277"/>
              </a:xfrm>
            </p:grpSpPr>
            <p:sp>
              <p:nvSpPr>
                <p:cNvPr id="21" name="Freeform 20">
                  <a:extLst>
                    <a:ext uri="{FF2B5EF4-FFF2-40B4-BE49-F238E27FC236}">
                      <a16:creationId xmlns:a16="http://schemas.microsoft.com/office/drawing/2014/main" id="{8FB90AE3-EDDA-0A43-9EFF-70A3192CFF72}"/>
                    </a:ext>
                  </a:extLst>
                </p:cNvPr>
                <p:cNvSpPr/>
                <p:nvPr/>
              </p:nvSpPr>
              <p:spPr>
                <a:xfrm>
                  <a:off x="6982550" y="4487563"/>
                  <a:ext cx="439583" cy="783604"/>
                </a:xfrm>
                <a:custGeom>
                  <a:avLst/>
                  <a:gdLst>
                    <a:gd name="connsiteX0" fmla="*/ 358 w 439470"/>
                    <a:gd name="connsiteY0" fmla="*/ 701098 h 785277"/>
                    <a:gd name="connsiteX1" fmla="*/ 192104 w 439470"/>
                    <a:gd name="connsiteY1" fmla="*/ 429940 h 785277"/>
                    <a:gd name="connsiteX2" fmla="*/ 358 w 439470"/>
                    <a:gd name="connsiteY2" fmla="*/ 429940 h 785277"/>
                    <a:gd name="connsiteX3" fmla="*/ 358 w 439470"/>
                    <a:gd name="connsiteY3" fmla="*/ 376 h 785277"/>
                    <a:gd name="connsiteX4" fmla="*/ 439828 w 439470"/>
                    <a:gd name="connsiteY4" fmla="*/ 376 h 785277"/>
                    <a:gd name="connsiteX5" fmla="*/ 439828 w 439470"/>
                    <a:gd name="connsiteY5" fmla="*/ 429940 h 785277"/>
                    <a:gd name="connsiteX6" fmla="*/ 439419 w 439470"/>
                    <a:gd name="connsiteY6" fmla="*/ 429940 h 785277"/>
                    <a:gd name="connsiteX7" fmla="*/ 53549 w 439470"/>
                    <a:gd name="connsiteY7" fmla="*/ 785653 h 785277"/>
                    <a:gd name="connsiteX8" fmla="*/ 358 w 439470"/>
                    <a:gd name="connsiteY8" fmla="*/ 701098 h 785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39470" h="785277">
                      <a:moveTo>
                        <a:pt x="358" y="701098"/>
                      </a:moveTo>
                      <a:cubicBezTo>
                        <a:pt x="181228" y="646138"/>
                        <a:pt x="191895" y="467473"/>
                        <a:pt x="192104" y="429940"/>
                      </a:cubicBezTo>
                      <a:lnTo>
                        <a:pt x="358" y="429940"/>
                      </a:lnTo>
                      <a:lnTo>
                        <a:pt x="358" y="376"/>
                      </a:lnTo>
                      <a:lnTo>
                        <a:pt x="439828" y="376"/>
                      </a:lnTo>
                      <a:lnTo>
                        <a:pt x="439828" y="429940"/>
                      </a:lnTo>
                      <a:lnTo>
                        <a:pt x="439419" y="429940"/>
                      </a:lnTo>
                      <a:cubicBezTo>
                        <a:pt x="434827" y="581063"/>
                        <a:pt x="256970" y="748072"/>
                        <a:pt x="53549" y="785653"/>
                      </a:cubicBezTo>
                      <a:cubicBezTo>
                        <a:pt x="55917" y="783058"/>
                        <a:pt x="1204" y="704397"/>
                        <a:pt x="358" y="701098"/>
                      </a:cubicBezTo>
                      <a:close/>
                    </a:path>
                  </a:pathLst>
                </a:custGeom>
                <a:noFill/>
                <a:ln w="9507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70">
                    <a:latin typeface="Avenir Next" panose="020B0503020202020204" pitchFamily="34" charset="0"/>
                  </a:endParaRPr>
                </a:p>
              </p:txBody>
            </p:sp>
            <p:sp>
              <p:nvSpPr>
                <p:cNvPr id="22" name="Freeform 21">
                  <a:extLst>
                    <a:ext uri="{FF2B5EF4-FFF2-40B4-BE49-F238E27FC236}">
                      <a16:creationId xmlns:a16="http://schemas.microsoft.com/office/drawing/2014/main" id="{13DC8F0E-E421-1140-A9F5-400E7173197B}"/>
                    </a:ext>
                  </a:extLst>
                </p:cNvPr>
                <p:cNvSpPr/>
                <p:nvPr/>
              </p:nvSpPr>
              <p:spPr>
                <a:xfrm>
                  <a:off x="6982550" y="4487563"/>
                  <a:ext cx="439583" cy="783604"/>
                </a:xfrm>
                <a:custGeom>
                  <a:avLst/>
                  <a:gdLst>
                    <a:gd name="connsiteX0" fmla="*/ 72892 w 439465"/>
                    <a:gd name="connsiteY0" fmla="*/ 742593 h 785258"/>
                    <a:gd name="connsiteX1" fmla="*/ 181636 w 439465"/>
                    <a:gd name="connsiteY1" fmla="*/ 701637 h 785258"/>
                    <a:gd name="connsiteX2" fmla="*/ 295190 w 439465"/>
                    <a:gd name="connsiteY2" fmla="*/ 622487 h 785258"/>
                    <a:gd name="connsiteX3" fmla="*/ 401402 w 439465"/>
                    <a:gd name="connsiteY3" fmla="*/ 428789 h 785258"/>
                    <a:gd name="connsiteX4" fmla="*/ 401796 w 439465"/>
                    <a:gd name="connsiteY4" fmla="*/ 415812 h 785258"/>
                    <a:gd name="connsiteX5" fmla="*/ 401796 w 439465"/>
                    <a:gd name="connsiteY5" fmla="*/ 38404 h 785258"/>
                    <a:gd name="connsiteX6" fmla="*/ 38386 w 439465"/>
                    <a:gd name="connsiteY6" fmla="*/ 38404 h 785258"/>
                    <a:gd name="connsiteX7" fmla="*/ 38386 w 439465"/>
                    <a:gd name="connsiteY7" fmla="*/ 391914 h 785258"/>
                    <a:gd name="connsiteX8" fmla="*/ 192107 w 439465"/>
                    <a:gd name="connsiteY8" fmla="*/ 391914 h 785258"/>
                    <a:gd name="connsiteX9" fmla="*/ 230353 w 439465"/>
                    <a:gd name="connsiteY9" fmla="*/ 391914 h 785258"/>
                    <a:gd name="connsiteX10" fmla="*/ 230134 w 439465"/>
                    <a:gd name="connsiteY10" fmla="*/ 430160 h 785258"/>
                    <a:gd name="connsiteX11" fmla="*/ 198655 w 439465"/>
                    <a:gd name="connsiteY11" fmla="*/ 574594 h 785258"/>
                    <a:gd name="connsiteX12" fmla="*/ 132755 w 439465"/>
                    <a:gd name="connsiteY12" fmla="*/ 668422 h 785258"/>
                    <a:gd name="connsiteX13" fmla="*/ 57830 w 439465"/>
                    <a:gd name="connsiteY13" fmla="*/ 719566 h 785258"/>
                    <a:gd name="connsiteX14" fmla="*/ 72892 w 439465"/>
                    <a:gd name="connsiteY14" fmla="*/ 742593 h 785258"/>
                    <a:gd name="connsiteX15" fmla="*/ 53545 w 439465"/>
                    <a:gd name="connsiteY15" fmla="*/ 785634 h 785258"/>
                    <a:gd name="connsiteX16" fmla="*/ 358 w 439465"/>
                    <a:gd name="connsiteY16" fmla="*/ 701102 h 785258"/>
                    <a:gd name="connsiteX17" fmla="*/ 192107 w 439465"/>
                    <a:gd name="connsiteY17" fmla="*/ 429942 h 785258"/>
                    <a:gd name="connsiteX18" fmla="*/ 358 w 439465"/>
                    <a:gd name="connsiteY18" fmla="*/ 429942 h 785258"/>
                    <a:gd name="connsiteX19" fmla="*/ 358 w 439465"/>
                    <a:gd name="connsiteY19" fmla="*/ 376 h 785258"/>
                    <a:gd name="connsiteX20" fmla="*/ 439824 w 439465"/>
                    <a:gd name="connsiteY20" fmla="*/ 376 h 785258"/>
                    <a:gd name="connsiteX21" fmla="*/ 439824 w 439465"/>
                    <a:gd name="connsiteY21" fmla="*/ 429942 h 785258"/>
                    <a:gd name="connsiteX22" fmla="*/ 439413 w 439465"/>
                    <a:gd name="connsiteY22" fmla="*/ 429942 h 785258"/>
                    <a:gd name="connsiteX23" fmla="*/ 53545 w 439465"/>
                    <a:gd name="connsiteY23" fmla="*/ 785634 h 785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439465" h="785258">
                      <a:moveTo>
                        <a:pt x="72892" y="742593"/>
                      </a:moveTo>
                      <a:cubicBezTo>
                        <a:pt x="109820" y="733525"/>
                        <a:pt x="146290" y="719797"/>
                        <a:pt x="181636" y="701637"/>
                      </a:cubicBezTo>
                      <a:cubicBezTo>
                        <a:pt x="223588" y="680084"/>
                        <a:pt x="261793" y="653454"/>
                        <a:pt x="295190" y="622487"/>
                      </a:cubicBezTo>
                      <a:cubicBezTo>
                        <a:pt x="360802" y="561650"/>
                        <a:pt x="399514" y="491050"/>
                        <a:pt x="401402" y="428789"/>
                      </a:cubicBezTo>
                      <a:lnTo>
                        <a:pt x="401796" y="415812"/>
                      </a:lnTo>
                      <a:lnTo>
                        <a:pt x="401796" y="38404"/>
                      </a:lnTo>
                      <a:lnTo>
                        <a:pt x="38386" y="38404"/>
                      </a:lnTo>
                      <a:lnTo>
                        <a:pt x="38386" y="391914"/>
                      </a:lnTo>
                      <a:lnTo>
                        <a:pt x="192107" y="391914"/>
                      </a:lnTo>
                      <a:lnTo>
                        <a:pt x="230353" y="391914"/>
                      </a:lnTo>
                      <a:lnTo>
                        <a:pt x="230134" y="430160"/>
                      </a:lnTo>
                      <a:cubicBezTo>
                        <a:pt x="230004" y="452843"/>
                        <a:pt x="226676" y="512324"/>
                        <a:pt x="198655" y="574594"/>
                      </a:cubicBezTo>
                      <a:cubicBezTo>
                        <a:pt x="182329" y="610875"/>
                        <a:pt x="160157" y="642444"/>
                        <a:pt x="132755" y="668422"/>
                      </a:cubicBezTo>
                      <a:cubicBezTo>
                        <a:pt x="110978" y="689069"/>
                        <a:pt x="85898" y="706177"/>
                        <a:pt x="57830" y="719566"/>
                      </a:cubicBezTo>
                      <a:cubicBezTo>
                        <a:pt x="63057" y="727452"/>
                        <a:pt x="68302" y="735429"/>
                        <a:pt x="72892" y="742593"/>
                      </a:cubicBezTo>
                      <a:moveTo>
                        <a:pt x="53545" y="785634"/>
                      </a:moveTo>
                      <a:cubicBezTo>
                        <a:pt x="55918" y="783053"/>
                        <a:pt x="1201" y="704394"/>
                        <a:pt x="358" y="701102"/>
                      </a:cubicBezTo>
                      <a:cubicBezTo>
                        <a:pt x="181225" y="646141"/>
                        <a:pt x="191891" y="467481"/>
                        <a:pt x="192107" y="429942"/>
                      </a:cubicBezTo>
                      <a:lnTo>
                        <a:pt x="358" y="429942"/>
                      </a:lnTo>
                      <a:lnTo>
                        <a:pt x="358" y="376"/>
                      </a:lnTo>
                      <a:lnTo>
                        <a:pt x="439824" y="376"/>
                      </a:lnTo>
                      <a:lnTo>
                        <a:pt x="439824" y="429942"/>
                      </a:lnTo>
                      <a:lnTo>
                        <a:pt x="439413" y="429942"/>
                      </a:lnTo>
                      <a:cubicBezTo>
                        <a:pt x="434831" y="581060"/>
                        <a:pt x="256974" y="748073"/>
                        <a:pt x="53545" y="785634"/>
                      </a:cubicBezTo>
                      <a:close/>
                    </a:path>
                  </a:pathLst>
                </a:custGeom>
                <a:solidFill>
                  <a:srgbClr val="AB003A"/>
                </a:solidFill>
                <a:ln w="9507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70">
                    <a:latin typeface="Avenir Next" panose="020B0503020202020204" pitchFamily="34" charset="0"/>
                  </a:endParaRPr>
                </a:p>
              </p:txBody>
            </p:sp>
          </p:grpSp>
          <p:grpSp>
            <p:nvGrpSpPr>
              <p:cNvPr id="18" name="Graphic 6">
                <a:extLst>
                  <a:ext uri="{FF2B5EF4-FFF2-40B4-BE49-F238E27FC236}">
                    <a16:creationId xmlns:a16="http://schemas.microsoft.com/office/drawing/2014/main" id="{10606116-C0B0-C545-B6AB-95118DBD3C6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550075" y="4486301"/>
                <a:ext cx="439470" cy="785277"/>
                <a:chOff x="7550075" y="4486301"/>
                <a:chExt cx="439470" cy="785277"/>
              </a:xfrm>
            </p:grpSpPr>
            <p:sp>
              <p:nvSpPr>
                <p:cNvPr id="19" name="Freeform 18">
                  <a:extLst>
                    <a:ext uri="{FF2B5EF4-FFF2-40B4-BE49-F238E27FC236}">
                      <a16:creationId xmlns:a16="http://schemas.microsoft.com/office/drawing/2014/main" id="{3538E48F-F766-E442-A6DD-F91D48C70F3D}"/>
                    </a:ext>
                  </a:extLst>
                </p:cNvPr>
                <p:cNvSpPr/>
                <p:nvPr/>
              </p:nvSpPr>
              <p:spPr>
                <a:xfrm>
                  <a:off x="7548274" y="4487563"/>
                  <a:ext cx="439583" cy="783604"/>
                </a:xfrm>
                <a:custGeom>
                  <a:avLst/>
                  <a:gdLst>
                    <a:gd name="connsiteX0" fmla="*/ 417 w 439470"/>
                    <a:gd name="connsiteY0" fmla="*/ 701098 h 785277"/>
                    <a:gd name="connsiteX1" fmla="*/ 192164 w 439470"/>
                    <a:gd name="connsiteY1" fmla="*/ 429940 h 785277"/>
                    <a:gd name="connsiteX2" fmla="*/ 417 w 439470"/>
                    <a:gd name="connsiteY2" fmla="*/ 429940 h 785277"/>
                    <a:gd name="connsiteX3" fmla="*/ 417 w 439470"/>
                    <a:gd name="connsiteY3" fmla="*/ 376 h 785277"/>
                    <a:gd name="connsiteX4" fmla="*/ 439888 w 439470"/>
                    <a:gd name="connsiteY4" fmla="*/ 376 h 785277"/>
                    <a:gd name="connsiteX5" fmla="*/ 439888 w 439470"/>
                    <a:gd name="connsiteY5" fmla="*/ 429940 h 785277"/>
                    <a:gd name="connsiteX6" fmla="*/ 439479 w 439470"/>
                    <a:gd name="connsiteY6" fmla="*/ 429940 h 785277"/>
                    <a:gd name="connsiteX7" fmla="*/ 53609 w 439470"/>
                    <a:gd name="connsiteY7" fmla="*/ 785653 h 785277"/>
                    <a:gd name="connsiteX8" fmla="*/ 417 w 439470"/>
                    <a:gd name="connsiteY8" fmla="*/ 701098 h 785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39470" h="785277">
                      <a:moveTo>
                        <a:pt x="417" y="701098"/>
                      </a:moveTo>
                      <a:cubicBezTo>
                        <a:pt x="181288" y="646138"/>
                        <a:pt x="191955" y="467473"/>
                        <a:pt x="192164" y="429940"/>
                      </a:cubicBezTo>
                      <a:lnTo>
                        <a:pt x="417" y="429940"/>
                      </a:lnTo>
                      <a:lnTo>
                        <a:pt x="417" y="376"/>
                      </a:lnTo>
                      <a:lnTo>
                        <a:pt x="439888" y="376"/>
                      </a:lnTo>
                      <a:lnTo>
                        <a:pt x="439888" y="429940"/>
                      </a:lnTo>
                      <a:lnTo>
                        <a:pt x="439479" y="429940"/>
                      </a:lnTo>
                      <a:cubicBezTo>
                        <a:pt x="434887" y="581063"/>
                        <a:pt x="257030" y="748072"/>
                        <a:pt x="53609" y="785653"/>
                      </a:cubicBezTo>
                      <a:cubicBezTo>
                        <a:pt x="55976" y="783058"/>
                        <a:pt x="1264" y="704397"/>
                        <a:pt x="417" y="701098"/>
                      </a:cubicBezTo>
                      <a:close/>
                    </a:path>
                  </a:pathLst>
                </a:custGeom>
                <a:noFill/>
                <a:ln w="9507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70">
                    <a:latin typeface="Avenir Next" panose="020B0503020202020204" pitchFamily="34" charset="0"/>
                  </a:endParaRPr>
                </a:p>
              </p:txBody>
            </p:sp>
            <p:sp>
              <p:nvSpPr>
                <p:cNvPr id="20" name="Freeform 19">
                  <a:extLst>
                    <a:ext uri="{FF2B5EF4-FFF2-40B4-BE49-F238E27FC236}">
                      <a16:creationId xmlns:a16="http://schemas.microsoft.com/office/drawing/2014/main" id="{557AF763-EF74-174E-8738-697299D998CA}"/>
                    </a:ext>
                  </a:extLst>
                </p:cNvPr>
                <p:cNvSpPr/>
                <p:nvPr/>
              </p:nvSpPr>
              <p:spPr>
                <a:xfrm>
                  <a:off x="7548274" y="4487563"/>
                  <a:ext cx="439583" cy="783604"/>
                </a:xfrm>
                <a:custGeom>
                  <a:avLst/>
                  <a:gdLst>
                    <a:gd name="connsiteX0" fmla="*/ 72952 w 439465"/>
                    <a:gd name="connsiteY0" fmla="*/ 742593 h 785258"/>
                    <a:gd name="connsiteX1" fmla="*/ 181696 w 439465"/>
                    <a:gd name="connsiteY1" fmla="*/ 701637 h 785258"/>
                    <a:gd name="connsiteX2" fmla="*/ 295250 w 439465"/>
                    <a:gd name="connsiteY2" fmla="*/ 622487 h 785258"/>
                    <a:gd name="connsiteX3" fmla="*/ 401462 w 439465"/>
                    <a:gd name="connsiteY3" fmla="*/ 428789 h 785258"/>
                    <a:gd name="connsiteX4" fmla="*/ 401855 w 439465"/>
                    <a:gd name="connsiteY4" fmla="*/ 415812 h 785258"/>
                    <a:gd name="connsiteX5" fmla="*/ 401855 w 439465"/>
                    <a:gd name="connsiteY5" fmla="*/ 38404 h 785258"/>
                    <a:gd name="connsiteX6" fmla="*/ 38445 w 439465"/>
                    <a:gd name="connsiteY6" fmla="*/ 38404 h 785258"/>
                    <a:gd name="connsiteX7" fmla="*/ 38445 w 439465"/>
                    <a:gd name="connsiteY7" fmla="*/ 391914 h 785258"/>
                    <a:gd name="connsiteX8" fmla="*/ 192166 w 439465"/>
                    <a:gd name="connsiteY8" fmla="*/ 391914 h 785258"/>
                    <a:gd name="connsiteX9" fmla="*/ 230413 w 439465"/>
                    <a:gd name="connsiteY9" fmla="*/ 391914 h 785258"/>
                    <a:gd name="connsiteX10" fmla="*/ 230194 w 439465"/>
                    <a:gd name="connsiteY10" fmla="*/ 430160 h 785258"/>
                    <a:gd name="connsiteX11" fmla="*/ 198715 w 439465"/>
                    <a:gd name="connsiteY11" fmla="*/ 574594 h 785258"/>
                    <a:gd name="connsiteX12" fmla="*/ 132815 w 439465"/>
                    <a:gd name="connsiteY12" fmla="*/ 668422 h 785258"/>
                    <a:gd name="connsiteX13" fmla="*/ 57890 w 439465"/>
                    <a:gd name="connsiteY13" fmla="*/ 719566 h 785258"/>
                    <a:gd name="connsiteX14" fmla="*/ 72952 w 439465"/>
                    <a:gd name="connsiteY14" fmla="*/ 742593 h 785258"/>
                    <a:gd name="connsiteX15" fmla="*/ 53605 w 439465"/>
                    <a:gd name="connsiteY15" fmla="*/ 785634 h 785258"/>
                    <a:gd name="connsiteX16" fmla="*/ 417 w 439465"/>
                    <a:gd name="connsiteY16" fmla="*/ 701102 h 785258"/>
                    <a:gd name="connsiteX17" fmla="*/ 192166 w 439465"/>
                    <a:gd name="connsiteY17" fmla="*/ 429942 h 785258"/>
                    <a:gd name="connsiteX18" fmla="*/ 417 w 439465"/>
                    <a:gd name="connsiteY18" fmla="*/ 429942 h 785258"/>
                    <a:gd name="connsiteX19" fmla="*/ 417 w 439465"/>
                    <a:gd name="connsiteY19" fmla="*/ 376 h 785258"/>
                    <a:gd name="connsiteX20" fmla="*/ 439883 w 439465"/>
                    <a:gd name="connsiteY20" fmla="*/ 376 h 785258"/>
                    <a:gd name="connsiteX21" fmla="*/ 439883 w 439465"/>
                    <a:gd name="connsiteY21" fmla="*/ 429942 h 785258"/>
                    <a:gd name="connsiteX22" fmla="*/ 439472 w 439465"/>
                    <a:gd name="connsiteY22" fmla="*/ 429942 h 785258"/>
                    <a:gd name="connsiteX23" fmla="*/ 53605 w 439465"/>
                    <a:gd name="connsiteY23" fmla="*/ 785634 h 785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439465" h="785258">
                      <a:moveTo>
                        <a:pt x="72952" y="742593"/>
                      </a:moveTo>
                      <a:cubicBezTo>
                        <a:pt x="109880" y="733525"/>
                        <a:pt x="146349" y="719797"/>
                        <a:pt x="181696" y="701637"/>
                      </a:cubicBezTo>
                      <a:cubicBezTo>
                        <a:pt x="223648" y="680084"/>
                        <a:pt x="261853" y="653454"/>
                        <a:pt x="295250" y="622487"/>
                      </a:cubicBezTo>
                      <a:cubicBezTo>
                        <a:pt x="360861" y="561650"/>
                        <a:pt x="399574" y="491050"/>
                        <a:pt x="401462" y="428789"/>
                      </a:cubicBezTo>
                      <a:lnTo>
                        <a:pt x="401855" y="415812"/>
                      </a:lnTo>
                      <a:lnTo>
                        <a:pt x="401855" y="38404"/>
                      </a:lnTo>
                      <a:lnTo>
                        <a:pt x="38445" y="38404"/>
                      </a:lnTo>
                      <a:lnTo>
                        <a:pt x="38445" y="391914"/>
                      </a:lnTo>
                      <a:lnTo>
                        <a:pt x="192166" y="391914"/>
                      </a:lnTo>
                      <a:lnTo>
                        <a:pt x="230413" y="391914"/>
                      </a:lnTo>
                      <a:lnTo>
                        <a:pt x="230194" y="430160"/>
                      </a:lnTo>
                      <a:cubicBezTo>
                        <a:pt x="230064" y="452843"/>
                        <a:pt x="226736" y="512324"/>
                        <a:pt x="198715" y="574594"/>
                      </a:cubicBezTo>
                      <a:cubicBezTo>
                        <a:pt x="182389" y="610875"/>
                        <a:pt x="160217" y="642444"/>
                        <a:pt x="132815" y="668422"/>
                      </a:cubicBezTo>
                      <a:cubicBezTo>
                        <a:pt x="111038" y="689069"/>
                        <a:pt x="85958" y="706177"/>
                        <a:pt x="57890" y="719566"/>
                      </a:cubicBezTo>
                      <a:cubicBezTo>
                        <a:pt x="63116" y="727452"/>
                        <a:pt x="68362" y="735429"/>
                        <a:pt x="72952" y="742593"/>
                      </a:cubicBezTo>
                      <a:moveTo>
                        <a:pt x="53605" y="785634"/>
                      </a:moveTo>
                      <a:cubicBezTo>
                        <a:pt x="55978" y="783053"/>
                        <a:pt x="1260" y="704394"/>
                        <a:pt x="417" y="701102"/>
                      </a:cubicBezTo>
                      <a:cubicBezTo>
                        <a:pt x="181285" y="646141"/>
                        <a:pt x="191951" y="467481"/>
                        <a:pt x="192166" y="429942"/>
                      </a:cubicBezTo>
                      <a:lnTo>
                        <a:pt x="417" y="429942"/>
                      </a:lnTo>
                      <a:lnTo>
                        <a:pt x="417" y="376"/>
                      </a:lnTo>
                      <a:lnTo>
                        <a:pt x="439883" y="376"/>
                      </a:lnTo>
                      <a:lnTo>
                        <a:pt x="439883" y="429942"/>
                      </a:lnTo>
                      <a:lnTo>
                        <a:pt x="439472" y="429942"/>
                      </a:lnTo>
                      <a:cubicBezTo>
                        <a:pt x="434890" y="581060"/>
                        <a:pt x="257034" y="748073"/>
                        <a:pt x="53605" y="785634"/>
                      </a:cubicBezTo>
                      <a:close/>
                    </a:path>
                  </a:pathLst>
                </a:custGeom>
                <a:solidFill>
                  <a:srgbClr val="AB003A"/>
                </a:solidFill>
                <a:ln w="9507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70">
                    <a:latin typeface="Avenir Next" panose="020B0503020202020204" pitchFamily="34" charset="0"/>
                  </a:endParaRPr>
                </a:p>
              </p:txBody>
            </p:sp>
          </p:grpSp>
        </p:grpSp>
      </p:grpSp>
      <p:grpSp>
        <p:nvGrpSpPr>
          <p:cNvPr id="23" name="Graphic 4">
            <a:extLst>
              <a:ext uri="{FF2B5EF4-FFF2-40B4-BE49-F238E27FC236}">
                <a16:creationId xmlns:a16="http://schemas.microsoft.com/office/drawing/2014/main" id="{9DA621C7-4718-0C47-85EA-6A44F9D2B577}"/>
              </a:ext>
            </a:extLst>
          </p:cNvPr>
          <p:cNvGrpSpPr>
            <a:grpSpLocks/>
          </p:cNvGrpSpPr>
          <p:nvPr userDrawn="1"/>
        </p:nvGrpSpPr>
        <p:grpSpPr bwMode="auto">
          <a:xfrm rot="10800000">
            <a:off x="3622675" y="1758950"/>
            <a:ext cx="309563" cy="268288"/>
            <a:chOff x="3623023" y="3571901"/>
            <a:chExt cx="1007494" cy="785277"/>
          </a:xfrm>
        </p:grpSpPr>
        <p:grpSp>
          <p:nvGrpSpPr>
            <p:cNvPr id="24" name="Graphic 4">
              <a:extLst>
                <a:ext uri="{FF2B5EF4-FFF2-40B4-BE49-F238E27FC236}">
                  <a16:creationId xmlns:a16="http://schemas.microsoft.com/office/drawing/2014/main" id="{0CAC023C-564C-D34A-80DE-BAF74AFB372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23023" y="3571901"/>
              <a:ext cx="439223" cy="785277"/>
              <a:chOff x="3623023" y="3571901"/>
              <a:chExt cx="439223" cy="785277"/>
            </a:xfrm>
          </p:grpSpPr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27F0CB4F-780A-3A4E-8DC1-8F89A9050D15}"/>
                  </a:ext>
                </a:extLst>
              </p:cNvPr>
              <p:cNvSpPr/>
              <p:nvPr/>
            </p:nvSpPr>
            <p:spPr>
              <a:xfrm>
                <a:off x="3623023" y="3571901"/>
                <a:ext cx="439164" cy="785277"/>
              </a:xfrm>
              <a:custGeom>
                <a:avLst/>
                <a:gdLst>
                  <a:gd name="connsiteX0" fmla="*/ 358 w 439223"/>
                  <a:gd name="connsiteY0" fmla="*/ 701041 h 785277"/>
                  <a:gd name="connsiteX1" fmla="*/ 192399 w 439223"/>
                  <a:gd name="connsiteY1" fmla="*/ 430092 h 785277"/>
                  <a:gd name="connsiteX2" fmla="*/ 358 w 439223"/>
                  <a:gd name="connsiteY2" fmla="*/ 430092 h 785277"/>
                  <a:gd name="connsiteX3" fmla="*/ 358 w 439223"/>
                  <a:gd name="connsiteY3" fmla="*/ 376 h 785277"/>
                  <a:gd name="connsiteX4" fmla="*/ 439581 w 439223"/>
                  <a:gd name="connsiteY4" fmla="*/ 376 h 785277"/>
                  <a:gd name="connsiteX5" fmla="*/ 439581 w 439223"/>
                  <a:gd name="connsiteY5" fmla="*/ 430092 h 785277"/>
                  <a:gd name="connsiteX6" fmla="*/ 439581 w 439223"/>
                  <a:gd name="connsiteY6" fmla="*/ 430092 h 785277"/>
                  <a:gd name="connsiteX7" fmla="*/ 53597 w 439223"/>
                  <a:gd name="connsiteY7" fmla="*/ 785653 h 785277"/>
                  <a:gd name="connsiteX8" fmla="*/ 358 w 439223"/>
                  <a:gd name="connsiteY8" fmla="*/ 701041 h 78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9223" h="785277">
                    <a:moveTo>
                      <a:pt x="358" y="701041"/>
                    </a:moveTo>
                    <a:cubicBezTo>
                      <a:pt x="180991" y="645901"/>
                      <a:pt x="191448" y="467169"/>
                      <a:pt x="192399" y="430092"/>
                    </a:cubicBezTo>
                    <a:lnTo>
                      <a:pt x="358" y="430092"/>
                    </a:lnTo>
                    <a:lnTo>
                      <a:pt x="358" y="376"/>
                    </a:lnTo>
                    <a:lnTo>
                      <a:pt x="439581" y="376"/>
                    </a:lnTo>
                    <a:lnTo>
                      <a:pt x="439581" y="430092"/>
                    </a:lnTo>
                    <a:lnTo>
                      <a:pt x="439581" y="430092"/>
                    </a:lnTo>
                    <a:cubicBezTo>
                      <a:pt x="434827" y="581253"/>
                      <a:pt x="257047" y="747625"/>
                      <a:pt x="53597" y="785653"/>
                    </a:cubicBezTo>
                    <a:cubicBezTo>
                      <a:pt x="55498" y="782801"/>
                      <a:pt x="1308" y="704844"/>
                      <a:pt x="358" y="701041"/>
                    </a:cubicBezTo>
                    <a:close/>
                  </a:path>
                </a:pathLst>
              </a:custGeom>
              <a:noFill/>
              <a:ln w="9507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0">
                  <a:latin typeface="Avenir Next" panose="020B0503020202020204" pitchFamily="34" charset="0"/>
                </a:endParaRPr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EB76968F-9CCA-734A-BF91-44BC8C99B0F5}"/>
                  </a:ext>
                </a:extLst>
              </p:cNvPr>
              <p:cNvSpPr/>
              <p:nvPr/>
            </p:nvSpPr>
            <p:spPr>
              <a:xfrm>
                <a:off x="3623023" y="3571901"/>
                <a:ext cx="439164" cy="785277"/>
              </a:xfrm>
              <a:custGeom>
                <a:avLst/>
                <a:gdLst>
                  <a:gd name="connsiteX0" fmla="*/ 53597 w 439223"/>
                  <a:gd name="connsiteY0" fmla="*/ 785653 h 785277"/>
                  <a:gd name="connsiteX1" fmla="*/ 358 w 439223"/>
                  <a:gd name="connsiteY1" fmla="*/ 701041 h 785277"/>
                  <a:gd name="connsiteX2" fmla="*/ 192399 w 439223"/>
                  <a:gd name="connsiteY2" fmla="*/ 430092 h 785277"/>
                  <a:gd name="connsiteX3" fmla="*/ 358 w 439223"/>
                  <a:gd name="connsiteY3" fmla="*/ 430092 h 785277"/>
                  <a:gd name="connsiteX4" fmla="*/ 358 w 439223"/>
                  <a:gd name="connsiteY4" fmla="*/ 376 h 785277"/>
                  <a:gd name="connsiteX5" fmla="*/ 439581 w 439223"/>
                  <a:gd name="connsiteY5" fmla="*/ 376 h 785277"/>
                  <a:gd name="connsiteX6" fmla="*/ 439581 w 439223"/>
                  <a:gd name="connsiteY6" fmla="*/ 430092 h 785277"/>
                  <a:gd name="connsiteX7" fmla="*/ 439581 w 439223"/>
                  <a:gd name="connsiteY7" fmla="*/ 430092 h 785277"/>
                  <a:gd name="connsiteX8" fmla="*/ 53597 w 439223"/>
                  <a:gd name="connsiteY8" fmla="*/ 785653 h 78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9223" h="785277">
                    <a:moveTo>
                      <a:pt x="53597" y="785653"/>
                    </a:moveTo>
                    <a:cubicBezTo>
                      <a:pt x="55498" y="782801"/>
                      <a:pt x="1308" y="704844"/>
                      <a:pt x="358" y="701041"/>
                    </a:cubicBezTo>
                    <a:cubicBezTo>
                      <a:pt x="180991" y="645901"/>
                      <a:pt x="191448" y="467169"/>
                      <a:pt x="192399" y="430092"/>
                    </a:cubicBezTo>
                    <a:lnTo>
                      <a:pt x="358" y="430092"/>
                    </a:lnTo>
                    <a:lnTo>
                      <a:pt x="358" y="376"/>
                    </a:lnTo>
                    <a:lnTo>
                      <a:pt x="439581" y="376"/>
                    </a:lnTo>
                    <a:lnTo>
                      <a:pt x="439581" y="430092"/>
                    </a:lnTo>
                    <a:lnTo>
                      <a:pt x="439581" y="430092"/>
                    </a:lnTo>
                    <a:cubicBezTo>
                      <a:pt x="434827" y="581253"/>
                      <a:pt x="257047" y="747625"/>
                      <a:pt x="53597" y="785653"/>
                    </a:cubicBezTo>
                    <a:close/>
                  </a:path>
                </a:pathLst>
              </a:custGeom>
              <a:solidFill>
                <a:srgbClr val="AB003A"/>
              </a:solidFill>
              <a:ln w="9507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0">
                  <a:latin typeface="Avenir Next" panose="020B0503020202020204" pitchFamily="34" charset="0"/>
                </a:endParaRPr>
              </a:p>
            </p:txBody>
          </p:sp>
        </p:grpSp>
        <p:grpSp>
          <p:nvGrpSpPr>
            <p:cNvPr id="25" name="Graphic 4">
              <a:extLst>
                <a:ext uri="{FF2B5EF4-FFF2-40B4-BE49-F238E27FC236}">
                  <a16:creationId xmlns:a16="http://schemas.microsoft.com/office/drawing/2014/main" id="{16A2374D-3372-554C-B510-50AD13A7DEC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191294" y="3571901"/>
              <a:ext cx="439223" cy="785277"/>
              <a:chOff x="4191294" y="3571901"/>
              <a:chExt cx="439223" cy="785277"/>
            </a:xfrm>
          </p:grpSpPr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F818D427-B44C-4B4C-AB19-562FA93EC3A5}"/>
                  </a:ext>
                </a:extLst>
              </p:cNvPr>
              <p:cNvSpPr/>
              <p:nvPr/>
            </p:nvSpPr>
            <p:spPr>
              <a:xfrm>
                <a:off x="4191353" y="3571901"/>
                <a:ext cx="439164" cy="785277"/>
              </a:xfrm>
              <a:custGeom>
                <a:avLst/>
                <a:gdLst>
                  <a:gd name="connsiteX0" fmla="*/ 417 w 439223"/>
                  <a:gd name="connsiteY0" fmla="*/ 701041 h 785277"/>
                  <a:gd name="connsiteX1" fmla="*/ 192459 w 439223"/>
                  <a:gd name="connsiteY1" fmla="*/ 430092 h 785277"/>
                  <a:gd name="connsiteX2" fmla="*/ 417 w 439223"/>
                  <a:gd name="connsiteY2" fmla="*/ 430092 h 785277"/>
                  <a:gd name="connsiteX3" fmla="*/ 417 w 439223"/>
                  <a:gd name="connsiteY3" fmla="*/ 376 h 785277"/>
                  <a:gd name="connsiteX4" fmla="*/ 439641 w 439223"/>
                  <a:gd name="connsiteY4" fmla="*/ 376 h 785277"/>
                  <a:gd name="connsiteX5" fmla="*/ 439641 w 439223"/>
                  <a:gd name="connsiteY5" fmla="*/ 430092 h 785277"/>
                  <a:gd name="connsiteX6" fmla="*/ 439641 w 439223"/>
                  <a:gd name="connsiteY6" fmla="*/ 430092 h 785277"/>
                  <a:gd name="connsiteX7" fmla="*/ 53657 w 439223"/>
                  <a:gd name="connsiteY7" fmla="*/ 785653 h 785277"/>
                  <a:gd name="connsiteX8" fmla="*/ 417 w 439223"/>
                  <a:gd name="connsiteY8" fmla="*/ 701041 h 78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9223" h="785277">
                    <a:moveTo>
                      <a:pt x="417" y="701041"/>
                    </a:moveTo>
                    <a:cubicBezTo>
                      <a:pt x="181050" y="645901"/>
                      <a:pt x="191508" y="467169"/>
                      <a:pt x="192459" y="430092"/>
                    </a:cubicBezTo>
                    <a:lnTo>
                      <a:pt x="417" y="430092"/>
                    </a:lnTo>
                    <a:lnTo>
                      <a:pt x="417" y="376"/>
                    </a:lnTo>
                    <a:lnTo>
                      <a:pt x="439641" y="376"/>
                    </a:lnTo>
                    <a:lnTo>
                      <a:pt x="439641" y="430092"/>
                    </a:lnTo>
                    <a:lnTo>
                      <a:pt x="439641" y="430092"/>
                    </a:lnTo>
                    <a:cubicBezTo>
                      <a:pt x="434887" y="581253"/>
                      <a:pt x="257106" y="747625"/>
                      <a:pt x="53657" y="785653"/>
                    </a:cubicBezTo>
                    <a:cubicBezTo>
                      <a:pt x="55558" y="782801"/>
                      <a:pt x="1368" y="704844"/>
                      <a:pt x="417" y="701041"/>
                    </a:cubicBezTo>
                    <a:close/>
                  </a:path>
                </a:pathLst>
              </a:custGeom>
              <a:noFill/>
              <a:ln w="9507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0">
                  <a:latin typeface="Avenir Next" panose="020B0503020202020204" pitchFamily="34" charset="0"/>
                </a:endParaRPr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0B0BB583-09FE-2B4D-AEB4-39204E07DBEA}"/>
                  </a:ext>
                </a:extLst>
              </p:cNvPr>
              <p:cNvSpPr/>
              <p:nvPr/>
            </p:nvSpPr>
            <p:spPr>
              <a:xfrm>
                <a:off x="4191353" y="3571901"/>
                <a:ext cx="439164" cy="785277"/>
              </a:xfrm>
              <a:custGeom>
                <a:avLst/>
                <a:gdLst>
                  <a:gd name="connsiteX0" fmla="*/ 53657 w 439223"/>
                  <a:gd name="connsiteY0" fmla="*/ 785653 h 785277"/>
                  <a:gd name="connsiteX1" fmla="*/ 417 w 439223"/>
                  <a:gd name="connsiteY1" fmla="*/ 701041 h 785277"/>
                  <a:gd name="connsiteX2" fmla="*/ 192459 w 439223"/>
                  <a:gd name="connsiteY2" fmla="*/ 430092 h 785277"/>
                  <a:gd name="connsiteX3" fmla="*/ 417 w 439223"/>
                  <a:gd name="connsiteY3" fmla="*/ 430092 h 785277"/>
                  <a:gd name="connsiteX4" fmla="*/ 417 w 439223"/>
                  <a:gd name="connsiteY4" fmla="*/ 376 h 785277"/>
                  <a:gd name="connsiteX5" fmla="*/ 439641 w 439223"/>
                  <a:gd name="connsiteY5" fmla="*/ 376 h 785277"/>
                  <a:gd name="connsiteX6" fmla="*/ 439641 w 439223"/>
                  <a:gd name="connsiteY6" fmla="*/ 430092 h 785277"/>
                  <a:gd name="connsiteX7" fmla="*/ 439641 w 439223"/>
                  <a:gd name="connsiteY7" fmla="*/ 430092 h 785277"/>
                  <a:gd name="connsiteX8" fmla="*/ 53657 w 439223"/>
                  <a:gd name="connsiteY8" fmla="*/ 785653 h 78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9223" h="785277">
                    <a:moveTo>
                      <a:pt x="53657" y="785653"/>
                    </a:moveTo>
                    <a:cubicBezTo>
                      <a:pt x="55558" y="782801"/>
                      <a:pt x="1368" y="704844"/>
                      <a:pt x="417" y="701041"/>
                    </a:cubicBezTo>
                    <a:cubicBezTo>
                      <a:pt x="181050" y="645901"/>
                      <a:pt x="191508" y="467169"/>
                      <a:pt x="192459" y="430092"/>
                    </a:cubicBezTo>
                    <a:lnTo>
                      <a:pt x="417" y="430092"/>
                    </a:lnTo>
                    <a:lnTo>
                      <a:pt x="417" y="376"/>
                    </a:lnTo>
                    <a:lnTo>
                      <a:pt x="439641" y="376"/>
                    </a:lnTo>
                    <a:lnTo>
                      <a:pt x="439641" y="430092"/>
                    </a:lnTo>
                    <a:lnTo>
                      <a:pt x="439641" y="430092"/>
                    </a:lnTo>
                    <a:cubicBezTo>
                      <a:pt x="434887" y="581253"/>
                      <a:pt x="257106" y="747625"/>
                      <a:pt x="53657" y="785653"/>
                    </a:cubicBezTo>
                    <a:close/>
                  </a:path>
                </a:pathLst>
              </a:custGeom>
              <a:solidFill>
                <a:srgbClr val="AB003A"/>
              </a:solidFill>
              <a:ln w="9507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0">
                  <a:latin typeface="Avenir Next" panose="020B0503020202020204" pitchFamily="34" charset="0"/>
                </a:endParaRPr>
              </a:p>
            </p:txBody>
          </p:sp>
        </p:grpSp>
      </p:grpSp>
      <p:sp>
        <p:nvSpPr>
          <p:cNvPr id="8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1916908" y="4027679"/>
            <a:ext cx="5310187" cy="124883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50000"/>
              </a:lnSpc>
              <a:buFont typeface="Arial" panose="020B0604020202020204" pitchFamily="34" charset="0"/>
              <a:buNone/>
              <a:defRPr sz="14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746701" y="3316590"/>
            <a:ext cx="1650602" cy="213196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200" b="1" i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3448252" y="3529784"/>
            <a:ext cx="2247500" cy="309269"/>
          </a:xfrm>
          <a:prstGeom prst="rect">
            <a:avLst/>
          </a:prstGeom>
        </p:spPr>
        <p:txBody>
          <a:bodyPr/>
          <a:lstStyle>
            <a:lvl1pPr algn="ctr">
              <a:buFont typeface="Arial" panose="020B0604020202020204" pitchFamily="34" charset="0"/>
              <a:buNone/>
              <a:defRPr sz="1000" b="0" i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21"/>
          <p:cNvSpPr>
            <a:spLocks noGrp="1"/>
          </p:cNvSpPr>
          <p:nvPr>
            <p:ph type="pic" sz="quarter" idx="12"/>
          </p:nvPr>
        </p:nvSpPr>
        <p:spPr>
          <a:xfrm>
            <a:off x="3852000" y="1705512"/>
            <a:ext cx="1440000" cy="1440000"/>
          </a:xfrm>
          <a:custGeom>
            <a:avLst/>
            <a:gdLst>
              <a:gd name="connsiteX0" fmla="*/ 1382865 w 2765730"/>
              <a:gd name="connsiteY0" fmla="*/ 0 h 2765730"/>
              <a:gd name="connsiteX1" fmla="*/ 2765730 w 2765730"/>
              <a:gd name="connsiteY1" fmla="*/ 1382865 h 2765730"/>
              <a:gd name="connsiteX2" fmla="*/ 1382865 w 2765730"/>
              <a:gd name="connsiteY2" fmla="*/ 2765730 h 2765730"/>
              <a:gd name="connsiteX3" fmla="*/ 0 w 2765730"/>
              <a:gd name="connsiteY3" fmla="*/ 1382865 h 2765730"/>
              <a:gd name="connsiteX4" fmla="*/ 1382865 w 2765730"/>
              <a:gd name="connsiteY4" fmla="*/ 0 h 27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65730" h="2765730">
                <a:moveTo>
                  <a:pt x="1382865" y="0"/>
                </a:moveTo>
                <a:cubicBezTo>
                  <a:pt x="2146600" y="0"/>
                  <a:pt x="2765730" y="619130"/>
                  <a:pt x="2765730" y="1382865"/>
                </a:cubicBezTo>
                <a:cubicBezTo>
                  <a:pt x="2765730" y="2146600"/>
                  <a:pt x="2146600" y="2765730"/>
                  <a:pt x="1382865" y="2765730"/>
                </a:cubicBezTo>
                <a:cubicBezTo>
                  <a:pt x="619130" y="2765730"/>
                  <a:pt x="0" y="2146600"/>
                  <a:pt x="0" y="1382865"/>
                </a:cubicBezTo>
                <a:cubicBezTo>
                  <a:pt x="0" y="619130"/>
                  <a:pt x="619130" y="0"/>
                  <a:pt x="1382865" y="0"/>
                </a:cubicBezTo>
                <a:close/>
              </a:path>
            </a:pathLst>
          </a:custGeom>
          <a:solidFill>
            <a:srgbClr val="E6ECF4"/>
          </a:solidFill>
        </p:spPr>
        <p:txBody>
          <a:bodyPr wrap="square"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Google Shape;30;p4">
            <a:extLst>
              <a:ext uri="{FF2B5EF4-FFF2-40B4-BE49-F238E27FC236}">
                <a16:creationId xmlns:a16="http://schemas.microsoft.com/office/drawing/2014/main" id="{96389F88-0D1A-F34C-909B-4FA0453E938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0337" y="502922"/>
            <a:ext cx="5311200" cy="41147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444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94B64F51-BF0E-8044-B75D-F3F3482AFF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5310188" cy="236629"/>
          </a:xfrm>
          <a:prstGeom prst="rect">
            <a:avLst/>
          </a:prstGeom>
        </p:spPr>
        <p:txBody>
          <a:bodyPr/>
          <a:lstStyle>
            <a:lvl1pPr>
              <a:buNone/>
              <a:defRPr sz="1167" b="1" i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95496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ags" Target="../tags/tag16.xml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34.xml"/><Relationship Id="rId7" Type="http://schemas.openxmlformats.org/officeDocument/2006/relationships/tags" Target="../tags/tag30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3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tags" Target="../tags/tag3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oleObject" Target="../embeddings/oleObject19.bin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4D8825B-1225-47F4-AFE3-E2F5E1E5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820192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53" imgH="353" progId="TCLayout.ActiveDocument.1">
                  <p:embed/>
                </p:oleObj>
              </mc:Choice>
              <mc:Fallback>
                <p:oleObj name="think-cell Slide" r:id="rId19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4D8825B-1225-47F4-AFE3-E2F5E1E5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DD298F58-02DD-F94F-B22B-63EAD696D179}"/>
              </a:ext>
            </a:extLst>
          </p:cNvPr>
          <p:cNvSpPr/>
          <p:nvPr userDrawn="1"/>
        </p:nvSpPr>
        <p:spPr>
          <a:xfrm>
            <a:off x="0" y="5362575"/>
            <a:ext cx="8680450" cy="212725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pic>
        <p:nvPicPr>
          <p:cNvPr id="53" name="Graphic 10">
            <a:extLst>
              <a:ext uri="{FF2B5EF4-FFF2-40B4-BE49-F238E27FC236}">
                <a16:creationId xmlns:a16="http://schemas.microsoft.com/office/drawing/2014/main" id="{C80095FD-9B63-CC4A-9952-9690BE7CDCC3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8507413" y="5362575"/>
            <a:ext cx="641350" cy="212725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id="{41931A4C-6A1B-F947-88FA-15647FC153B3}"/>
              </a:ext>
            </a:extLst>
          </p:cNvPr>
          <p:cNvSpPr txBox="1"/>
          <p:nvPr userDrawn="1"/>
        </p:nvSpPr>
        <p:spPr>
          <a:xfrm>
            <a:off x="5422900" y="5370513"/>
            <a:ext cx="2960688" cy="2270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76" b="1" dirty="0">
                <a:solidFill>
                  <a:srgbClr val="C00000"/>
                </a:solidFill>
                <a:latin typeface="+mj-lt"/>
              </a:rPr>
              <a:t>ELLAB</a:t>
            </a:r>
            <a:r>
              <a:rPr lang="en-US" sz="876" b="1" dirty="0">
                <a:solidFill>
                  <a:srgbClr val="C00000"/>
                </a:solidFill>
                <a:latin typeface="AvenirNext LT Pro Medium" panose="020B0504020202020204" pitchFamily="34" charset="77"/>
              </a:rPr>
              <a:t> </a:t>
            </a:r>
            <a:r>
              <a:rPr lang="en-US" sz="876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Validation &amp; Monitoring Solutions</a:t>
            </a:r>
          </a:p>
        </p:txBody>
      </p:sp>
      <p:sp>
        <p:nvSpPr>
          <p:cNvPr id="98" name="Google Shape;8;p1">
            <a:extLst>
              <a:ext uri="{FF2B5EF4-FFF2-40B4-BE49-F238E27FC236}">
                <a16:creationId xmlns:a16="http://schemas.microsoft.com/office/drawing/2014/main" id="{BA695D12-1D02-E444-AA79-B65A81D61412}"/>
              </a:ext>
            </a:extLst>
          </p:cNvPr>
          <p:cNvSpPr txBox="1">
            <a:spLocks/>
          </p:cNvSpPr>
          <p:nvPr userDrawn="1"/>
        </p:nvSpPr>
        <p:spPr>
          <a:xfrm>
            <a:off x="8515350" y="5300663"/>
            <a:ext cx="411163" cy="327025"/>
          </a:xfrm>
          <a:prstGeom prst="rect">
            <a:avLst/>
          </a:prstGeom>
          <a:noFill/>
          <a:ln>
            <a:noFill/>
          </a:ln>
        </p:spPr>
        <p:txBody>
          <a:bodyPr spcFirstLastPara="1" lIns="76188" tIns="76188" rIns="76188" bIns="76188" anchor="ctr"/>
          <a:lstStyle>
            <a:defPPr>
              <a:defRPr lang="en-US"/>
            </a:defPPr>
            <a:lvl1pPr marL="0" lvl="0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1pPr>
            <a:lvl2pPr marL="457200" lvl="1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2pPr>
            <a:lvl3pPr marL="914400" lvl="2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3pPr>
            <a:lvl4pPr marL="1371600" lvl="3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4pPr>
            <a:lvl5pPr marL="1828800" lvl="4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5pPr>
            <a:lvl6pPr marL="2286000" lvl="5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6pPr>
            <a:lvl7pPr marL="2743200" lvl="6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7pPr>
            <a:lvl8pPr marL="3200400" lvl="7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8pPr>
            <a:lvl9pPr marL="3657600" lvl="8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2D495AD-417A-6843-A8CF-1762A8915FF0}" type="slidenum">
              <a:rPr lang="es" sz="1000" smtClean="0">
                <a:solidFill>
                  <a:schemeClr val="bg1"/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" sz="10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9" name="Graphic 13">
            <a:extLst>
              <a:ext uri="{FF2B5EF4-FFF2-40B4-BE49-F238E27FC236}">
                <a16:creationId xmlns:a16="http://schemas.microsoft.com/office/drawing/2014/main" id="{68AEA770-5097-464B-A5AF-2A0BF202E255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-3175" y="5360988"/>
            <a:ext cx="971550" cy="211137"/>
          </a:xfrm>
          <a:prstGeom prst="rect">
            <a:avLst/>
          </a:prstGeom>
        </p:spPr>
      </p:pic>
      <p:sp>
        <p:nvSpPr>
          <p:cNvPr id="100" name="TextBox 14">
            <a:extLst>
              <a:ext uri="{FF2B5EF4-FFF2-40B4-BE49-F238E27FC236}">
                <a16:creationId xmlns:a16="http://schemas.microsoft.com/office/drawing/2014/main" id="{E253A9F8-DFBA-564C-8C5D-5FF0BC1D77E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437" y="5347494"/>
            <a:ext cx="82232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1000" b="1" dirty="0">
                <a:solidFill>
                  <a:schemeClr val="bg1"/>
                </a:solidFill>
                <a:latin typeface="+mj-lt"/>
              </a:rPr>
              <a:t>ellab.com</a:t>
            </a:r>
          </a:p>
        </p:txBody>
      </p:sp>
      <p:grpSp>
        <p:nvGrpSpPr>
          <p:cNvPr id="56" name="Graphic 100">
            <a:extLst>
              <a:ext uri="{FF2B5EF4-FFF2-40B4-BE49-F238E27FC236}">
                <a16:creationId xmlns:a16="http://schemas.microsoft.com/office/drawing/2014/main" id="{C6563AA3-64B9-764B-999B-95D92407A4DF}"/>
              </a:ext>
            </a:extLst>
          </p:cNvPr>
          <p:cNvGrpSpPr/>
          <p:nvPr userDrawn="1"/>
        </p:nvGrpSpPr>
        <p:grpSpPr>
          <a:xfrm>
            <a:off x="7611200" y="284166"/>
            <a:ext cx="1112606" cy="739028"/>
            <a:chOff x="7611200" y="284166"/>
            <a:chExt cx="1112606" cy="739028"/>
          </a:xfrm>
        </p:grpSpPr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56803F68-BB44-8E42-BABC-E07348CA7949}"/>
                </a:ext>
              </a:extLst>
            </p:cNvPr>
            <p:cNvSpPr/>
            <p:nvPr/>
          </p:nvSpPr>
          <p:spPr>
            <a:xfrm>
              <a:off x="8065090" y="981314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50A20E3D-5FB5-9044-80A9-2966A03887C2}"/>
                </a:ext>
              </a:extLst>
            </p:cNvPr>
            <p:cNvSpPr/>
            <p:nvPr/>
          </p:nvSpPr>
          <p:spPr>
            <a:xfrm>
              <a:off x="8065090" y="284175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9ED932B9-A4D5-0343-8A7A-FA74FFFB371A}"/>
                </a:ext>
              </a:extLst>
            </p:cNvPr>
            <p:cNvSpPr/>
            <p:nvPr/>
          </p:nvSpPr>
          <p:spPr>
            <a:xfrm>
              <a:off x="7611200" y="284166"/>
              <a:ext cx="928953" cy="738998"/>
            </a:xfrm>
            <a:custGeom>
              <a:avLst/>
              <a:gdLst>
                <a:gd name="connsiteX0" fmla="*/ 835856 w 928953"/>
                <a:gd name="connsiteY0" fmla="*/ 129348 h 738998"/>
                <a:gd name="connsiteX1" fmla="*/ 928952 w 928953"/>
                <a:gd name="connsiteY1" fmla="*/ 373724 h 738998"/>
                <a:gd name="connsiteX2" fmla="*/ 687905 w 928953"/>
                <a:gd name="connsiteY2" fmla="*/ 707088 h 738998"/>
                <a:gd name="connsiteX3" fmla="*/ 422261 w 928953"/>
                <a:gd name="connsiteY3" fmla="*/ 738739 h 738998"/>
                <a:gd name="connsiteX4" fmla="*/ 59346 w 928953"/>
                <a:gd name="connsiteY4" fmla="*/ 566442 h 738998"/>
                <a:gd name="connsiteX5" fmla="*/ 36221 w 928953"/>
                <a:gd name="connsiteY5" fmla="*/ 210589 h 738998"/>
                <a:gd name="connsiteX6" fmla="*/ 317565 w 928953"/>
                <a:gd name="connsiteY6" fmla="*/ 11729 h 738998"/>
                <a:gd name="connsiteX7" fmla="*/ 681889 w 928953"/>
                <a:gd name="connsiteY7" fmla="*/ 31485 h 738998"/>
                <a:gd name="connsiteX8" fmla="*/ 835856 w 928953"/>
                <a:gd name="connsiteY8" fmla="*/ 129348 h 73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3" h="738998">
                  <a:moveTo>
                    <a:pt x="835856" y="129348"/>
                  </a:moveTo>
                  <a:cubicBezTo>
                    <a:pt x="896114" y="196814"/>
                    <a:pt x="929236" y="283759"/>
                    <a:pt x="928952" y="373724"/>
                  </a:cubicBezTo>
                  <a:cubicBezTo>
                    <a:pt x="925917" y="523314"/>
                    <a:pt x="830184" y="655711"/>
                    <a:pt x="687905" y="707088"/>
                  </a:cubicBezTo>
                  <a:cubicBezTo>
                    <a:pt x="605509" y="733926"/>
                    <a:pt x="513834" y="740469"/>
                    <a:pt x="422261" y="738739"/>
                  </a:cubicBezTo>
                  <a:cubicBezTo>
                    <a:pt x="276874" y="734728"/>
                    <a:pt x="140410" y="684838"/>
                    <a:pt x="59346" y="566442"/>
                  </a:cubicBezTo>
                  <a:cubicBezTo>
                    <a:pt x="-7731" y="467563"/>
                    <a:pt x="-21426" y="316651"/>
                    <a:pt x="36221" y="210589"/>
                  </a:cubicBezTo>
                  <a:cubicBezTo>
                    <a:pt x="85377" y="102522"/>
                    <a:pt x="197486" y="29968"/>
                    <a:pt x="317565" y="11729"/>
                  </a:cubicBezTo>
                  <a:cubicBezTo>
                    <a:pt x="438958" y="-8966"/>
                    <a:pt x="563521" y="-2211"/>
                    <a:pt x="681889" y="31485"/>
                  </a:cubicBezTo>
                  <a:cubicBezTo>
                    <a:pt x="740531" y="51203"/>
                    <a:pt x="793392" y="84802"/>
                    <a:pt x="835856" y="129348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A6F2EDBB-BCA6-2A47-8FB6-837CDF450119}"/>
                </a:ext>
              </a:extLst>
            </p:cNvPr>
            <p:cNvSpPr/>
            <p:nvPr/>
          </p:nvSpPr>
          <p:spPr>
            <a:xfrm>
              <a:off x="7648818" y="292586"/>
              <a:ext cx="513653" cy="722735"/>
            </a:xfrm>
            <a:custGeom>
              <a:avLst/>
              <a:gdLst>
                <a:gd name="connsiteX0" fmla="*/ 501893 w 513653"/>
                <a:gd name="connsiteY0" fmla="*/ 722736 h 722735"/>
                <a:gd name="connsiteX1" fmla="*/ 419052 w 513653"/>
                <a:gd name="connsiteY1" fmla="*/ 722736 h 722735"/>
                <a:gd name="connsiteX2" fmla="*/ 0 w 513653"/>
                <a:gd name="connsiteY2" fmla="*/ 361368 h 722735"/>
                <a:gd name="connsiteX3" fmla="*/ 419052 w 513653"/>
                <a:gd name="connsiteY3" fmla="*/ 0 h 722735"/>
                <a:gd name="connsiteX4" fmla="*/ 491524 w 513653"/>
                <a:gd name="connsiteY4" fmla="*/ 0 h 722735"/>
                <a:gd name="connsiteX5" fmla="*/ 497075 w 513653"/>
                <a:gd name="connsiteY5" fmla="*/ 6964 h 722735"/>
                <a:gd name="connsiteX6" fmla="*/ 491524 w 513653"/>
                <a:gd name="connsiteY6" fmla="*/ 12448 h 722735"/>
                <a:gd name="connsiteX7" fmla="*/ 82841 w 513653"/>
                <a:gd name="connsiteY7" fmla="*/ 361368 h 722735"/>
                <a:gd name="connsiteX8" fmla="*/ 491524 w 513653"/>
                <a:gd name="connsiteY8" fmla="*/ 710301 h 722735"/>
                <a:gd name="connsiteX9" fmla="*/ 502502 w 513653"/>
                <a:gd name="connsiteY9" fmla="*/ 710150 h 722735"/>
                <a:gd name="connsiteX10" fmla="*/ 507985 w 513653"/>
                <a:gd name="connsiteY10" fmla="*/ 710226 h 722735"/>
                <a:gd name="connsiteX11" fmla="*/ 513617 w 513653"/>
                <a:gd name="connsiteY11" fmla="*/ 717127 h 722735"/>
                <a:gd name="connsiteX12" fmla="*/ 508214 w 513653"/>
                <a:gd name="connsiteY12" fmla="*/ 722661 h 722735"/>
                <a:gd name="connsiteX13" fmla="*/ 501893 w 513653"/>
                <a:gd name="connsiteY13" fmla="*/ 722736 h 722735"/>
                <a:gd name="connsiteX14" fmla="*/ 372219 w 513653"/>
                <a:gd name="connsiteY14" fmla="*/ 14754 h 722735"/>
                <a:gd name="connsiteX15" fmla="*/ 12603 w 513653"/>
                <a:gd name="connsiteY15" fmla="*/ 361368 h 722735"/>
                <a:gd name="connsiteX16" fmla="*/ 372219 w 513653"/>
                <a:gd name="connsiteY16" fmla="*/ 707994 h 722735"/>
                <a:gd name="connsiteX17" fmla="*/ 70187 w 513653"/>
                <a:gd name="connsiteY17" fmla="*/ 361368 h 722735"/>
                <a:gd name="connsiteX18" fmla="*/ 372219 w 513653"/>
                <a:gd name="connsiteY18" fmla="*/ 14754 h 722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3653" h="722735">
                  <a:moveTo>
                    <a:pt x="501893" y="722736"/>
                  </a:moveTo>
                  <a:lnTo>
                    <a:pt x="419052" y="722736"/>
                  </a:lnTo>
                  <a:cubicBezTo>
                    <a:pt x="187981" y="722736"/>
                    <a:pt x="0" y="560679"/>
                    <a:pt x="0" y="361368"/>
                  </a:cubicBezTo>
                  <a:cubicBezTo>
                    <a:pt x="0" y="162056"/>
                    <a:pt x="187981" y="0"/>
                    <a:pt x="419052" y="0"/>
                  </a:cubicBezTo>
                  <a:lnTo>
                    <a:pt x="491524" y="0"/>
                  </a:lnTo>
                  <a:cubicBezTo>
                    <a:pt x="495004" y="409"/>
                    <a:pt x="497490" y="3527"/>
                    <a:pt x="497075" y="6964"/>
                  </a:cubicBezTo>
                  <a:cubicBezTo>
                    <a:pt x="496730" y="9839"/>
                    <a:pt x="494434" y="12106"/>
                    <a:pt x="491524" y="12448"/>
                  </a:cubicBezTo>
                  <a:cubicBezTo>
                    <a:pt x="266151" y="12448"/>
                    <a:pt x="82841" y="168976"/>
                    <a:pt x="82841" y="361368"/>
                  </a:cubicBezTo>
                  <a:cubicBezTo>
                    <a:pt x="82841" y="553760"/>
                    <a:pt x="266190" y="710301"/>
                    <a:pt x="491524" y="710301"/>
                  </a:cubicBezTo>
                  <a:cubicBezTo>
                    <a:pt x="495192" y="710301"/>
                    <a:pt x="498872" y="710301"/>
                    <a:pt x="502502" y="710150"/>
                  </a:cubicBezTo>
                  <a:cubicBezTo>
                    <a:pt x="504622" y="710213"/>
                    <a:pt x="506462" y="710326"/>
                    <a:pt x="507985" y="710226"/>
                  </a:cubicBezTo>
                  <a:cubicBezTo>
                    <a:pt x="511470" y="710595"/>
                    <a:pt x="513991" y="713685"/>
                    <a:pt x="513617" y="717127"/>
                  </a:cubicBezTo>
                  <a:cubicBezTo>
                    <a:pt x="513306" y="719974"/>
                    <a:pt x="511082" y="722252"/>
                    <a:pt x="508214" y="722661"/>
                  </a:cubicBezTo>
                  <a:cubicBezTo>
                    <a:pt x="506107" y="722736"/>
                    <a:pt x="504025" y="722736"/>
                    <a:pt x="501893" y="722736"/>
                  </a:cubicBezTo>
                  <a:close/>
                  <a:moveTo>
                    <a:pt x="372219" y="14754"/>
                  </a:moveTo>
                  <a:cubicBezTo>
                    <a:pt x="170086" y="34760"/>
                    <a:pt x="12603" y="182577"/>
                    <a:pt x="12603" y="361368"/>
                  </a:cubicBezTo>
                  <a:cubicBezTo>
                    <a:pt x="12603" y="540159"/>
                    <a:pt x="170098" y="687988"/>
                    <a:pt x="372219" y="707994"/>
                  </a:cubicBezTo>
                  <a:cubicBezTo>
                    <a:pt x="197818" y="663757"/>
                    <a:pt x="70187" y="525104"/>
                    <a:pt x="70187" y="361368"/>
                  </a:cubicBezTo>
                  <a:cubicBezTo>
                    <a:pt x="70187" y="197632"/>
                    <a:pt x="197818" y="58991"/>
                    <a:pt x="372219" y="147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BE4D55B0-E8F1-424A-9DE5-C637EB791365}"/>
                </a:ext>
              </a:extLst>
            </p:cNvPr>
            <p:cNvSpPr/>
            <p:nvPr/>
          </p:nvSpPr>
          <p:spPr>
            <a:xfrm>
              <a:off x="7725312" y="298816"/>
              <a:ext cx="426223" cy="710288"/>
            </a:xfrm>
            <a:custGeom>
              <a:avLst/>
              <a:gdLst>
                <a:gd name="connsiteX0" fmla="*/ 38 w 426223"/>
                <a:gd name="connsiteY0" fmla="*/ 355138 h 710288"/>
                <a:gd name="connsiteX1" fmla="*/ 415067 w 426223"/>
                <a:gd name="connsiteY1" fmla="*/ 710288 h 710288"/>
                <a:gd name="connsiteX2" fmla="*/ 426223 w 426223"/>
                <a:gd name="connsiteY2" fmla="*/ 710138 h 710288"/>
                <a:gd name="connsiteX3" fmla="*/ 22427 w 426223"/>
                <a:gd name="connsiteY3" fmla="*/ 355138 h 710288"/>
                <a:gd name="connsiteX4" fmla="*/ 426185 w 426223"/>
                <a:gd name="connsiteY4" fmla="*/ 125 h 710288"/>
                <a:gd name="connsiteX5" fmla="*/ 415029 w 426223"/>
                <a:gd name="connsiteY5" fmla="*/ 0 h 710288"/>
                <a:gd name="connsiteX6" fmla="*/ 0 w 426223"/>
                <a:gd name="connsiteY6" fmla="*/ 355138 h 71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223" h="710288">
                  <a:moveTo>
                    <a:pt x="38" y="355138"/>
                  </a:moveTo>
                  <a:cubicBezTo>
                    <a:pt x="38" y="551178"/>
                    <a:pt x="185951" y="710288"/>
                    <a:pt x="415067" y="710288"/>
                  </a:cubicBezTo>
                  <a:cubicBezTo>
                    <a:pt x="418798" y="710288"/>
                    <a:pt x="422530" y="710288"/>
                    <a:pt x="426223" y="710138"/>
                  </a:cubicBezTo>
                  <a:cubicBezTo>
                    <a:pt x="202323" y="705124"/>
                    <a:pt x="22427" y="547956"/>
                    <a:pt x="22427" y="355138"/>
                  </a:cubicBezTo>
                  <a:cubicBezTo>
                    <a:pt x="22427" y="162320"/>
                    <a:pt x="202285" y="5202"/>
                    <a:pt x="426185" y="125"/>
                  </a:cubicBezTo>
                  <a:cubicBezTo>
                    <a:pt x="422492" y="50"/>
                    <a:pt x="418760" y="0"/>
                    <a:pt x="415029" y="0"/>
                  </a:cubicBezTo>
                  <a:cubicBezTo>
                    <a:pt x="185951" y="0"/>
                    <a:pt x="0" y="159111"/>
                    <a:pt x="0" y="355138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060DEA1A-C39C-A343-B3F0-1C959A3450AB}"/>
                </a:ext>
              </a:extLst>
            </p:cNvPr>
            <p:cNvSpPr/>
            <p:nvPr/>
          </p:nvSpPr>
          <p:spPr>
            <a:xfrm>
              <a:off x="7722216" y="295708"/>
              <a:ext cx="429383" cy="716505"/>
            </a:xfrm>
            <a:custGeom>
              <a:avLst/>
              <a:gdLst>
                <a:gd name="connsiteX0" fmla="*/ 418164 w 429383"/>
                <a:gd name="connsiteY0" fmla="*/ 716506 h 716505"/>
                <a:gd name="connsiteX1" fmla="*/ 0 w 429383"/>
                <a:gd name="connsiteY1" fmla="*/ 360503 h 716505"/>
                <a:gd name="connsiteX2" fmla="*/ 0 w 429383"/>
                <a:gd name="connsiteY2" fmla="*/ 360503 h 716505"/>
                <a:gd name="connsiteX3" fmla="*/ 0 w 429383"/>
                <a:gd name="connsiteY3" fmla="*/ 358247 h 716505"/>
                <a:gd name="connsiteX4" fmla="*/ 418126 w 429383"/>
                <a:gd name="connsiteY4" fmla="*/ 0 h 716505"/>
                <a:gd name="connsiteX5" fmla="*/ 429345 w 429383"/>
                <a:gd name="connsiteY5" fmla="*/ 125 h 716505"/>
                <a:gd name="connsiteX6" fmla="*/ 429345 w 429383"/>
                <a:gd name="connsiteY6" fmla="*/ 6393 h 716505"/>
                <a:gd name="connsiteX7" fmla="*/ 145527 w 429383"/>
                <a:gd name="connsiteY7" fmla="*/ 112667 h 716505"/>
                <a:gd name="connsiteX8" fmla="*/ 28659 w 429383"/>
                <a:gd name="connsiteY8" fmla="*/ 358247 h 716505"/>
                <a:gd name="connsiteX9" fmla="*/ 145539 w 429383"/>
                <a:gd name="connsiteY9" fmla="*/ 603851 h 716505"/>
                <a:gd name="connsiteX10" fmla="*/ 429383 w 429383"/>
                <a:gd name="connsiteY10" fmla="*/ 710150 h 716505"/>
                <a:gd name="connsiteX11" fmla="*/ 429383 w 429383"/>
                <a:gd name="connsiteY11" fmla="*/ 716343 h 716505"/>
                <a:gd name="connsiteX12" fmla="*/ 418164 w 429383"/>
                <a:gd name="connsiteY12" fmla="*/ 716506 h 716505"/>
                <a:gd name="connsiteX13" fmla="*/ 6244 w 429383"/>
                <a:gd name="connsiteY13" fmla="*/ 356354 h 716505"/>
                <a:gd name="connsiteX14" fmla="*/ 6244 w 429383"/>
                <a:gd name="connsiteY14" fmla="*/ 358259 h 716505"/>
                <a:gd name="connsiteX15" fmla="*/ 294252 w 429383"/>
                <a:gd name="connsiteY15" fmla="*/ 694042 h 716505"/>
                <a:gd name="connsiteX16" fmla="*/ 141338 w 429383"/>
                <a:gd name="connsiteY16" fmla="*/ 608502 h 716505"/>
                <a:gd name="connsiteX17" fmla="*/ 22376 w 429383"/>
                <a:gd name="connsiteY17" fmla="*/ 358247 h 716505"/>
                <a:gd name="connsiteX18" fmla="*/ 141351 w 429383"/>
                <a:gd name="connsiteY18" fmla="*/ 108017 h 716505"/>
                <a:gd name="connsiteX19" fmla="*/ 294391 w 429383"/>
                <a:gd name="connsiteY19" fmla="*/ 22438 h 716505"/>
                <a:gd name="connsiteX20" fmla="*/ 6244 w 429383"/>
                <a:gd name="connsiteY20" fmla="*/ 356354 h 7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9383" h="716505">
                  <a:moveTo>
                    <a:pt x="418164" y="716506"/>
                  </a:moveTo>
                  <a:cubicBezTo>
                    <a:pt x="188438" y="716506"/>
                    <a:pt x="1409" y="557006"/>
                    <a:pt x="0" y="360503"/>
                  </a:cubicBezTo>
                  <a:lnTo>
                    <a:pt x="0" y="360503"/>
                  </a:lnTo>
                  <a:lnTo>
                    <a:pt x="0" y="358247"/>
                  </a:lnTo>
                  <a:cubicBezTo>
                    <a:pt x="-38" y="160715"/>
                    <a:pt x="187550" y="0"/>
                    <a:pt x="418126" y="0"/>
                  </a:cubicBezTo>
                  <a:cubicBezTo>
                    <a:pt x="421933" y="0"/>
                    <a:pt x="425627" y="0"/>
                    <a:pt x="429345" y="125"/>
                  </a:cubicBezTo>
                  <a:lnTo>
                    <a:pt x="429345" y="6393"/>
                  </a:lnTo>
                  <a:cubicBezTo>
                    <a:pt x="324993" y="7564"/>
                    <a:pt x="224437" y="45217"/>
                    <a:pt x="145527" y="112667"/>
                  </a:cubicBezTo>
                  <a:cubicBezTo>
                    <a:pt x="72436" y="173976"/>
                    <a:pt x="29812" y="263544"/>
                    <a:pt x="28659" y="358247"/>
                  </a:cubicBezTo>
                  <a:cubicBezTo>
                    <a:pt x="29815" y="452958"/>
                    <a:pt x="72442" y="542534"/>
                    <a:pt x="145539" y="603851"/>
                  </a:cubicBezTo>
                  <a:cubicBezTo>
                    <a:pt x="224451" y="671320"/>
                    <a:pt x="325018" y="708982"/>
                    <a:pt x="429383" y="710150"/>
                  </a:cubicBezTo>
                  <a:lnTo>
                    <a:pt x="429383" y="716343"/>
                  </a:lnTo>
                  <a:cubicBezTo>
                    <a:pt x="425715" y="716506"/>
                    <a:pt x="421933" y="716506"/>
                    <a:pt x="418164" y="716506"/>
                  </a:cubicBezTo>
                  <a:close/>
                  <a:moveTo>
                    <a:pt x="6244" y="356354"/>
                  </a:moveTo>
                  <a:lnTo>
                    <a:pt x="6244" y="358259"/>
                  </a:lnTo>
                  <a:cubicBezTo>
                    <a:pt x="6244" y="515515"/>
                    <a:pt x="127466" y="649003"/>
                    <a:pt x="294252" y="694042"/>
                  </a:cubicBezTo>
                  <a:cubicBezTo>
                    <a:pt x="237836" y="676287"/>
                    <a:pt x="185767" y="647159"/>
                    <a:pt x="141338" y="608502"/>
                  </a:cubicBezTo>
                  <a:cubicBezTo>
                    <a:pt x="66896" y="546008"/>
                    <a:pt x="23508" y="454733"/>
                    <a:pt x="22376" y="358247"/>
                  </a:cubicBezTo>
                  <a:cubicBezTo>
                    <a:pt x="23520" y="261766"/>
                    <a:pt x="66912" y="170503"/>
                    <a:pt x="141351" y="108017"/>
                  </a:cubicBezTo>
                  <a:cubicBezTo>
                    <a:pt x="185811" y="69329"/>
                    <a:pt x="237927" y="40186"/>
                    <a:pt x="294391" y="22438"/>
                  </a:cubicBezTo>
                  <a:cubicBezTo>
                    <a:pt x="128215" y="67264"/>
                    <a:pt x="7209" y="199901"/>
                    <a:pt x="6244" y="3563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9C0CF435-1389-5A49-917E-2BD11E440496}"/>
                </a:ext>
              </a:extLst>
            </p:cNvPr>
            <p:cNvSpPr/>
            <p:nvPr/>
          </p:nvSpPr>
          <p:spPr>
            <a:xfrm>
              <a:off x="7734489" y="466915"/>
              <a:ext cx="600154" cy="22200"/>
            </a:xfrm>
            <a:custGeom>
              <a:avLst/>
              <a:gdLst>
                <a:gd name="connsiteX0" fmla="*/ 600154 w 600154"/>
                <a:gd name="connsiteY0" fmla="*/ 11094 h 22200"/>
                <a:gd name="connsiteX1" fmla="*/ 300065 w 600154"/>
                <a:gd name="connsiteY1" fmla="*/ 22200 h 22200"/>
                <a:gd name="connsiteX2" fmla="*/ 0 w 600154"/>
                <a:gd name="connsiteY2" fmla="*/ 11094 h 22200"/>
                <a:gd name="connsiteX3" fmla="*/ 300065 w 600154"/>
                <a:gd name="connsiteY3" fmla="*/ 0 h 22200"/>
                <a:gd name="connsiteX4" fmla="*/ 600154 w 600154"/>
                <a:gd name="connsiteY4" fmla="*/ 11094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54" h="22200">
                  <a:moveTo>
                    <a:pt x="600154" y="11094"/>
                  </a:moveTo>
                  <a:cubicBezTo>
                    <a:pt x="600154" y="17198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94"/>
                  </a:cubicBezTo>
                  <a:cubicBezTo>
                    <a:pt x="0" y="5002"/>
                    <a:pt x="134434" y="0"/>
                    <a:pt x="300065" y="0"/>
                  </a:cubicBezTo>
                  <a:cubicBezTo>
                    <a:pt x="465695" y="0"/>
                    <a:pt x="600154" y="4964"/>
                    <a:pt x="600154" y="1109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DC53714F-BB4E-E849-AB9A-DF4CDD5844AD}"/>
                </a:ext>
              </a:extLst>
            </p:cNvPr>
            <p:cNvSpPr/>
            <p:nvPr/>
          </p:nvSpPr>
          <p:spPr>
            <a:xfrm>
              <a:off x="7731341" y="463844"/>
              <a:ext cx="606437" cy="28405"/>
            </a:xfrm>
            <a:custGeom>
              <a:avLst/>
              <a:gdLst>
                <a:gd name="connsiteX0" fmla="*/ 303212 w 606437"/>
                <a:gd name="connsiteY0" fmla="*/ 28405 h 28405"/>
                <a:gd name="connsiteX1" fmla="*/ 90938 w 606437"/>
                <a:gd name="connsiteY1" fmla="*/ 25146 h 28405"/>
                <a:gd name="connsiteX2" fmla="*/ 0 w 606437"/>
                <a:gd name="connsiteY2" fmla="*/ 14203 h 28405"/>
                <a:gd name="connsiteX3" fmla="*/ 90951 w 606437"/>
                <a:gd name="connsiteY3" fmla="*/ 3272 h 28405"/>
                <a:gd name="connsiteX4" fmla="*/ 303212 w 606437"/>
                <a:gd name="connsiteY4" fmla="*/ 0 h 28405"/>
                <a:gd name="connsiteX5" fmla="*/ 515486 w 606437"/>
                <a:gd name="connsiteY5" fmla="*/ 3259 h 28405"/>
                <a:gd name="connsiteX6" fmla="*/ 606437 w 606437"/>
                <a:gd name="connsiteY6" fmla="*/ 14203 h 28405"/>
                <a:gd name="connsiteX7" fmla="*/ 515486 w 606437"/>
                <a:gd name="connsiteY7" fmla="*/ 25146 h 28405"/>
                <a:gd name="connsiteX8" fmla="*/ 303212 w 606437"/>
                <a:gd name="connsiteY8" fmla="*/ 28405 h 28405"/>
                <a:gd name="connsiteX9" fmla="*/ 14799 w 606437"/>
                <a:gd name="connsiteY9" fmla="*/ 14165 h 28405"/>
                <a:gd name="connsiteX10" fmla="*/ 303212 w 606437"/>
                <a:gd name="connsiteY10" fmla="*/ 22162 h 28405"/>
                <a:gd name="connsiteX11" fmla="*/ 591803 w 606437"/>
                <a:gd name="connsiteY11" fmla="*/ 14152 h 28405"/>
                <a:gd name="connsiteX12" fmla="*/ 303212 w 606437"/>
                <a:gd name="connsiteY12" fmla="*/ 6167 h 28405"/>
                <a:gd name="connsiteX13" fmla="*/ 14799 w 606437"/>
                <a:gd name="connsiteY13" fmla="*/ 14165 h 28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37" h="28405">
                  <a:moveTo>
                    <a:pt x="303212" y="28405"/>
                  </a:moveTo>
                  <a:cubicBezTo>
                    <a:pt x="223176" y="28405"/>
                    <a:pt x="147786" y="27252"/>
                    <a:pt x="90938" y="25146"/>
                  </a:cubicBezTo>
                  <a:cubicBezTo>
                    <a:pt x="0" y="21761"/>
                    <a:pt x="0" y="18088"/>
                    <a:pt x="0" y="14203"/>
                  </a:cubicBezTo>
                  <a:cubicBezTo>
                    <a:pt x="0" y="10317"/>
                    <a:pt x="0" y="6681"/>
                    <a:pt x="90951" y="3272"/>
                  </a:cubicBezTo>
                  <a:cubicBezTo>
                    <a:pt x="147786" y="1166"/>
                    <a:pt x="223164" y="0"/>
                    <a:pt x="303212" y="0"/>
                  </a:cubicBezTo>
                  <a:cubicBezTo>
                    <a:pt x="383261" y="0"/>
                    <a:pt x="458753" y="1166"/>
                    <a:pt x="515486" y="3259"/>
                  </a:cubicBezTo>
                  <a:cubicBezTo>
                    <a:pt x="606437" y="6619"/>
                    <a:pt x="606437" y="10304"/>
                    <a:pt x="606437" y="14203"/>
                  </a:cubicBezTo>
                  <a:cubicBezTo>
                    <a:pt x="606437" y="18101"/>
                    <a:pt x="606437" y="21724"/>
                    <a:pt x="515486" y="25146"/>
                  </a:cubicBezTo>
                  <a:cubicBezTo>
                    <a:pt x="458677" y="27214"/>
                    <a:pt x="383286" y="28405"/>
                    <a:pt x="303212" y="28405"/>
                  </a:cubicBezTo>
                  <a:close/>
                  <a:moveTo>
                    <a:pt x="14799" y="14165"/>
                  </a:moveTo>
                  <a:cubicBezTo>
                    <a:pt x="47455" y="18314"/>
                    <a:pt x="158028" y="22162"/>
                    <a:pt x="303212" y="22162"/>
                  </a:cubicBezTo>
                  <a:cubicBezTo>
                    <a:pt x="448650" y="22162"/>
                    <a:pt x="559337" y="18302"/>
                    <a:pt x="591803" y="14152"/>
                  </a:cubicBezTo>
                  <a:cubicBezTo>
                    <a:pt x="560073" y="10016"/>
                    <a:pt x="452978" y="6167"/>
                    <a:pt x="303212" y="6167"/>
                  </a:cubicBezTo>
                  <a:cubicBezTo>
                    <a:pt x="158016" y="6167"/>
                    <a:pt x="47455" y="10016"/>
                    <a:pt x="14799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1C2E46B5-F597-6F4C-A131-B9614292243E}"/>
                </a:ext>
              </a:extLst>
            </p:cNvPr>
            <p:cNvSpPr/>
            <p:nvPr/>
          </p:nvSpPr>
          <p:spPr>
            <a:xfrm>
              <a:off x="7744744" y="835014"/>
              <a:ext cx="600116" cy="22200"/>
            </a:xfrm>
            <a:custGeom>
              <a:avLst/>
              <a:gdLst>
                <a:gd name="connsiteX0" fmla="*/ 600116 w 600116"/>
                <a:gd name="connsiteY0" fmla="*/ 11081 h 22200"/>
                <a:gd name="connsiteX1" fmla="*/ 300065 w 600116"/>
                <a:gd name="connsiteY1" fmla="*/ 22200 h 22200"/>
                <a:gd name="connsiteX2" fmla="*/ 0 w 600116"/>
                <a:gd name="connsiteY2" fmla="*/ 11081 h 22200"/>
                <a:gd name="connsiteX3" fmla="*/ 300065 w 600116"/>
                <a:gd name="connsiteY3" fmla="*/ 0 h 22200"/>
                <a:gd name="connsiteX4" fmla="*/ 600116 w 600116"/>
                <a:gd name="connsiteY4" fmla="*/ 11081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16" h="22200">
                  <a:moveTo>
                    <a:pt x="600116" y="11081"/>
                  </a:moveTo>
                  <a:cubicBezTo>
                    <a:pt x="600116" y="17236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81"/>
                  </a:cubicBezTo>
                  <a:cubicBezTo>
                    <a:pt x="0" y="4977"/>
                    <a:pt x="134434" y="0"/>
                    <a:pt x="300065" y="0"/>
                  </a:cubicBezTo>
                  <a:cubicBezTo>
                    <a:pt x="465695" y="0"/>
                    <a:pt x="600116" y="5014"/>
                    <a:pt x="600116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7F5EE062-B8E9-EA42-9983-4714DE2AA395}"/>
                </a:ext>
              </a:extLst>
            </p:cNvPr>
            <p:cNvSpPr/>
            <p:nvPr/>
          </p:nvSpPr>
          <p:spPr>
            <a:xfrm>
              <a:off x="7741596" y="831918"/>
              <a:ext cx="606398" cy="28392"/>
            </a:xfrm>
            <a:custGeom>
              <a:avLst/>
              <a:gdLst>
                <a:gd name="connsiteX0" fmla="*/ 303212 w 606398"/>
                <a:gd name="connsiteY0" fmla="*/ 28393 h 28392"/>
                <a:gd name="connsiteX1" fmla="*/ 90938 w 606398"/>
                <a:gd name="connsiteY1" fmla="*/ 25121 h 28392"/>
                <a:gd name="connsiteX2" fmla="*/ 0 w 606398"/>
                <a:gd name="connsiteY2" fmla="*/ 14177 h 28392"/>
                <a:gd name="connsiteX3" fmla="*/ 90951 w 606398"/>
                <a:gd name="connsiteY3" fmla="*/ 3247 h 28392"/>
                <a:gd name="connsiteX4" fmla="*/ 303212 w 606398"/>
                <a:gd name="connsiteY4" fmla="*/ 0 h 28392"/>
                <a:gd name="connsiteX5" fmla="*/ 515473 w 606398"/>
                <a:gd name="connsiteY5" fmla="*/ 3259 h 28392"/>
                <a:gd name="connsiteX6" fmla="*/ 606399 w 606398"/>
                <a:gd name="connsiteY6" fmla="*/ 14177 h 28392"/>
                <a:gd name="connsiteX7" fmla="*/ 515473 w 606398"/>
                <a:gd name="connsiteY7" fmla="*/ 25146 h 28392"/>
                <a:gd name="connsiteX8" fmla="*/ 303212 w 606398"/>
                <a:gd name="connsiteY8" fmla="*/ 28393 h 28392"/>
                <a:gd name="connsiteX9" fmla="*/ 14672 w 606398"/>
                <a:gd name="connsiteY9" fmla="*/ 14165 h 28392"/>
                <a:gd name="connsiteX10" fmla="*/ 303212 w 606398"/>
                <a:gd name="connsiteY10" fmla="*/ 22200 h 28392"/>
                <a:gd name="connsiteX11" fmla="*/ 591740 w 606398"/>
                <a:gd name="connsiteY11" fmla="*/ 14203 h 28392"/>
                <a:gd name="connsiteX12" fmla="*/ 303212 w 606398"/>
                <a:gd name="connsiteY12" fmla="*/ 6192 h 28392"/>
                <a:gd name="connsiteX13" fmla="*/ 14672 w 606398"/>
                <a:gd name="connsiteY13" fmla="*/ 14165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398" h="28392">
                  <a:moveTo>
                    <a:pt x="303212" y="28393"/>
                  </a:moveTo>
                  <a:cubicBezTo>
                    <a:pt x="223138" y="28393"/>
                    <a:pt x="147760" y="27239"/>
                    <a:pt x="90938" y="25121"/>
                  </a:cubicBezTo>
                  <a:cubicBezTo>
                    <a:pt x="0" y="21749"/>
                    <a:pt x="0" y="18063"/>
                    <a:pt x="0" y="14177"/>
                  </a:cubicBezTo>
                  <a:cubicBezTo>
                    <a:pt x="0" y="10292"/>
                    <a:pt x="0" y="6656"/>
                    <a:pt x="90951" y="3247"/>
                  </a:cubicBezTo>
                  <a:cubicBezTo>
                    <a:pt x="147697" y="1153"/>
                    <a:pt x="223087" y="0"/>
                    <a:pt x="303212" y="0"/>
                  </a:cubicBezTo>
                  <a:cubicBezTo>
                    <a:pt x="383337" y="0"/>
                    <a:pt x="458600" y="1153"/>
                    <a:pt x="515473" y="3259"/>
                  </a:cubicBezTo>
                  <a:cubicBezTo>
                    <a:pt x="606399" y="6619"/>
                    <a:pt x="606399" y="10292"/>
                    <a:pt x="606399" y="14177"/>
                  </a:cubicBezTo>
                  <a:cubicBezTo>
                    <a:pt x="606399" y="18063"/>
                    <a:pt x="606399" y="21774"/>
                    <a:pt x="515473" y="25146"/>
                  </a:cubicBezTo>
                  <a:cubicBezTo>
                    <a:pt x="458804" y="27239"/>
                    <a:pt x="383426" y="28393"/>
                    <a:pt x="303212" y="28393"/>
                  </a:cubicBezTo>
                  <a:close/>
                  <a:moveTo>
                    <a:pt x="14672" y="14165"/>
                  </a:moveTo>
                  <a:cubicBezTo>
                    <a:pt x="47164" y="18327"/>
                    <a:pt x="157825" y="22200"/>
                    <a:pt x="303212" y="22200"/>
                  </a:cubicBezTo>
                  <a:cubicBezTo>
                    <a:pt x="452978" y="22200"/>
                    <a:pt x="559984" y="18339"/>
                    <a:pt x="591740" y="14203"/>
                  </a:cubicBezTo>
                  <a:cubicBezTo>
                    <a:pt x="559274" y="10053"/>
                    <a:pt x="448599" y="6192"/>
                    <a:pt x="303212" y="6192"/>
                  </a:cubicBezTo>
                  <a:cubicBezTo>
                    <a:pt x="153497" y="6192"/>
                    <a:pt x="46453" y="10066"/>
                    <a:pt x="14672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6C78F948-14EC-9845-BC69-034C7671684A}"/>
                </a:ext>
              </a:extLst>
            </p:cNvPr>
            <p:cNvSpPr/>
            <p:nvPr/>
          </p:nvSpPr>
          <p:spPr>
            <a:xfrm>
              <a:off x="7680662" y="649366"/>
              <a:ext cx="600141" cy="22187"/>
            </a:xfrm>
            <a:custGeom>
              <a:avLst/>
              <a:gdLst>
                <a:gd name="connsiteX0" fmla="*/ 600142 w 600141"/>
                <a:gd name="connsiteY0" fmla="*/ 11081 h 22187"/>
                <a:gd name="connsiteX1" fmla="*/ 300065 w 600141"/>
                <a:gd name="connsiteY1" fmla="*/ 22187 h 22187"/>
                <a:gd name="connsiteX2" fmla="*/ 0 w 600141"/>
                <a:gd name="connsiteY2" fmla="*/ 11081 h 22187"/>
                <a:gd name="connsiteX3" fmla="*/ 300065 w 600141"/>
                <a:gd name="connsiteY3" fmla="*/ 0 h 22187"/>
                <a:gd name="connsiteX4" fmla="*/ 600142 w 600141"/>
                <a:gd name="connsiteY4" fmla="*/ 11081 h 2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41" h="22187">
                  <a:moveTo>
                    <a:pt x="600142" y="11081"/>
                  </a:moveTo>
                  <a:cubicBezTo>
                    <a:pt x="600142" y="17211"/>
                    <a:pt x="465708" y="22187"/>
                    <a:pt x="300065" y="22187"/>
                  </a:cubicBezTo>
                  <a:cubicBezTo>
                    <a:pt x="134421" y="22187"/>
                    <a:pt x="0" y="17173"/>
                    <a:pt x="0" y="11081"/>
                  </a:cubicBezTo>
                  <a:cubicBezTo>
                    <a:pt x="0" y="4989"/>
                    <a:pt x="134434" y="0"/>
                    <a:pt x="300065" y="0"/>
                  </a:cubicBezTo>
                  <a:cubicBezTo>
                    <a:pt x="465695" y="0"/>
                    <a:pt x="600142" y="5014"/>
                    <a:pt x="600142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8DAE1AA6-A71F-0F4E-915A-FBE54B929992}"/>
                </a:ext>
              </a:extLst>
            </p:cNvPr>
            <p:cNvSpPr/>
            <p:nvPr/>
          </p:nvSpPr>
          <p:spPr>
            <a:xfrm>
              <a:off x="7677514" y="646257"/>
              <a:ext cx="606424" cy="28392"/>
            </a:xfrm>
            <a:custGeom>
              <a:avLst/>
              <a:gdLst>
                <a:gd name="connsiteX0" fmla="*/ 303212 w 606424"/>
                <a:gd name="connsiteY0" fmla="*/ 28392 h 28392"/>
                <a:gd name="connsiteX1" fmla="*/ 90938 w 606424"/>
                <a:gd name="connsiteY1" fmla="*/ 25121 h 28392"/>
                <a:gd name="connsiteX2" fmla="*/ 0 w 606424"/>
                <a:gd name="connsiteY2" fmla="*/ 14190 h 28392"/>
                <a:gd name="connsiteX3" fmla="*/ 90951 w 606424"/>
                <a:gd name="connsiteY3" fmla="*/ 3259 h 28392"/>
                <a:gd name="connsiteX4" fmla="*/ 303212 w 606424"/>
                <a:gd name="connsiteY4" fmla="*/ 0 h 28392"/>
                <a:gd name="connsiteX5" fmla="*/ 515486 w 606424"/>
                <a:gd name="connsiteY5" fmla="*/ 3272 h 28392"/>
                <a:gd name="connsiteX6" fmla="*/ 606424 w 606424"/>
                <a:gd name="connsiteY6" fmla="*/ 14190 h 28392"/>
                <a:gd name="connsiteX7" fmla="*/ 515486 w 606424"/>
                <a:gd name="connsiteY7" fmla="*/ 25133 h 28392"/>
                <a:gd name="connsiteX8" fmla="*/ 303212 w 606424"/>
                <a:gd name="connsiteY8" fmla="*/ 28392 h 28392"/>
                <a:gd name="connsiteX9" fmla="*/ 14812 w 606424"/>
                <a:gd name="connsiteY9" fmla="*/ 14190 h 28392"/>
                <a:gd name="connsiteX10" fmla="*/ 303212 w 606424"/>
                <a:gd name="connsiteY10" fmla="*/ 22188 h 28392"/>
                <a:gd name="connsiteX11" fmla="*/ 591740 w 606424"/>
                <a:gd name="connsiteY11" fmla="*/ 14215 h 28392"/>
                <a:gd name="connsiteX12" fmla="*/ 303212 w 606424"/>
                <a:gd name="connsiteY12" fmla="*/ 6205 h 28392"/>
                <a:gd name="connsiteX13" fmla="*/ 14812 w 606424"/>
                <a:gd name="connsiteY13" fmla="*/ 14190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24" h="28392">
                  <a:moveTo>
                    <a:pt x="303212" y="28392"/>
                  </a:moveTo>
                  <a:cubicBezTo>
                    <a:pt x="223176" y="28392"/>
                    <a:pt x="147786" y="27227"/>
                    <a:pt x="90938" y="25121"/>
                  </a:cubicBezTo>
                  <a:cubicBezTo>
                    <a:pt x="0" y="21749"/>
                    <a:pt x="0" y="18076"/>
                    <a:pt x="0" y="14190"/>
                  </a:cubicBezTo>
                  <a:cubicBezTo>
                    <a:pt x="0" y="10304"/>
                    <a:pt x="0" y="6669"/>
                    <a:pt x="90951" y="3259"/>
                  </a:cubicBezTo>
                  <a:cubicBezTo>
                    <a:pt x="147748" y="1153"/>
                    <a:pt x="223138" y="0"/>
                    <a:pt x="303212" y="0"/>
                  </a:cubicBezTo>
                  <a:cubicBezTo>
                    <a:pt x="383286" y="0"/>
                    <a:pt x="458575" y="1166"/>
                    <a:pt x="515486" y="3272"/>
                  </a:cubicBezTo>
                  <a:cubicBezTo>
                    <a:pt x="606424" y="6644"/>
                    <a:pt x="606424" y="10304"/>
                    <a:pt x="606424" y="14190"/>
                  </a:cubicBezTo>
                  <a:cubicBezTo>
                    <a:pt x="606424" y="18076"/>
                    <a:pt x="606424" y="21774"/>
                    <a:pt x="515486" y="25133"/>
                  </a:cubicBezTo>
                  <a:cubicBezTo>
                    <a:pt x="458740" y="27239"/>
                    <a:pt x="383362" y="28392"/>
                    <a:pt x="303212" y="28392"/>
                  </a:cubicBezTo>
                  <a:close/>
                  <a:moveTo>
                    <a:pt x="14812" y="14190"/>
                  </a:moveTo>
                  <a:cubicBezTo>
                    <a:pt x="47481" y="18339"/>
                    <a:pt x="158041" y="22188"/>
                    <a:pt x="303212" y="22188"/>
                  </a:cubicBezTo>
                  <a:cubicBezTo>
                    <a:pt x="452914" y="22188"/>
                    <a:pt x="559933" y="18339"/>
                    <a:pt x="591740" y="14215"/>
                  </a:cubicBezTo>
                  <a:cubicBezTo>
                    <a:pt x="559210" y="10053"/>
                    <a:pt x="448561" y="6205"/>
                    <a:pt x="303212" y="6205"/>
                  </a:cubicBezTo>
                  <a:cubicBezTo>
                    <a:pt x="157863" y="6205"/>
                    <a:pt x="47481" y="10041"/>
                    <a:pt x="14812" y="1419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1269FED0-BE0B-6A49-9345-30C20893820C}"/>
                </a:ext>
              </a:extLst>
            </p:cNvPr>
            <p:cNvSpPr/>
            <p:nvPr/>
          </p:nvSpPr>
          <p:spPr>
            <a:xfrm>
              <a:off x="7794847" y="284166"/>
              <a:ext cx="928959" cy="738994"/>
            </a:xfrm>
            <a:custGeom>
              <a:avLst/>
              <a:gdLst>
                <a:gd name="connsiteX0" fmla="*/ 835862 w 928959"/>
                <a:gd name="connsiteY0" fmla="*/ 129348 h 738994"/>
                <a:gd name="connsiteX1" fmla="*/ 928958 w 928959"/>
                <a:gd name="connsiteY1" fmla="*/ 373724 h 738994"/>
                <a:gd name="connsiteX2" fmla="*/ 687886 w 928959"/>
                <a:gd name="connsiteY2" fmla="*/ 707075 h 738994"/>
                <a:gd name="connsiteX3" fmla="*/ 422255 w 928959"/>
                <a:gd name="connsiteY3" fmla="*/ 738739 h 738994"/>
                <a:gd name="connsiteX4" fmla="*/ 59340 w 928959"/>
                <a:gd name="connsiteY4" fmla="*/ 566442 h 738994"/>
                <a:gd name="connsiteX5" fmla="*/ 36227 w 928959"/>
                <a:gd name="connsiteY5" fmla="*/ 210589 h 738994"/>
                <a:gd name="connsiteX6" fmla="*/ 317571 w 928959"/>
                <a:gd name="connsiteY6" fmla="*/ 11729 h 738994"/>
                <a:gd name="connsiteX7" fmla="*/ 681946 w 928959"/>
                <a:gd name="connsiteY7" fmla="*/ 31485 h 738994"/>
                <a:gd name="connsiteX8" fmla="*/ 835862 w 928959"/>
                <a:gd name="connsiteY8" fmla="*/ 129348 h 73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9" h="738994">
                  <a:moveTo>
                    <a:pt x="835862" y="129348"/>
                  </a:moveTo>
                  <a:cubicBezTo>
                    <a:pt x="896115" y="196817"/>
                    <a:pt x="929237" y="283760"/>
                    <a:pt x="928958" y="373724"/>
                  </a:cubicBezTo>
                  <a:cubicBezTo>
                    <a:pt x="925921" y="523318"/>
                    <a:pt x="830175" y="655713"/>
                    <a:pt x="687886" y="707075"/>
                  </a:cubicBezTo>
                  <a:cubicBezTo>
                    <a:pt x="605502" y="733913"/>
                    <a:pt x="513828" y="740457"/>
                    <a:pt x="422255" y="738739"/>
                  </a:cubicBezTo>
                  <a:cubicBezTo>
                    <a:pt x="276855" y="734716"/>
                    <a:pt x="140403" y="684838"/>
                    <a:pt x="59340" y="566442"/>
                  </a:cubicBezTo>
                  <a:cubicBezTo>
                    <a:pt x="-7725" y="467563"/>
                    <a:pt x="-21432" y="316650"/>
                    <a:pt x="36227" y="210589"/>
                  </a:cubicBezTo>
                  <a:cubicBezTo>
                    <a:pt x="85422" y="102522"/>
                    <a:pt x="197479" y="29968"/>
                    <a:pt x="317571" y="11729"/>
                  </a:cubicBezTo>
                  <a:cubicBezTo>
                    <a:pt x="438981" y="-8966"/>
                    <a:pt x="563560" y="-2211"/>
                    <a:pt x="681946" y="31485"/>
                  </a:cubicBezTo>
                  <a:cubicBezTo>
                    <a:pt x="740568" y="51213"/>
                    <a:pt x="793411" y="84811"/>
                    <a:pt x="835862" y="129348"/>
                  </a:cubicBezTo>
                  <a:close/>
                </a:path>
              </a:pathLst>
            </a:custGeom>
            <a:solidFill>
              <a:srgbClr val="CA0538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976663B8-3207-1344-BBE2-ACA0BFDCA098}"/>
                </a:ext>
              </a:extLst>
            </p:cNvPr>
            <p:cNvSpPr/>
            <p:nvPr/>
          </p:nvSpPr>
          <p:spPr>
            <a:xfrm>
              <a:off x="7833276" y="310649"/>
              <a:ext cx="674105" cy="476179"/>
            </a:xfrm>
            <a:custGeom>
              <a:avLst/>
              <a:gdLst>
                <a:gd name="connsiteX0" fmla="*/ 674105 w 674105"/>
                <a:gd name="connsiteY0" fmla="*/ 47259 h 476179"/>
                <a:gd name="connsiteX1" fmla="*/ 53199 w 674105"/>
                <a:gd name="connsiteY1" fmla="*/ 164301 h 476179"/>
                <a:gd name="connsiteX2" fmla="*/ 23043 w 674105"/>
                <a:gd name="connsiteY2" fmla="*/ 476180 h 476179"/>
                <a:gd name="connsiteX3" fmla="*/ 674105 w 674105"/>
                <a:gd name="connsiteY3" fmla="*/ 47259 h 47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4105" h="476179">
                  <a:moveTo>
                    <a:pt x="674105" y="47259"/>
                  </a:moveTo>
                  <a:cubicBezTo>
                    <a:pt x="674105" y="47259"/>
                    <a:pt x="245737" y="-115976"/>
                    <a:pt x="53199" y="164301"/>
                  </a:cubicBezTo>
                  <a:cubicBezTo>
                    <a:pt x="-45202" y="307555"/>
                    <a:pt x="23043" y="476180"/>
                    <a:pt x="23043" y="476180"/>
                  </a:cubicBezTo>
                  <a:cubicBezTo>
                    <a:pt x="23043" y="476180"/>
                    <a:pt x="9323" y="-76226"/>
                    <a:pt x="674105" y="47259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38C16A3A-B47C-5541-A9A8-D6C0A9B49BE9}"/>
                </a:ext>
              </a:extLst>
            </p:cNvPr>
            <p:cNvSpPr/>
            <p:nvPr/>
          </p:nvSpPr>
          <p:spPr>
            <a:xfrm>
              <a:off x="7952138" y="416172"/>
              <a:ext cx="622117" cy="420341"/>
            </a:xfrm>
            <a:custGeom>
              <a:avLst/>
              <a:gdLst>
                <a:gd name="connsiteX0" fmla="*/ 244162 w 622117"/>
                <a:gd name="connsiteY0" fmla="*/ 5265 h 420341"/>
                <a:gd name="connsiteX1" fmla="*/ 190234 w 622117"/>
                <a:gd name="connsiteY1" fmla="*/ 115337 h 420341"/>
                <a:gd name="connsiteX2" fmla="*/ 166119 w 622117"/>
                <a:gd name="connsiteY2" fmla="*/ 372750 h 420341"/>
                <a:gd name="connsiteX3" fmla="*/ 174546 w 622117"/>
                <a:gd name="connsiteY3" fmla="*/ 380271 h 420341"/>
                <a:gd name="connsiteX4" fmla="*/ 219273 w 622117"/>
                <a:gd name="connsiteY4" fmla="*/ 341336 h 420341"/>
                <a:gd name="connsiteX5" fmla="*/ 302545 w 622117"/>
                <a:gd name="connsiteY5" fmla="*/ 23617 h 420341"/>
                <a:gd name="connsiteX6" fmla="*/ 333806 w 622117"/>
                <a:gd name="connsiteY6" fmla="*/ 464 h 420341"/>
                <a:gd name="connsiteX7" fmla="*/ 335633 w 622117"/>
                <a:gd name="connsiteY7" fmla="*/ 7032 h 420341"/>
                <a:gd name="connsiteX8" fmla="*/ 302964 w 622117"/>
                <a:gd name="connsiteY8" fmla="*/ 48950 h 420341"/>
                <a:gd name="connsiteX9" fmla="*/ 293445 w 622117"/>
                <a:gd name="connsiteY9" fmla="*/ 78772 h 420341"/>
                <a:gd name="connsiteX10" fmla="*/ 257717 w 622117"/>
                <a:gd name="connsiteY10" fmla="*/ 371697 h 420341"/>
                <a:gd name="connsiteX11" fmla="*/ 269927 w 622117"/>
                <a:gd name="connsiteY11" fmla="*/ 380221 h 420341"/>
                <a:gd name="connsiteX12" fmla="*/ 308980 w 622117"/>
                <a:gd name="connsiteY12" fmla="*/ 342176 h 420341"/>
                <a:gd name="connsiteX13" fmla="*/ 378228 w 622117"/>
                <a:gd name="connsiteY13" fmla="*/ 200628 h 420341"/>
                <a:gd name="connsiteX14" fmla="*/ 448161 w 622117"/>
                <a:gd name="connsiteY14" fmla="*/ 198221 h 420341"/>
                <a:gd name="connsiteX15" fmla="*/ 429681 w 622117"/>
                <a:gd name="connsiteY15" fmla="*/ 360127 h 420341"/>
                <a:gd name="connsiteX16" fmla="*/ 437030 w 622117"/>
                <a:gd name="connsiteY16" fmla="*/ 382690 h 420341"/>
                <a:gd name="connsiteX17" fmla="*/ 444645 w 622117"/>
                <a:gd name="connsiteY17" fmla="*/ 380885 h 420341"/>
                <a:gd name="connsiteX18" fmla="*/ 491339 w 622117"/>
                <a:gd name="connsiteY18" fmla="*/ 333527 h 420341"/>
                <a:gd name="connsiteX19" fmla="*/ 528362 w 622117"/>
                <a:gd name="connsiteY19" fmla="*/ 108054 h 420341"/>
                <a:gd name="connsiteX20" fmla="*/ 593332 w 622117"/>
                <a:gd name="connsiteY20" fmla="*/ 24331 h 420341"/>
                <a:gd name="connsiteX21" fmla="*/ 580031 w 622117"/>
                <a:gd name="connsiteY21" fmla="*/ 39536 h 420341"/>
                <a:gd name="connsiteX22" fmla="*/ 525455 w 622117"/>
                <a:gd name="connsiteY22" fmla="*/ 215770 h 420341"/>
                <a:gd name="connsiteX23" fmla="*/ 546295 w 622117"/>
                <a:gd name="connsiteY23" fmla="*/ 207522 h 420341"/>
                <a:gd name="connsiteX24" fmla="*/ 590083 w 622117"/>
                <a:gd name="connsiteY24" fmla="*/ 171383 h 420341"/>
                <a:gd name="connsiteX25" fmla="*/ 609717 w 622117"/>
                <a:gd name="connsiteY25" fmla="*/ 190299 h 420341"/>
                <a:gd name="connsiteX26" fmla="*/ 587481 w 622117"/>
                <a:gd name="connsiteY26" fmla="*/ 352167 h 420341"/>
                <a:gd name="connsiteX27" fmla="*/ 515873 w 622117"/>
                <a:gd name="connsiteY27" fmla="*/ 418817 h 420341"/>
                <a:gd name="connsiteX28" fmla="*/ 500642 w 622117"/>
                <a:gd name="connsiteY28" fmla="*/ 417313 h 420341"/>
                <a:gd name="connsiteX29" fmla="*/ 492024 w 622117"/>
                <a:gd name="connsiteY29" fmla="*/ 355990 h 420341"/>
                <a:gd name="connsiteX30" fmla="*/ 489207 w 622117"/>
                <a:gd name="connsiteY30" fmla="*/ 354085 h 420341"/>
                <a:gd name="connsiteX31" fmla="*/ 416862 w 622117"/>
                <a:gd name="connsiteY31" fmla="*/ 419958 h 420341"/>
                <a:gd name="connsiteX32" fmla="*/ 408397 w 622117"/>
                <a:gd name="connsiteY32" fmla="*/ 418015 h 420341"/>
                <a:gd name="connsiteX33" fmla="*/ 398345 w 622117"/>
                <a:gd name="connsiteY33" fmla="*/ 380409 h 420341"/>
                <a:gd name="connsiteX34" fmla="*/ 344175 w 622117"/>
                <a:gd name="connsiteY34" fmla="*/ 420221 h 420341"/>
                <a:gd name="connsiteX35" fmla="*/ 325493 w 622117"/>
                <a:gd name="connsiteY35" fmla="*/ 399989 h 420341"/>
                <a:gd name="connsiteX36" fmla="*/ 310719 w 622117"/>
                <a:gd name="connsiteY36" fmla="*/ 359011 h 420341"/>
                <a:gd name="connsiteX37" fmla="*/ 242182 w 622117"/>
                <a:gd name="connsiteY37" fmla="*/ 419306 h 420341"/>
                <a:gd name="connsiteX38" fmla="*/ 228221 w 622117"/>
                <a:gd name="connsiteY38" fmla="*/ 408852 h 420341"/>
                <a:gd name="connsiteX39" fmla="*/ 220047 w 622117"/>
                <a:gd name="connsiteY39" fmla="*/ 358222 h 420341"/>
                <a:gd name="connsiteX40" fmla="*/ 216240 w 622117"/>
                <a:gd name="connsiteY40" fmla="*/ 359124 h 420341"/>
                <a:gd name="connsiteX41" fmla="*/ 149607 w 622117"/>
                <a:gd name="connsiteY41" fmla="*/ 419406 h 420341"/>
                <a:gd name="connsiteX42" fmla="*/ 136470 w 622117"/>
                <a:gd name="connsiteY42" fmla="*/ 410857 h 420341"/>
                <a:gd name="connsiteX43" fmla="*/ 127586 w 622117"/>
                <a:gd name="connsiteY43" fmla="*/ 346138 h 420341"/>
                <a:gd name="connsiteX44" fmla="*/ 123778 w 622117"/>
                <a:gd name="connsiteY44" fmla="*/ 346138 h 420341"/>
                <a:gd name="connsiteX45" fmla="*/ 29616 w 622117"/>
                <a:gd name="connsiteY45" fmla="*/ 420234 h 420341"/>
                <a:gd name="connsiteX46" fmla="*/ 19298 w 622117"/>
                <a:gd name="connsiteY46" fmla="*/ 412637 h 420341"/>
                <a:gd name="connsiteX47" fmla="*/ 41090 w 622117"/>
                <a:gd name="connsiteY47" fmla="*/ 197368 h 420341"/>
                <a:gd name="connsiteX48" fmla="*/ 83177 w 622117"/>
                <a:gd name="connsiteY48" fmla="*/ 178766 h 420341"/>
                <a:gd name="connsiteX49" fmla="*/ 102367 w 622117"/>
                <a:gd name="connsiteY49" fmla="*/ 208224 h 420341"/>
                <a:gd name="connsiteX50" fmla="*/ 102100 w 622117"/>
                <a:gd name="connsiteY50" fmla="*/ 239136 h 420341"/>
                <a:gd name="connsiteX51" fmla="*/ 36368 w 622117"/>
                <a:gd name="connsiteY51" fmla="*/ 299443 h 420341"/>
                <a:gd name="connsiteX52" fmla="*/ 46167 w 622117"/>
                <a:gd name="connsiteY52" fmla="*/ 383831 h 420341"/>
                <a:gd name="connsiteX53" fmla="*/ 58592 w 622117"/>
                <a:gd name="connsiteY53" fmla="*/ 385649 h 420341"/>
                <a:gd name="connsiteX54" fmla="*/ 60331 w 622117"/>
                <a:gd name="connsiteY54" fmla="*/ 383969 h 420341"/>
                <a:gd name="connsiteX55" fmla="*/ 127954 w 622117"/>
                <a:gd name="connsiteY55" fmla="*/ 320866 h 420341"/>
                <a:gd name="connsiteX56" fmla="*/ 202291 w 622117"/>
                <a:gd name="connsiteY56" fmla="*/ 37681 h 420341"/>
                <a:gd name="connsiteX57" fmla="*/ 243007 w 622117"/>
                <a:gd name="connsiteY57" fmla="*/ 0 h 420341"/>
                <a:gd name="connsiteX58" fmla="*/ 244974 w 622117"/>
                <a:gd name="connsiteY58" fmla="*/ 4024 h 420341"/>
                <a:gd name="connsiteX59" fmla="*/ 244162 w 622117"/>
                <a:gd name="connsiteY59" fmla="*/ 5265 h 420341"/>
                <a:gd name="connsiteX60" fmla="*/ 77224 w 622117"/>
                <a:gd name="connsiteY60" fmla="*/ 185510 h 420341"/>
                <a:gd name="connsiteX61" fmla="*/ 63936 w 622117"/>
                <a:gd name="connsiteY61" fmla="*/ 193821 h 420341"/>
                <a:gd name="connsiteX62" fmla="*/ 39516 w 622117"/>
                <a:gd name="connsiteY62" fmla="*/ 281656 h 420341"/>
                <a:gd name="connsiteX63" fmla="*/ 80448 w 622117"/>
                <a:gd name="connsiteY63" fmla="*/ 246419 h 420341"/>
                <a:gd name="connsiteX64" fmla="*/ 86553 w 622117"/>
                <a:gd name="connsiteY64" fmla="*/ 197770 h 420341"/>
                <a:gd name="connsiteX65" fmla="*/ 77224 w 622117"/>
                <a:gd name="connsiteY65" fmla="*/ 185510 h 420341"/>
                <a:gd name="connsiteX66" fmla="*/ 415111 w 622117"/>
                <a:gd name="connsiteY66" fmla="*/ 203536 h 420341"/>
                <a:gd name="connsiteX67" fmla="*/ 378215 w 622117"/>
                <a:gd name="connsiteY67" fmla="*/ 212574 h 420341"/>
                <a:gd name="connsiteX68" fmla="*/ 346891 w 622117"/>
                <a:gd name="connsiteY68" fmla="*/ 331271 h 420341"/>
                <a:gd name="connsiteX69" fmla="*/ 360611 w 622117"/>
                <a:gd name="connsiteY69" fmla="*/ 381976 h 420341"/>
                <a:gd name="connsiteX70" fmla="*/ 395730 w 622117"/>
                <a:gd name="connsiteY70" fmla="*/ 361681 h 420341"/>
                <a:gd name="connsiteX71" fmla="*/ 416037 w 622117"/>
                <a:gd name="connsiteY71" fmla="*/ 208224 h 420341"/>
                <a:gd name="connsiteX72" fmla="*/ 566146 w 622117"/>
                <a:gd name="connsiteY72" fmla="*/ 207698 h 420341"/>
                <a:gd name="connsiteX73" fmla="*/ 530887 w 622117"/>
                <a:gd name="connsiteY73" fmla="*/ 242997 h 420341"/>
                <a:gd name="connsiteX74" fmla="*/ 529618 w 622117"/>
                <a:gd name="connsiteY74" fmla="*/ 378792 h 420341"/>
                <a:gd name="connsiteX75" fmla="*/ 533324 w 622117"/>
                <a:gd name="connsiteY75" fmla="*/ 388219 h 420341"/>
                <a:gd name="connsiteX76" fmla="*/ 558899 w 622117"/>
                <a:gd name="connsiteY76" fmla="*/ 370995 h 420341"/>
                <a:gd name="connsiteX77" fmla="*/ 581871 w 622117"/>
                <a:gd name="connsiteY77" fmla="*/ 223730 h 420341"/>
                <a:gd name="connsiteX78" fmla="*/ 566158 w 622117"/>
                <a:gd name="connsiteY78" fmla="*/ 207710 h 420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117" h="420341">
                  <a:moveTo>
                    <a:pt x="244162" y="5265"/>
                  </a:moveTo>
                  <a:cubicBezTo>
                    <a:pt x="206086" y="28342"/>
                    <a:pt x="203801" y="76089"/>
                    <a:pt x="190234" y="115337"/>
                  </a:cubicBezTo>
                  <a:cubicBezTo>
                    <a:pt x="169685" y="194774"/>
                    <a:pt x="154696" y="286444"/>
                    <a:pt x="166119" y="372750"/>
                  </a:cubicBezTo>
                  <a:cubicBezTo>
                    <a:pt x="167666" y="376363"/>
                    <a:pt x="170752" y="379115"/>
                    <a:pt x="174546" y="380271"/>
                  </a:cubicBezTo>
                  <a:cubicBezTo>
                    <a:pt x="191170" y="369352"/>
                    <a:pt x="206217" y="356253"/>
                    <a:pt x="219273" y="341336"/>
                  </a:cubicBezTo>
                  <a:cubicBezTo>
                    <a:pt x="227904" y="228092"/>
                    <a:pt x="248807" y="118709"/>
                    <a:pt x="302545" y="23617"/>
                  </a:cubicBezTo>
                  <a:cubicBezTo>
                    <a:pt x="309823" y="12451"/>
                    <a:pt x="320916" y="4236"/>
                    <a:pt x="333806" y="464"/>
                  </a:cubicBezTo>
                  <a:cubicBezTo>
                    <a:pt x="336636" y="464"/>
                    <a:pt x="337613" y="5165"/>
                    <a:pt x="335633" y="7032"/>
                  </a:cubicBezTo>
                  <a:cubicBezTo>
                    <a:pt x="316443" y="13977"/>
                    <a:pt x="309780" y="30298"/>
                    <a:pt x="302964" y="48950"/>
                  </a:cubicBezTo>
                  <a:cubicBezTo>
                    <a:pt x="299197" y="58697"/>
                    <a:pt x="296018" y="68655"/>
                    <a:pt x="293445" y="78772"/>
                  </a:cubicBezTo>
                  <a:cubicBezTo>
                    <a:pt x="267185" y="170380"/>
                    <a:pt x="246358" y="270399"/>
                    <a:pt x="257717" y="371697"/>
                  </a:cubicBezTo>
                  <a:cubicBezTo>
                    <a:pt x="259570" y="376398"/>
                    <a:pt x="264241" y="382064"/>
                    <a:pt x="269927" y="380221"/>
                  </a:cubicBezTo>
                  <a:cubicBezTo>
                    <a:pt x="285184" y="369996"/>
                    <a:pt x="298419" y="357102"/>
                    <a:pt x="308980" y="342176"/>
                  </a:cubicBezTo>
                  <a:cubicBezTo>
                    <a:pt x="303214" y="285875"/>
                    <a:pt x="329984" y="231155"/>
                    <a:pt x="378228" y="200628"/>
                  </a:cubicBezTo>
                  <a:cubicBezTo>
                    <a:pt x="399780" y="188729"/>
                    <a:pt x="425822" y="187833"/>
                    <a:pt x="448161" y="198221"/>
                  </a:cubicBezTo>
                  <a:cubicBezTo>
                    <a:pt x="436742" y="251477"/>
                    <a:pt x="430553" y="305697"/>
                    <a:pt x="429681" y="360127"/>
                  </a:cubicBezTo>
                  <a:cubicBezTo>
                    <a:pt x="430316" y="366633"/>
                    <a:pt x="429529" y="377915"/>
                    <a:pt x="437030" y="382690"/>
                  </a:cubicBezTo>
                  <a:lnTo>
                    <a:pt x="444645" y="380885"/>
                  </a:lnTo>
                  <a:lnTo>
                    <a:pt x="491339" y="333527"/>
                  </a:lnTo>
                  <a:cubicBezTo>
                    <a:pt x="498793" y="257666"/>
                    <a:pt x="511159" y="182354"/>
                    <a:pt x="528362" y="108054"/>
                  </a:cubicBezTo>
                  <a:cubicBezTo>
                    <a:pt x="539048" y="74435"/>
                    <a:pt x="563899" y="27954"/>
                    <a:pt x="593332" y="24331"/>
                  </a:cubicBezTo>
                  <a:cubicBezTo>
                    <a:pt x="604171" y="33808"/>
                    <a:pt x="592228" y="28092"/>
                    <a:pt x="580031" y="39536"/>
                  </a:cubicBezTo>
                  <a:cubicBezTo>
                    <a:pt x="544722" y="77957"/>
                    <a:pt x="531725" y="152116"/>
                    <a:pt x="525455" y="215770"/>
                  </a:cubicBezTo>
                  <a:cubicBezTo>
                    <a:pt x="532702" y="217738"/>
                    <a:pt x="534073" y="216911"/>
                    <a:pt x="546295" y="207522"/>
                  </a:cubicBezTo>
                  <a:lnTo>
                    <a:pt x="590083" y="171383"/>
                  </a:lnTo>
                  <a:cubicBezTo>
                    <a:pt x="600465" y="170530"/>
                    <a:pt x="606011" y="182765"/>
                    <a:pt x="609717" y="190299"/>
                  </a:cubicBezTo>
                  <a:cubicBezTo>
                    <a:pt x="632199" y="244293"/>
                    <a:pt x="623715" y="306041"/>
                    <a:pt x="587481" y="352167"/>
                  </a:cubicBezTo>
                  <a:cubicBezTo>
                    <a:pt x="569051" y="379470"/>
                    <a:pt x="544562" y="402266"/>
                    <a:pt x="515873" y="418817"/>
                  </a:cubicBezTo>
                  <a:cubicBezTo>
                    <a:pt x="504450" y="422578"/>
                    <a:pt x="501378" y="418002"/>
                    <a:pt x="500642" y="417313"/>
                  </a:cubicBezTo>
                  <a:cubicBezTo>
                    <a:pt x="492227" y="406833"/>
                    <a:pt x="493712" y="378454"/>
                    <a:pt x="492024" y="355990"/>
                  </a:cubicBezTo>
                  <a:lnTo>
                    <a:pt x="489207" y="354085"/>
                  </a:lnTo>
                  <a:lnTo>
                    <a:pt x="416862" y="419958"/>
                  </a:lnTo>
                  <a:cubicBezTo>
                    <a:pt x="414984" y="419958"/>
                    <a:pt x="410059" y="421211"/>
                    <a:pt x="408397" y="418015"/>
                  </a:cubicBezTo>
                  <a:cubicBezTo>
                    <a:pt x="402772" y="406183"/>
                    <a:pt x="399365" y="393442"/>
                    <a:pt x="398345" y="380409"/>
                  </a:cubicBezTo>
                  <a:cubicBezTo>
                    <a:pt x="379307" y="391490"/>
                    <a:pt x="363150" y="409140"/>
                    <a:pt x="344175" y="420221"/>
                  </a:cubicBezTo>
                  <a:cubicBezTo>
                    <a:pt x="333768" y="421061"/>
                    <a:pt x="329084" y="408438"/>
                    <a:pt x="325493" y="399989"/>
                  </a:cubicBezTo>
                  <a:cubicBezTo>
                    <a:pt x="317357" y="379419"/>
                    <a:pt x="316608" y="374655"/>
                    <a:pt x="310719" y="359011"/>
                  </a:cubicBezTo>
                  <a:lnTo>
                    <a:pt x="242182" y="419306"/>
                  </a:lnTo>
                  <a:cubicBezTo>
                    <a:pt x="234567" y="423067"/>
                    <a:pt x="230176" y="414844"/>
                    <a:pt x="228221" y="408852"/>
                  </a:cubicBezTo>
                  <a:cubicBezTo>
                    <a:pt x="224377" y="392170"/>
                    <a:pt x="221646" y="375257"/>
                    <a:pt x="220047" y="358222"/>
                  </a:cubicBezTo>
                  <a:lnTo>
                    <a:pt x="216240" y="359124"/>
                  </a:lnTo>
                  <a:lnTo>
                    <a:pt x="149607" y="419406"/>
                  </a:lnTo>
                  <a:cubicBezTo>
                    <a:pt x="142550" y="421512"/>
                    <a:pt x="139986" y="418755"/>
                    <a:pt x="136470" y="410857"/>
                  </a:cubicBezTo>
                  <a:cubicBezTo>
                    <a:pt x="130416" y="397269"/>
                    <a:pt x="130696" y="366883"/>
                    <a:pt x="127586" y="346138"/>
                  </a:cubicBezTo>
                  <a:lnTo>
                    <a:pt x="123778" y="346138"/>
                  </a:lnTo>
                  <a:cubicBezTo>
                    <a:pt x="92404" y="370193"/>
                    <a:pt x="64722" y="401807"/>
                    <a:pt x="29616" y="420234"/>
                  </a:cubicBezTo>
                  <a:cubicBezTo>
                    <a:pt x="24895" y="421111"/>
                    <a:pt x="21151" y="416473"/>
                    <a:pt x="19298" y="412637"/>
                  </a:cubicBezTo>
                  <a:cubicBezTo>
                    <a:pt x="-11265" y="346777"/>
                    <a:pt x="-6619" y="252185"/>
                    <a:pt x="41090" y="197368"/>
                  </a:cubicBezTo>
                  <a:cubicBezTo>
                    <a:pt x="46839" y="191301"/>
                    <a:pt x="63859" y="170593"/>
                    <a:pt x="83177" y="178766"/>
                  </a:cubicBezTo>
                  <a:cubicBezTo>
                    <a:pt x="94066" y="182527"/>
                    <a:pt x="99169" y="191163"/>
                    <a:pt x="102367" y="208224"/>
                  </a:cubicBezTo>
                  <a:cubicBezTo>
                    <a:pt x="105644" y="218289"/>
                    <a:pt x="105550" y="229128"/>
                    <a:pt x="102100" y="239136"/>
                  </a:cubicBezTo>
                  <a:lnTo>
                    <a:pt x="36368" y="299443"/>
                  </a:lnTo>
                  <a:cubicBezTo>
                    <a:pt x="31891" y="327931"/>
                    <a:pt x="35276" y="357085"/>
                    <a:pt x="46167" y="383831"/>
                  </a:cubicBezTo>
                  <a:cubicBezTo>
                    <a:pt x="49091" y="387721"/>
                    <a:pt x="54653" y="388534"/>
                    <a:pt x="58592" y="385649"/>
                  </a:cubicBezTo>
                  <a:cubicBezTo>
                    <a:pt x="59251" y="385174"/>
                    <a:pt x="59836" y="384608"/>
                    <a:pt x="60331" y="383969"/>
                  </a:cubicBezTo>
                  <a:lnTo>
                    <a:pt x="127954" y="320866"/>
                  </a:lnTo>
                  <a:cubicBezTo>
                    <a:pt x="138298" y="220734"/>
                    <a:pt x="157146" y="123460"/>
                    <a:pt x="202291" y="37681"/>
                  </a:cubicBezTo>
                  <a:cubicBezTo>
                    <a:pt x="207634" y="27791"/>
                    <a:pt x="225365" y="752"/>
                    <a:pt x="243007" y="0"/>
                  </a:cubicBezTo>
                  <a:cubicBezTo>
                    <a:pt x="244671" y="580"/>
                    <a:pt x="245549" y="2377"/>
                    <a:pt x="244974" y="4024"/>
                  </a:cubicBezTo>
                  <a:cubicBezTo>
                    <a:pt x="244800" y="4491"/>
                    <a:pt x="244523" y="4916"/>
                    <a:pt x="244162" y="5265"/>
                  </a:cubicBezTo>
                  <a:close/>
                  <a:moveTo>
                    <a:pt x="77224" y="185510"/>
                  </a:moveTo>
                  <a:cubicBezTo>
                    <a:pt x="72275" y="187374"/>
                    <a:pt x="67757" y="190199"/>
                    <a:pt x="63936" y="193821"/>
                  </a:cubicBezTo>
                  <a:cubicBezTo>
                    <a:pt x="49883" y="221174"/>
                    <a:pt x="41576" y="251051"/>
                    <a:pt x="39516" y="281656"/>
                  </a:cubicBezTo>
                  <a:cubicBezTo>
                    <a:pt x="54645" y="269747"/>
                    <a:pt x="68060" y="257563"/>
                    <a:pt x="80448" y="246419"/>
                  </a:cubicBezTo>
                  <a:lnTo>
                    <a:pt x="86553" y="197770"/>
                  </a:lnTo>
                  <a:cubicBezTo>
                    <a:pt x="89459" y="190311"/>
                    <a:pt x="84776" y="185585"/>
                    <a:pt x="77224" y="185510"/>
                  </a:cubicBezTo>
                  <a:close/>
                  <a:moveTo>
                    <a:pt x="415111" y="203536"/>
                  </a:moveTo>
                  <a:cubicBezTo>
                    <a:pt x="401949" y="195927"/>
                    <a:pt x="388711" y="202746"/>
                    <a:pt x="378215" y="212574"/>
                  </a:cubicBezTo>
                  <a:cubicBezTo>
                    <a:pt x="347754" y="241405"/>
                    <a:pt x="343502" y="289039"/>
                    <a:pt x="346891" y="331271"/>
                  </a:cubicBezTo>
                  <a:cubicBezTo>
                    <a:pt x="346891" y="335307"/>
                    <a:pt x="349125" y="369503"/>
                    <a:pt x="360611" y="381976"/>
                  </a:cubicBezTo>
                  <a:cubicBezTo>
                    <a:pt x="374915" y="383229"/>
                    <a:pt x="386211" y="370030"/>
                    <a:pt x="395730" y="361681"/>
                  </a:cubicBezTo>
                  <a:cubicBezTo>
                    <a:pt x="400921" y="310211"/>
                    <a:pt x="407039" y="258741"/>
                    <a:pt x="416037" y="208224"/>
                  </a:cubicBezTo>
                  <a:close/>
                  <a:moveTo>
                    <a:pt x="566146" y="207698"/>
                  </a:moveTo>
                  <a:cubicBezTo>
                    <a:pt x="549725" y="213795"/>
                    <a:pt x="536837" y="226697"/>
                    <a:pt x="530887" y="242997"/>
                  </a:cubicBezTo>
                  <a:cubicBezTo>
                    <a:pt x="520125" y="285993"/>
                    <a:pt x="527207" y="334768"/>
                    <a:pt x="529618" y="378792"/>
                  </a:cubicBezTo>
                  <a:lnTo>
                    <a:pt x="533324" y="388219"/>
                  </a:lnTo>
                  <a:cubicBezTo>
                    <a:pt x="542615" y="387893"/>
                    <a:pt x="553784" y="376937"/>
                    <a:pt x="558899" y="370995"/>
                  </a:cubicBezTo>
                  <a:cubicBezTo>
                    <a:pt x="596556" y="329628"/>
                    <a:pt x="589969" y="272518"/>
                    <a:pt x="581871" y="223730"/>
                  </a:cubicBezTo>
                  <a:cubicBezTo>
                    <a:pt x="581224" y="219970"/>
                    <a:pt x="579333" y="203749"/>
                    <a:pt x="566158" y="207710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B1A8C477-7CB9-5D42-BA07-9F4EB2FA895A}"/>
                </a:ext>
              </a:extLst>
            </p:cNvPr>
            <p:cNvSpPr/>
            <p:nvPr/>
          </p:nvSpPr>
          <p:spPr>
            <a:xfrm>
              <a:off x="7944028" y="412486"/>
              <a:ext cx="622096" cy="420416"/>
            </a:xfrm>
            <a:custGeom>
              <a:avLst/>
              <a:gdLst>
                <a:gd name="connsiteX0" fmla="*/ 244048 w 622096"/>
                <a:gd name="connsiteY0" fmla="*/ 5277 h 420416"/>
                <a:gd name="connsiteX1" fmla="*/ 190170 w 622096"/>
                <a:gd name="connsiteY1" fmla="*/ 115337 h 420416"/>
                <a:gd name="connsiteX2" fmla="*/ 166055 w 622096"/>
                <a:gd name="connsiteY2" fmla="*/ 372775 h 420416"/>
                <a:gd name="connsiteX3" fmla="*/ 174496 w 622096"/>
                <a:gd name="connsiteY3" fmla="*/ 380296 h 420416"/>
                <a:gd name="connsiteX4" fmla="*/ 219273 w 622096"/>
                <a:gd name="connsiteY4" fmla="*/ 341437 h 420416"/>
                <a:gd name="connsiteX5" fmla="*/ 302545 w 622096"/>
                <a:gd name="connsiteY5" fmla="*/ 23667 h 420416"/>
                <a:gd name="connsiteX6" fmla="*/ 333806 w 622096"/>
                <a:gd name="connsiteY6" fmla="*/ 514 h 420416"/>
                <a:gd name="connsiteX7" fmla="*/ 335633 w 622096"/>
                <a:gd name="connsiteY7" fmla="*/ 7095 h 420416"/>
                <a:gd name="connsiteX8" fmla="*/ 302964 w 622096"/>
                <a:gd name="connsiteY8" fmla="*/ 49013 h 420416"/>
                <a:gd name="connsiteX9" fmla="*/ 293445 w 622096"/>
                <a:gd name="connsiteY9" fmla="*/ 78835 h 420416"/>
                <a:gd name="connsiteX10" fmla="*/ 257717 w 622096"/>
                <a:gd name="connsiteY10" fmla="*/ 371772 h 420416"/>
                <a:gd name="connsiteX11" fmla="*/ 269927 w 622096"/>
                <a:gd name="connsiteY11" fmla="*/ 380296 h 420416"/>
                <a:gd name="connsiteX12" fmla="*/ 308980 w 622096"/>
                <a:gd name="connsiteY12" fmla="*/ 342239 h 420416"/>
                <a:gd name="connsiteX13" fmla="*/ 378228 w 622096"/>
                <a:gd name="connsiteY13" fmla="*/ 200690 h 420416"/>
                <a:gd name="connsiteX14" fmla="*/ 448161 w 622096"/>
                <a:gd name="connsiteY14" fmla="*/ 198284 h 420416"/>
                <a:gd name="connsiteX15" fmla="*/ 429681 w 622096"/>
                <a:gd name="connsiteY15" fmla="*/ 360202 h 420416"/>
                <a:gd name="connsiteX16" fmla="*/ 437030 w 622096"/>
                <a:gd name="connsiteY16" fmla="*/ 382766 h 420416"/>
                <a:gd name="connsiteX17" fmla="*/ 444645 w 622096"/>
                <a:gd name="connsiteY17" fmla="*/ 380961 h 420416"/>
                <a:gd name="connsiteX18" fmla="*/ 491339 w 622096"/>
                <a:gd name="connsiteY18" fmla="*/ 333590 h 420416"/>
                <a:gd name="connsiteX19" fmla="*/ 528362 w 622096"/>
                <a:gd name="connsiteY19" fmla="*/ 108092 h 420416"/>
                <a:gd name="connsiteX20" fmla="*/ 593332 w 622096"/>
                <a:gd name="connsiteY20" fmla="*/ 24369 h 420416"/>
                <a:gd name="connsiteX21" fmla="*/ 580031 w 622096"/>
                <a:gd name="connsiteY21" fmla="*/ 39574 h 420416"/>
                <a:gd name="connsiteX22" fmla="*/ 525455 w 622096"/>
                <a:gd name="connsiteY22" fmla="*/ 215808 h 420416"/>
                <a:gd name="connsiteX23" fmla="*/ 546295 w 622096"/>
                <a:gd name="connsiteY23" fmla="*/ 207560 h 420416"/>
                <a:gd name="connsiteX24" fmla="*/ 590083 w 622096"/>
                <a:gd name="connsiteY24" fmla="*/ 171420 h 420416"/>
                <a:gd name="connsiteX25" fmla="*/ 609717 w 622096"/>
                <a:gd name="connsiteY25" fmla="*/ 190324 h 420416"/>
                <a:gd name="connsiteX26" fmla="*/ 587443 w 622096"/>
                <a:gd name="connsiteY26" fmla="*/ 352167 h 420416"/>
                <a:gd name="connsiteX27" fmla="*/ 515835 w 622096"/>
                <a:gd name="connsiteY27" fmla="*/ 418842 h 420416"/>
                <a:gd name="connsiteX28" fmla="*/ 500604 w 622096"/>
                <a:gd name="connsiteY28" fmla="*/ 417338 h 420416"/>
                <a:gd name="connsiteX29" fmla="*/ 491986 w 622096"/>
                <a:gd name="connsiteY29" fmla="*/ 356003 h 420416"/>
                <a:gd name="connsiteX30" fmla="*/ 489169 w 622096"/>
                <a:gd name="connsiteY30" fmla="*/ 354097 h 420416"/>
                <a:gd name="connsiteX31" fmla="*/ 416824 w 622096"/>
                <a:gd name="connsiteY31" fmla="*/ 419983 h 420416"/>
                <a:gd name="connsiteX32" fmla="*/ 408359 w 622096"/>
                <a:gd name="connsiteY32" fmla="*/ 418040 h 420416"/>
                <a:gd name="connsiteX33" fmla="*/ 398307 w 622096"/>
                <a:gd name="connsiteY33" fmla="*/ 380434 h 420416"/>
                <a:gd name="connsiteX34" fmla="*/ 344137 w 622096"/>
                <a:gd name="connsiteY34" fmla="*/ 420246 h 420416"/>
                <a:gd name="connsiteX35" fmla="*/ 325454 w 622096"/>
                <a:gd name="connsiteY35" fmla="*/ 400014 h 420416"/>
                <a:gd name="connsiteX36" fmla="*/ 310681 w 622096"/>
                <a:gd name="connsiteY36" fmla="*/ 359036 h 420416"/>
                <a:gd name="connsiteX37" fmla="*/ 242144 w 622096"/>
                <a:gd name="connsiteY37" fmla="*/ 419331 h 420416"/>
                <a:gd name="connsiteX38" fmla="*/ 228183 w 622096"/>
                <a:gd name="connsiteY38" fmla="*/ 408864 h 420416"/>
                <a:gd name="connsiteX39" fmla="*/ 220009 w 622096"/>
                <a:gd name="connsiteY39" fmla="*/ 358222 h 420416"/>
                <a:gd name="connsiteX40" fmla="*/ 216202 w 622096"/>
                <a:gd name="connsiteY40" fmla="*/ 359149 h 420416"/>
                <a:gd name="connsiteX41" fmla="*/ 149607 w 622096"/>
                <a:gd name="connsiteY41" fmla="*/ 419469 h 420416"/>
                <a:gd name="connsiteX42" fmla="*/ 136470 w 622096"/>
                <a:gd name="connsiteY42" fmla="*/ 410920 h 420416"/>
                <a:gd name="connsiteX43" fmla="*/ 127586 w 622096"/>
                <a:gd name="connsiteY43" fmla="*/ 346188 h 420416"/>
                <a:gd name="connsiteX44" fmla="*/ 123778 w 622096"/>
                <a:gd name="connsiteY44" fmla="*/ 346188 h 420416"/>
                <a:gd name="connsiteX45" fmla="*/ 29616 w 622096"/>
                <a:gd name="connsiteY45" fmla="*/ 420309 h 420416"/>
                <a:gd name="connsiteX46" fmla="*/ 19298 w 622096"/>
                <a:gd name="connsiteY46" fmla="*/ 412713 h 420416"/>
                <a:gd name="connsiteX47" fmla="*/ 41090 w 622096"/>
                <a:gd name="connsiteY47" fmla="*/ 197431 h 420416"/>
                <a:gd name="connsiteX48" fmla="*/ 83177 w 622096"/>
                <a:gd name="connsiteY48" fmla="*/ 178829 h 420416"/>
                <a:gd name="connsiteX49" fmla="*/ 102380 w 622096"/>
                <a:gd name="connsiteY49" fmla="*/ 208287 h 420416"/>
                <a:gd name="connsiteX50" fmla="*/ 102100 w 622096"/>
                <a:gd name="connsiteY50" fmla="*/ 239199 h 420416"/>
                <a:gd name="connsiteX51" fmla="*/ 36368 w 622096"/>
                <a:gd name="connsiteY51" fmla="*/ 299506 h 420416"/>
                <a:gd name="connsiteX52" fmla="*/ 46002 w 622096"/>
                <a:gd name="connsiteY52" fmla="*/ 383906 h 420416"/>
                <a:gd name="connsiteX53" fmla="*/ 58427 w 622096"/>
                <a:gd name="connsiteY53" fmla="*/ 385724 h 420416"/>
                <a:gd name="connsiteX54" fmla="*/ 60166 w 622096"/>
                <a:gd name="connsiteY54" fmla="*/ 384044 h 420416"/>
                <a:gd name="connsiteX55" fmla="*/ 127891 w 622096"/>
                <a:gd name="connsiteY55" fmla="*/ 320866 h 420416"/>
                <a:gd name="connsiteX56" fmla="*/ 202240 w 622096"/>
                <a:gd name="connsiteY56" fmla="*/ 37681 h 420416"/>
                <a:gd name="connsiteX57" fmla="*/ 242956 w 622096"/>
                <a:gd name="connsiteY57" fmla="*/ 0 h 420416"/>
                <a:gd name="connsiteX58" fmla="*/ 244860 w 622096"/>
                <a:gd name="connsiteY58" fmla="*/ 4049 h 420416"/>
                <a:gd name="connsiteX59" fmla="*/ 244048 w 622096"/>
                <a:gd name="connsiteY59" fmla="*/ 5277 h 420416"/>
                <a:gd name="connsiteX60" fmla="*/ 77123 w 622096"/>
                <a:gd name="connsiteY60" fmla="*/ 185523 h 420416"/>
                <a:gd name="connsiteX61" fmla="*/ 63834 w 622096"/>
                <a:gd name="connsiteY61" fmla="*/ 193833 h 420416"/>
                <a:gd name="connsiteX62" fmla="*/ 39415 w 622096"/>
                <a:gd name="connsiteY62" fmla="*/ 281681 h 420416"/>
                <a:gd name="connsiteX63" fmla="*/ 80346 w 622096"/>
                <a:gd name="connsiteY63" fmla="*/ 246444 h 420416"/>
                <a:gd name="connsiteX64" fmla="*/ 86451 w 622096"/>
                <a:gd name="connsiteY64" fmla="*/ 197795 h 420416"/>
                <a:gd name="connsiteX65" fmla="*/ 77123 w 622096"/>
                <a:gd name="connsiteY65" fmla="*/ 185523 h 420416"/>
                <a:gd name="connsiteX66" fmla="*/ 415022 w 622096"/>
                <a:gd name="connsiteY66" fmla="*/ 203548 h 420416"/>
                <a:gd name="connsiteX67" fmla="*/ 378126 w 622096"/>
                <a:gd name="connsiteY67" fmla="*/ 212574 h 420416"/>
                <a:gd name="connsiteX68" fmla="*/ 346815 w 622096"/>
                <a:gd name="connsiteY68" fmla="*/ 331283 h 420416"/>
                <a:gd name="connsiteX69" fmla="*/ 360522 w 622096"/>
                <a:gd name="connsiteY69" fmla="*/ 382001 h 420416"/>
                <a:gd name="connsiteX70" fmla="*/ 395641 w 622096"/>
                <a:gd name="connsiteY70" fmla="*/ 361706 h 420416"/>
                <a:gd name="connsiteX71" fmla="*/ 415948 w 622096"/>
                <a:gd name="connsiteY71" fmla="*/ 208237 h 420416"/>
                <a:gd name="connsiteX72" fmla="*/ 566057 w 622096"/>
                <a:gd name="connsiteY72" fmla="*/ 207710 h 420416"/>
                <a:gd name="connsiteX73" fmla="*/ 530798 w 622096"/>
                <a:gd name="connsiteY73" fmla="*/ 243009 h 420416"/>
                <a:gd name="connsiteX74" fmla="*/ 529529 w 622096"/>
                <a:gd name="connsiteY74" fmla="*/ 378817 h 420416"/>
                <a:gd name="connsiteX75" fmla="*/ 533235 w 622096"/>
                <a:gd name="connsiteY75" fmla="*/ 388244 h 420416"/>
                <a:gd name="connsiteX76" fmla="*/ 558810 w 622096"/>
                <a:gd name="connsiteY76" fmla="*/ 371020 h 420416"/>
                <a:gd name="connsiteX77" fmla="*/ 581795 w 622096"/>
                <a:gd name="connsiteY77" fmla="*/ 223743 h 420416"/>
                <a:gd name="connsiteX78" fmla="*/ 566095 w 622096"/>
                <a:gd name="connsiteY78" fmla="*/ 207710 h 42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096" h="420416">
                  <a:moveTo>
                    <a:pt x="244048" y="5277"/>
                  </a:moveTo>
                  <a:cubicBezTo>
                    <a:pt x="206061" y="28355"/>
                    <a:pt x="203738" y="76114"/>
                    <a:pt x="190170" y="115337"/>
                  </a:cubicBezTo>
                  <a:cubicBezTo>
                    <a:pt x="169609" y="194786"/>
                    <a:pt x="154633" y="286457"/>
                    <a:pt x="166055" y="372775"/>
                  </a:cubicBezTo>
                  <a:cubicBezTo>
                    <a:pt x="167605" y="376390"/>
                    <a:pt x="170696" y="379144"/>
                    <a:pt x="174496" y="380296"/>
                  </a:cubicBezTo>
                  <a:cubicBezTo>
                    <a:pt x="191129" y="369398"/>
                    <a:pt x="206191" y="356326"/>
                    <a:pt x="219273" y="341437"/>
                  </a:cubicBezTo>
                  <a:cubicBezTo>
                    <a:pt x="227853" y="228143"/>
                    <a:pt x="248757" y="118760"/>
                    <a:pt x="302545" y="23667"/>
                  </a:cubicBezTo>
                  <a:cubicBezTo>
                    <a:pt x="309829" y="12508"/>
                    <a:pt x="320920" y="4295"/>
                    <a:pt x="333806" y="514"/>
                  </a:cubicBezTo>
                  <a:cubicBezTo>
                    <a:pt x="336636" y="514"/>
                    <a:pt x="337613" y="5227"/>
                    <a:pt x="335633" y="7095"/>
                  </a:cubicBezTo>
                  <a:cubicBezTo>
                    <a:pt x="316443" y="14027"/>
                    <a:pt x="309780" y="30361"/>
                    <a:pt x="302964" y="49013"/>
                  </a:cubicBezTo>
                  <a:cubicBezTo>
                    <a:pt x="299197" y="58759"/>
                    <a:pt x="296018" y="68717"/>
                    <a:pt x="293445" y="78835"/>
                  </a:cubicBezTo>
                  <a:cubicBezTo>
                    <a:pt x="267185" y="170443"/>
                    <a:pt x="246358" y="270462"/>
                    <a:pt x="257717" y="371772"/>
                  </a:cubicBezTo>
                  <a:cubicBezTo>
                    <a:pt x="259570" y="376473"/>
                    <a:pt x="264241" y="382139"/>
                    <a:pt x="269927" y="380296"/>
                  </a:cubicBezTo>
                  <a:cubicBezTo>
                    <a:pt x="285184" y="370066"/>
                    <a:pt x="298419" y="357169"/>
                    <a:pt x="308980" y="342239"/>
                  </a:cubicBezTo>
                  <a:cubicBezTo>
                    <a:pt x="303214" y="285938"/>
                    <a:pt x="329984" y="231218"/>
                    <a:pt x="378228" y="200690"/>
                  </a:cubicBezTo>
                  <a:cubicBezTo>
                    <a:pt x="399780" y="188792"/>
                    <a:pt x="425822" y="187895"/>
                    <a:pt x="448161" y="198284"/>
                  </a:cubicBezTo>
                  <a:cubicBezTo>
                    <a:pt x="436742" y="251544"/>
                    <a:pt x="430553" y="305768"/>
                    <a:pt x="429681" y="360202"/>
                  </a:cubicBezTo>
                  <a:cubicBezTo>
                    <a:pt x="430316" y="366708"/>
                    <a:pt x="429529" y="377990"/>
                    <a:pt x="437030" y="382766"/>
                  </a:cubicBezTo>
                  <a:lnTo>
                    <a:pt x="444645" y="380961"/>
                  </a:lnTo>
                  <a:lnTo>
                    <a:pt x="491339" y="333590"/>
                  </a:lnTo>
                  <a:cubicBezTo>
                    <a:pt x="498791" y="257720"/>
                    <a:pt x="511158" y="182400"/>
                    <a:pt x="528362" y="108092"/>
                  </a:cubicBezTo>
                  <a:cubicBezTo>
                    <a:pt x="539048" y="74472"/>
                    <a:pt x="563963" y="27979"/>
                    <a:pt x="593332" y="24369"/>
                  </a:cubicBezTo>
                  <a:cubicBezTo>
                    <a:pt x="604171" y="33845"/>
                    <a:pt x="592228" y="28129"/>
                    <a:pt x="580031" y="39574"/>
                  </a:cubicBezTo>
                  <a:cubicBezTo>
                    <a:pt x="544722" y="77982"/>
                    <a:pt x="531725" y="152154"/>
                    <a:pt x="525455" y="215808"/>
                  </a:cubicBezTo>
                  <a:cubicBezTo>
                    <a:pt x="532702" y="217763"/>
                    <a:pt x="534073" y="216949"/>
                    <a:pt x="546295" y="207560"/>
                  </a:cubicBezTo>
                  <a:lnTo>
                    <a:pt x="590083" y="171420"/>
                  </a:lnTo>
                  <a:cubicBezTo>
                    <a:pt x="600465" y="170568"/>
                    <a:pt x="606011" y="182802"/>
                    <a:pt x="609717" y="190324"/>
                  </a:cubicBezTo>
                  <a:cubicBezTo>
                    <a:pt x="632177" y="244318"/>
                    <a:pt x="623681" y="306053"/>
                    <a:pt x="587443" y="352167"/>
                  </a:cubicBezTo>
                  <a:cubicBezTo>
                    <a:pt x="569021" y="379484"/>
                    <a:pt x="544530" y="402288"/>
                    <a:pt x="515835" y="418842"/>
                  </a:cubicBezTo>
                  <a:cubicBezTo>
                    <a:pt x="504412" y="422603"/>
                    <a:pt x="501340" y="418027"/>
                    <a:pt x="500604" y="417338"/>
                  </a:cubicBezTo>
                  <a:cubicBezTo>
                    <a:pt x="492189" y="406846"/>
                    <a:pt x="493674" y="378479"/>
                    <a:pt x="491986" y="356003"/>
                  </a:cubicBezTo>
                  <a:lnTo>
                    <a:pt x="489169" y="354097"/>
                  </a:lnTo>
                  <a:lnTo>
                    <a:pt x="416824" y="419983"/>
                  </a:lnTo>
                  <a:cubicBezTo>
                    <a:pt x="414946" y="419983"/>
                    <a:pt x="410021" y="421237"/>
                    <a:pt x="408359" y="418040"/>
                  </a:cubicBezTo>
                  <a:cubicBezTo>
                    <a:pt x="402734" y="406208"/>
                    <a:pt x="399327" y="393467"/>
                    <a:pt x="398307" y="380434"/>
                  </a:cubicBezTo>
                  <a:cubicBezTo>
                    <a:pt x="379269" y="391515"/>
                    <a:pt x="363112" y="409165"/>
                    <a:pt x="344137" y="420246"/>
                  </a:cubicBezTo>
                  <a:cubicBezTo>
                    <a:pt x="333730" y="421086"/>
                    <a:pt x="329046" y="408463"/>
                    <a:pt x="325454" y="400014"/>
                  </a:cubicBezTo>
                  <a:cubicBezTo>
                    <a:pt x="317319" y="379444"/>
                    <a:pt x="316570" y="374668"/>
                    <a:pt x="310681" y="359036"/>
                  </a:cubicBezTo>
                  <a:lnTo>
                    <a:pt x="242144" y="419331"/>
                  </a:lnTo>
                  <a:cubicBezTo>
                    <a:pt x="234529" y="423017"/>
                    <a:pt x="230137" y="414869"/>
                    <a:pt x="228183" y="408864"/>
                  </a:cubicBezTo>
                  <a:cubicBezTo>
                    <a:pt x="224332" y="392180"/>
                    <a:pt x="221602" y="375262"/>
                    <a:pt x="220009" y="358222"/>
                  </a:cubicBezTo>
                  <a:lnTo>
                    <a:pt x="216202" y="359149"/>
                  </a:lnTo>
                  <a:lnTo>
                    <a:pt x="149607" y="419469"/>
                  </a:lnTo>
                  <a:cubicBezTo>
                    <a:pt x="142550" y="421575"/>
                    <a:pt x="139986" y="418817"/>
                    <a:pt x="136470" y="410920"/>
                  </a:cubicBezTo>
                  <a:cubicBezTo>
                    <a:pt x="130416" y="397332"/>
                    <a:pt x="130696" y="366946"/>
                    <a:pt x="127586" y="346188"/>
                  </a:cubicBezTo>
                  <a:lnTo>
                    <a:pt x="123778" y="346188"/>
                  </a:lnTo>
                  <a:cubicBezTo>
                    <a:pt x="92404" y="370268"/>
                    <a:pt x="64722" y="401882"/>
                    <a:pt x="29616" y="420309"/>
                  </a:cubicBezTo>
                  <a:cubicBezTo>
                    <a:pt x="24895" y="421186"/>
                    <a:pt x="21151" y="416548"/>
                    <a:pt x="19298" y="412713"/>
                  </a:cubicBezTo>
                  <a:cubicBezTo>
                    <a:pt x="-11265" y="346839"/>
                    <a:pt x="-6619" y="252261"/>
                    <a:pt x="41090" y="197431"/>
                  </a:cubicBezTo>
                  <a:cubicBezTo>
                    <a:pt x="46839" y="191364"/>
                    <a:pt x="63859" y="170656"/>
                    <a:pt x="83177" y="178829"/>
                  </a:cubicBezTo>
                  <a:cubicBezTo>
                    <a:pt x="94066" y="182589"/>
                    <a:pt x="99181" y="191226"/>
                    <a:pt x="102380" y="208287"/>
                  </a:cubicBezTo>
                  <a:cubicBezTo>
                    <a:pt x="105640" y="218355"/>
                    <a:pt x="105542" y="229191"/>
                    <a:pt x="102100" y="239199"/>
                  </a:cubicBezTo>
                  <a:lnTo>
                    <a:pt x="36368" y="299506"/>
                  </a:lnTo>
                  <a:cubicBezTo>
                    <a:pt x="31849" y="327984"/>
                    <a:pt x="35177" y="357137"/>
                    <a:pt x="46002" y="383906"/>
                  </a:cubicBezTo>
                  <a:cubicBezTo>
                    <a:pt x="48926" y="387796"/>
                    <a:pt x="54488" y="388610"/>
                    <a:pt x="58427" y="385724"/>
                  </a:cubicBezTo>
                  <a:cubicBezTo>
                    <a:pt x="59086" y="385249"/>
                    <a:pt x="59671" y="384684"/>
                    <a:pt x="60166" y="384044"/>
                  </a:cubicBezTo>
                  <a:lnTo>
                    <a:pt x="127891" y="320866"/>
                  </a:lnTo>
                  <a:cubicBezTo>
                    <a:pt x="138235" y="220734"/>
                    <a:pt x="157082" y="123460"/>
                    <a:pt x="202240" y="37681"/>
                  </a:cubicBezTo>
                  <a:cubicBezTo>
                    <a:pt x="207584" y="27791"/>
                    <a:pt x="225314" y="752"/>
                    <a:pt x="242956" y="0"/>
                  </a:cubicBezTo>
                  <a:cubicBezTo>
                    <a:pt x="244613" y="600"/>
                    <a:pt x="245466" y="2412"/>
                    <a:pt x="244860" y="4049"/>
                  </a:cubicBezTo>
                  <a:cubicBezTo>
                    <a:pt x="244685" y="4513"/>
                    <a:pt x="244408" y="4933"/>
                    <a:pt x="244048" y="5277"/>
                  </a:cubicBezTo>
                  <a:close/>
                  <a:moveTo>
                    <a:pt x="77123" y="185523"/>
                  </a:moveTo>
                  <a:cubicBezTo>
                    <a:pt x="72174" y="187387"/>
                    <a:pt x="67656" y="190212"/>
                    <a:pt x="63834" y="193833"/>
                  </a:cubicBezTo>
                  <a:cubicBezTo>
                    <a:pt x="49780" y="221191"/>
                    <a:pt x="41473" y="251072"/>
                    <a:pt x="39415" y="281681"/>
                  </a:cubicBezTo>
                  <a:cubicBezTo>
                    <a:pt x="54543" y="269772"/>
                    <a:pt x="67959" y="257588"/>
                    <a:pt x="80346" y="246444"/>
                  </a:cubicBezTo>
                  <a:lnTo>
                    <a:pt x="86451" y="197795"/>
                  </a:lnTo>
                  <a:cubicBezTo>
                    <a:pt x="89383" y="190324"/>
                    <a:pt x="84738" y="185598"/>
                    <a:pt x="77123" y="185523"/>
                  </a:cubicBezTo>
                  <a:close/>
                  <a:moveTo>
                    <a:pt x="415022" y="203548"/>
                  </a:moveTo>
                  <a:cubicBezTo>
                    <a:pt x="401860" y="195939"/>
                    <a:pt x="388623" y="202759"/>
                    <a:pt x="378126" y="212574"/>
                  </a:cubicBezTo>
                  <a:cubicBezTo>
                    <a:pt x="347665" y="241405"/>
                    <a:pt x="343414" y="289039"/>
                    <a:pt x="346815" y="331283"/>
                  </a:cubicBezTo>
                  <a:cubicBezTo>
                    <a:pt x="346815" y="335320"/>
                    <a:pt x="349036" y="369528"/>
                    <a:pt x="360522" y="382001"/>
                  </a:cubicBezTo>
                  <a:cubicBezTo>
                    <a:pt x="374826" y="383255"/>
                    <a:pt x="386122" y="370055"/>
                    <a:pt x="395641" y="361706"/>
                  </a:cubicBezTo>
                  <a:cubicBezTo>
                    <a:pt x="400832" y="310224"/>
                    <a:pt x="406950" y="258754"/>
                    <a:pt x="415948" y="208237"/>
                  </a:cubicBezTo>
                  <a:close/>
                  <a:moveTo>
                    <a:pt x="566057" y="207710"/>
                  </a:moveTo>
                  <a:cubicBezTo>
                    <a:pt x="549631" y="213798"/>
                    <a:pt x="536740" y="226705"/>
                    <a:pt x="530798" y="243009"/>
                  </a:cubicBezTo>
                  <a:cubicBezTo>
                    <a:pt x="520036" y="286006"/>
                    <a:pt x="527118" y="334781"/>
                    <a:pt x="529529" y="378817"/>
                  </a:cubicBezTo>
                  <a:lnTo>
                    <a:pt x="533235" y="388244"/>
                  </a:lnTo>
                  <a:cubicBezTo>
                    <a:pt x="542526" y="387918"/>
                    <a:pt x="553695" y="376962"/>
                    <a:pt x="558810" y="371020"/>
                  </a:cubicBezTo>
                  <a:cubicBezTo>
                    <a:pt x="596467" y="329654"/>
                    <a:pt x="589880" y="272530"/>
                    <a:pt x="581795" y="223743"/>
                  </a:cubicBezTo>
                  <a:cubicBezTo>
                    <a:pt x="581160" y="219982"/>
                    <a:pt x="579257" y="203761"/>
                    <a:pt x="566095" y="20771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2" r:id="rId5"/>
    <p:sldLayoutId id="2147483744" r:id="rId6"/>
    <p:sldLayoutId id="2147483718" r:id="rId7"/>
    <p:sldLayoutId id="2147483763" r:id="rId8"/>
    <p:sldLayoutId id="2147483719" r:id="rId9"/>
    <p:sldLayoutId id="2147483745" r:id="rId10"/>
    <p:sldLayoutId id="2147483746" r:id="rId11"/>
    <p:sldLayoutId id="2147483720" r:id="rId12"/>
    <p:sldLayoutId id="2147483721" r:id="rId13"/>
    <p:sldLayoutId id="2147483722" r:id="rId14"/>
    <p:sldLayoutId id="2147483723" r:id="rId15"/>
    <p:sldLayoutId id="2147483743" r:id="rId16"/>
  </p:sldLayoutIdLst>
  <p:txStyles>
    <p:titleStyle>
      <a:lvl1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4D8825B-1225-47F4-AFE3-E2F5E1E5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820192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53" imgH="353" progId="TCLayout.ActiveDocument.1">
                  <p:embed/>
                </p:oleObj>
              </mc:Choice>
              <mc:Fallback>
                <p:oleObj name="think-cell Slide" r:id="rId18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4D8825B-1225-47F4-AFE3-E2F5E1E5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DD298F58-02DD-F94F-B22B-63EAD696D179}"/>
              </a:ext>
            </a:extLst>
          </p:cNvPr>
          <p:cNvSpPr/>
          <p:nvPr userDrawn="1"/>
        </p:nvSpPr>
        <p:spPr>
          <a:xfrm>
            <a:off x="0" y="5362575"/>
            <a:ext cx="8680450" cy="212725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pic>
        <p:nvPicPr>
          <p:cNvPr id="53" name="Graphic 10">
            <a:extLst>
              <a:ext uri="{FF2B5EF4-FFF2-40B4-BE49-F238E27FC236}">
                <a16:creationId xmlns:a16="http://schemas.microsoft.com/office/drawing/2014/main" id="{C80095FD-9B63-CC4A-9952-9690BE7CDCC3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8507413" y="5362575"/>
            <a:ext cx="641350" cy="212725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id="{41931A4C-6A1B-F947-88FA-15647FC153B3}"/>
              </a:ext>
            </a:extLst>
          </p:cNvPr>
          <p:cNvSpPr txBox="1"/>
          <p:nvPr userDrawn="1"/>
        </p:nvSpPr>
        <p:spPr>
          <a:xfrm>
            <a:off x="5422900" y="5370513"/>
            <a:ext cx="2960688" cy="2270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76" b="1" dirty="0">
                <a:solidFill>
                  <a:srgbClr val="C00000"/>
                </a:solidFill>
                <a:latin typeface="+mj-lt"/>
              </a:rPr>
              <a:t>ELLAB</a:t>
            </a:r>
            <a:r>
              <a:rPr lang="en-US" sz="876" b="1" dirty="0">
                <a:solidFill>
                  <a:srgbClr val="C00000"/>
                </a:solidFill>
                <a:latin typeface="AvenirNext LT Pro Medium" panose="020B0504020202020204" pitchFamily="34" charset="77"/>
              </a:rPr>
              <a:t> </a:t>
            </a:r>
            <a:r>
              <a:rPr lang="en-US" sz="876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Validation &amp; Monitoring Solutions</a:t>
            </a:r>
          </a:p>
        </p:txBody>
      </p:sp>
      <p:sp>
        <p:nvSpPr>
          <p:cNvPr id="98" name="Google Shape;8;p1">
            <a:extLst>
              <a:ext uri="{FF2B5EF4-FFF2-40B4-BE49-F238E27FC236}">
                <a16:creationId xmlns:a16="http://schemas.microsoft.com/office/drawing/2014/main" id="{BA695D12-1D02-E444-AA79-B65A81D61412}"/>
              </a:ext>
            </a:extLst>
          </p:cNvPr>
          <p:cNvSpPr txBox="1">
            <a:spLocks/>
          </p:cNvSpPr>
          <p:nvPr userDrawn="1"/>
        </p:nvSpPr>
        <p:spPr>
          <a:xfrm>
            <a:off x="8515350" y="5300663"/>
            <a:ext cx="411163" cy="327025"/>
          </a:xfrm>
          <a:prstGeom prst="rect">
            <a:avLst/>
          </a:prstGeom>
          <a:noFill/>
          <a:ln>
            <a:noFill/>
          </a:ln>
        </p:spPr>
        <p:txBody>
          <a:bodyPr spcFirstLastPara="1" lIns="76188" tIns="76188" rIns="76188" bIns="76188" anchor="ctr"/>
          <a:lstStyle>
            <a:defPPr>
              <a:defRPr lang="en-US"/>
            </a:defPPr>
            <a:lvl1pPr marL="0" lvl="0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1pPr>
            <a:lvl2pPr marL="457200" lvl="1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2pPr>
            <a:lvl3pPr marL="914400" lvl="2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3pPr>
            <a:lvl4pPr marL="1371600" lvl="3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4pPr>
            <a:lvl5pPr marL="1828800" lvl="4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5pPr>
            <a:lvl6pPr marL="2286000" lvl="5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6pPr>
            <a:lvl7pPr marL="2743200" lvl="6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7pPr>
            <a:lvl8pPr marL="3200400" lvl="7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8pPr>
            <a:lvl9pPr marL="3657600" lvl="8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2D495AD-417A-6843-A8CF-1762A8915FF0}" type="slidenum">
              <a:rPr lang="es" sz="1000" smtClean="0">
                <a:solidFill>
                  <a:schemeClr val="bg1"/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" sz="10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9" name="Graphic 13">
            <a:extLst>
              <a:ext uri="{FF2B5EF4-FFF2-40B4-BE49-F238E27FC236}">
                <a16:creationId xmlns:a16="http://schemas.microsoft.com/office/drawing/2014/main" id="{68AEA770-5097-464B-A5AF-2A0BF202E255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-3175" y="5360988"/>
            <a:ext cx="971550" cy="211137"/>
          </a:xfrm>
          <a:prstGeom prst="rect">
            <a:avLst/>
          </a:prstGeom>
        </p:spPr>
      </p:pic>
      <p:sp>
        <p:nvSpPr>
          <p:cNvPr id="100" name="TextBox 14">
            <a:extLst>
              <a:ext uri="{FF2B5EF4-FFF2-40B4-BE49-F238E27FC236}">
                <a16:creationId xmlns:a16="http://schemas.microsoft.com/office/drawing/2014/main" id="{E253A9F8-DFBA-564C-8C5D-5FF0BC1D77E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437" y="5347494"/>
            <a:ext cx="82232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1000" b="1" dirty="0">
                <a:solidFill>
                  <a:schemeClr val="bg1"/>
                </a:solidFill>
                <a:latin typeface="+mj-lt"/>
              </a:rPr>
              <a:t>ellab.com</a:t>
            </a:r>
          </a:p>
        </p:txBody>
      </p:sp>
      <p:grpSp>
        <p:nvGrpSpPr>
          <p:cNvPr id="56" name="Graphic 100">
            <a:extLst>
              <a:ext uri="{FF2B5EF4-FFF2-40B4-BE49-F238E27FC236}">
                <a16:creationId xmlns:a16="http://schemas.microsoft.com/office/drawing/2014/main" id="{C6563AA3-64B9-764B-999B-95D92407A4DF}"/>
              </a:ext>
            </a:extLst>
          </p:cNvPr>
          <p:cNvGrpSpPr/>
          <p:nvPr userDrawn="1"/>
        </p:nvGrpSpPr>
        <p:grpSpPr>
          <a:xfrm>
            <a:off x="7611200" y="284166"/>
            <a:ext cx="1112606" cy="739028"/>
            <a:chOff x="7611200" y="284166"/>
            <a:chExt cx="1112606" cy="739028"/>
          </a:xfrm>
        </p:grpSpPr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56803F68-BB44-8E42-BABC-E07348CA7949}"/>
                </a:ext>
              </a:extLst>
            </p:cNvPr>
            <p:cNvSpPr/>
            <p:nvPr/>
          </p:nvSpPr>
          <p:spPr>
            <a:xfrm>
              <a:off x="8065090" y="981314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50A20E3D-5FB5-9044-80A9-2966A03887C2}"/>
                </a:ext>
              </a:extLst>
            </p:cNvPr>
            <p:cNvSpPr/>
            <p:nvPr/>
          </p:nvSpPr>
          <p:spPr>
            <a:xfrm>
              <a:off x="8065090" y="284175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9ED932B9-A4D5-0343-8A7A-FA74FFFB371A}"/>
                </a:ext>
              </a:extLst>
            </p:cNvPr>
            <p:cNvSpPr/>
            <p:nvPr/>
          </p:nvSpPr>
          <p:spPr>
            <a:xfrm>
              <a:off x="7611200" y="284166"/>
              <a:ext cx="928953" cy="738998"/>
            </a:xfrm>
            <a:custGeom>
              <a:avLst/>
              <a:gdLst>
                <a:gd name="connsiteX0" fmla="*/ 835856 w 928953"/>
                <a:gd name="connsiteY0" fmla="*/ 129348 h 738998"/>
                <a:gd name="connsiteX1" fmla="*/ 928952 w 928953"/>
                <a:gd name="connsiteY1" fmla="*/ 373724 h 738998"/>
                <a:gd name="connsiteX2" fmla="*/ 687905 w 928953"/>
                <a:gd name="connsiteY2" fmla="*/ 707088 h 738998"/>
                <a:gd name="connsiteX3" fmla="*/ 422261 w 928953"/>
                <a:gd name="connsiteY3" fmla="*/ 738739 h 738998"/>
                <a:gd name="connsiteX4" fmla="*/ 59346 w 928953"/>
                <a:gd name="connsiteY4" fmla="*/ 566442 h 738998"/>
                <a:gd name="connsiteX5" fmla="*/ 36221 w 928953"/>
                <a:gd name="connsiteY5" fmla="*/ 210589 h 738998"/>
                <a:gd name="connsiteX6" fmla="*/ 317565 w 928953"/>
                <a:gd name="connsiteY6" fmla="*/ 11729 h 738998"/>
                <a:gd name="connsiteX7" fmla="*/ 681889 w 928953"/>
                <a:gd name="connsiteY7" fmla="*/ 31485 h 738998"/>
                <a:gd name="connsiteX8" fmla="*/ 835856 w 928953"/>
                <a:gd name="connsiteY8" fmla="*/ 129348 h 73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3" h="738998">
                  <a:moveTo>
                    <a:pt x="835856" y="129348"/>
                  </a:moveTo>
                  <a:cubicBezTo>
                    <a:pt x="896114" y="196814"/>
                    <a:pt x="929236" y="283759"/>
                    <a:pt x="928952" y="373724"/>
                  </a:cubicBezTo>
                  <a:cubicBezTo>
                    <a:pt x="925917" y="523314"/>
                    <a:pt x="830184" y="655711"/>
                    <a:pt x="687905" y="707088"/>
                  </a:cubicBezTo>
                  <a:cubicBezTo>
                    <a:pt x="605509" y="733926"/>
                    <a:pt x="513834" y="740469"/>
                    <a:pt x="422261" y="738739"/>
                  </a:cubicBezTo>
                  <a:cubicBezTo>
                    <a:pt x="276874" y="734728"/>
                    <a:pt x="140410" y="684838"/>
                    <a:pt x="59346" y="566442"/>
                  </a:cubicBezTo>
                  <a:cubicBezTo>
                    <a:pt x="-7731" y="467563"/>
                    <a:pt x="-21426" y="316651"/>
                    <a:pt x="36221" y="210589"/>
                  </a:cubicBezTo>
                  <a:cubicBezTo>
                    <a:pt x="85377" y="102522"/>
                    <a:pt x="197486" y="29968"/>
                    <a:pt x="317565" y="11729"/>
                  </a:cubicBezTo>
                  <a:cubicBezTo>
                    <a:pt x="438958" y="-8966"/>
                    <a:pt x="563521" y="-2211"/>
                    <a:pt x="681889" y="31485"/>
                  </a:cubicBezTo>
                  <a:cubicBezTo>
                    <a:pt x="740531" y="51203"/>
                    <a:pt x="793392" y="84802"/>
                    <a:pt x="835856" y="129348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A6F2EDBB-BCA6-2A47-8FB6-837CDF450119}"/>
                </a:ext>
              </a:extLst>
            </p:cNvPr>
            <p:cNvSpPr/>
            <p:nvPr/>
          </p:nvSpPr>
          <p:spPr>
            <a:xfrm>
              <a:off x="7648818" y="292586"/>
              <a:ext cx="513653" cy="722735"/>
            </a:xfrm>
            <a:custGeom>
              <a:avLst/>
              <a:gdLst>
                <a:gd name="connsiteX0" fmla="*/ 501893 w 513653"/>
                <a:gd name="connsiteY0" fmla="*/ 722736 h 722735"/>
                <a:gd name="connsiteX1" fmla="*/ 419052 w 513653"/>
                <a:gd name="connsiteY1" fmla="*/ 722736 h 722735"/>
                <a:gd name="connsiteX2" fmla="*/ 0 w 513653"/>
                <a:gd name="connsiteY2" fmla="*/ 361368 h 722735"/>
                <a:gd name="connsiteX3" fmla="*/ 419052 w 513653"/>
                <a:gd name="connsiteY3" fmla="*/ 0 h 722735"/>
                <a:gd name="connsiteX4" fmla="*/ 491524 w 513653"/>
                <a:gd name="connsiteY4" fmla="*/ 0 h 722735"/>
                <a:gd name="connsiteX5" fmla="*/ 497075 w 513653"/>
                <a:gd name="connsiteY5" fmla="*/ 6964 h 722735"/>
                <a:gd name="connsiteX6" fmla="*/ 491524 w 513653"/>
                <a:gd name="connsiteY6" fmla="*/ 12448 h 722735"/>
                <a:gd name="connsiteX7" fmla="*/ 82841 w 513653"/>
                <a:gd name="connsiteY7" fmla="*/ 361368 h 722735"/>
                <a:gd name="connsiteX8" fmla="*/ 491524 w 513653"/>
                <a:gd name="connsiteY8" fmla="*/ 710301 h 722735"/>
                <a:gd name="connsiteX9" fmla="*/ 502502 w 513653"/>
                <a:gd name="connsiteY9" fmla="*/ 710150 h 722735"/>
                <a:gd name="connsiteX10" fmla="*/ 507985 w 513653"/>
                <a:gd name="connsiteY10" fmla="*/ 710226 h 722735"/>
                <a:gd name="connsiteX11" fmla="*/ 513617 w 513653"/>
                <a:gd name="connsiteY11" fmla="*/ 717127 h 722735"/>
                <a:gd name="connsiteX12" fmla="*/ 508214 w 513653"/>
                <a:gd name="connsiteY12" fmla="*/ 722661 h 722735"/>
                <a:gd name="connsiteX13" fmla="*/ 501893 w 513653"/>
                <a:gd name="connsiteY13" fmla="*/ 722736 h 722735"/>
                <a:gd name="connsiteX14" fmla="*/ 372219 w 513653"/>
                <a:gd name="connsiteY14" fmla="*/ 14754 h 722735"/>
                <a:gd name="connsiteX15" fmla="*/ 12603 w 513653"/>
                <a:gd name="connsiteY15" fmla="*/ 361368 h 722735"/>
                <a:gd name="connsiteX16" fmla="*/ 372219 w 513653"/>
                <a:gd name="connsiteY16" fmla="*/ 707994 h 722735"/>
                <a:gd name="connsiteX17" fmla="*/ 70187 w 513653"/>
                <a:gd name="connsiteY17" fmla="*/ 361368 h 722735"/>
                <a:gd name="connsiteX18" fmla="*/ 372219 w 513653"/>
                <a:gd name="connsiteY18" fmla="*/ 14754 h 722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3653" h="722735">
                  <a:moveTo>
                    <a:pt x="501893" y="722736"/>
                  </a:moveTo>
                  <a:lnTo>
                    <a:pt x="419052" y="722736"/>
                  </a:lnTo>
                  <a:cubicBezTo>
                    <a:pt x="187981" y="722736"/>
                    <a:pt x="0" y="560679"/>
                    <a:pt x="0" y="361368"/>
                  </a:cubicBezTo>
                  <a:cubicBezTo>
                    <a:pt x="0" y="162056"/>
                    <a:pt x="187981" y="0"/>
                    <a:pt x="419052" y="0"/>
                  </a:cubicBezTo>
                  <a:lnTo>
                    <a:pt x="491524" y="0"/>
                  </a:lnTo>
                  <a:cubicBezTo>
                    <a:pt x="495004" y="409"/>
                    <a:pt x="497490" y="3527"/>
                    <a:pt x="497075" y="6964"/>
                  </a:cubicBezTo>
                  <a:cubicBezTo>
                    <a:pt x="496730" y="9839"/>
                    <a:pt x="494434" y="12106"/>
                    <a:pt x="491524" y="12448"/>
                  </a:cubicBezTo>
                  <a:cubicBezTo>
                    <a:pt x="266151" y="12448"/>
                    <a:pt x="82841" y="168976"/>
                    <a:pt x="82841" y="361368"/>
                  </a:cubicBezTo>
                  <a:cubicBezTo>
                    <a:pt x="82841" y="553760"/>
                    <a:pt x="266190" y="710301"/>
                    <a:pt x="491524" y="710301"/>
                  </a:cubicBezTo>
                  <a:cubicBezTo>
                    <a:pt x="495192" y="710301"/>
                    <a:pt x="498872" y="710301"/>
                    <a:pt x="502502" y="710150"/>
                  </a:cubicBezTo>
                  <a:cubicBezTo>
                    <a:pt x="504622" y="710213"/>
                    <a:pt x="506462" y="710326"/>
                    <a:pt x="507985" y="710226"/>
                  </a:cubicBezTo>
                  <a:cubicBezTo>
                    <a:pt x="511470" y="710595"/>
                    <a:pt x="513991" y="713685"/>
                    <a:pt x="513617" y="717127"/>
                  </a:cubicBezTo>
                  <a:cubicBezTo>
                    <a:pt x="513306" y="719974"/>
                    <a:pt x="511082" y="722252"/>
                    <a:pt x="508214" y="722661"/>
                  </a:cubicBezTo>
                  <a:cubicBezTo>
                    <a:pt x="506107" y="722736"/>
                    <a:pt x="504025" y="722736"/>
                    <a:pt x="501893" y="722736"/>
                  </a:cubicBezTo>
                  <a:close/>
                  <a:moveTo>
                    <a:pt x="372219" y="14754"/>
                  </a:moveTo>
                  <a:cubicBezTo>
                    <a:pt x="170086" y="34760"/>
                    <a:pt x="12603" y="182577"/>
                    <a:pt x="12603" y="361368"/>
                  </a:cubicBezTo>
                  <a:cubicBezTo>
                    <a:pt x="12603" y="540159"/>
                    <a:pt x="170098" y="687988"/>
                    <a:pt x="372219" y="707994"/>
                  </a:cubicBezTo>
                  <a:cubicBezTo>
                    <a:pt x="197818" y="663757"/>
                    <a:pt x="70187" y="525104"/>
                    <a:pt x="70187" y="361368"/>
                  </a:cubicBezTo>
                  <a:cubicBezTo>
                    <a:pt x="70187" y="197632"/>
                    <a:pt x="197818" y="58991"/>
                    <a:pt x="372219" y="147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BE4D55B0-E8F1-424A-9DE5-C637EB791365}"/>
                </a:ext>
              </a:extLst>
            </p:cNvPr>
            <p:cNvSpPr/>
            <p:nvPr/>
          </p:nvSpPr>
          <p:spPr>
            <a:xfrm>
              <a:off x="7725312" y="298816"/>
              <a:ext cx="426223" cy="710288"/>
            </a:xfrm>
            <a:custGeom>
              <a:avLst/>
              <a:gdLst>
                <a:gd name="connsiteX0" fmla="*/ 38 w 426223"/>
                <a:gd name="connsiteY0" fmla="*/ 355138 h 710288"/>
                <a:gd name="connsiteX1" fmla="*/ 415067 w 426223"/>
                <a:gd name="connsiteY1" fmla="*/ 710288 h 710288"/>
                <a:gd name="connsiteX2" fmla="*/ 426223 w 426223"/>
                <a:gd name="connsiteY2" fmla="*/ 710138 h 710288"/>
                <a:gd name="connsiteX3" fmla="*/ 22427 w 426223"/>
                <a:gd name="connsiteY3" fmla="*/ 355138 h 710288"/>
                <a:gd name="connsiteX4" fmla="*/ 426185 w 426223"/>
                <a:gd name="connsiteY4" fmla="*/ 125 h 710288"/>
                <a:gd name="connsiteX5" fmla="*/ 415029 w 426223"/>
                <a:gd name="connsiteY5" fmla="*/ 0 h 710288"/>
                <a:gd name="connsiteX6" fmla="*/ 0 w 426223"/>
                <a:gd name="connsiteY6" fmla="*/ 355138 h 71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223" h="710288">
                  <a:moveTo>
                    <a:pt x="38" y="355138"/>
                  </a:moveTo>
                  <a:cubicBezTo>
                    <a:pt x="38" y="551178"/>
                    <a:pt x="185951" y="710288"/>
                    <a:pt x="415067" y="710288"/>
                  </a:cubicBezTo>
                  <a:cubicBezTo>
                    <a:pt x="418798" y="710288"/>
                    <a:pt x="422530" y="710288"/>
                    <a:pt x="426223" y="710138"/>
                  </a:cubicBezTo>
                  <a:cubicBezTo>
                    <a:pt x="202323" y="705124"/>
                    <a:pt x="22427" y="547956"/>
                    <a:pt x="22427" y="355138"/>
                  </a:cubicBezTo>
                  <a:cubicBezTo>
                    <a:pt x="22427" y="162320"/>
                    <a:pt x="202285" y="5202"/>
                    <a:pt x="426185" y="125"/>
                  </a:cubicBezTo>
                  <a:cubicBezTo>
                    <a:pt x="422492" y="50"/>
                    <a:pt x="418760" y="0"/>
                    <a:pt x="415029" y="0"/>
                  </a:cubicBezTo>
                  <a:cubicBezTo>
                    <a:pt x="185951" y="0"/>
                    <a:pt x="0" y="159111"/>
                    <a:pt x="0" y="355138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060DEA1A-C39C-A343-B3F0-1C959A3450AB}"/>
                </a:ext>
              </a:extLst>
            </p:cNvPr>
            <p:cNvSpPr/>
            <p:nvPr/>
          </p:nvSpPr>
          <p:spPr>
            <a:xfrm>
              <a:off x="7722216" y="295708"/>
              <a:ext cx="429383" cy="716505"/>
            </a:xfrm>
            <a:custGeom>
              <a:avLst/>
              <a:gdLst>
                <a:gd name="connsiteX0" fmla="*/ 418164 w 429383"/>
                <a:gd name="connsiteY0" fmla="*/ 716506 h 716505"/>
                <a:gd name="connsiteX1" fmla="*/ 0 w 429383"/>
                <a:gd name="connsiteY1" fmla="*/ 360503 h 716505"/>
                <a:gd name="connsiteX2" fmla="*/ 0 w 429383"/>
                <a:gd name="connsiteY2" fmla="*/ 360503 h 716505"/>
                <a:gd name="connsiteX3" fmla="*/ 0 w 429383"/>
                <a:gd name="connsiteY3" fmla="*/ 358247 h 716505"/>
                <a:gd name="connsiteX4" fmla="*/ 418126 w 429383"/>
                <a:gd name="connsiteY4" fmla="*/ 0 h 716505"/>
                <a:gd name="connsiteX5" fmla="*/ 429345 w 429383"/>
                <a:gd name="connsiteY5" fmla="*/ 125 h 716505"/>
                <a:gd name="connsiteX6" fmla="*/ 429345 w 429383"/>
                <a:gd name="connsiteY6" fmla="*/ 6393 h 716505"/>
                <a:gd name="connsiteX7" fmla="*/ 145527 w 429383"/>
                <a:gd name="connsiteY7" fmla="*/ 112667 h 716505"/>
                <a:gd name="connsiteX8" fmla="*/ 28659 w 429383"/>
                <a:gd name="connsiteY8" fmla="*/ 358247 h 716505"/>
                <a:gd name="connsiteX9" fmla="*/ 145539 w 429383"/>
                <a:gd name="connsiteY9" fmla="*/ 603851 h 716505"/>
                <a:gd name="connsiteX10" fmla="*/ 429383 w 429383"/>
                <a:gd name="connsiteY10" fmla="*/ 710150 h 716505"/>
                <a:gd name="connsiteX11" fmla="*/ 429383 w 429383"/>
                <a:gd name="connsiteY11" fmla="*/ 716343 h 716505"/>
                <a:gd name="connsiteX12" fmla="*/ 418164 w 429383"/>
                <a:gd name="connsiteY12" fmla="*/ 716506 h 716505"/>
                <a:gd name="connsiteX13" fmla="*/ 6244 w 429383"/>
                <a:gd name="connsiteY13" fmla="*/ 356354 h 716505"/>
                <a:gd name="connsiteX14" fmla="*/ 6244 w 429383"/>
                <a:gd name="connsiteY14" fmla="*/ 358259 h 716505"/>
                <a:gd name="connsiteX15" fmla="*/ 294252 w 429383"/>
                <a:gd name="connsiteY15" fmla="*/ 694042 h 716505"/>
                <a:gd name="connsiteX16" fmla="*/ 141338 w 429383"/>
                <a:gd name="connsiteY16" fmla="*/ 608502 h 716505"/>
                <a:gd name="connsiteX17" fmla="*/ 22376 w 429383"/>
                <a:gd name="connsiteY17" fmla="*/ 358247 h 716505"/>
                <a:gd name="connsiteX18" fmla="*/ 141351 w 429383"/>
                <a:gd name="connsiteY18" fmla="*/ 108017 h 716505"/>
                <a:gd name="connsiteX19" fmla="*/ 294391 w 429383"/>
                <a:gd name="connsiteY19" fmla="*/ 22438 h 716505"/>
                <a:gd name="connsiteX20" fmla="*/ 6244 w 429383"/>
                <a:gd name="connsiteY20" fmla="*/ 356354 h 7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9383" h="716505">
                  <a:moveTo>
                    <a:pt x="418164" y="716506"/>
                  </a:moveTo>
                  <a:cubicBezTo>
                    <a:pt x="188438" y="716506"/>
                    <a:pt x="1409" y="557006"/>
                    <a:pt x="0" y="360503"/>
                  </a:cubicBezTo>
                  <a:lnTo>
                    <a:pt x="0" y="360503"/>
                  </a:lnTo>
                  <a:lnTo>
                    <a:pt x="0" y="358247"/>
                  </a:lnTo>
                  <a:cubicBezTo>
                    <a:pt x="-38" y="160715"/>
                    <a:pt x="187550" y="0"/>
                    <a:pt x="418126" y="0"/>
                  </a:cubicBezTo>
                  <a:cubicBezTo>
                    <a:pt x="421933" y="0"/>
                    <a:pt x="425627" y="0"/>
                    <a:pt x="429345" y="125"/>
                  </a:cubicBezTo>
                  <a:lnTo>
                    <a:pt x="429345" y="6393"/>
                  </a:lnTo>
                  <a:cubicBezTo>
                    <a:pt x="324993" y="7564"/>
                    <a:pt x="224437" y="45217"/>
                    <a:pt x="145527" y="112667"/>
                  </a:cubicBezTo>
                  <a:cubicBezTo>
                    <a:pt x="72436" y="173976"/>
                    <a:pt x="29812" y="263544"/>
                    <a:pt x="28659" y="358247"/>
                  </a:cubicBezTo>
                  <a:cubicBezTo>
                    <a:pt x="29815" y="452958"/>
                    <a:pt x="72442" y="542534"/>
                    <a:pt x="145539" y="603851"/>
                  </a:cubicBezTo>
                  <a:cubicBezTo>
                    <a:pt x="224451" y="671320"/>
                    <a:pt x="325018" y="708982"/>
                    <a:pt x="429383" y="710150"/>
                  </a:cubicBezTo>
                  <a:lnTo>
                    <a:pt x="429383" y="716343"/>
                  </a:lnTo>
                  <a:cubicBezTo>
                    <a:pt x="425715" y="716506"/>
                    <a:pt x="421933" y="716506"/>
                    <a:pt x="418164" y="716506"/>
                  </a:cubicBezTo>
                  <a:close/>
                  <a:moveTo>
                    <a:pt x="6244" y="356354"/>
                  </a:moveTo>
                  <a:lnTo>
                    <a:pt x="6244" y="358259"/>
                  </a:lnTo>
                  <a:cubicBezTo>
                    <a:pt x="6244" y="515515"/>
                    <a:pt x="127466" y="649003"/>
                    <a:pt x="294252" y="694042"/>
                  </a:cubicBezTo>
                  <a:cubicBezTo>
                    <a:pt x="237836" y="676287"/>
                    <a:pt x="185767" y="647159"/>
                    <a:pt x="141338" y="608502"/>
                  </a:cubicBezTo>
                  <a:cubicBezTo>
                    <a:pt x="66896" y="546008"/>
                    <a:pt x="23508" y="454733"/>
                    <a:pt x="22376" y="358247"/>
                  </a:cubicBezTo>
                  <a:cubicBezTo>
                    <a:pt x="23520" y="261766"/>
                    <a:pt x="66912" y="170503"/>
                    <a:pt x="141351" y="108017"/>
                  </a:cubicBezTo>
                  <a:cubicBezTo>
                    <a:pt x="185811" y="69329"/>
                    <a:pt x="237927" y="40186"/>
                    <a:pt x="294391" y="22438"/>
                  </a:cubicBezTo>
                  <a:cubicBezTo>
                    <a:pt x="128215" y="67264"/>
                    <a:pt x="7209" y="199901"/>
                    <a:pt x="6244" y="3563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9C0CF435-1389-5A49-917E-2BD11E440496}"/>
                </a:ext>
              </a:extLst>
            </p:cNvPr>
            <p:cNvSpPr/>
            <p:nvPr/>
          </p:nvSpPr>
          <p:spPr>
            <a:xfrm>
              <a:off x="7734489" y="466915"/>
              <a:ext cx="600154" cy="22200"/>
            </a:xfrm>
            <a:custGeom>
              <a:avLst/>
              <a:gdLst>
                <a:gd name="connsiteX0" fmla="*/ 600154 w 600154"/>
                <a:gd name="connsiteY0" fmla="*/ 11094 h 22200"/>
                <a:gd name="connsiteX1" fmla="*/ 300065 w 600154"/>
                <a:gd name="connsiteY1" fmla="*/ 22200 h 22200"/>
                <a:gd name="connsiteX2" fmla="*/ 0 w 600154"/>
                <a:gd name="connsiteY2" fmla="*/ 11094 h 22200"/>
                <a:gd name="connsiteX3" fmla="*/ 300065 w 600154"/>
                <a:gd name="connsiteY3" fmla="*/ 0 h 22200"/>
                <a:gd name="connsiteX4" fmla="*/ 600154 w 600154"/>
                <a:gd name="connsiteY4" fmla="*/ 11094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54" h="22200">
                  <a:moveTo>
                    <a:pt x="600154" y="11094"/>
                  </a:moveTo>
                  <a:cubicBezTo>
                    <a:pt x="600154" y="17198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94"/>
                  </a:cubicBezTo>
                  <a:cubicBezTo>
                    <a:pt x="0" y="5002"/>
                    <a:pt x="134434" y="0"/>
                    <a:pt x="300065" y="0"/>
                  </a:cubicBezTo>
                  <a:cubicBezTo>
                    <a:pt x="465695" y="0"/>
                    <a:pt x="600154" y="4964"/>
                    <a:pt x="600154" y="1109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DC53714F-BB4E-E849-AB9A-DF4CDD5844AD}"/>
                </a:ext>
              </a:extLst>
            </p:cNvPr>
            <p:cNvSpPr/>
            <p:nvPr/>
          </p:nvSpPr>
          <p:spPr>
            <a:xfrm>
              <a:off x="7731341" y="463844"/>
              <a:ext cx="606437" cy="28405"/>
            </a:xfrm>
            <a:custGeom>
              <a:avLst/>
              <a:gdLst>
                <a:gd name="connsiteX0" fmla="*/ 303212 w 606437"/>
                <a:gd name="connsiteY0" fmla="*/ 28405 h 28405"/>
                <a:gd name="connsiteX1" fmla="*/ 90938 w 606437"/>
                <a:gd name="connsiteY1" fmla="*/ 25146 h 28405"/>
                <a:gd name="connsiteX2" fmla="*/ 0 w 606437"/>
                <a:gd name="connsiteY2" fmla="*/ 14203 h 28405"/>
                <a:gd name="connsiteX3" fmla="*/ 90951 w 606437"/>
                <a:gd name="connsiteY3" fmla="*/ 3272 h 28405"/>
                <a:gd name="connsiteX4" fmla="*/ 303212 w 606437"/>
                <a:gd name="connsiteY4" fmla="*/ 0 h 28405"/>
                <a:gd name="connsiteX5" fmla="*/ 515486 w 606437"/>
                <a:gd name="connsiteY5" fmla="*/ 3259 h 28405"/>
                <a:gd name="connsiteX6" fmla="*/ 606437 w 606437"/>
                <a:gd name="connsiteY6" fmla="*/ 14203 h 28405"/>
                <a:gd name="connsiteX7" fmla="*/ 515486 w 606437"/>
                <a:gd name="connsiteY7" fmla="*/ 25146 h 28405"/>
                <a:gd name="connsiteX8" fmla="*/ 303212 w 606437"/>
                <a:gd name="connsiteY8" fmla="*/ 28405 h 28405"/>
                <a:gd name="connsiteX9" fmla="*/ 14799 w 606437"/>
                <a:gd name="connsiteY9" fmla="*/ 14165 h 28405"/>
                <a:gd name="connsiteX10" fmla="*/ 303212 w 606437"/>
                <a:gd name="connsiteY10" fmla="*/ 22162 h 28405"/>
                <a:gd name="connsiteX11" fmla="*/ 591803 w 606437"/>
                <a:gd name="connsiteY11" fmla="*/ 14152 h 28405"/>
                <a:gd name="connsiteX12" fmla="*/ 303212 w 606437"/>
                <a:gd name="connsiteY12" fmla="*/ 6167 h 28405"/>
                <a:gd name="connsiteX13" fmla="*/ 14799 w 606437"/>
                <a:gd name="connsiteY13" fmla="*/ 14165 h 28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37" h="28405">
                  <a:moveTo>
                    <a:pt x="303212" y="28405"/>
                  </a:moveTo>
                  <a:cubicBezTo>
                    <a:pt x="223176" y="28405"/>
                    <a:pt x="147786" y="27252"/>
                    <a:pt x="90938" y="25146"/>
                  </a:cubicBezTo>
                  <a:cubicBezTo>
                    <a:pt x="0" y="21761"/>
                    <a:pt x="0" y="18088"/>
                    <a:pt x="0" y="14203"/>
                  </a:cubicBezTo>
                  <a:cubicBezTo>
                    <a:pt x="0" y="10317"/>
                    <a:pt x="0" y="6681"/>
                    <a:pt x="90951" y="3272"/>
                  </a:cubicBezTo>
                  <a:cubicBezTo>
                    <a:pt x="147786" y="1166"/>
                    <a:pt x="223164" y="0"/>
                    <a:pt x="303212" y="0"/>
                  </a:cubicBezTo>
                  <a:cubicBezTo>
                    <a:pt x="383261" y="0"/>
                    <a:pt x="458753" y="1166"/>
                    <a:pt x="515486" y="3259"/>
                  </a:cubicBezTo>
                  <a:cubicBezTo>
                    <a:pt x="606437" y="6619"/>
                    <a:pt x="606437" y="10304"/>
                    <a:pt x="606437" y="14203"/>
                  </a:cubicBezTo>
                  <a:cubicBezTo>
                    <a:pt x="606437" y="18101"/>
                    <a:pt x="606437" y="21724"/>
                    <a:pt x="515486" y="25146"/>
                  </a:cubicBezTo>
                  <a:cubicBezTo>
                    <a:pt x="458677" y="27214"/>
                    <a:pt x="383286" y="28405"/>
                    <a:pt x="303212" y="28405"/>
                  </a:cubicBezTo>
                  <a:close/>
                  <a:moveTo>
                    <a:pt x="14799" y="14165"/>
                  </a:moveTo>
                  <a:cubicBezTo>
                    <a:pt x="47455" y="18314"/>
                    <a:pt x="158028" y="22162"/>
                    <a:pt x="303212" y="22162"/>
                  </a:cubicBezTo>
                  <a:cubicBezTo>
                    <a:pt x="448650" y="22162"/>
                    <a:pt x="559337" y="18302"/>
                    <a:pt x="591803" y="14152"/>
                  </a:cubicBezTo>
                  <a:cubicBezTo>
                    <a:pt x="560073" y="10016"/>
                    <a:pt x="452978" y="6167"/>
                    <a:pt x="303212" y="6167"/>
                  </a:cubicBezTo>
                  <a:cubicBezTo>
                    <a:pt x="158016" y="6167"/>
                    <a:pt x="47455" y="10016"/>
                    <a:pt x="14799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1C2E46B5-F597-6F4C-A131-B9614292243E}"/>
                </a:ext>
              </a:extLst>
            </p:cNvPr>
            <p:cNvSpPr/>
            <p:nvPr/>
          </p:nvSpPr>
          <p:spPr>
            <a:xfrm>
              <a:off x="7744744" y="835014"/>
              <a:ext cx="600116" cy="22200"/>
            </a:xfrm>
            <a:custGeom>
              <a:avLst/>
              <a:gdLst>
                <a:gd name="connsiteX0" fmla="*/ 600116 w 600116"/>
                <a:gd name="connsiteY0" fmla="*/ 11081 h 22200"/>
                <a:gd name="connsiteX1" fmla="*/ 300065 w 600116"/>
                <a:gd name="connsiteY1" fmla="*/ 22200 h 22200"/>
                <a:gd name="connsiteX2" fmla="*/ 0 w 600116"/>
                <a:gd name="connsiteY2" fmla="*/ 11081 h 22200"/>
                <a:gd name="connsiteX3" fmla="*/ 300065 w 600116"/>
                <a:gd name="connsiteY3" fmla="*/ 0 h 22200"/>
                <a:gd name="connsiteX4" fmla="*/ 600116 w 600116"/>
                <a:gd name="connsiteY4" fmla="*/ 11081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16" h="22200">
                  <a:moveTo>
                    <a:pt x="600116" y="11081"/>
                  </a:moveTo>
                  <a:cubicBezTo>
                    <a:pt x="600116" y="17236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81"/>
                  </a:cubicBezTo>
                  <a:cubicBezTo>
                    <a:pt x="0" y="4977"/>
                    <a:pt x="134434" y="0"/>
                    <a:pt x="300065" y="0"/>
                  </a:cubicBezTo>
                  <a:cubicBezTo>
                    <a:pt x="465695" y="0"/>
                    <a:pt x="600116" y="5014"/>
                    <a:pt x="600116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7F5EE062-B8E9-EA42-9983-4714DE2AA395}"/>
                </a:ext>
              </a:extLst>
            </p:cNvPr>
            <p:cNvSpPr/>
            <p:nvPr/>
          </p:nvSpPr>
          <p:spPr>
            <a:xfrm>
              <a:off x="7741596" y="831918"/>
              <a:ext cx="606398" cy="28392"/>
            </a:xfrm>
            <a:custGeom>
              <a:avLst/>
              <a:gdLst>
                <a:gd name="connsiteX0" fmla="*/ 303212 w 606398"/>
                <a:gd name="connsiteY0" fmla="*/ 28393 h 28392"/>
                <a:gd name="connsiteX1" fmla="*/ 90938 w 606398"/>
                <a:gd name="connsiteY1" fmla="*/ 25121 h 28392"/>
                <a:gd name="connsiteX2" fmla="*/ 0 w 606398"/>
                <a:gd name="connsiteY2" fmla="*/ 14177 h 28392"/>
                <a:gd name="connsiteX3" fmla="*/ 90951 w 606398"/>
                <a:gd name="connsiteY3" fmla="*/ 3247 h 28392"/>
                <a:gd name="connsiteX4" fmla="*/ 303212 w 606398"/>
                <a:gd name="connsiteY4" fmla="*/ 0 h 28392"/>
                <a:gd name="connsiteX5" fmla="*/ 515473 w 606398"/>
                <a:gd name="connsiteY5" fmla="*/ 3259 h 28392"/>
                <a:gd name="connsiteX6" fmla="*/ 606399 w 606398"/>
                <a:gd name="connsiteY6" fmla="*/ 14177 h 28392"/>
                <a:gd name="connsiteX7" fmla="*/ 515473 w 606398"/>
                <a:gd name="connsiteY7" fmla="*/ 25146 h 28392"/>
                <a:gd name="connsiteX8" fmla="*/ 303212 w 606398"/>
                <a:gd name="connsiteY8" fmla="*/ 28393 h 28392"/>
                <a:gd name="connsiteX9" fmla="*/ 14672 w 606398"/>
                <a:gd name="connsiteY9" fmla="*/ 14165 h 28392"/>
                <a:gd name="connsiteX10" fmla="*/ 303212 w 606398"/>
                <a:gd name="connsiteY10" fmla="*/ 22200 h 28392"/>
                <a:gd name="connsiteX11" fmla="*/ 591740 w 606398"/>
                <a:gd name="connsiteY11" fmla="*/ 14203 h 28392"/>
                <a:gd name="connsiteX12" fmla="*/ 303212 w 606398"/>
                <a:gd name="connsiteY12" fmla="*/ 6192 h 28392"/>
                <a:gd name="connsiteX13" fmla="*/ 14672 w 606398"/>
                <a:gd name="connsiteY13" fmla="*/ 14165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398" h="28392">
                  <a:moveTo>
                    <a:pt x="303212" y="28393"/>
                  </a:moveTo>
                  <a:cubicBezTo>
                    <a:pt x="223138" y="28393"/>
                    <a:pt x="147760" y="27239"/>
                    <a:pt x="90938" y="25121"/>
                  </a:cubicBezTo>
                  <a:cubicBezTo>
                    <a:pt x="0" y="21749"/>
                    <a:pt x="0" y="18063"/>
                    <a:pt x="0" y="14177"/>
                  </a:cubicBezTo>
                  <a:cubicBezTo>
                    <a:pt x="0" y="10292"/>
                    <a:pt x="0" y="6656"/>
                    <a:pt x="90951" y="3247"/>
                  </a:cubicBezTo>
                  <a:cubicBezTo>
                    <a:pt x="147697" y="1153"/>
                    <a:pt x="223087" y="0"/>
                    <a:pt x="303212" y="0"/>
                  </a:cubicBezTo>
                  <a:cubicBezTo>
                    <a:pt x="383337" y="0"/>
                    <a:pt x="458600" y="1153"/>
                    <a:pt x="515473" y="3259"/>
                  </a:cubicBezTo>
                  <a:cubicBezTo>
                    <a:pt x="606399" y="6619"/>
                    <a:pt x="606399" y="10292"/>
                    <a:pt x="606399" y="14177"/>
                  </a:cubicBezTo>
                  <a:cubicBezTo>
                    <a:pt x="606399" y="18063"/>
                    <a:pt x="606399" y="21774"/>
                    <a:pt x="515473" y="25146"/>
                  </a:cubicBezTo>
                  <a:cubicBezTo>
                    <a:pt x="458804" y="27239"/>
                    <a:pt x="383426" y="28393"/>
                    <a:pt x="303212" y="28393"/>
                  </a:cubicBezTo>
                  <a:close/>
                  <a:moveTo>
                    <a:pt x="14672" y="14165"/>
                  </a:moveTo>
                  <a:cubicBezTo>
                    <a:pt x="47164" y="18327"/>
                    <a:pt x="157825" y="22200"/>
                    <a:pt x="303212" y="22200"/>
                  </a:cubicBezTo>
                  <a:cubicBezTo>
                    <a:pt x="452978" y="22200"/>
                    <a:pt x="559984" y="18339"/>
                    <a:pt x="591740" y="14203"/>
                  </a:cubicBezTo>
                  <a:cubicBezTo>
                    <a:pt x="559274" y="10053"/>
                    <a:pt x="448599" y="6192"/>
                    <a:pt x="303212" y="6192"/>
                  </a:cubicBezTo>
                  <a:cubicBezTo>
                    <a:pt x="153497" y="6192"/>
                    <a:pt x="46453" y="10066"/>
                    <a:pt x="14672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6C78F948-14EC-9845-BC69-034C7671684A}"/>
                </a:ext>
              </a:extLst>
            </p:cNvPr>
            <p:cNvSpPr/>
            <p:nvPr/>
          </p:nvSpPr>
          <p:spPr>
            <a:xfrm>
              <a:off x="7680662" y="649366"/>
              <a:ext cx="600141" cy="22187"/>
            </a:xfrm>
            <a:custGeom>
              <a:avLst/>
              <a:gdLst>
                <a:gd name="connsiteX0" fmla="*/ 600142 w 600141"/>
                <a:gd name="connsiteY0" fmla="*/ 11081 h 22187"/>
                <a:gd name="connsiteX1" fmla="*/ 300065 w 600141"/>
                <a:gd name="connsiteY1" fmla="*/ 22187 h 22187"/>
                <a:gd name="connsiteX2" fmla="*/ 0 w 600141"/>
                <a:gd name="connsiteY2" fmla="*/ 11081 h 22187"/>
                <a:gd name="connsiteX3" fmla="*/ 300065 w 600141"/>
                <a:gd name="connsiteY3" fmla="*/ 0 h 22187"/>
                <a:gd name="connsiteX4" fmla="*/ 600142 w 600141"/>
                <a:gd name="connsiteY4" fmla="*/ 11081 h 2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41" h="22187">
                  <a:moveTo>
                    <a:pt x="600142" y="11081"/>
                  </a:moveTo>
                  <a:cubicBezTo>
                    <a:pt x="600142" y="17211"/>
                    <a:pt x="465708" y="22187"/>
                    <a:pt x="300065" y="22187"/>
                  </a:cubicBezTo>
                  <a:cubicBezTo>
                    <a:pt x="134421" y="22187"/>
                    <a:pt x="0" y="17173"/>
                    <a:pt x="0" y="11081"/>
                  </a:cubicBezTo>
                  <a:cubicBezTo>
                    <a:pt x="0" y="4989"/>
                    <a:pt x="134434" y="0"/>
                    <a:pt x="300065" y="0"/>
                  </a:cubicBezTo>
                  <a:cubicBezTo>
                    <a:pt x="465695" y="0"/>
                    <a:pt x="600142" y="5014"/>
                    <a:pt x="600142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8DAE1AA6-A71F-0F4E-915A-FBE54B929992}"/>
                </a:ext>
              </a:extLst>
            </p:cNvPr>
            <p:cNvSpPr/>
            <p:nvPr/>
          </p:nvSpPr>
          <p:spPr>
            <a:xfrm>
              <a:off x="7677514" y="646257"/>
              <a:ext cx="606424" cy="28392"/>
            </a:xfrm>
            <a:custGeom>
              <a:avLst/>
              <a:gdLst>
                <a:gd name="connsiteX0" fmla="*/ 303212 w 606424"/>
                <a:gd name="connsiteY0" fmla="*/ 28392 h 28392"/>
                <a:gd name="connsiteX1" fmla="*/ 90938 w 606424"/>
                <a:gd name="connsiteY1" fmla="*/ 25121 h 28392"/>
                <a:gd name="connsiteX2" fmla="*/ 0 w 606424"/>
                <a:gd name="connsiteY2" fmla="*/ 14190 h 28392"/>
                <a:gd name="connsiteX3" fmla="*/ 90951 w 606424"/>
                <a:gd name="connsiteY3" fmla="*/ 3259 h 28392"/>
                <a:gd name="connsiteX4" fmla="*/ 303212 w 606424"/>
                <a:gd name="connsiteY4" fmla="*/ 0 h 28392"/>
                <a:gd name="connsiteX5" fmla="*/ 515486 w 606424"/>
                <a:gd name="connsiteY5" fmla="*/ 3272 h 28392"/>
                <a:gd name="connsiteX6" fmla="*/ 606424 w 606424"/>
                <a:gd name="connsiteY6" fmla="*/ 14190 h 28392"/>
                <a:gd name="connsiteX7" fmla="*/ 515486 w 606424"/>
                <a:gd name="connsiteY7" fmla="*/ 25133 h 28392"/>
                <a:gd name="connsiteX8" fmla="*/ 303212 w 606424"/>
                <a:gd name="connsiteY8" fmla="*/ 28392 h 28392"/>
                <a:gd name="connsiteX9" fmla="*/ 14812 w 606424"/>
                <a:gd name="connsiteY9" fmla="*/ 14190 h 28392"/>
                <a:gd name="connsiteX10" fmla="*/ 303212 w 606424"/>
                <a:gd name="connsiteY10" fmla="*/ 22188 h 28392"/>
                <a:gd name="connsiteX11" fmla="*/ 591740 w 606424"/>
                <a:gd name="connsiteY11" fmla="*/ 14215 h 28392"/>
                <a:gd name="connsiteX12" fmla="*/ 303212 w 606424"/>
                <a:gd name="connsiteY12" fmla="*/ 6205 h 28392"/>
                <a:gd name="connsiteX13" fmla="*/ 14812 w 606424"/>
                <a:gd name="connsiteY13" fmla="*/ 14190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24" h="28392">
                  <a:moveTo>
                    <a:pt x="303212" y="28392"/>
                  </a:moveTo>
                  <a:cubicBezTo>
                    <a:pt x="223176" y="28392"/>
                    <a:pt x="147786" y="27227"/>
                    <a:pt x="90938" y="25121"/>
                  </a:cubicBezTo>
                  <a:cubicBezTo>
                    <a:pt x="0" y="21749"/>
                    <a:pt x="0" y="18076"/>
                    <a:pt x="0" y="14190"/>
                  </a:cubicBezTo>
                  <a:cubicBezTo>
                    <a:pt x="0" y="10304"/>
                    <a:pt x="0" y="6669"/>
                    <a:pt x="90951" y="3259"/>
                  </a:cubicBezTo>
                  <a:cubicBezTo>
                    <a:pt x="147748" y="1153"/>
                    <a:pt x="223138" y="0"/>
                    <a:pt x="303212" y="0"/>
                  </a:cubicBezTo>
                  <a:cubicBezTo>
                    <a:pt x="383286" y="0"/>
                    <a:pt x="458575" y="1166"/>
                    <a:pt x="515486" y="3272"/>
                  </a:cubicBezTo>
                  <a:cubicBezTo>
                    <a:pt x="606424" y="6644"/>
                    <a:pt x="606424" y="10304"/>
                    <a:pt x="606424" y="14190"/>
                  </a:cubicBezTo>
                  <a:cubicBezTo>
                    <a:pt x="606424" y="18076"/>
                    <a:pt x="606424" y="21774"/>
                    <a:pt x="515486" y="25133"/>
                  </a:cubicBezTo>
                  <a:cubicBezTo>
                    <a:pt x="458740" y="27239"/>
                    <a:pt x="383362" y="28392"/>
                    <a:pt x="303212" y="28392"/>
                  </a:cubicBezTo>
                  <a:close/>
                  <a:moveTo>
                    <a:pt x="14812" y="14190"/>
                  </a:moveTo>
                  <a:cubicBezTo>
                    <a:pt x="47481" y="18339"/>
                    <a:pt x="158041" y="22188"/>
                    <a:pt x="303212" y="22188"/>
                  </a:cubicBezTo>
                  <a:cubicBezTo>
                    <a:pt x="452914" y="22188"/>
                    <a:pt x="559933" y="18339"/>
                    <a:pt x="591740" y="14215"/>
                  </a:cubicBezTo>
                  <a:cubicBezTo>
                    <a:pt x="559210" y="10053"/>
                    <a:pt x="448561" y="6205"/>
                    <a:pt x="303212" y="6205"/>
                  </a:cubicBezTo>
                  <a:cubicBezTo>
                    <a:pt x="157863" y="6205"/>
                    <a:pt x="47481" y="10041"/>
                    <a:pt x="14812" y="1419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1269FED0-BE0B-6A49-9345-30C20893820C}"/>
                </a:ext>
              </a:extLst>
            </p:cNvPr>
            <p:cNvSpPr/>
            <p:nvPr/>
          </p:nvSpPr>
          <p:spPr>
            <a:xfrm>
              <a:off x="7794847" y="284166"/>
              <a:ext cx="928959" cy="738994"/>
            </a:xfrm>
            <a:custGeom>
              <a:avLst/>
              <a:gdLst>
                <a:gd name="connsiteX0" fmla="*/ 835862 w 928959"/>
                <a:gd name="connsiteY0" fmla="*/ 129348 h 738994"/>
                <a:gd name="connsiteX1" fmla="*/ 928958 w 928959"/>
                <a:gd name="connsiteY1" fmla="*/ 373724 h 738994"/>
                <a:gd name="connsiteX2" fmla="*/ 687886 w 928959"/>
                <a:gd name="connsiteY2" fmla="*/ 707075 h 738994"/>
                <a:gd name="connsiteX3" fmla="*/ 422255 w 928959"/>
                <a:gd name="connsiteY3" fmla="*/ 738739 h 738994"/>
                <a:gd name="connsiteX4" fmla="*/ 59340 w 928959"/>
                <a:gd name="connsiteY4" fmla="*/ 566442 h 738994"/>
                <a:gd name="connsiteX5" fmla="*/ 36227 w 928959"/>
                <a:gd name="connsiteY5" fmla="*/ 210589 h 738994"/>
                <a:gd name="connsiteX6" fmla="*/ 317571 w 928959"/>
                <a:gd name="connsiteY6" fmla="*/ 11729 h 738994"/>
                <a:gd name="connsiteX7" fmla="*/ 681946 w 928959"/>
                <a:gd name="connsiteY7" fmla="*/ 31485 h 738994"/>
                <a:gd name="connsiteX8" fmla="*/ 835862 w 928959"/>
                <a:gd name="connsiteY8" fmla="*/ 129348 h 73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9" h="738994">
                  <a:moveTo>
                    <a:pt x="835862" y="129348"/>
                  </a:moveTo>
                  <a:cubicBezTo>
                    <a:pt x="896115" y="196817"/>
                    <a:pt x="929237" y="283760"/>
                    <a:pt x="928958" y="373724"/>
                  </a:cubicBezTo>
                  <a:cubicBezTo>
                    <a:pt x="925921" y="523318"/>
                    <a:pt x="830175" y="655713"/>
                    <a:pt x="687886" y="707075"/>
                  </a:cubicBezTo>
                  <a:cubicBezTo>
                    <a:pt x="605502" y="733913"/>
                    <a:pt x="513828" y="740457"/>
                    <a:pt x="422255" y="738739"/>
                  </a:cubicBezTo>
                  <a:cubicBezTo>
                    <a:pt x="276855" y="734716"/>
                    <a:pt x="140403" y="684838"/>
                    <a:pt x="59340" y="566442"/>
                  </a:cubicBezTo>
                  <a:cubicBezTo>
                    <a:pt x="-7725" y="467563"/>
                    <a:pt x="-21432" y="316650"/>
                    <a:pt x="36227" y="210589"/>
                  </a:cubicBezTo>
                  <a:cubicBezTo>
                    <a:pt x="85422" y="102522"/>
                    <a:pt x="197479" y="29968"/>
                    <a:pt x="317571" y="11729"/>
                  </a:cubicBezTo>
                  <a:cubicBezTo>
                    <a:pt x="438981" y="-8966"/>
                    <a:pt x="563560" y="-2211"/>
                    <a:pt x="681946" y="31485"/>
                  </a:cubicBezTo>
                  <a:cubicBezTo>
                    <a:pt x="740568" y="51213"/>
                    <a:pt x="793411" y="84811"/>
                    <a:pt x="835862" y="129348"/>
                  </a:cubicBezTo>
                  <a:close/>
                </a:path>
              </a:pathLst>
            </a:custGeom>
            <a:solidFill>
              <a:srgbClr val="CA0538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976663B8-3207-1344-BBE2-ACA0BFDCA098}"/>
                </a:ext>
              </a:extLst>
            </p:cNvPr>
            <p:cNvSpPr/>
            <p:nvPr/>
          </p:nvSpPr>
          <p:spPr>
            <a:xfrm>
              <a:off x="7833276" y="310649"/>
              <a:ext cx="674105" cy="476179"/>
            </a:xfrm>
            <a:custGeom>
              <a:avLst/>
              <a:gdLst>
                <a:gd name="connsiteX0" fmla="*/ 674105 w 674105"/>
                <a:gd name="connsiteY0" fmla="*/ 47259 h 476179"/>
                <a:gd name="connsiteX1" fmla="*/ 53199 w 674105"/>
                <a:gd name="connsiteY1" fmla="*/ 164301 h 476179"/>
                <a:gd name="connsiteX2" fmla="*/ 23043 w 674105"/>
                <a:gd name="connsiteY2" fmla="*/ 476180 h 476179"/>
                <a:gd name="connsiteX3" fmla="*/ 674105 w 674105"/>
                <a:gd name="connsiteY3" fmla="*/ 47259 h 47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4105" h="476179">
                  <a:moveTo>
                    <a:pt x="674105" y="47259"/>
                  </a:moveTo>
                  <a:cubicBezTo>
                    <a:pt x="674105" y="47259"/>
                    <a:pt x="245737" y="-115976"/>
                    <a:pt x="53199" y="164301"/>
                  </a:cubicBezTo>
                  <a:cubicBezTo>
                    <a:pt x="-45202" y="307555"/>
                    <a:pt x="23043" y="476180"/>
                    <a:pt x="23043" y="476180"/>
                  </a:cubicBezTo>
                  <a:cubicBezTo>
                    <a:pt x="23043" y="476180"/>
                    <a:pt x="9323" y="-76226"/>
                    <a:pt x="674105" y="47259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38C16A3A-B47C-5541-A9A8-D6C0A9B49BE9}"/>
                </a:ext>
              </a:extLst>
            </p:cNvPr>
            <p:cNvSpPr/>
            <p:nvPr/>
          </p:nvSpPr>
          <p:spPr>
            <a:xfrm>
              <a:off x="7952138" y="416172"/>
              <a:ext cx="622117" cy="420341"/>
            </a:xfrm>
            <a:custGeom>
              <a:avLst/>
              <a:gdLst>
                <a:gd name="connsiteX0" fmla="*/ 244162 w 622117"/>
                <a:gd name="connsiteY0" fmla="*/ 5265 h 420341"/>
                <a:gd name="connsiteX1" fmla="*/ 190234 w 622117"/>
                <a:gd name="connsiteY1" fmla="*/ 115337 h 420341"/>
                <a:gd name="connsiteX2" fmla="*/ 166119 w 622117"/>
                <a:gd name="connsiteY2" fmla="*/ 372750 h 420341"/>
                <a:gd name="connsiteX3" fmla="*/ 174546 w 622117"/>
                <a:gd name="connsiteY3" fmla="*/ 380271 h 420341"/>
                <a:gd name="connsiteX4" fmla="*/ 219273 w 622117"/>
                <a:gd name="connsiteY4" fmla="*/ 341336 h 420341"/>
                <a:gd name="connsiteX5" fmla="*/ 302545 w 622117"/>
                <a:gd name="connsiteY5" fmla="*/ 23617 h 420341"/>
                <a:gd name="connsiteX6" fmla="*/ 333806 w 622117"/>
                <a:gd name="connsiteY6" fmla="*/ 464 h 420341"/>
                <a:gd name="connsiteX7" fmla="*/ 335633 w 622117"/>
                <a:gd name="connsiteY7" fmla="*/ 7032 h 420341"/>
                <a:gd name="connsiteX8" fmla="*/ 302964 w 622117"/>
                <a:gd name="connsiteY8" fmla="*/ 48950 h 420341"/>
                <a:gd name="connsiteX9" fmla="*/ 293445 w 622117"/>
                <a:gd name="connsiteY9" fmla="*/ 78772 h 420341"/>
                <a:gd name="connsiteX10" fmla="*/ 257717 w 622117"/>
                <a:gd name="connsiteY10" fmla="*/ 371697 h 420341"/>
                <a:gd name="connsiteX11" fmla="*/ 269927 w 622117"/>
                <a:gd name="connsiteY11" fmla="*/ 380221 h 420341"/>
                <a:gd name="connsiteX12" fmla="*/ 308980 w 622117"/>
                <a:gd name="connsiteY12" fmla="*/ 342176 h 420341"/>
                <a:gd name="connsiteX13" fmla="*/ 378228 w 622117"/>
                <a:gd name="connsiteY13" fmla="*/ 200628 h 420341"/>
                <a:gd name="connsiteX14" fmla="*/ 448161 w 622117"/>
                <a:gd name="connsiteY14" fmla="*/ 198221 h 420341"/>
                <a:gd name="connsiteX15" fmla="*/ 429681 w 622117"/>
                <a:gd name="connsiteY15" fmla="*/ 360127 h 420341"/>
                <a:gd name="connsiteX16" fmla="*/ 437030 w 622117"/>
                <a:gd name="connsiteY16" fmla="*/ 382690 h 420341"/>
                <a:gd name="connsiteX17" fmla="*/ 444645 w 622117"/>
                <a:gd name="connsiteY17" fmla="*/ 380885 h 420341"/>
                <a:gd name="connsiteX18" fmla="*/ 491339 w 622117"/>
                <a:gd name="connsiteY18" fmla="*/ 333527 h 420341"/>
                <a:gd name="connsiteX19" fmla="*/ 528362 w 622117"/>
                <a:gd name="connsiteY19" fmla="*/ 108054 h 420341"/>
                <a:gd name="connsiteX20" fmla="*/ 593332 w 622117"/>
                <a:gd name="connsiteY20" fmla="*/ 24331 h 420341"/>
                <a:gd name="connsiteX21" fmla="*/ 580031 w 622117"/>
                <a:gd name="connsiteY21" fmla="*/ 39536 h 420341"/>
                <a:gd name="connsiteX22" fmla="*/ 525455 w 622117"/>
                <a:gd name="connsiteY22" fmla="*/ 215770 h 420341"/>
                <a:gd name="connsiteX23" fmla="*/ 546295 w 622117"/>
                <a:gd name="connsiteY23" fmla="*/ 207522 h 420341"/>
                <a:gd name="connsiteX24" fmla="*/ 590083 w 622117"/>
                <a:gd name="connsiteY24" fmla="*/ 171383 h 420341"/>
                <a:gd name="connsiteX25" fmla="*/ 609717 w 622117"/>
                <a:gd name="connsiteY25" fmla="*/ 190299 h 420341"/>
                <a:gd name="connsiteX26" fmla="*/ 587481 w 622117"/>
                <a:gd name="connsiteY26" fmla="*/ 352167 h 420341"/>
                <a:gd name="connsiteX27" fmla="*/ 515873 w 622117"/>
                <a:gd name="connsiteY27" fmla="*/ 418817 h 420341"/>
                <a:gd name="connsiteX28" fmla="*/ 500642 w 622117"/>
                <a:gd name="connsiteY28" fmla="*/ 417313 h 420341"/>
                <a:gd name="connsiteX29" fmla="*/ 492024 w 622117"/>
                <a:gd name="connsiteY29" fmla="*/ 355990 h 420341"/>
                <a:gd name="connsiteX30" fmla="*/ 489207 w 622117"/>
                <a:gd name="connsiteY30" fmla="*/ 354085 h 420341"/>
                <a:gd name="connsiteX31" fmla="*/ 416862 w 622117"/>
                <a:gd name="connsiteY31" fmla="*/ 419958 h 420341"/>
                <a:gd name="connsiteX32" fmla="*/ 408397 w 622117"/>
                <a:gd name="connsiteY32" fmla="*/ 418015 h 420341"/>
                <a:gd name="connsiteX33" fmla="*/ 398345 w 622117"/>
                <a:gd name="connsiteY33" fmla="*/ 380409 h 420341"/>
                <a:gd name="connsiteX34" fmla="*/ 344175 w 622117"/>
                <a:gd name="connsiteY34" fmla="*/ 420221 h 420341"/>
                <a:gd name="connsiteX35" fmla="*/ 325493 w 622117"/>
                <a:gd name="connsiteY35" fmla="*/ 399989 h 420341"/>
                <a:gd name="connsiteX36" fmla="*/ 310719 w 622117"/>
                <a:gd name="connsiteY36" fmla="*/ 359011 h 420341"/>
                <a:gd name="connsiteX37" fmla="*/ 242182 w 622117"/>
                <a:gd name="connsiteY37" fmla="*/ 419306 h 420341"/>
                <a:gd name="connsiteX38" fmla="*/ 228221 w 622117"/>
                <a:gd name="connsiteY38" fmla="*/ 408852 h 420341"/>
                <a:gd name="connsiteX39" fmla="*/ 220047 w 622117"/>
                <a:gd name="connsiteY39" fmla="*/ 358222 h 420341"/>
                <a:gd name="connsiteX40" fmla="*/ 216240 w 622117"/>
                <a:gd name="connsiteY40" fmla="*/ 359124 h 420341"/>
                <a:gd name="connsiteX41" fmla="*/ 149607 w 622117"/>
                <a:gd name="connsiteY41" fmla="*/ 419406 h 420341"/>
                <a:gd name="connsiteX42" fmla="*/ 136470 w 622117"/>
                <a:gd name="connsiteY42" fmla="*/ 410857 h 420341"/>
                <a:gd name="connsiteX43" fmla="*/ 127586 w 622117"/>
                <a:gd name="connsiteY43" fmla="*/ 346138 h 420341"/>
                <a:gd name="connsiteX44" fmla="*/ 123778 w 622117"/>
                <a:gd name="connsiteY44" fmla="*/ 346138 h 420341"/>
                <a:gd name="connsiteX45" fmla="*/ 29616 w 622117"/>
                <a:gd name="connsiteY45" fmla="*/ 420234 h 420341"/>
                <a:gd name="connsiteX46" fmla="*/ 19298 w 622117"/>
                <a:gd name="connsiteY46" fmla="*/ 412637 h 420341"/>
                <a:gd name="connsiteX47" fmla="*/ 41090 w 622117"/>
                <a:gd name="connsiteY47" fmla="*/ 197368 h 420341"/>
                <a:gd name="connsiteX48" fmla="*/ 83177 w 622117"/>
                <a:gd name="connsiteY48" fmla="*/ 178766 h 420341"/>
                <a:gd name="connsiteX49" fmla="*/ 102367 w 622117"/>
                <a:gd name="connsiteY49" fmla="*/ 208224 h 420341"/>
                <a:gd name="connsiteX50" fmla="*/ 102100 w 622117"/>
                <a:gd name="connsiteY50" fmla="*/ 239136 h 420341"/>
                <a:gd name="connsiteX51" fmla="*/ 36368 w 622117"/>
                <a:gd name="connsiteY51" fmla="*/ 299443 h 420341"/>
                <a:gd name="connsiteX52" fmla="*/ 46167 w 622117"/>
                <a:gd name="connsiteY52" fmla="*/ 383831 h 420341"/>
                <a:gd name="connsiteX53" fmla="*/ 58592 w 622117"/>
                <a:gd name="connsiteY53" fmla="*/ 385649 h 420341"/>
                <a:gd name="connsiteX54" fmla="*/ 60331 w 622117"/>
                <a:gd name="connsiteY54" fmla="*/ 383969 h 420341"/>
                <a:gd name="connsiteX55" fmla="*/ 127954 w 622117"/>
                <a:gd name="connsiteY55" fmla="*/ 320866 h 420341"/>
                <a:gd name="connsiteX56" fmla="*/ 202291 w 622117"/>
                <a:gd name="connsiteY56" fmla="*/ 37681 h 420341"/>
                <a:gd name="connsiteX57" fmla="*/ 243007 w 622117"/>
                <a:gd name="connsiteY57" fmla="*/ 0 h 420341"/>
                <a:gd name="connsiteX58" fmla="*/ 244974 w 622117"/>
                <a:gd name="connsiteY58" fmla="*/ 4024 h 420341"/>
                <a:gd name="connsiteX59" fmla="*/ 244162 w 622117"/>
                <a:gd name="connsiteY59" fmla="*/ 5265 h 420341"/>
                <a:gd name="connsiteX60" fmla="*/ 77224 w 622117"/>
                <a:gd name="connsiteY60" fmla="*/ 185510 h 420341"/>
                <a:gd name="connsiteX61" fmla="*/ 63936 w 622117"/>
                <a:gd name="connsiteY61" fmla="*/ 193821 h 420341"/>
                <a:gd name="connsiteX62" fmla="*/ 39516 w 622117"/>
                <a:gd name="connsiteY62" fmla="*/ 281656 h 420341"/>
                <a:gd name="connsiteX63" fmla="*/ 80448 w 622117"/>
                <a:gd name="connsiteY63" fmla="*/ 246419 h 420341"/>
                <a:gd name="connsiteX64" fmla="*/ 86553 w 622117"/>
                <a:gd name="connsiteY64" fmla="*/ 197770 h 420341"/>
                <a:gd name="connsiteX65" fmla="*/ 77224 w 622117"/>
                <a:gd name="connsiteY65" fmla="*/ 185510 h 420341"/>
                <a:gd name="connsiteX66" fmla="*/ 415111 w 622117"/>
                <a:gd name="connsiteY66" fmla="*/ 203536 h 420341"/>
                <a:gd name="connsiteX67" fmla="*/ 378215 w 622117"/>
                <a:gd name="connsiteY67" fmla="*/ 212574 h 420341"/>
                <a:gd name="connsiteX68" fmla="*/ 346891 w 622117"/>
                <a:gd name="connsiteY68" fmla="*/ 331271 h 420341"/>
                <a:gd name="connsiteX69" fmla="*/ 360611 w 622117"/>
                <a:gd name="connsiteY69" fmla="*/ 381976 h 420341"/>
                <a:gd name="connsiteX70" fmla="*/ 395730 w 622117"/>
                <a:gd name="connsiteY70" fmla="*/ 361681 h 420341"/>
                <a:gd name="connsiteX71" fmla="*/ 416037 w 622117"/>
                <a:gd name="connsiteY71" fmla="*/ 208224 h 420341"/>
                <a:gd name="connsiteX72" fmla="*/ 566146 w 622117"/>
                <a:gd name="connsiteY72" fmla="*/ 207698 h 420341"/>
                <a:gd name="connsiteX73" fmla="*/ 530887 w 622117"/>
                <a:gd name="connsiteY73" fmla="*/ 242997 h 420341"/>
                <a:gd name="connsiteX74" fmla="*/ 529618 w 622117"/>
                <a:gd name="connsiteY74" fmla="*/ 378792 h 420341"/>
                <a:gd name="connsiteX75" fmla="*/ 533324 w 622117"/>
                <a:gd name="connsiteY75" fmla="*/ 388219 h 420341"/>
                <a:gd name="connsiteX76" fmla="*/ 558899 w 622117"/>
                <a:gd name="connsiteY76" fmla="*/ 370995 h 420341"/>
                <a:gd name="connsiteX77" fmla="*/ 581871 w 622117"/>
                <a:gd name="connsiteY77" fmla="*/ 223730 h 420341"/>
                <a:gd name="connsiteX78" fmla="*/ 566158 w 622117"/>
                <a:gd name="connsiteY78" fmla="*/ 207710 h 420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117" h="420341">
                  <a:moveTo>
                    <a:pt x="244162" y="5265"/>
                  </a:moveTo>
                  <a:cubicBezTo>
                    <a:pt x="206086" y="28342"/>
                    <a:pt x="203801" y="76089"/>
                    <a:pt x="190234" y="115337"/>
                  </a:cubicBezTo>
                  <a:cubicBezTo>
                    <a:pt x="169685" y="194774"/>
                    <a:pt x="154696" y="286444"/>
                    <a:pt x="166119" y="372750"/>
                  </a:cubicBezTo>
                  <a:cubicBezTo>
                    <a:pt x="167666" y="376363"/>
                    <a:pt x="170752" y="379115"/>
                    <a:pt x="174546" y="380271"/>
                  </a:cubicBezTo>
                  <a:cubicBezTo>
                    <a:pt x="191170" y="369352"/>
                    <a:pt x="206217" y="356253"/>
                    <a:pt x="219273" y="341336"/>
                  </a:cubicBezTo>
                  <a:cubicBezTo>
                    <a:pt x="227904" y="228092"/>
                    <a:pt x="248807" y="118709"/>
                    <a:pt x="302545" y="23617"/>
                  </a:cubicBezTo>
                  <a:cubicBezTo>
                    <a:pt x="309823" y="12451"/>
                    <a:pt x="320916" y="4236"/>
                    <a:pt x="333806" y="464"/>
                  </a:cubicBezTo>
                  <a:cubicBezTo>
                    <a:pt x="336636" y="464"/>
                    <a:pt x="337613" y="5165"/>
                    <a:pt x="335633" y="7032"/>
                  </a:cubicBezTo>
                  <a:cubicBezTo>
                    <a:pt x="316443" y="13977"/>
                    <a:pt x="309780" y="30298"/>
                    <a:pt x="302964" y="48950"/>
                  </a:cubicBezTo>
                  <a:cubicBezTo>
                    <a:pt x="299197" y="58697"/>
                    <a:pt x="296018" y="68655"/>
                    <a:pt x="293445" y="78772"/>
                  </a:cubicBezTo>
                  <a:cubicBezTo>
                    <a:pt x="267185" y="170380"/>
                    <a:pt x="246358" y="270399"/>
                    <a:pt x="257717" y="371697"/>
                  </a:cubicBezTo>
                  <a:cubicBezTo>
                    <a:pt x="259570" y="376398"/>
                    <a:pt x="264241" y="382064"/>
                    <a:pt x="269927" y="380221"/>
                  </a:cubicBezTo>
                  <a:cubicBezTo>
                    <a:pt x="285184" y="369996"/>
                    <a:pt x="298419" y="357102"/>
                    <a:pt x="308980" y="342176"/>
                  </a:cubicBezTo>
                  <a:cubicBezTo>
                    <a:pt x="303214" y="285875"/>
                    <a:pt x="329984" y="231155"/>
                    <a:pt x="378228" y="200628"/>
                  </a:cubicBezTo>
                  <a:cubicBezTo>
                    <a:pt x="399780" y="188729"/>
                    <a:pt x="425822" y="187833"/>
                    <a:pt x="448161" y="198221"/>
                  </a:cubicBezTo>
                  <a:cubicBezTo>
                    <a:pt x="436742" y="251477"/>
                    <a:pt x="430553" y="305697"/>
                    <a:pt x="429681" y="360127"/>
                  </a:cubicBezTo>
                  <a:cubicBezTo>
                    <a:pt x="430316" y="366633"/>
                    <a:pt x="429529" y="377915"/>
                    <a:pt x="437030" y="382690"/>
                  </a:cubicBezTo>
                  <a:lnTo>
                    <a:pt x="444645" y="380885"/>
                  </a:lnTo>
                  <a:lnTo>
                    <a:pt x="491339" y="333527"/>
                  </a:lnTo>
                  <a:cubicBezTo>
                    <a:pt x="498793" y="257666"/>
                    <a:pt x="511159" y="182354"/>
                    <a:pt x="528362" y="108054"/>
                  </a:cubicBezTo>
                  <a:cubicBezTo>
                    <a:pt x="539048" y="74435"/>
                    <a:pt x="563899" y="27954"/>
                    <a:pt x="593332" y="24331"/>
                  </a:cubicBezTo>
                  <a:cubicBezTo>
                    <a:pt x="604171" y="33808"/>
                    <a:pt x="592228" y="28092"/>
                    <a:pt x="580031" y="39536"/>
                  </a:cubicBezTo>
                  <a:cubicBezTo>
                    <a:pt x="544722" y="77957"/>
                    <a:pt x="531725" y="152116"/>
                    <a:pt x="525455" y="215770"/>
                  </a:cubicBezTo>
                  <a:cubicBezTo>
                    <a:pt x="532702" y="217738"/>
                    <a:pt x="534073" y="216911"/>
                    <a:pt x="546295" y="207522"/>
                  </a:cubicBezTo>
                  <a:lnTo>
                    <a:pt x="590083" y="171383"/>
                  </a:lnTo>
                  <a:cubicBezTo>
                    <a:pt x="600465" y="170530"/>
                    <a:pt x="606011" y="182765"/>
                    <a:pt x="609717" y="190299"/>
                  </a:cubicBezTo>
                  <a:cubicBezTo>
                    <a:pt x="632199" y="244293"/>
                    <a:pt x="623715" y="306041"/>
                    <a:pt x="587481" y="352167"/>
                  </a:cubicBezTo>
                  <a:cubicBezTo>
                    <a:pt x="569051" y="379470"/>
                    <a:pt x="544562" y="402266"/>
                    <a:pt x="515873" y="418817"/>
                  </a:cubicBezTo>
                  <a:cubicBezTo>
                    <a:pt x="504450" y="422578"/>
                    <a:pt x="501378" y="418002"/>
                    <a:pt x="500642" y="417313"/>
                  </a:cubicBezTo>
                  <a:cubicBezTo>
                    <a:pt x="492227" y="406833"/>
                    <a:pt x="493712" y="378454"/>
                    <a:pt x="492024" y="355990"/>
                  </a:cubicBezTo>
                  <a:lnTo>
                    <a:pt x="489207" y="354085"/>
                  </a:lnTo>
                  <a:lnTo>
                    <a:pt x="416862" y="419958"/>
                  </a:lnTo>
                  <a:cubicBezTo>
                    <a:pt x="414984" y="419958"/>
                    <a:pt x="410059" y="421211"/>
                    <a:pt x="408397" y="418015"/>
                  </a:cubicBezTo>
                  <a:cubicBezTo>
                    <a:pt x="402772" y="406183"/>
                    <a:pt x="399365" y="393442"/>
                    <a:pt x="398345" y="380409"/>
                  </a:cubicBezTo>
                  <a:cubicBezTo>
                    <a:pt x="379307" y="391490"/>
                    <a:pt x="363150" y="409140"/>
                    <a:pt x="344175" y="420221"/>
                  </a:cubicBezTo>
                  <a:cubicBezTo>
                    <a:pt x="333768" y="421061"/>
                    <a:pt x="329084" y="408438"/>
                    <a:pt x="325493" y="399989"/>
                  </a:cubicBezTo>
                  <a:cubicBezTo>
                    <a:pt x="317357" y="379419"/>
                    <a:pt x="316608" y="374655"/>
                    <a:pt x="310719" y="359011"/>
                  </a:cubicBezTo>
                  <a:lnTo>
                    <a:pt x="242182" y="419306"/>
                  </a:lnTo>
                  <a:cubicBezTo>
                    <a:pt x="234567" y="423067"/>
                    <a:pt x="230176" y="414844"/>
                    <a:pt x="228221" y="408852"/>
                  </a:cubicBezTo>
                  <a:cubicBezTo>
                    <a:pt x="224377" y="392170"/>
                    <a:pt x="221646" y="375257"/>
                    <a:pt x="220047" y="358222"/>
                  </a:cubicBezTo>
                  <a:lnTo>
                    <a:pt x="216240" y="359124"/>
                  </a:lnTo>
                  <a:lnTo>
                    <a:pt x="149607" y="419406"/>
                  </a:lnTo>
                  <a:cubicBezTo>
                    <a:pt x="142550" y="421512"/>
                    <a:pt x="139986" y="418755"/>
                    <a:pt x="136470" y="410857"/>
                  </a:cubicBezTo>
                  <a:cubicBezTo>
                    <a:pt x="130416" y="397269"/>
                    <a:pt x="130696" y="366883"/>
                    <a:pt x="127586" y="346138"/>
                  </a:cubicBezTo>
                  <a:lnTo>
                    <a:pt x="123778" y="346138"/>
                  </a:lnTo>
                  <a:cubicBezTo>
                    <a:pt x="92404" y="370193"/>
                    <a:pt x="64722" y="401807"/>
                    <a:pt x="29616" y="420234"/>
                  </a:cubicBezTo>
                  <a:cubicBezTo>
                    <a:pt x="24895" y="421111"/>
                    <a:pt x="21151" y="416473"/>
                    <a:pt x="19298" y="412637"/>
                  </a:cubicBezTo>
                  <a:cubicBezTo>
                    <a:pt x="-11265" y="346777"/>
                    <a:pt x="-6619" y="252185"/>
                    <a:pt x="41090" y="197368"/>
                  </a:cubicBezTo>
                  <a:cubicBezTo>
                    <a:pt x="46839" y="191301"/>
                    <a:pt x="63859" y="170593"/>
                    <a:pt x="83177" y="178766"/>
                  </a:cubicBezTo>
                  <a:cubicBezTo>
                    <a:pt x="94066" y="182527"/>
                    <a:pt x="99169" y="191163"/>
                    <a:pt x="102367" y="208224"/>
                  </a:cubicBezTo>
                  <a:cubicBezTo>
                    <a:pt x="105644" y="218289"/>
                    <a:pt x="105550" y="229128"/>
                    <a:pt x="102100" y="239136"/>
                  </a:cubicBezTo>
                  <a:lnTo>
                    <a:pt x="36368" y="299443"/>
                  </a:lnTo>
                  <a:cubicBezTo>
                    <a:pt x="31891" y="327931"/>
                    <a:pt x="35276" y="357085"/>
                    <a:pt x="46167" y="383831"/>
                  </a:cubicBezTo>
                  <a:cubicBezTo>
                    <a:pt x="49091" y="387721"/>
                    <a:pt x="54653" y="388534"/>
                    <a:pt x="58592" y="385649"/>
                  </a:cubicBezTo>
                  <a:cubicBezTo>
                    <a:pt x="59251" y="385174"/>
                    <a:pt x="59836" y="384608"/>
                    <a:pt x="60331" y="383969"/>
                  </a:cubicBezTo>
                  <a:lnTo>
                    <a:pt x="127954" y="320866"/>
                  </a:lnTo>
                  <a:cubicBezTo>
                    <a:pt x="138298" y="220734"/>
                    <a:pt x="157146" y="123460"/>
                    <a:pt x="202291" y="37681"/>
                  </a:cubicBezTo>
                  <a:cubicBezTo>
                    <a:pt x="207634" y="27791"/>
                    <a:pt x="225365" y="752"/>
                    <a:pt x="243007" y="0"/>
                  </a:cubicBezTo>
                  <a:cubicBezTo>
                    <a:pt x="244671" y="580"/>
                    <a:pt x="245549" y="2377"/>
                    <a:pt x="244974" y="4024"/>
                  </a:cubicBezTo>
                  <a:cubicBezTo>
                    <a:pt x="244800" y="4491"/>
                    <a:pt x="244523" y="4916"/>
                    <a:pt x="244162" y="5265"/>
                  </a:cubicBezTo>
                  <a:close/>
                  <a:moveTo>
                    <a:pt x="77224" y="185510"/>
                  </a:moveTo>
                  <a:cubicBezTo>
                    <a:pt x="72275" y="187374"/>
                    <a:pt x="67757" y="190199"/>
                    <a:pt x="63936" y="193821"/>
                  </a:cubicBezTo>
                  <a:cubicBezTo>
                    <a:pt x="49883" y="221174"/>
                    <a:pt x="41576" y="251051"/>
                    <a:pt x="39516" y="281656"/>
                  </a:cubicBezTo>
                  <a:cubicBezTo>
                    <a:pt x="54645" y="269747"/>
                    <a:pt x="68060" y="257563"/>
                    <a:pt x="80448" y="246419"/>
                  </a:cubicBezTo>
                  <a:lnTo>
                    <a:pt x="86553" y="197770"/>
                  </a:lnTo>
                  <a:cubicBezTo>
                    <a:pt x="89459" y="190311"/>
                    <a:pt x="84776" y="185585"/>
                    <a:pt x="77224" y="185510"/>
                  </a:cubicBezTo>
                  <a:close/>
                  <a:moveTo>
                    <a:pt x="415111" y="203536"/>
                  </a:moveTo>
                  <a:cubicBezTo>
                    <a:pt x="401949" y="195927"/>
                    <a:pt x="388711" y="202746"/>
                    <a:pt x="378215" y="212574"/>
                  </a:cubicBezTo>
                  <a:cubicBezTo>
                    <a:pt x="347754" y="241405"/>
                    <a:pt x="343502" y="289039"/>
                    <a:pt x="346891" y="331271"/>
                  </a:cubicBezTo>
                  <a:cubicBezTo>
                    <a:pt x="346891" y="335307"/>
                    <a:pt x="349125" y="369503"/>
                    <a:pt x="360611" y="381976"/>
                  </a:cubicBezTo>
                  <a:cubicBezTo>
                    <a:pt x="374915" y="383229"/>
                    <a:pt x="386211" y="370030"/>
                    <a:pt x="395730" y="361681"/>
                  </a:cubicBezTo>
                  <a:cubicBezTo>
                    <a:pt x="400921" y="310211"/>
                    <a:pt x="407039" y="258741"/>
                    <a:pt x="416037" y="208224"/>
                  </a:cubicBezTo>
                  <a:close/>
                  <a:moveTo>
                    <a:pt x="566146" y="207698"/>
                  </a:moveTo>
                  <a:cubicBezTo>
                    <a:pt x="549725" y="213795"/>
                    <a:pt x="536837" y="226697"/>
                    <a:pt x="530887" y="242997"/>
                  </a:cubicBezTo>
                  <a:cubicBezTo>
                    <a:pt x="520125" y="285993"/>
                    <a:pt x="527207" y="334768"/>
                    <a:pt x="529618" y="378792"/>
                  </a:cubicBezTo>
                  <a:lnTo>
                    <a:pt x="533324" y="388219"/>
                  </a:lnTo>
                  <a:cubicBezTo>
                    <a:pt x="542615" y="387893"/>
                    <a:pt x="553784" y="376937"/>
                    <a:pt x="558899" y="370995"/>
                  </a:cubicBezTo>
                  <a:cubicBezTo>
                    <a:pt x="596556" y="329628"/>
                    <a:pt x="589969" y="272518"/>
                    <a:pt x="581871" y="223730"/>
                  </a:cubicBezTo>
                  <a:cubicBezTo>
                    <a:pt x="581224" y="219970"/>
                    <a:pt x="579333" y="203749"/>
                    <a:pt x="566158" y="207710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B1A8C477-7CB9-5D42-BA07-9F4EB2FA895A}"/>
                </a:ext>
              </a:extLst>
            </p:cNvPr>
            <p:cNvSpPr/>
            <p:nvPr/>
          </p:nvSpPr>
          <p:spPr>
            <a:xfrm>
              <a:off x="7944028" y="412486"/>
              <a:ext cx="622096" cy="420416"/>
            </a:xfrm>
            <a:custGeom>
              <a:avLst/>
              <a:gdLst>
                <a:gd name="connsiteX0" fmla="*/ 244048 w 622096"/>
                <a:gd name="connsiteY0" fmla="*/ 5277 h 420416"/>
                <a:gd name="connsiteX1" fmla="*/ 190170 w 622096"/>
                <a:gd name="connsiteY1" fmla="*/ 115337 h 420416"/>
                <a:gd name="connsiteX2" fmla="*/ 166055 w 622096"/>
                <a:gd name="connsiteY2" fmla="*/ 372775 h 420416"/>
                <a:gd name="connsiteX3" fmla="*/ 174496 w 622096"/>
                <a:gd name="connsiteY3" fmla="*/ 380296 h 420416"/>
                <a:gd name="connsiteX4" fmla="*/ 219273 w 622096"/>
                <a:gd name="connsiteY4" fmla="*/ 341437 h 420416"/>
                <a:gd name="connsiteX5" fmla="*/ 302545 w 622096"/>
                <a:gd name="connsiteY5" fmla="*/ 23667 h 420416"/>
                <a:gd name="connsiteX6" fmla="*/ 333806 w 622096"/>
                <a:gd name="connsiteY6" fmla="*/ 514 h 420416"/>
                <a:gd name="connsiteX7" fmla="*/ 335633 w 622096"/>
                <a:gd name="connsiteY7" fmla="*/ 7095 h 420416"/>
                <a:gd name="connsiteX8" fmla="*/ 302964 w 622096"/>
                <a:gd name="connsiteY8" fmla="*/ 49013 h 420416"/>
                <a:gd name="connsiteX9" fmla="*/ 293445 w 622096"/>
                <a:gd name="connsiteY9" fmla="*/ 78835 h 420416"/>
                <a:gd name="connsiteX10" fmla="*/ 257717 w 622096"/>
                <a:gd name="connsiteY10" fmla="*/ 371772 h 420416"/>
                <a:gd name="connsiteX11" fmla="*/ 269927 w 622096"/>
                <a:gd name="connsiteY11" fmla="*/ 380296 h 420416"/>
                <a:gd name="connsiteX12" fmla="*/ 308980 w 622096"/>
                <a:gd name="connsiteY12" fmla="*/ 342239 h 420416"/>
                <a:gd name="connsiteX13" fmla="*/ 378228 w 622096"/>
                <a:gd name="connsiteY13" fmla="*/ 200690 h 420416"/>
                <a:gd name="connsiteX14" fmla="*/ 448161 w 622096"/>
                <a:gd name="connsiteY14" fmla="*/ 198284 h 420416"/>
                <a:gd name="connsiteX15" fmla="*/ 429681 w 622096"/>
                <a:gd name="connsiteY15" fmla="*/ 360202 h 420416"/>
                <a:gd name="connsiteX16" fmla="*/ 437030 w 622096"/>
                <a:gd name="connsiteY16" fmla="*/ 382766 h 420416"/>
                <a:gd name="connsiteX17" fmla="*/ 444645 w 622096"/>
                <a:gd name="connsiteY17" fmla="*/ 380961 h 420416"/>
                <a:gd name="connsiteX18" fmla="*/ 491339 w 622096"/>
                <a:gd name="connsiteY18" fmla="*/ 333590 h 420416"/>
                <a:gd name="connsiteX19" fmla="*/ 528362 w 622096"/>
                <a:gd name="connsiteY19" fmla="*/ 108092 h 420416"/>
                <a:gd name="connsiteX20" fmla="*/ 593332 w 622096"/>
                <a:gd name="connsiteY20" fmla="*/ 24369 h 420416"/>
                <a:gd name="connsiteX21" fmla="*/ 580031 w 622096"/>
                <a:gd name="connsiteY21" fmla="*/ 39574 h 420416"/>
                <a:gd name="connsiteX22" fmla="*/ 525455 w 622096"/>
                <a:gd name="connsiteY22" fmla="*/ 215808 h 420416"/>
                <a:gd name="connsiteX23" fmla="*/ 546295 w 622096"/>
                <a:gd name="connsiteY23" fmla="*/ 207560 h 420416"/>
                <a:gd name="connsiteX24" fmla="*/ 590083 w 622096"/>
                <a:gd name="connsiteY24" fmla="*/ 171420 h 420416"/>
                <a:gd name="connsiteX25" fmla="*/ 609717 w 622096"/>
                <a:gd name="connsiteY25" fmla="*/ 190324 h 420416"/>
                <a:gd name="connsiteX26" fmla="*/ 587443 w 622096"/>
                <a:gd name="connsiteY26" fmla="*/ 352167 h 420416"/>
                <a:gd name="connsiteX27" fmla="*/ 515835 w 622096"/>
                <a:gd name="connsiteY27" fmla="*/ 418842 h 420416"/>
                <a:gd name="connsiteX28" fmla="*/ 500604 w 622096"/>
                <a:gd name="connsiteY28" fmla="*/ 417338 h 420416"/>
                <a:gd name="connsiteX29" fmla="*/ 491986 w 622096"/>
                <a:gd name="connsiteY29" fmla="*/ 356003 h 420416"/>
                <a:gd name="connsiteX30" fmla="*/ 489169 w 622096"/>
                <a:gd name="connsiteY30" fmla="*/ 354097 h 420416"/>
                <a:gd name="connsiteX31" fmla="*/ 416824 w 622096"/>
                <a:gd name="connsiteY31" fmla="*/ 419983 h 420416"/>
                <a:gd name="connsiteX32" fmla="*/ 408359 w 622096"/>
                <a:gd name="connsiteY32" fmla="*/ 418040 h 420416"/>
                <a:gd name="connsiteX33" fmla="*/ 398307 w 622096"/>
                <a:gd name="connsiteY33" fmla="*/ 380434 h 420416"/>
                <a:gd name="connsiteX34" fmla="*/ 344137 w 622096"/>
                <a:gd name="connsiteY34" fmla="*/ 420246 h 420416"/>
                <a:gd name="connsiteX35" fmla="*/ 325454 w 622096"/>
                <a:gd name="connsiteY35" fmla="*/ 400014 h 420416"/>
                <a:gd name="connsiteX36" fmla="*/ 310681 w 622096"/>
                <a:gd name="connsiteY36" fmla="*/ 359036 h 420416"/>
                <a:gd name="connsiteX37" fmla="*/ 242144 w 622096"/>
                <a:gd name="connsiteY37" fmla="*/ 419331 h 420416"/>
                <a:gd name="connsiteX38" fmla="*/ 228183 w 622096"/>
                <a:gd name="connsiteY38" fmla="*/ 408864 h 420416"/>
                <a:gd name="connsiteX39" fmla="*/ 220009 w 622096"/>
                <a:gd name="connsiteY39" fmla="*/ 358222 h 420416"/>
                <a:gd name="connsiteX40" fmla="*/ 216202 w 622096"/>
                <a:gd name="connsiteY40" fmla="*/ 359149 h 420416"/>
                <a:gd name="connsiteX41" fmla="*/ 149607 w 622096"/>
                <a:gd name="connsiteY41" fmla="*/ 419469 h 420416"/>
                <a:gd name="connsiteX42" fmla="*/ 136470 w 622096"/>
                <a:gd name="connsiteY42" fmla="*/ 410920 h 420416"/>
                <a:gd name="connsiteX43" fmla="*/ 127586 w 622096"/>
                <a:gd name="connsiteY43" fmla="*/ 346188 h 420416"/>
                <a:gd name="connsiteX44" fmla="*/ 123778 w 622096"/>
                <a:gd name="connsiteY44" fmla="*/ 346188 h 420416"/>
                <a:gd name="connsiteX45" fmla="*/ 29616 w 622096"/>
                <a:gd name="connsiteY45" fmla="*/ 420309 h 420416"/>
                <a:gd name="connsiteX46" fmla="*/ 19298 w 622096"/>
                <a:gd name="connsiteY46" fmla="*/ 412713 h 420416"/>
                <a:gd name="connsiteX47" fmla="*/ 41090 w 622096"/>
                <a:gd name="connsiteY47" fmla="*/ 197431 h 420416"/>
                <a:gd name="connsiteX48" fmla="*/ 83177 w 622096"/>
                <a:gd name="connsiteY48" fmla="*/ 178829 h 420416"/>
                <a:gd name="connsiteX49" fmla="*/ 102380 w 622096"/>
                <a:gd name="connsiteY49" fmla="*/ 208287 h 420416"/>
                <a:gd name="connsiteX50" fmla="*/ 102100 w 622096"/>
                <a:gd name="connsiteY50" fmla="*/ 239199 h 420416"/>
                <a:gd name="connsiteX51" fmla="*/ 36368 w 622096"/>
                <a:gd name="connsiteY51" fmla="*/ 299506 h 420416"/>
                <a:gd name="connsiteX52" fmla="*/ 46002 w 622096"/>
                <a:gd name="connsiteY52" fmla="*/ 383906 h 420416"/>
                <a:gd name="connsiteX53" fmla="*/ 58427 w 622096"/>
                <a:gd name="connsiteY53" fmla="*/ 385724 h 420416"/>
                <a:gd name="connsiteX54" fmla="*/ 60166 w 622096"/>
                <a:gd name="connsiteY54" fmla="*/ 384044 h 420416"/>
                <a:gd name="connsiteX55" fmla="*/ 127891 w 622096"/>
                <a:gd name="connsiteY55" fmla="*/ 320866 h 420416"/>
                <a:gd name="connsiteX56" fmla="*/ 202240 w 622096"/>
                <a:gd name="connsiteY56" fmla="*/ 37681 h 420416"/>
                <a:gd name="connsiteX57" fmla="*/ 242956 w 622096"/>
                <a:gd name="connsiteY57" fmla="*/ 0 h 420416"/>
                <a:gd name="connsiteX58" fmla="*/ 244860 w 622096"/>
                <a:gd name="connsiteY58" fmla="*/ 4049 h 420416"/>
                <a:gd name="connsiteX59" fmla="*/ 244048 w 622096"/>
                <a:gd name="connsiteY59" fmla="*/ 5277 h 420416"/>
                <a:gd name="connsiteX60" fmla="*/ 77123 w 622096"/>
                <a:gd name="connsiteY60" fmla="*/ 185523 h 420416"/>
                <a:gd name="connsiteX61" fmla="*/ 63834 w 622096"/>
                <a:gd name="connsiteY61" fmla="*/ 193833 h 420416"/>
                <a:gd name="connsiteX62" fmla="*/ 39415 w 622096"/>
                <a:gd name="connsiteY62" fmla="*/ 281681 h 420416"/>
                <a:gd name="connsiteX63" fmla="*/ 80346 w 622096"/>
                <a:gd name="connsiteY63" fmla="*/ 246444 h 420416"/>
                <a:gd name="connsiteX64" fmla="*/ 86451 w 622096"/>
                <a:gd name="connsiteY64" fmla="*/ 197795 h 420416"/>
                <a:gd name="connsiteX65" fmla="*/ 77123 w 622096"/>
                <a:gd name="connsiteY65" fmla="*/ 185523 h 420416"/>
                <a:gd name="connsiteX66" fmla="*/ 415022 w 622096"/>
                <a:gd name="connsiteY66" fmla="*/ 203548 h 420416"/>
                <a:gd name="connsiteX67" fmla="*/ 378126 w 622096"/>
                <a:gd name="connsiteY67" fmla="*/ 212574 h 420416"/>
                <a:gd name="connsiteX68" fmla="*/ 346815 w 622096"/>
                <a:gd name="connsiteY68" fmla="*/ 331283 h 420416"/>
                <a:gd name="connsiteX69" fmla="*/ 360522 w 622096"/>
                <a:gd name="connsiteY69" fmla="*/ 382001 h 420416"/>
                <a:gd name="connsiteX70" fmla="*/ 395641 w 622096"/>
                <a:gd name="connsiteY70" fmla="*/ 361706 h 420416"/>
                <a:gd name="connsiteX71" fmla="*/ 415948 w 622096"/>
                <a:gd name="connsiteY71" fmla="*/ 208237 h 420416"/>
                <a:gd name="connsiteX72" fmla="*/ 566057 w 622096"/>
                <a:gd name="connsiteY72" fmla="*/ 207710 h 420416"/>
                <a:gd name="connsiteX73" fmla="*/ 530798 w 622096"/>
                <a:gd name="connsiteY73" fmla="*/ 243009 h 420416"/>
                <a:gd name="connsiteX74" fmla="*/ 529529 w 622096"/>
                <a:gd name="connsiteY74" fmla="*/ 378817 h 420416"/>
                <a:gd name="connsiteX75" fmla="*/ 533235 w 622096"/>
                <a:gd name="connsiteY75" fmla="*/ 388244 h 420416"/>
                <a:gd name="connsiteX76" fmla="*/ 558810 w 622096"/>
                <a:gd name="connsiteY76" fmla="*/ 371020 h 420416"/>
                <a:gd name="connsiteX77" fmla="*/ 581795 w 622096"/>
                <a:gd name="connsiteY77" fmla="*/ 223743 h 420416"/>
                <a:gd name="connsiteX78" fmla="*/ 566095 w 622096"/>
                <a:gd name="connsiteY78" fmla="*/ 207710 h 42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096" h="420416">
                  <a:moveTo>
                    <a:pt x="244048" y="5277"/>
                  </a:moveTo>
                  <a:cubicBezTo>
                    <a:pt x="206061" y="28355"/>
                    <a:pt x="203738" y="76114"/>
                    <a:pt x="190170" y="115337"/>
                  </a:cubicBezTo>
                  <a:cubicBezTo>
                    <a:pt x="169609" y="194786"/>
                    <a:pt x="154633" y="286457"/>
                    <a:pt x="166055" y="372775"/>
                  </a:cubicBezTo>
                  <a:cubicBezTo>
                    <a:pt x="167605" y="376390"/>
                    <a:pt x="170696" y="379144"/>
                    <a:pt x="174496" y="380296"/>
                  </a:cubicBezTo>
                  <a:cubicBezTo>
                    <a:pt x="191129" y="369398"/>
                    <a:pt x="206191" y="356326"/>
                    <a:pt x="219273" y="341437"/>
                  </a:cubicBezTo>
                  <a:cubicBezTo>
                    <a:pt x="227853" y="228143"/>
                    <a:pt x="248757" y="118760"/>
                    <a:pt x="302545" y="23667"/>
                  </a:cubicBezTo>
                  <a:cubicBezTo>
                    <a:pt x="309829" y="12508"/>
                    <a:pt x="320920" y="4295"/>
                    <a:pt x="333806" y="514"/>
                  </a:cubicBezTo>
                  <a:cubicBezTo>
                    <a:pt x="336636" y="514"/>
                    <a:pt x="337613" y="5227"/>
                    <a:pt x="335633" y="7095"/>
                  </a:cubicBezTo>
                  <a:cubicBezTo>
                    <a:pt x="316443" y="14027"/>
                    <a:pt x="309780" y="30361"/>
                    <a:pt x="302964" y="49013"/>
                  </a:cubicBezTo>
                  <a:cubicBezTo>
                    <a:pt x="299197" y="58759"/>
                    <a:pt x="296018" y="68717"/>
                    <a:pt x="293445" y="78835"/>
                  </a:cubicBezTo>
                  <a:cubicBezTo>
                    <a:pt x="267185" y="170443"/>
                    <a:pt x="246358" y="270462"/>
                    <a:pt x="257717" y="371772"/>
                  </a:cubicBezTo>
                  <a:cubicBezTo>
                    <a:pt x="259570" y="376473"/>
                    <a:pt x="264241" y="382139"/>
                    <a:pt x="269927" y="380296"/>
                  </a:cubicBezTo>
                  <a:cubicBezTo>
                    <a:pt x="285184" y="370066"/>
                    <a:pt x="298419" y="357169"/>
                    <a:pt x="308980" y="342239"/>
                  </a:cubicBezTo>
                  <a:cubicBezTo>
                    <a:pt x="303214" y="285938"/>
                    <a:pt x="329984" y="231218"/>
                    <a:pt x="378228" y="200690"/>
                  </a:cubicBezTo>
                  <a:cubicBezTo>
                    <a:pt x="399780" y="188792"/>
                    <a:pt x="425822" y="187895"/>
                    <a:pt x="448161" y="198284"/>
                  </a:cubicBezTo>
                  <a:cubicBezTo>
                    <a:pt x="436742" y="251544"/>
                    <a:pt x="430553" y="305768"/>
                    <a:pt x="429681" y="360202"/>
                  </a:cubicBezTo>
                  <a:cubicBezTo>
                    <a:pt x="430316" y="366708"/>
                    <a:pt x="429529" y="377990"/>
                    <a:pt x="437030" y="382766"/>
                  </a:cubicBezTo>
                  <a:lnTo>
                    <a:pt x="444645" y="380961"/>
                  </a:lnTo>
                  <a:lnTo>
                    <a:pt x="491339" y="333590"/>
                  </a:lnTo>
                  <a:cubicBezTo>
                    <a:pt x="498791" y="257720"/>
                    <a:pt x="511158" y="182400"/>
                    <a:pt x="528362" y="108092"/>
                  </a:cubicBezTo>
                  <a:cubicBezTo>
                    <a:pt x="539048" y="74472"/>
                    <a:pt x="563963" y="27979"/>
                    <a:pt x="593332" y="24369"/>
                  </a:cubicBezTo>
                  <a:cubicBezTo>
                    <a:pt x="604171" y="33845"/>
                    <a:pt x="592228" y="28129"/>
                    <a:pt x="580031" y="39574"/>
                  </a:cubicBezTo>
                  <a:cubicBezTo>
                    <a:pt x="544722" y="77982"/>
                    <a:pt x="531725" y="152154"/>
                    <a:pt x="525455" y="215808"/>
                  </a:cubicBezTo>
                  <a:cubicBezTo>
                    <a:pt x="532702" y="217763"/>
                    <a:pt x="534073" y="216949"/>
                    <a:pt x="546295" y="207560"/>
                  </a:cubicBezTo>
                  <a:lnTo>
                    <a:pt x="590083" y="171420"/>
                  </a:lnTo>
                  <a:cubicBezTo>
                    <a:pt x="600465" y="170568"/>
                    <a:pt x="606011" y="182802"/>
                    <a:pt x="609717" y="190324"/>
                  </a:cubicBezTo>
                  <a:cubicBezTo>
                    <a:pt x="632177" y="244318"/>
                    <a:pt x="623681" y="306053"/>
                    <a:pt x="587443" y="352167"/>
                  </a:cubicBezTo>
                  <a:cubicBezTo>
                    <a:pt x="569021" y="379484"/>
                    <a:pt x="544530" y="402288"/>
                    <a:pt x="515835" y="418842"/>
                  </a:cubicBezTo>
                  <a:cubicBezTo>
                    <a:pt x="504412" y="422603"/>
                    <a:pt x="501340" y="418027"/>
                    <a:pt x="500604" y="417338"/>
                  </a:cubicBezTo>
                  <a:cubicBezTo>
                    <a:pt x="492189" y="406846"/>
                    <a:pt x="493674" y="378479"/>
                    <a:pt x="491986" y="356003"/>
                  </a:cubicBezTo>
                  <a:lnTo>
                    <a:pt x="489169" y="354097"/>
                  </a:lnTo>
                  <a:lnTo>
                    <a:pt x="416824" y="419983"/>
                  </a:lnTo>
                  <a:cubicBezTo>
                    <a:pt x="414946" y="419983"/>
                    <a:pt x="410021" y="421237"/>
                    <a:pt x="408359" y="418040"/>
                  </a:cubicBezTo>
                  <a:cubicBezTo>
                    <a:pt x="402734" y="406208"/>
                    <a:pt x="399327" y="393467"/>
                    <a:pt x="398307" y="380434"/>
                  </a:cubicBezTo>
                  <a:cubicBezTo>
                    <a:pt x="379269" y="391515"/>
                    <a:pt x="363112" y="409165"/>
                    <a:pt x="344137" y="420246"/>
                  </a:cubicBezTo>
                  <a:cubicBezTo>
                    <a:pt x="333730" y="421086"/>
                    <a:pt x="329046" y="408463"/>
                    <a:pt x="325454" y="400014"/>
                  </a:cubicBezTo>
                  <a:cubicBezTo>
                    <a:pt x="317319" y="379444"/>
                    <a:pt x="316570" y="374668"/>
                    <a:pt x="310681" y="359036"/>
                  </a:cubicBezTo>
                  <a:lnTo>
                    <a:pt x="242144" y="419331"/>
                  </a:lnTo>
                  <a:cubicBezTo>
                    <a:pt x="234529" y="423017"/>
                    <a:pt x="230137" y="414869"/>
                    <a:pt x="228183" y="408864"/>
                  </a:cubicBezTo>
                  <a:cubicBezTo>
                    <a:pt x="224332" y="392180"/>
                    <a:pt x="221602" y="375262"/>
                    <a:pt x="220009" y="358222"/>
                  </a:cubicBezTo>
                  <a:lnTo>
                    <a:pt x="216202" y="359149"/>
                  </a:lnTo>
                  <a:lnTo>
                    <a:pt x="149607" y="419469"/>
                  </a:lnTo>
                  <a:cubicBezTo>
                    <a:pt x="142550" y="421575"/>
                    <a:pt x="139986" y="418817"/>
                    <a:pt x="136470" y="410920"/>
                  </a:cubicBezTo>
                  <a:cubicBezTo>
                    <a:pt x="130416" y="397332"/>
                    <a:pt x="130696" y="366946"/>
                    <a:pt x="127586" y="346188"/>
                  </a:cubicBezTo>
                  <a:lnTo>
                    <a:pt x="123778" y="346188"/>
                  </a:lnTo>
                  <a:cubicBezTo>
                    <a:pt x="92404" y="370268"/>
                    <a:pt x="64722" y="401882"/>
                    <a:pt x="29616" y="420309"/>
                  </a:cubicBezTo>
                  <a:cubicBezTo>
                    <a:pt x="24895" y="421186"/>
                    <a:pt x="21151" y="416548"/>
                    <a:pt x="19298" y="412713"/>
                  </a:cubicBezTo>
                  <a:cubicBezTo>
                    <a:pt x="-11265" y="346839"/>
                    <a:pt x="-6619" y="252261"/>
                    <a:pt x="41090" y="197431"/>
                  </a:cubicBezTo>
                  <a:cubicBezTo>
                    <a:pt x="46839" y="191364"/>
                    <a:pt x="63859" y="170656"/>
                    <a:pt x="83177" y="178829"/>
                  </a:cubicBezTo>
                  <a:cubicBezTo>
                    <a:pt x="94066" y="182589"/>
                    <a:pt x="99181" y="191226"/>
                    <a:pt x="102380" y="208287"/>
                  </a:cubicBezTo>
                  <a:cubicBezTo>
                    <a:pt x="105640" y="218355"/>
                    <a:pt x="105542" y="229191"/>
                    <a:pt x="102100" y="239199"/>
                  </a:cubicBezTo>
                  <a:lnTo>
                    <a:pt x="36368" y="299506"/>
                  </a:lnTo>
                  <a:cubicBezTo>
                    <a:pt x="31849" y="327984"/>
                    <a:pt x="35177" y="357137"/>
                    <a:pt x="46002" y="383906"/>
                  </a:cubicBezTo>
                  <a:cubicBezTo>
                    <a:pt x="48926" y="387796"/>
                    <a:pt x="54488" y="388610"/>
                    <a:pt x="58427" y="385724"/>
                  </a:cubicBezTo>
                  <a:cubicBezTo>
                    <a:pt x="59086" y="385249"/>
                    <a:pt x="59671" y="384684"/>
                    <a:pt x="60166" y="384044"/>
                  </a:cubicBezTo>
                  <a:lnTo>
                    <a:pt x="127891" y="320866"/>
                  </a:lnTo>
                  <a:cubicBezTo>
                    <a:pt x="138235" y="220734"/>
                    <a:pt x="157082" y="123460"/>
                    <a:pt x="202240" y="37681"/>
                  </a:cubicBezTo>
                  <a:cubicBezTo>
                    <a:pt x="207584" y="27791"/>
                    <a:pt x="225314" y="752"/>
                    <a:pt x="242956" y="0"/>
                  </a:cubicBezTo>
                  <a:cubicBezTo>
                    <a:pt x="244613" y="600"/>
                    <a:pt x="245466" y="2412"/>
                    <a:pt x="244860" y="4049"/>
                  </a:cubicBezTo>
                  <a:cubicBezTo>
                    <a:pt x="244685" y="4513"/>
                    <a:pt x="244408" y="4933"/>
                    <a:pt x="244048" y="5277"/>
                  </a:cubicBezTo>
                  <a:close/>
                  <a:moveTo>
                    <a:pt x="77123" y="185523"/>
                  </a:moveTo>
                  <a:cubicBezTo>
                    <a:pt x="72174" y="187387"/>
                    <a:pt x="67656" y="190212"/>
                    <a:pt x="63834" y="193833"/>
                  </a:cubicBezTo>
                  <a:cubicBezTo>
                    <a:pt x="49780" y="221191"/>
                    <a:pt x="41473" y="251072"/>
                    <a:pt x="39415" y="281681"/>
                  </a:cubicBezTo>
                  <a:cubicBezTo>
                    <a:pt x="54543" y="269772"/>
                    <a:pt x="67959" y="257588"/>
                    <a:pt x="80346" y="246444"/>
                  </a:cubicBezTo>
                  <a:lnTo>
                    <a:pt x="86451" y="197795"/>
                  </a:lnTo>
                  <a:cubicBezTo>
                    <a:pt x="89383" y="190324"/>
                    <a:pt x="84738" y="185598"/>
                    <a:pt x="77123" y="185523"/>
                  </a:cubicBezTo>
                  <a:close/>
                  <a:moveTo>
                    <a:pt x="415022" y="203548"/>
                  </a:moveTo>
                  <a:cubicBezTo>
                    <a:pt x="401860" y="195939"/>
                    <a:pt x="388623" y="202759"/>
                    <a:pt x="378126" y="212574"/>
                  </a:cubicBezTo>
                  <a:cubicBezTo>
                    <a:pt x="347665" y="241405"/>
                    <a:pt x="343414" y="289039"/>
                    <a:pt x="346815" y="331283"/>
                  </a:cubicBezTo>
                  <a:cubicBezTo>
                    <a:pt x="346815" y="335320"/>
                    <a:pt x="349036" y="369528"/>
                    <a:pt x="360522" y="382001"/>
                  </a:cubicBezTo>
                  <a:cubicBezTo>
                    <a:pt x="374826" y="383255"/>
                    <a:pt x="386122" y="370055"/>
                    <a:pt x="395641" y="361706"/>
                  </a:cubicBezTo>
                  <a:cubicBezTo>
                    <a:pt x="400832" y="310224"/>
                    <a:pt x="406950" y="258754"/>
                    <a:pt x="415948" y="208237"/>
                  </a:cubicBezTo>
                  <a:close/>
                  <a:moveTo>
                    <a:pt x="566057" y="207710"/>
                  </a:moveTo>
                  <a:cubicBezTo>
                    <a:pt x="549631" y="213798"/>
                    <a:pt x="536740" y="226705"/>
                    <a:pt x="530798" y="243009"/>
                  </a:cubicBezTo>
                  <a:cubicBezTo>
                    <a:pt x="520036" y="286006"/>
                    <a:pt x="527118" y="334781"/>
                    <a:pt x="529529" y="378817"/>
                  </a:cubicBezTo>
                  <a:lnTo>
                    <a:pt x="533235" y="388244"/>
                  </a:lnTo>
                  <a:cubicBezTo>
                    <a:pt x="542526" y="387918"/>
                    <a:pt x="553695" y="376962"/>
                    <a:pt x="558810" y="371020"/>
                  </a:cubicBezTo>
                  <a:cubicBezTo>
                    <a:pt x="596467" y="329654"/>
                    <a:pt x="589880" y="272530"/>
                    <a:pt x="581795" y="223743"/>
                  </a:cubicBezTo>
                  <a:cubicBezTo>
                    <a:pt x="581160" y="219982"/>
                    <a:pt x="579257" y="203761"/>
                    <a:pt x="566095" y="20771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BBC6AE2F-5E4F-4A7E-89A0-A5F5DF728478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882230" y="622694"/>
            <a:ext cx="4915989" cy="4079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2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</p:sldLayoutIdLst>
  <p:txStyles>
    <p:titleStyle>
      <a:lvl1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1F6898"/>
            </a:gs>
            <a:gs pos="100000">
              <a:srgbClr val="9EC9DF"/>
            </a:gs>
          </a:gsLst>
          <a:lin ang="108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9E1A8C1-AEC3-43A0-AFFD-E5DF43B1C0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64697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53" imgH="353" progId="TCLayout.ActiveDocument.1">
                  <p:embed/>
                </p:oleObj>
              </mc:Choice>
              <mc:Fallback>
                <p:oleObj name="think-cell Slide" r:id="rId8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9E1A8C1-AEC3-43A0-AFFD-E5DF43B1C0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Rectangle 99">
            <a:extLst>
              <a:ext uri="{FF2B5EF4-FFF2-40B4-BE49-F238E27FC236}">
                <a16:creationId xmlns:a16="http://schemas.microsoft.com/office/drawing/2014/main" id="{CF25D617-6FA4-6E45-85DA-3225B068D9F5}"/>
              </a:ext>
            </a:extLst>
          </p:cNvPr>
          <p:cNvSpPr/>
          <p:nvPr userDrawn="1"/>
        </p:nvSpPr>
        <p:spPr>
          <a:xfrm>
            <a:off x="0" y="5362575"/>
            <a:ext cx="8680450" cy="212725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pic>
        <p:nvPicPr>
          <p:cNvPr id="101" name="Graphic 10">
            <a:extLst>
              <a:ext uri="{FF2B5EF4-FFF2-40B4-BE49-F238E27FC236}">
                <a16:creationId xmlns:a16="http://schemas.microsoft.com/office/drawing/2014/main" id="{74061536-9AEE-8141-BBDC-3780455745E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507413" y="5362575"/>
            <a:ext cx="641350" cy="212725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765DCE9C-036F-A84B-9BBB-349BD7465F98}"/>
              </a:ext>
            </a:extLst>
          </p:cNvPr>
          <p:cNvSpPr txBox="1"/>
          <p:nvPr userDrawn="1"/>
        </p:nvSpPr>
        <p:spPr>
          <a:xfrm>
            <a:off x="5422900" y="5370513"/>
            <a:ext cx="2960688" cy="2270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76" b="1" dirty="0">
                <a:solidFill>
                  <a:srgbClr val="C00000"/>
                </a:solidFill>
                <a:latin typeface="+mj-lt"/>
              </a:rPr>
              <a:t>ELLAB</a:t>
            </a:r>
            <a:r>
              <a:rPr lang="en-US" sz="876" b="1" dirty="0">
                <a:solidFill>
                  <a:srgbClr val="C00000"/>
                </a:solidFill>
                <a:latin typeface="AvenirNext LT Pro Medium" panose="020B0504020202020204" pitchFamily="34" charset="77"/>
              </a:rPr>
              <a:t> </a:t>
            </a:r>
            <a:r>
              <a:rPr lang="en-US" sz="876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Validation &amp; Monitoring Solutions</a:t>
            </a:r>
          </a:p>
        </p:txBody>
      </p:sp>
      <p:sp>
        <p:nvSpPr>
          <p:cNvPr id="103" name="Google Shape;8;p1">
            <a:extLst>
              <a:ext uri="{FF2B5EF4-FFF2-40B4-BE49-F238E27FC236}">
                <a16:creationId xmlns:a16="http://schemas.microsoft.com/office/drawing/2014/main" id="{397167BD-6C52-4345-9758-FBAD5CFDC517}"/>
              </a:ext>
            </a:extLst>
          </p:cNvPr>
          <p:cNvSpPr txBox="1">
            <a:spLocks/>
          </p:cNvSpPr>
          <p:nvPr userDrawn="1"/>
        </p:nvSpPr>
        <p:spPr>
          <a:xfrm>
            <a:off x="8515350" y="5300663"/>
            <a:ext cx="411163" cy="327025"/>
          </a:xfrm>
          <a:prstGeom prst="rect">
            <a:avLst/>
          </a:prstGeom>
          <a:noFill/>
          <a:ln>
            <a:noFill/>
          </a:ln>
        </p:spPr>
        <p:txBody>
          <a:bodyPr spcFirstLastPara="1" lIns="76188" tIns="76188" rIns="76188" bIns="76188" anchor="ctr"/>
          <a:lstStyle>
            <a:defPPr>
              <a:defRPr lang="en-US"/>
            </a:defPPr>
            <a:lvl1pPr marL="0" lvl="0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1pPr>
            <a:lvl2pPr marL="457200" lvl="1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2pPr>
            <a:lvl3pPr marL="914400" lvl="2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3pPr>
            <a:lvl4pPr marL="1371600" lvl="3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4pPr>
            <a:lvl5pPr marL="1828800" lvl="4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5pPr>
            <a:lvl6pPr marL="2286000" lvl="5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6pPr>
            <a:lvl7pPr marL="2743200" lvl="6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7pPr>
            <a:lvl8pPr marL="3200400" lvl="7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8pPr>
            <a:lvl9pPr marL="3657600" lvl="8" algn="l" defTabSz="914400" rtl="0" eaLnBrk="1" latinLnBrk="0" hangingPunct="1">
              <a:buNone/>
              <a:defRPr sz="1200" kern="1200">
                <a:solidFill>
                  <a:schemeClr val="tx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2D495AD-417A-6843-A8CF-1762A8915FF0}" type="slidenum">
              <a:rPr lang="es" sz="1000" smtClean="0">
                <a:solidFill>
                  <a:schemeClr val="bg1"/>
                </a:solidFill>
                <a:latin typeface="AvenirNext LT Pro Regular" panose="020B0504020202020204" pitchFamily="34" charset="77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" sz="1000">
              <a:solidFill>
                <a:schemeClr val="bg1"/>
              </a:solidFill>
              <a:latin typeface="AvenirNext LT Pro Regular" panose="020B0504020202020204" pitchFamily="34" charset="77"/>
            </a:endParaRPr>
          </a:p>
        </p:txBody>
      </p:sp>
      <p:pic>
        <p:nvPicPr>
          <p:cNvPr id="104" name="Graphic 13">
            <a:extLst>
              <a:ext uri="{FF2B5EF4-FFF2-40B4-BE49-F238E27FC236}">
                <a16:creationId xmlns:a16="http://schemas.microsoft.com/office/drawing/2014/main" id="{11137C33-3375-0646-B171-44B36F03BD70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3175" y="5360988"/>
            <a:ext cx="971550" cy="211137"/>
          </a:xfrm>
          <a:prstGeom prst="rect">
            <a:avLst/>
          </a:prstGeom>
        </p:spPr>
      </p:pic>
      <p:sp>
        <p:nvSpPr>
          <p:cNvPr id="105" name="TextBox 14">
            <a:extLst>
              <a:ext uri="{FF2B5EF4-FFF2-40B4-BE49-F238E27FC236}">
                <a16:creationId xmlns:a16="http://schemas.microsoft.com/office/drawing/2014/main" id="{B5B71730-F31C-3C4F-86C3-E339C6289DA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437" y="5347494"/>
            <a:ext cx="82232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1000" b="1" dirty="0">
                <a:solidFill>
                  <a:schemeClr val="bg1"/>
                </a:solidFill>
                <a:latin typeface="AvenirNext LT Pro Medium" panose="020B0504020202020204" pitchFamily="34" charset="77"/>
              </a:rPr>
              <a:t>ellab.</a:t>
            </a:r>
            <a:r>
              <a:rPr lang="en-US" altLang="en-US" sz="1000" b="1" dirty="0">
                <a:solidFill>
                  <a:schemeClr val="bg1"/>
                </a:solidFill>
                <a:latin typeface="+mj-lt"/>
              </a:rPr>
              <a:t>com</a:t>
            </a:r>
          </a:p>
        </p:txBody>
      </p:sp>
      <p:grpSp>
        <p:nvGrpSpPr>
          <p:cNvPr id="56" name="Graphic 100">
            <a:extLst>
              <a:ext uri="{FF2B5EF4-FFF2-40B4-BE49-F238E27FC236}">
                <a16:creationId xmlns:a16="http://schemas.microsoft.com/office/drawing/2014/main" id="{3B6BAA47-62DB-7F44-B0DA-6C7A7BDA238B}"/>
              </a:ext>
            </a:extLst>
          </p:cNvPr>
          <p:cNvGrpSpPr/>
          <p:nvPr userDrawn="1"/>
        </p:nvGrpSpPr>
        <p:grpSpPr>
          <a:xfrm>
            <a:off x="7611200" y="284166"/>
            <a:ext cx="1112606" cy="739028"/>
            <a:chOff x="7611200" y="284166"/>
            <a:chExt cx="1112606" cy="739028"/>
          </a:xfrm>
        </p:grpSpPr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AF7AC5F0-CEDB-8A41-AA46-FCC04FCFAA70}"/>
                </a:ext>
              </a:extLst>
            </p:cNvPr>
            <p:cNvSpPr/>
            <p:nvPr/>
          </p:nvSpPr>
          <p:spPr>
            <a:xfrm>
              <a:off x="8065090" y="981314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30530625-0864-6448-A493-30935E5E4EB6}"/>
                </a:ext>
              </a:extLst>
            </p:cNvPr>
            <p:cNvSpPr/>
            <p:nvPr/>
          </p:nvSpPr>
          <p:spPr>
            <a:xfrm>
              <a:off x="8065090" y="284175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7F48FF2C-F532-0641-9846-77B3335B55AE}"/>
                </a:ext>
              </a:extLst>
            </p:cNvPr>
            <p:cNvSpPr/>
            <p:nvPr/>
          </p:nvSpPr>
          <p:spPr>
            <a:xfrm>
              <a:off x="7611200" y="284166"/>
              <a:ext cx="928953" cy="738998"/>
            </a:xfrm>
            <a:custGeom>
              <a:avLst/>
              <a:gdLst>
                <a:gd name="connsiteX0" fmla="*/ 835856 w 928953"/>
                <a:gd name="connsiteY0" fmla="*/ 129348 h 738998"/>
                <a:gd name="connsiteX1" fmla="*/ 928952 w 928953"/>
                <a:gd name="connsiteY1" fmla="*/ 373724 h 738998"/>
                <a:gd name="connsiteX2" fmla="*/ 687905 w 928953"/>
                <a:gd name="connsiteY2" fmla="*/ 707088 h 738998"/>
                <a:gd name="connsiteX3" fmla="*/ 422261 w 928953"/>
                <a:gd name="connsiteY3" fmla="*/ 738739 h 738998"/>
                <a:gd name="connsiteX4" fmla="*/ 59346 w 928953"/>
                <a:gd name="connsiteY4" fmla="*/ 566442 h 738998"/>
                <a:gd name="connsiteX5" fmla="*/ 36221 w 928953"/>
                <a:gd name="connsiteY5" fmla="*/ 210589 h 738998"/>
                <a:gd name="connsiteX6" fmla="*/ 317565 w 928953"/>
                <a:gd name="connsiteY6" fmla="*/ 11729 h 738998"/>
                <a:gd name="connsiteX7" fmla="*/ 681889 w 928953"/>
                <a:gd name="connsiteY7" fmla="*/ 31485 h 738998"/>
                <a:gd name="connsiteX8" fmla="*/ 835856 w 928953"/>
                <a:gd name="connsiteY8" fmla="*/ 129348 h 73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3" h="738998">
                  <a:moveTo>
                    <a:pt x="835856" y="129348"/>
                  </a:moveTo>
                  <a:cubicBezTo>
                    <a:pt x="896114" y="196814"/>
                    <a:pt x="929236" y="283759"/>
                    <a:pt x="928952" y="373724"/>
                  </a:cubicBezTo>
                  <a:cubicBezTo>
                    <a:pt x="925917" y="523314"/>
                    <a:pt x="830184" y="655711"/>
                    <a:pt x="687905" y="707088"/>
                  </a:cubicBezTo>
                  <a:cubicBezTo>
                    <a:pt x="605509" y="733926"/>
                    <a:pt x="513834" y="740469"/>
                    <a:pt x="422261" y="738739"/>
                  </a:cubicBezTo>
                  <a:cubicBezTo>
                    <a:pt x="276874" y="734728"/>
                    <a:pt x="140410" y="684838"/>
                    <a:pt x="59346" y="566442"/>
                  </a:cubicBezTo>
                  <a:cubicBezTo>
                    <a:pt x="-7731" y="467563"/>
                    <a:pt x="-21426" y="316651"/>
                    <a:pt x="36221" y="210589"/>
                  </a:cubicBezTo>
                  <a:cubicBezTo>
                    <a:pt x="85377" y="102522"/>
                    <a:pt x="197486" y="29968"/>
                    <a:pt x="317565" y="11729"/>
                  </a:cubicBezTo>
                  <a:cubicBezTo>
                    <a:pt x="438958" y="-8966"/>
                    <a:pt x="563521" y="-2211"/>
                    <a:pt x="681889" y="31485"/>
                  </a:cubicBezTo>
                  <a:cubicBezTo>
                    <a:pt x="740531" y="51203"/>
                    <a:pt x="793392" y="84802"/>
                    <a:pt x="835856" y="129348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A96238EE-F929-2047-B888-A9C1EFA85780}"/>
                </a:ext>
              </a:extLst>
            </p:cNvPr>
            <p:cNvSpPr/>
            <p:nvPr/>
          </p:nvSpPr>
          <p:spPr>
            <a:xfrm>
              <a:off x="7648818" y="292586"/>
              <a:ext cx="513653" cy="722735"/>
            </a:xfrm>
            <a:custGeom>
              <a:avLst/>
              <a:gdLst>
                <a:gd name="connsiteX0" fmla="*/ 501893 w 513653"/>
                <a:gd name="connsiteY0" fmla="*/ 722736 h 722735"/>
                <a:gd name="connsiteX1" fmla="*/ 419052 w 513653"/>
                <a:gd name="connsiteY1" fmla="*/ 722736 h 722735"/>
                <a:gd name="connsiteX2" fmla="*/ 0 w 513653"/>
                <a:gd name="connsiteY2" fmla="*/ 361368 h 722735"/>
                <a:gd name="connsiteX3" fmla="*/ 419052 w 513653"/>
                <a:gd name="connsiteY3" fmla="*/ 0 h 722735"/>
                <a:gd name="connsiteX4" fmla="*/ 491524 w 513653"/>
                <a:gd name="connsiteY4" fmla="*/ 0 h 722735"/>
                <a:gd name="connsiteX5" fmla="*/ 497075 w 513653"/>
                <a:gd name="connsiteY5" fmla="*/ 6964 h 722735"/>
                <a:gd name="connsiteX6" fmla="*/ 491524 w 513653"/>
                <a:gd name="connsiteY6" fmla="*/ 12448 h 722735"/>
                <a:gd name="connsiteX7" fmla="*/ 82841 w 513653"/>
                <a:gd name="connsiteY7" fmla="*/ 361368 h 722735"/>
                <a:gd name="connsiteX8" fmla="*/ 491524 w 513653"/>
                <a:gd name="connsiteY8" fmla="*/ 710301 h 722735"/>
                <a:gd name="connsiteX9" fmla="*/ 502502 w 513653"/>
                <a:gd name="connsiteY9" fmla="*/ 710150 h 722735"/>
                <a:gd name="connsiteX10" fmla="*/ 507985 w 513653"/>
                <a:gd name="connsiteY10" fmla="*/ 710226 h 722735"/>
                <a:gd name="connsiteX11" fmla="*/ 513617 w 513653"/>
                <a:gd name="connsiteY11" fmla="*/ 717127 h 722735"/>
                <a:gd name="connsiteX12" fmla="*/ 508214 w 513653"/>
                <a:gd name="connsiteY12" fmla="*/ 722661 h 722735"/>
                <a:gd name="connsiteX13" fmla="*/ 501893 w 513653"/>
                <a:gd name="connsiteY13" fmla="*/ 722736 h 722735"/>
                <a:gd name="connsiteX14" fmla="*/ 372219 w 513653"/>
                <a:gd name="connsiteY14" fmla="*/ 14754 h 722735"/>
                <a:gd name="connsiteX15" fmla="*/ 12603 w 513653"/>
                <a:gd name="connsiteY15" fmla="*/ 361368 h 722735"/>
                <a:gd name="connsiteX16" fmla="*/ 372219 w 513653"/>
                <a:gd name="connsiteY16" fmla="*/ 707994 h 722735"/>
                <a:gd name="connsiteX17" fmla="*/ 70187 w 513653"/>
                <a:gd name="connsiteY17" fmla="*/ 361368 h 722735"/>
                <a:gd name="connsiteX18" fmla="*/ 372219 w 513653"/>
                <a:gd name="connsiteY18" fmla="*/ 14754 h 722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3653" h="722735">
                  <a:moveTo>
                    <a:pt x="501893" y="722736"/>
                  </a:moveTo>
                  <a:lnTo>
                    <a:pt x="419052" y="722736"/>
                  </a:lnTo>
                  <a:cubicBezTo>
                    <a:pt x="187981" y="722736"/>
                    <a:pt x="0" y="560679"/>
                    <a:pt x="0" y="361368"/>
                  </a:cubicBezTo>
                  <a:cubicBezTo>
                    <a:pt x="0" y="162056"/>
                    <a:pt x="187981" y="0"/>
                    <a:pt x="419052" y="0"/>
                  </a:cubicBezTo>
                  <a:lnTo>
                    <a:pt x="491524" y="0"/>
                  </a:lnTo>
                  <a:cubicBezTo>
                    <a:pt x="495004" y="409"/>
                    <a:pt x="497490" y="3527"/>
                    <a:pt x="497075" y="6964"/>
                  </a:cubicBezTo>
                  <a:cubicBezTo>
                    <a:pt x="496730" y="9839"/>
                    <a:pt x="494434" y="12106"/>
                    <a:pt x="491524" y="12448"/>
                  </a:cubicBezTo>
                  <a:cubicBezTo>
                    <a:pt x="266151" y="12448"/>
                    <a:pt x="82841" y="168976"/>
                    <a:pt x="82841" y="361368"/>
                  </a:cubicBezTo>
                  <a:cubicBezTo>
                    <a:pt x="82841" y="553760"/>
                    <a:pt x="266190" y="710301"/>
                    <a:pt x="491524" y="710301"/>
                  </a:cubicBezTo>
                  <a:cubicBezTo>
                    <a:pt x="495192" y="710301"/>
                    <a:pt x="498872" y="710301"/>
                    <a:pt x="502502" y="710150"/>
                  </a:cubicBezTo>
                  <a:cubicBezTo>
                    <a:pt x="504622" y="710213"/>
                    <a:pt x="506462" y="710326"/>
                    <a:pt x="507985" y="710226"/>
                  </a:cubicBezTo>
                  <a:cubicBezTo>
                    <a:pt x="511470" y="710595"/>
                    <a:pt x="513991" y="713685"/>
                    <a:pt x="513617" y="717127"/>
                  </a:cubicBezTo>
                  <a:cubicBezTo>
                    <a:pt x="513306" y="719974"/>
                    <a:pt x="511082" y="722252"/>
                    <a:pt x="508214" y="722661"/>
                  </a:cubicBezTo>
                  <a:cubicBezTo>
                    <a:pt x="506107" y="722736"/>
                    <a:pt x="504025" y="722736"/>
                    <a:pt x="501893" y="722736"/>
                  </a:cubicBezTo>
                  <a:close/>
                  <a:moveTo>
                    <a:pt x="372219" y="14754"/>
                  </a:moveTo>
                  <a:cubicBezTo>
                    <a:pt x="170086" y="34760"/>
                    <a:pt x="12603" y="182577"/>
                    <a:pt x="12603" y="361368"/>
                  </a:cubicBezTo>
                  <a:cubicBezTo>
                    <a:pt x="12603" y="540159"/>
                    <a:pt x="170098" y="687988"/>
                    <a:pt x="372219" y="707994"/>
                  </a:cubicBezTo>
                  <a:cubicBezTo>
                    <a:pt x="197818" y="663757"/>
                    <a:pt x="70187" y="525104"/>
                    <a:pt x="70187" y="361368"/>
                  </a:cubicBezTo>
                  <a:cubicBezTo>
                    <a:pt x="70187" y="197632"/>
                    <a:pt x="197818" y="58991"/>
                    <a:pt x="372219" y="147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503374B9-0E83-9E4D-A819-786A65893D0D}"/>
                </a:ext>
              </a:extLst>
            </p:cNvPr>
            <p:cNvSpPr/>
            <p:nvPr/>
          </p:nvSpPr>
          <p:spPr>
            <a:xfrm>
              <a:off x="7725312" y="298816"/>
              <a:ext cx="426223" cy="710288"/>
            </a:xfrm>
            <a:custGeom>
              <a:avLst/>
              <a:gdLst>
                <a:gd name="connsiteX0" fmla="*/ 38 w 426223"/>
                <a:gd name="connsiteY0" fmla="*/ 355138 h 710288"/>
                <a:gd name="connsiteX1" fmla="*/ 415067 w 426223"/>
                <a:gd name="connsiteY1" fmla="*/ 710288 h 710288"/>
                <a:gd name="connsiteX2" fmla="*/ 426223 w 426223"/>
                <a:gd name="connsiteY2" fmla="*/ 710138 h 710288"/>
                <a:gd name="connsiteX3" fmla="*/ 22427 w 426223"/>
                <a:gd name="connsiteY3" fmla="*/ 355138 h 710288"/>
                <a:gd name="connsiteX4" fmla="*/ 426185 w 426223"/>
                <a:gd name="connsiteY4" fmla="*/ 125 h 710288"/>
                <a:gd name="connsiteX5" fmla="*/ 415029 w 426223"/>
                <a:gd name="connsiteY5" fmla="*/ 0 h 710288"/>
                <a:gd name="connsiteX6" fmla="*/ 0 w 426223"/>
                <a:gd name="connsiteY6" fmla="*/ 355138 h 71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223" h="710288">
                  <a:moveTo>
                    <a:pt x="38" y="355138"/>
                  </a:moveTo>
                  <a:cubicBezTo>
                    <a:pt x="38" y="551178"/>
                    <a:pt x="185951" y="710288"/>
                    <a:pt x="415067" y="710288"/>
                  </a:cubicBezTo>
                  <a:cubicBezTo>
                    <a:pt x="418798" y="710288"/>
                    <a:pt x="422530" y="710288"/>
                    <a:pt x="426223" y="710138"/>
                  </a:cubicBezTo>
                  <a:cubicBezTo>
                    <a:pt x="202323" y="705124"/>
                    <a:pt x="22427" y="547956"/>
                    <a:pt x="22427" y="355138"/>
                  </a:cubicBezTo>
                  <a:cubicBezTo>
                    <a:pt x="22427" y="162320"/>
                    <a:pt x="202285" y="5202"/>
                    <a:pt x="426185" y="125"/>
                  </a:cubicBezTo>
                  <a:cubicBezTo>
                    <a:pt x="422492" y="50"/>
                    <a:pt x="418760" y="0"/>
                    <a:pt x="415029" y="0"/>
                  </a:cubicBezTo>
                  <a:cubicBezTo>
                    <a:pt x="185951" y="0"/>
                    <a:pt x="0" y="159111"/>
                    <a:pt x="0" y="355138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AC6FFC8C-6545-C544-9723-032D01F63CC9}"/>
                </a:ext>
              </a:extLst>
            </p:cNvPr>
            <p:cNvSpPr/>
            <p:nvPr/>
          </p:nvSpPr>
          <p:spPr>
            <a:xfrm>
              <a:off x="7722216" y="295708"/>
              <a:ext cx="429383" cy="716505"/>
            </a:xfrm>
            <a:custGeom>
              <a:avLst/>
              <a:gdLst>
                <a:gd name="connsiteX0" fmla="*/ 418164 w 429383"/>
                <a:gd name="connsiteY0" fmla="*/ 716506 h 716505"/>
                <a:gd name="connsiteX1" fmla="*/ 0 w 429383"/>
                <a:gd name="connsiteY1" fmla="*/ 360503 h 716505"/>
                <a:gd name="connsiteX2" fmla="*/ 0 w 429383"/>
                <a:gd name="connsiteY2" fmla="*/ 360503 h 716505"/>
                <a:gd name="connsiteX3" fmla="*/ 0 w 429383"/>
                <a:gd name="connsiteY3" fmla="*/ 358247 h 716505"/>
                <a:gd name="connsiteX4" fmla="*/ 418126 w 429383"/>
                <a:gd name="connsiteY4" fmla="*/ 0 h 716505"/>
                <a:gd name="connsiteX5" fmla="*/ 429345 w 429383"/>
                <a:gd name="connsiteY5" fmla="*/ 125 h 716505"/>
                <a:gd name="connsiteX6" fmla="*/ 429345 w 429383"/>
                <a:gd name="connsiteY6" fmla="*/ 6393 h 716505"/>
                <a:gd name="connsiteX7" fmla="*/ 145527 w 429383"/>
                <a:gd name="connsiteY7" fmla="*/ 112667 h 716505"/>
                <a:gd name="connsiteX8" fmla="*/ 28659 w 429383"/>
                <a:gd name="connsiteY8" fmla="*/ 358247 h 716505"/>
                <a:gd name="connsiteX9" fmla="*/ 145539 w 429383"/>
                <a:gd name="connsiteY9" fmla="*/ 603851 h 716505"/>
                <a:gd name="connsiteX10" fmla="*/ 429383 w 429383"/>
                <a:gd name="connsiteY10" fmla="*/ 710150 h 716505"/>
                <a:gd name="connsiteX11" fmla="*/ 429383 w 429383"/>
                <a:gd name="connsiteY11" fmla="*/ 716343 h 716505"/>
                <a:gd name="connsiteX12" fmla="*/ 418164 w 429383"/>
                <a:gd name="connsiteY12" fmla="*/ 716506 h 716505"/>
                <a:gd name="connsiteX13" fmla="*/ 6244 w 429383"/>
                <a:gd name="connsiteY13" fmla="*/ 356354 h 716505"/>
                <a:gd name="connsiteX14" fmla="*/ 6244 w 429383"/>
                <a:gd name="connsiteY14" fmla="*/ 358259 h 716505"/>
                <a:gd name="connsiteX15" fmla="*/ 294252 w 429383"/>
                <a:gd name="connsiteY15" fmla="*/ 694042 h 716505"/>
                <a:gd name="connsiteX16" fmla="*/ 141338 w 429383"/>
                <a:gd name="connsiteY16" fmla="*/ 608502 h 716505"/>
                <a:gd name="connsiteX17" fmla="*/ 22376 w 429383"/>
                <a:gd name="connsiteY17" fmla="*/ 358247 h 716505"/>
                <a:gd name="connsiteX18" fmla="*/ 141351 w 429383"/>
                <a:gd name="connsiteY18" fmla="*/ 108017 h 716505"/>
                <a:gd name="connsiteX19" fmla="*/ 294391 w 429383"/>
                <a:gd name="connsiteY19" fmla="*/ 22438 h 716505"/>
                <a:gd name="connsiteX20" fmla="*/ 6244 w 429383"/>
                <a:gd name="connsiteY20" fmla="*/ 356354 h 7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9383" h="716505">
                  <a:moveTo>
                    <a:pt x="418164" y="716506"/>
                  </a:moveTo>
                  <a:cubicBezTo>
                    <a:pt x="188438" y="716506"/>
                    <a:pt x="1409" y="557006"/>
                    <a:pt x="0" y="360503"/>
                  </a:cubicBezTo>
                  <a:lnTo>
                    <a:pt x="0" y="360503"/>
                  </a:lnTo>
                  <a:lnTo>
                    <a:pt x="0" y="358247"/>
                  </a:lnTo>
                  <a:cubicBezTo>
                    <a:pt x="-38" y="160715"/>
                    <a:pt x="187550" y="0"/>
                    <a:pt x="418126" y="0"/>
                  </a:cubicBezTo>
                  <a:cubicBezTo>
                    <a:pt x="421933" y="0"/>
                    <a:pt x="425627" y="0"/>
                    <a:pt x="429345" y="125"/>
                  </a:cubicBezTo>
                  <a:lnTo>
                    <a:pt x="429345" y="6393"/>
                  </a:lnTo>
                  <a:cubicBezTo>
                    <a:pt x="324993" y="7564"/>
                    <a:pt x="224437" y="45217"/>
                    <a:pt x="145527" y="112667"/>
                  </a:cubicBezTo>
                  <a:cubicBezTo>
                    <a:pt x="72436" y="173976"/>
                    <a:pt x="29812" y="263544"/>
                    <a:pt x="28659" y="358247"/>
                  </a:cubicBezTo>
                  <a:cubicBezTo>
                    <a:pt x="29815" y="452958"/>
                    <a:pt x="72442" y="542534"/>
                    <a:pt x="145539" y="603851"/>
                  </a:cubicBezTo>
                  <a:cubicBezTo>
                    <a:pt x="224451" y="671320"/>
                    <a:pt x="325018" y="708982"/>
                    <a:pt x="429383" y="710150"/>
                  </a:cubicBezTo>
                  <a:lnTo>
                    <a:pt x="429383" y="716343"/>
                  </a:lnTo>
                  <a:cubicBezTo>
                    <a:pt x="425715" y="716506"/>
                    <a:pt x="421933" y="716506"/>
                    <a:pt x="418164" y="716506"/>
                  </a:cubicBezTo>
                  <a:close/>
                  <a:moveTo>
                    <a:pt x="6244" y="356354"/>
                  </a:moveTo>
                  <a:lnTo>
                    <a:pt x="6244" y="358259"/>
                  </a:lnTo>
                  <a:cubicBezTo>
                    <a:pt x="6244" y="515515"/>
                    <a:pt x="127466" y="649003"/>
                    <a:pt x="294252" y="694042"/>
                  </a:cubicBezTo>
                  <a:cubicBezTo>
                    <a:pt x="237836" y="676287"/>
                    <a:pt x="185767" y="647159"/>
                    <a:pt x="141338" y="608502"/>
                  </a:cubicBezTo>
                  <a:cubicBezTo>
                    <a:pt x="66896" y="546008"/>
                    <a:pt x="23508" y="454733"/>
                    <a:pt x="22376" y="358247"/>
                  </a:cubicBezTo>
                  <a:cubicBezTo>
                    <a:pt x="23520" y="261766"/>
                    <a:pt x="66912" y="170503"/>
                    <a:pt x="141351" y="108017"/>
                  </a:cubicBezTo>
                  <a:cubicBezTo>
                    <a:pt x="185811" y="69329"/>
                    <a:pt x="237927" y="40186"/>
                    <a:pt x="294391" y="22438"/>
                  </a:cubicBezTo>
                  <a:cubicBezTo>
                    <a:pt x="128215" y="67264"/>
                    <a:pt x="7209" y="199901"/>
                    <a:pt x="6244" y="3563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9A7738EC-458B-0545-B1D2-D563E7C6440D}"/>
                </a:ext>
              </a:extLst>
            </p:cNvPr>
            <p:cNvSpPr/>
            <p:nvPr/>
          </p:nvSpPr>
          <p:spPr>
            <a:xfrm>
              <a:off x="7734489" y="466915"/>
              <a:ext cx="600154" cy="22200"/>
            </a:xfrm>
            <a:custGeom>
              <a:avLst/>
              <a:gdLst>
                <a:gd name="connsiteX0" fmla="*/ 600154 w 600154"/>
                <a:gd name="connsiteY0" fmla="*/ 11094 h 22200"/>
                <a:gd name="connsiteX1" fmla="*/ 300065 w 600154"/>
                <a:gd name="connsiteY1" fmla="*/ 22200 h 22200"/>
                <a:gd name="connsiteX2" fmla="*/ 0 w 600154"/>
                <a:gd name="connsiteY2" fmla="*/ 11094 h 22200"/>
                <a:gd name="connsiteX3" fmla="*/ 300065 w 600154"/>
                <a:gd name="connsiteY3" fmla="*/ 0 h 22200"/>
                <a:gd name="connsiteX4" fmla="*/ 600154 w 600154"/>
                <a:gd name="connsiteY4" fmla="*/ 11094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54" h="22200">
                  <a:moveTo>
                    <a:pt x="600154" y="11094"/>
                  </a:moveTo>
                  <a:cubicBezTo>
                    <a:pt x="600154" y="17198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94"/>
                  </a:cubicBezTo>
                  <a:cubicBezTo>
                    <a:pt x="0" y="5002"/>
                    <a:pt x="134434" y="0"/>
                    <a:pt x="300065" y="0"/>
                  </a:cubicBezTo>
                  <a:cubicBezTo>
                    <a:pt x="465695" y="0"/>
                    <a:pt x="600154" y="4964"/>
                    <a:pt x="600154" y="1109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3067C300-ED64-AA47-B4C3-E77D6E18A66A}"/>
                </a:ext>
              </a:extLst>
            </p:cNvPr>
            <p:cNvSpPr/>
            <p:nvPr/>
          </p:nvSpPr>
          <p:spPr>
            <a:xfrm>
              <a:off x="7731341" y="463844"/>
              <a:ext cx="606437" cy="28405"/>
            </a:xfrm>
            <a:custGeom>
              <a:avLst/>
              <a:gdLst>
                <a:gd name="connsiteX0" fmla="*/ 303212 w 606437"/>
                <a:gd name="connsiteY0" fmla="*/ 28405 h 28405"/>
                <a:gd name="connsiteX1" fmla="*/ 90938 w 606437"/>
                <a:gd name="connsiteY1" fmla="*/ 25146 h 28405"/>
                <a:gd name="connsiteX2" fmla="*/ 0 w 606437"/>
                <a:gd name="connsiteY2" fmla="*/ 14203 h 28405"/>
                <a:gd name="connsiteX3" fmla="*/ 90951 w 606437"/>
                <a:gd name="connsiteY3" fmla="*/ 3272 h 28405"/>
                <a:gd name="connsiteX4" fmla="*/ 303212 w 606437"/>
                <a:gd name="connsiteY4" fmla="*/ 0 h 28405"/>
                <a:gd name="connsiteX5" fmla="*/ 515486 w 606437"/>
                <a:gd name="connsiteY5" fmla="*/ 3259 h 28405"/>
                <a:gd name="connsiteX6" fmla="*/ 606437 w 606437"/>
                <a:gd name="connsiteY6" fmla="*/ 14203 h 28405"/>
                <a:gd name="connsiteX7" fmla="*/ 515486 w 606437"/>
                <a:gd name="connsiteY7" fmla="*/ 25146 h 28405"/>
                <a:gd name="connsiteX8" fmla="*/ 303212 w 606437"/>
                <a:gd name="connsiteY8" fmla="*/ 28405 h 28405"/>
                <a:gd name="connsiteX9" fmla="*/ 14799 w 606437"/>
                <a:gd name="connsiteY9" fmla="*/ 14165 h 28405"/>
                <a:gd name="connsiteX10" fmla="*/ 303212 w 606437"/>
                <a:gd name="connsiteY10" fmla="*/ 22162 h 28405"/>
                <a:gd name="connsiteX11" fmla="*/ 591803 w 606437"/>
                <a:gd name="connsiteY11" fmla="*/ 14152 h 28405"/>
                <a:gd name="connsiteX12" fmla="*/ 303212 w 606437"/>
                <a:gd name="connsiteY12" fmla="*/ 6167 h 28405"/>
                <a:gd name="connsiteX13" fmla="*/ 14799 w 606437"/>
                <a:gd name="connsiteY13" fmla="*/ 14165 h 28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37" h="28405">
                  <a:moveTo>
                    <a:pt x="303212" y="28405"/>
                  </a:moveTo>
                  <a:cubicBezTo>
                    <a:pt x="223176" y="28405"/>
                    <a:pt x="147786" y="27252"/>
                    <a:pt x="90938" y="25146"/>
                  </a:cubicBezTo>
                  <a:cubicBezTo>
                    <a:pt x="0" y="21761"/>
                    <a:pt x="0" y="18088"/>
                    <a:pt x="0" y="14203"/>
                  </a:cubicBezTo>
                  <a:cubicBezTo>
                    <a:pt x="0" y="10317"/>
                    <a:pt x="0" y="6681"/>
                    <a:pt x="90951" y="3272"/>
                  </a:cubicBezTo>
                  <a:cubicBezTo>
                    <a:pt x="147786" y="1166"/>
                    <a:pt x="223164" y="0"/>
                    <a:pt x="303212" y="0"/>
                  </a:cubicBezTo>
                  <a:cubicBezTo>
                    <a:pt x="383261" y="0"/>
                    <a:pt x="458753" y="1166"/>
                    <a:pt x="515486" y="3259"/>
                  </a:cubicBezTo>
                  <a:cubicBezTo>
                    <a:pt x="606437" y="6619"/>
                    <a:pt x="606437" y="10304"/>
                    <a:pt x="606437" y="14203"/>
                  </a:cubicBezTo>
                  <a:cubicBezTo>
                    <a:pt x="606437" y="18101"/>
                    <a:pt x="606437" y="21724"/>
                    <a:pt x="515486" y="25146"/>
                  </a:cubicBezTo>
                  <a:cubicBezTo>
                    <a:pt x="458677" y="27214"/>
                    <a:pt x="383286" y="28405"/>
                    <a:pt x="303212" y="28405"/>
                  </a:cubicBezTo>
                  <a:close/>
                  <a:moveTo>
                    <a:pt x="14799" y="14165"/>
                  </a:moveTo>
                  <a:cubicBezTo>
                    <a:pt x="47455" y="18314"/>
                    <a:pt x="158028" y="22162"/>
                    <a:pt x="303212" y="22162"/>
                  </a:cubicBezTo>
                  <a:cubicBezTo>
                    <a:pt x="448650" y="22162"/>
                    <a:pt x="559337" y="18302"/>
                    <a:pt x="591803" y="14152"/>
                  </a:cubicBezTo>
                  <a:cubicBezTo>
                    <a:pt x="560073" y="10016"/>
                    <a:pt x="452978" y="6167"/>
                    <a:pt x="303212" y="6167"/>
                  </a:cubicBezTo>
                  <a:cubicBezTo>
                    <a:pt x="158016" y="6167"/>
                    <a:pt x="47455" y="10016"/>
                    <a:pt x="14799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46590E1A-1E8C-AF47-99F3-16300CEA1593}"/>
                </a:ext>
              </a:extLst>
            </p:cNvPr>
            <p:cNvSpPr/>
            <p:nvPr/>
          </p:nvSpPr>
          <p:spPr>
            <a:xfrm>
              <a:off x="7744744" y="835014"/>
              <a:ext cx="600116" cy="22200"/>
            </a:xfrm>
            <a:custGeom>
              <a:avLst/>
              <a:gdLst>
                <a:gd name="connsiteX0" fmla="*/ 600116 w 600116"/>
                <a:gd name="connsiteY0" fmla="*/ 11081 h 22200"/>
                <a:gd name="connsiteX1" fmla="*/ 300065 w 600116"/>
                <a:gd name="connsiteY1" fmla="*/ 22200 h 22200"/>
                <a:gd name="connsiteX2" fmla="*/ 0 w 600116"/>
                <a:gd name="connsiteY2" fmla="*/ 11081 h 22200"/>
                <a:gd name="connsiteX3" fmla="*/ 300065 w 600116"/>
                <a:gd name="connsiteY3" fmla="*/ 0 h 22200"/>
                <a:gd name="connsiteX4" fmla="*/ 600116 w 600116"/>
                <a:gd name="connsiteY4" fmla="*/ 11081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16" h="22200">
                  <a:moveTo>
                    <a:pt x="600116" y="11081"/>
                  </a:moveTo>
                  <a:cubicBezTo>
                    <a:pt x="600116" y="17236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81"/>
                  </a:cubicBezTo>
                  <a:cubicBezTo>
                    <a:pt x="0" y="4977"/>
                    <a:pt x="134434" y="0"/>
                    <a:pt x="300065" y="0"/>
                  </a:cubicBezTo>
                  <a:cubicBezTo>
                    <a:pt x="465695" y="0"/>
                    <a:pt x="600116" y="5014"/>
                    <a:pt x="600116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8ABC648E-8ED6-AC40-9305-755E05287E1E}"/>
                </a:ext>
              </a:extLst>
            </p:cNvPr>
            <p:cNvSpPr/>
            <p:nvPr/>
          </p:nvSpPr>
          <p:spPr>
            <a:xfrm>
              <a:off x="7741596" y="831918"/>
              <a:ext cx="606398" cy="28392"/>
            </a:xfrm>
            <a:custGeom>
              <a:avLst/>
              <a:gdLst>
                <a:gd name="connsiteX0" fmla="*/ 303212 w 606398"/>
                <a:gd name="connsiteY0" fmla="*/ 28393 h 28392"/>
                <a:gd name="connsiteX1" fmla="*/ 90938 w 606398"/>
                <a:gd name="connsiteY1" fmla="*/ 25121 h 28392"/>
                <a:gd name="connsiteX2" fmla="*/ 0 w 606398"/>
                <a:gd name="connsiteY2" fmla="*/ 14177 h 28392"/>
                <a:gd name="connsiteX3" fmla="*/ 90951 w 606398"/>
                <a:gd name="connsiteY3" fmla="*/ 3247 h 28392"/>
                <a:gd name="connsiteX4" fmla="*/ 303212 w 606398"/>
                <a:gd name="connsiteY4" fmla="*/ 0 h 28392"/>
                <a:gd name="connsiteX5" fmla="*/ 515473 w 606398"/>
                <a:gd name="connsiteY5" fmla="*/ 3259 h 28392"/>
                <a:gd name="connsiteX6" fmla="*/ 606399 w 606398"/>
                <a:gd name="connsiteY6" fmla="*/ 14177 h 28392"/>
                <a:gd name="connsiteX7" fmla="*/ 515473 w 606398"/>
                <a:gd name="connsiteY7" fmla="*/ 25146 h 28392"/>
                <a:gd name="connsiteX8" fmla="*/ 303212 w 606398"/>
                <a:gd name="connsiteY8" fmla="*/ 28393 h 28392"/>
                <a:gd name="connsiteX9" fmla="*/ 14672 w 606398"/>
                <a:gd name="connsiteY9" fmla="*/ 14165 h 28392"/>
                <a:gd name="connsiteX10" fmla="*/ 303212 w 606398"/>
                <a:gd name="connsiteY10" fmla="*/ 22200 h 28392"/>
                <a:gd name="connsiteX11" fmla="*/ 591740 w 606398"/>
                <a:gd name="connsiteY11" fmla="*/ 14203 h 28392"/>
                <a:gd name="connsiteX12" fmla="*/ 303212 w 606398"/>
                <a:gd name="connsiteY12" fmla="*/ 6192 h 28392"/>
                <a:gd name="connsiteX13" fmla="*/ 14672 w 606398"/>
                <a:gd name="connsiteY13" fmla="*/ 14165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398" h="28392">
                  <a:moveTo>
                    <a:pt x="303212" y="28393"/>
                  </a:moveTo>
                  <a:cubicBezTo>
                    <a:pt x="223138" y="28393"/>
                    <a:pt x="147760" y="27239"/>
                    <a:pt x="90938" y="25121"/>
                  </a:cubicBezTo>
                  <a:cubicBezTo>
                    <a:pt x="0" y="21749"/>
                    <a:pt x="0" y="18063"/>
                    <a:pt x="0" y="14177"/>
                  </a:cubicBezTo>
                  <a:cubicBezTo>
                    <a:pt x="0" y="10292"/>
                    <a:pt x="0" y="6656"/>
                    <a:pt x="90951" y="3247"/>
                  </a:cubicBezTo>
                  <a:cubicBezTo>
                    <a:pt x="147697" y="1153"/>
                    <a:pt x="223087" y="0"/>
                    <a:pt x="303212" y="0"/>
                  </a:cubicBezTo>
                  <a:cubicBezTo>
                    <a:pt x="383337" y="0"/>
                    <a:pt x="458600" y="1153"/>
                    <a:pt x="515473" y="3259"/>
                  </a:cubicBezTo>
                  <a:cubicBezTo>
                    <a:pt x="606399" y="6619"/>
                    <a:pt x="606399" y="10292"/>
                    <a:pt x="606399" y="14177"/>
                  </a:cubicBezTo>
                  <a:cubicBezTo>
                    <a:pt x="606399" y="18063"/>
                    <a:pt x="606399" y="21774"/>
                    <a:pt x="515473" y="25146"/>
                  </a:cubicBezTo>
                  <a:cubicBezTo>
                    <a:pt x="458804" y="27239"/>
                    <a:pt x="383426" y="28393"/>
                    <a:pt x="303212" y="28393"/>
                  </a:cubicBezTo>
                  <a:close/>
                  <a:moveTo>
                    <a:pt x="14672" y="14165"/>
                  </a:moveTo>
                  <a:cubicBezTo>
                    <a:pt x="47164" y="18327"/>
                    <a:pt x="157825" y="22200"/>
                    <a:pt x="303212" y="22200"/>
                  </a:cubicBezTo>
                  <a:cubicBezTo>
                    <a:pt x="452978" y="22200"/>
                    <a:pt x="559984" y="18339"/>
                    <a:pt x="591740" y="14203"/>
                  </a:cubicBezTo>
                  <a:cubicBezTo>
                    <a:pt x="559274" y="10053"/>
                    <a:pt x="448599" y="6192"/>
                    <a:pt x="303212" y="6192"/>
                  </a:cubicBezTo>
                  <a:cubicBezTo>
                    <a:pt x="153497" y="6192"/>
                    <a:pt x="46453" y="10066"/>
                    <a:pt x="14672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4959EC07-0EC5-0B4C-AB2A-2E3916049ED8}"/>
                </a:ext>
              </a:extLst>
            </p:cNvPr>
            <p:cNvSpPr/>
            <p:nvPr/>
          </p:nvSpPr>
          <p:spPr>
            <a:xfrm>
              <a:off x="7680662" y="649366"/>
              <a:ext cx="600141" cy="22187"/>
            </a:xfrm>
            <a:custGeom>
              <a:avLst/>
              <a:gdLst>
                <a:gd name="connsiteX0" fmla="*/ 600142 w 600141"/>
                <a:gd name="connsiteY0" fmla="*/ 11081 h 22187"/>
                <a:gd name="connsiteX1" fmla="*/ 300065 w 600141"/>
                <a:gd name="connsiteY1" fmla="*/ 22187 h 22187"/>
                <a:gd name="connsiteX2" fmla="*/ 0 w 600141"/>
                <a:gd name="connsiteY2" fmla="*/ 11081 h 22187"/>
                <a:gd name="connsiteX3" fmla="*/ 300065 w 600141"/>
                <a:gd name="connsiteY3" fmla="*/ 0 h 22187"/>
                <a:gd name="connsiteX4" fmla="*/ 600142 w 600141"/>
                <a:gd name="connsiteY4" fmla="*/ 11081 h 2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41" h="22187">
                  <a:moveTo>
                    <a:pt x="600142" y="11081"/>
                  </a:moveTo>
                  <a:cubicBezTo>
                    <a:pt x="600142" y="17211"/>
                    <a:pt x="465708" y="22187"/>
                    <a:pt x="300065" y="22187"/>
                  </a:cubicBezTo>
                  <a:cubicBezTo>
                    <a:pt x="134421" y="22187"/>
                    <a:pt x="0" y="17173"/>
                    <a:pt x="0" y="11081"/>
                  </a:cubicBezTo>
                  <a:cubicBezTo>
                    <a:pt x="0" y="4989"/>
                    <a:pt x="134434" y="0"/>
                    <a:pt x="300065" y="0"/>
                  </a:cubicBezTo>
                  <a:cubicBezTo>
                    <a:pt x="465695" y="0"/>
                    <a:pt x="600142" y="5014"/>
                    <a:pt x="600142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74708F00-EA93-B64E-929F-FAE84145FFFD}"/>
                </a:ext>
              </a:extLst>
            </p:cNvPr>
            <p:cNvSpPr/>
            <p:nvPr/>
          </p:nvSpPr>
          <p:spPr>
            <a:xfrm>
              <a:off x="7677514" y="646257"/>
              <a:ext cx="606424" cy="28392"/>
            </a:xfrm>
            <a:custGeom>
              <a:avLst/>
              <a:gdLst>
                <a:gd name="connsiteX0" fmla="*/ 303212 w 606424"/>
                <a:gd name="connsiteY0" fmla="*/ 28392 h 28392"/>
                <a:gd name="connsiteX1" fmla="*/ 90938 w 606424"/>
                <a:gd name="connsiteY1" fmla="*/ 25121 h 28392"/>
                <a:gd name="connsiteX2" fmla="*/ 0 w 606424"/>
                <a:gd name="connsiteY2" fmla="*/ 14190 h 28392"/>
                <a:gd name="connsiteX3" fmla="*/ 90951 w 606424"/>
                <a:gd name="connsiteY3" fmla="*/ 3259 h 28392"/>
                <a:gd name="connsiteX4" fmla="*/ 303212 w 606424"/>
                <a:gd name="connsiteY4" fmla="*/ 0 h 28392"/>
                <a:gd name="connsiteX5" fmla="*/ 515486 w 606424"/>
                <a:gd name="connsiteY5" fmla="*/ 3272 h 28392"/>
                <a:gd name="connsiteX6" fmla="*/ 606424 w 606424"/>
                <a:gd name="connsiteY6" fmla="*/ 14190 h 28392"/>
                <a:gd name="connsiteX7" fmla="*/ 515486 w 606424"/>
                <a:gd name="connsiteY7" fmla="*/ 25133 h 28392"/>
                <a:gd name="connsiteX8" fmla="*/ 303212 w 606424"/>
                <a:gd name="connsiteY8" fmla="*/ 28392 h 28392"/>
                <a:gd name="connsiteX9" fmla="*/ 14812 w 606424"/>
                <a:gd name="connsiteY9" fmla="*/ 14190 h 28392"/>
                <a:gd name="connsiteX10" fmla="*/ 303212 w 606424"/>
                <a:gd name="connsiteY10" fmla="*/ 22188 h 28392"/>
                <a:gd name="connsiteX11" fmla="*/ 591740 w 606424"/>
                <a:gd name="connsiteY11" fmla="*/ 14215 h 28392"/>
                <a:gd name="connsiteX12" fmla="*/ 303212 w 606424"/>
                <a:gd name="connsiteY12" fmla="*/ 6205 h 28392"/>
                <a:gd name="connsiteX13" fmla="*/ 14812 w 606424"/>
                <a:gd name="connsiteY13" fmla="*/ 14190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24" h="28392">
                  <a:moveTo>
                    <a:pt x="303212" y="28392"/>
                  </a:moveTo>
                  <a:cubicBezTo>
                    <a:pt x="223176" y="28392"/>
                    <a:pt x="147786" y="27227"/>
                    <a:pt x="90938" y="25121"/>
                  </a:cubicBezTo>
                  <a:cubicBezTo>
                    <a:pt x="0" y="21749"/>
                    <a:pt x="0" y="18076"/>
                    <a:pt x="0" y="14190"/>
                  </a:cubicBezTo>
                  <a:cubicBezTo>
                    <a:pt x="0" y="10304"/>
                    <a:pt x="0" y="6669"/>
                    <a:pt x="90951" y="3259"/>
                  </a:cubicBezTo>
                  <a:cubicBezTo>
                    <a:pt x="147748" y="1153"/>
                    <a:pt x="223138" y="0"/>
                    <a:pt x="303212" y="0"/>
                  </a:cubicBezTo>
                  <a:cubicBezTo>
                    <a:pt x="383286" y="0"/>
                    <a:pt x="458575" y="1166"/>
                    <a:pt x="515486" y="3272"/>
                  </a:cubicBezTo>
                  <a:cubicBezTo>
                    <a:pt x="606424" y="6644"/>
                    <a:pt x="606424" y="10304"/>
                    <a:pt x="606424" y="14190"/>
                  </a:cubicBezTo>
                  <a:cubicBezTo>
                    <a:pt x="606424" y="18076"/>
                    <a:pt x="606424" y="21774"/>
                    <a:pt x="515486" y="25133"/>
                  </a:cubicBezTo>
                  <a:cubicBezTo>
                    <a:pt x="458740" y="27239"/>
                    <a:pt x="383362" y="28392"/>
                    <a:pt x="303212" y="28392"/>
                  </a:cubicBezTo>
                  <a:close/>
                  <a:moveTo>
                    <a:pt x="14812" y="14190"/>
                  </a:moveTo>
                  <a:cubicBezTo>
                    <a:pt x="47481" y="18339"/>
                    <a:pt x="158041" y="22188"/>
                    <a:pt x="303212" y="22188"/>
                  </a:cubicBezTo>
                  <a:cubicBezTo>
                    <a:pt x="452914" y="22188"/>
                    <a:pt x="559933" y="18339"/>
                    <a:pt x="591740" y="14215"/>
                  </a:cubicBezTo>
                  <a:cubicBezTo>
                    <a:pt x="559210" y="10053"/>
                    <a:pt x="448561" y="6205"/>
                    <a:pt x="303212" y="6205"/>
                  </a:cubicBezTo>
                  <a:cubicBezTo>
                    <a:pt x="157863" y="6205"/>
                    <a:pt x="47481" y="10041"/>
                    <a:pt x="14812" y="1419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439668D0-DA5E-8A40-BF01-9AA8FE6931ED}"/>
                </a:ext>
              </a:extLst>
            </p:cNvPr>
            <p:cNvSpPr/>
            <p:nvPr/>
          </p:nvSpPr>
          <p:spPr>
            <a:xfrm>
              <a:off x="7794847" y="284166"/>
              <a:ext cx="928959" cy="738994"/>
            </a:xfrm>
            <a:custGeom>
              <a:avLst/>
              <a:gdLst>
                <a:gd name="connsiteX0" fmla="*/ 835862 w 928959"/>
                <a:gd name="connsiteY0" fmla="*/ 129348 h 738994"/>
                <a:gd name="connsiteX1" fmla="*/ 928958 w 928959"/>
                <a:gd name="connsiteY1" fmla="*/ 373724 h 738994"/>
                <a:gd name="connsiteX2" fmla="*/ 687886 w 928959"/>
                <a:gd name="connsiteY2" fmla="*/ 707075 h 738994"/>
                <a:gd name="connsiteX3" fmla="*/ 422255 w 928959"/>
                <a:gd name="connsiteY3" fmla="*/ 738739 h 738994"/>
                <a:gd name="connsiteX4" fmla="*/ 59340 w 928959"/>
                <a:gd name="connsiteY4" fmla="*/ 566442 h 738994"/>
                <a:gd name="connsiteX5" fmla="*/ 36227 w 928959"/>
                <a:gd name="connsiteY5" fmla="*/ 210589 h 738994"/>
                <a:gd name="connsiteX6" fmla="*/ 317571 w 928959"/>
                <a:gd name="connsiteY6" fmla="*/ 11729 h 738994"/>
                <a:gd name="connsiteX7" fmla="*/ 681946 w 928959"/>
                <a:gd name="connsiteY7" fmla="*/ 31485 h 738994"/>
                <a:gd name="connsiteX8" fmla="*/ 835862 w 928959"/>
                <a:gd name="connsiteY8" fmla="*/ 129348 h 73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9" h="738994">
                  <a:moveTo>
                    <a:pt x="835862" y="129348"/>
                  </a:moveTo>
                  <a:cubicBezTo>
                    <a:pt x="896115" y="196817"/>
                    <a:pt x="929237" y="283760"/>
                    <a:pt x="928958" y="373724"/>
                  </a:cubicBezTo>
                  <a:cubicBezTo>
                    <a:pt x="925921" y="523318"/>
                    <a:pt x="830175" y="655713"/>
                    <a:pt x="687886" y="707075"/>
                  </a:cubicBezTo>
                  <a:cubicBezTo>
                    <a:pt x="605502" y="733913"/>
                    <a:pt x="513828" y="740457"/>
                    <a:pt x="422255" y="738739"/>
                  </a:cubicBezTo>
                  <a:cubicBezTo>
                    <a:pt x="276855" y="734716"/>
                    <a:pt x="140403" y="684838"/>
                    <a:pt x="59340" y="566442"/>
                  </a:cubicBezTo>
                  <a:cubicBezTo>
                    <a:pt x="-7725" y="467563"/>
                    <a:pt x="-21432" y="316650"/>
                    <a:pt x="36227" y="210589"/>
                  </a:cubicBezTo>
                  <a:cubicBezTo>
                    <a:pt x="85422" y="102522"/>
                    <a:pt x="197479" y="29968"/>
                    <a:pt x="317571" y="11729"/>
                  </a:cubicBezTo>
                  <a:cubicBezTo>
                    <a:pt x="438981" y="-8966"/>
                    <a:pt x="563560" y="-2211"/>
                    <a:pt x="681946" y="31485"/>
                  </a:cubicBezTo>
                  <a:cubicBezTo>
                    <a:pt x="740568" y="51213"/>
                    <a:pt x="793411" y="84811"/>
                    <a:pt x="835862" y="129348"/>
                  </a:cubicBezTo>
                  <a:close/>
                </a:path>
              </a:pathLst>
            </a:custGeom>
            <a:solidFill>
              <a:srgbClr val="CA0538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A0DDEB8B-FF28-1842-BEDC-32D31C5D31AB}"/>
                </a:ext>
              </a:extLst>
            </p:cNvPr>
            <p:cNvSpPr/>
            <p:nvPr/>
          </p:nvSpPr>
          <p:spPr>
            <a:xfrm>
              <a:off x="7833276" y="310649"/>
              <a:ext cx="674105" cy="476179"/>
            </a:xfrm>
            <a:custGeom>
              <a:avLst/>
              <a:gdLst>
                <a:gd name="connsiteX0" fmla="*/ 674105 w 674105"/>
                <a:gd name="connsiteY0" fmla="*/ 47259 h 476179"/>
                <a:gd name="connsiteX1" fmla="*/ 53199 w 674105"/>
                <a:gd name="connsiteY1" fmla="*/ 164301 h 476179"/>
                <a:gd name="connsiteX2" fmla="*/ 23043 w 674105"/>
                <a:gd name="connsiteY2" fmla="*/ 476180 h 476179"/>
                <a:gd name="connsiteX3" fmla="*/ 674105 w 674105"/>
                <a:gd name="connsiteY3" fmla="*/ 47259 h 47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4105" h="476179">
                  <a:moveTo>
                    <a:pt x="674105" y="47259"/>
                  </a:moveTo>
                  <a:cubicBezTo>
                    <a:pt x="674105" y="47259"/>
                    <a:pt x="245737" y="-115976"/>
                    <a:pt x="53199" y="164301"/>
                  </a:cubicBezTo>
                  <a:cubicBezTo>
                    <a:pt x="-45202" y="307555"/>
                    <a:pt x="23043" y="476180"/>
                    <a:pt x="23043" y="476180"/>
                  </a:cubicBezTo>
                  <a:cubicBezTo>
                    <a:pt x="23043" y="476180"/>
                    <a:pt x="9323" y="-76226"/>
                    <a:pt x="674105" y="47259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1E4E37A9-0576-EF45-9F09-9B80276A2154}"/>
                </a:ext>
              </a:extLst>
            </p:cNvPr>
            <p:cNvSpPr/>
            <p:nvPr/>
          </p:nvSpPr>
          <p:spPr>
            <a:xfrm>
              <a:off x="7952138" y="416172"/>
              <a:ext cx="622117" cy="420341"/>
            </a:xfrm>
            <a:custGeom>
              <a:avLst/>
              <a:gdLst>
                <a:gd name="connsiteX0" fmla="*/ 244162 w 622117"/>
                <a:gd name="connsiteY0" fmla="*/ 5265 h 420341"/>
                <a:gd name="connsiteX1" fmla="*/ 190234 w 622117"/>
                <a:gd name="connsiteY1" fmla="*/ 115337 h 420341"/>
                <a:gd name="connsiteX2" fmla="*/ 166119 w 622117"/>
                <a:gd name="connsiteY2" fmla="*/ 372750 h 420341"/>
                <a:gd name="connsiteX3" fmla="*/ 174546 w 622117"/>
                <a:gd name="connsiteY3" fmla="*/ 380271 h 420341"/>
                <a:gd name="connsiteX4" fmla="*/ 219273 w 622117"/>
                <a:gd name="connsiteY4" fmla="*/ 341336 h 420341"/>
                <a:gd name="connsiteX5" fmla="*/ 302545 w 622117"/>
                <a:gd name="connsiteY5" fmla="*/ 23617 h 420341"/>
                <a:gd name="connsiteX6" fmla="*/ 333806 w 622117"/>
                <a:gd name="connsiteY6" fmla="*/ 464 h 420341"/>
                <a:gd name="connsiteX7" fmla="*/ 335633 w 622117"/>
                <a:gd name="connsiteY7" fmla="*/ 7032 h 420341"/>
                <a:gd name="connsiteX8" fmla="*/ 302964 w 622117"/>
                <a:gd name="connsiteY8" fmla="*/ 48950 h 420341"/>
                <a:gd name="connsiteX9" fmla="*/ 293445 w 622117"/>
                <a:gd name="connsiteY9" fmla="*/ 78772 h 420341"/>
                <a:gd name="connsiteX10" fmla="*/ 257717 w 622117"/>
                <a:gd name="connsiteY10" fmla="*/ 371697 h 420341"/>
                <a:gd name="connsiteX11" fmla="*/ 269927 w 622117"/>
                <a:gd name="connsiteY11" fmla="*/ 380221 h 420341"/>
                <a:gd name="connsiteX12" fmla="*/ 308980 w 622117"/>
                <a:gd name="connsiteY12" fmla="*/ 342176 h 420341"/>
                <a:gd name="connsiteX13" fmla="*/ 378228 w 622117"/>
                <a:gd name="connsiteY13" fmla="*/ 200628 h 420341"/>
                <a:gd name="connsiteX14" fmla="*/ 448161 w 622117"/>
                <a:gd name="connsiteY14" fmla="*/ 198221 h 420341"/>
                <a:gd name="connsiteX15" fmla="*/ 429681 w 622117"/>
                <a:gd name="connsiteY15" fmla="*/ 360127 h 420341"/>
                <a:gd name="connsiteX16" fmla="*/ 437030 w 622117"/>
                <a:gd name="connsiteY16" fmla="*/ 382690 h 420341"/>
                <a:gd name="connsiteX17" fmla="*/ 444645 w 622117"/>
                <a:gd name="connsiteY17" fmla="*/ 380885 h 420341"/>
                <a:gd name="connsiteX18" fmla="*/ 491339 w 622117"/>
                <a:gd name="connsiteY18" fmla="*/ 333527 h 420341"/>
                <a:gd name="connsiteX19" fmla="*/ 528362 w 622117"/>
                <a:gd name="connsiteY19" fmla="*/ 108054 h 420341"/>
                <a:gd name="connsiteX20" fmla="*/ 593332 w 622117"/>
                <a:gd name="connsiteY20" fmla="*/ 24331 h 420341"/>
                <a:gd name="connsiteX21" fmla="*/ 580031 w 622117"/>
                <a:gd name="connsiteY21" fmla="*/ 39536 h 420341"/>
                <a:gd name="connsiteX22" fmla="*/ 525455 w 622117"/>
                <a:gd name="connsiteY22" fmla="*/ 215770 h 420341"/>
                <a:gd name="connsiteX23" fmla="*/ 546295 w 622117"/>
                <a:gd name="connsiteY23" fmla="*/ 207522 h 420341"/>
                <a:gd name="connsiteX24" fmla="*/ 590083 w 622117"/>
                <a:gd name="connsiteY24" fmla="*/ 171383 h 420341"/>
                <a:gd name="connsiteX25" fmla="*/ 609717 w 622117"/>
                <a:gd name="connsiteY25" fmla="*/ 190299 h 420341"/>
                <a:gd name="connsiteX26" fmla="*/ 587481 w 622117"/>
                <a:gd name="connsiteY26" fmla="*/ 352167 h 420341"/>
                <a:gd name="connsiteX27" fmla="*/ 515873 w 622117"/>
                <a:gd name="connsiteY27" fmla="*/ 418817 h 420341"/>
                <a:gd name="connsiteX28" fmla="*/ 500642 w 622117"/>
                <a:gd name="connsiteY28" fmla="*/ 417313 h 420341"/>
                <a:gd name="connsiteX29" fmla="*/ 492024 w 622117"/>
                <a:gd name="connsiteY29" fmla="*/ 355990 h 420341"/>
                <a:gd name="connsiteX30" fmla="*/ 489207 w 622117"/>
                <a:gd name="connsiteY30" fmla="*/ 354085 h 420341"/>
                <a:gd name="connsiteX31" fmla="*/ 416862 w 622117"/>
                <a:gd name="connsiteY31" fmla="*/ 419958 h 420341"/>
                <a:gd name="connsiteX32" fmla="*/ 408397 w 622117"/>
                <a:gd name="connsiteY32" fmla="*/ 418015 h 420341"/>
                <a:gd name="connsiteX33" fmla="*/ 398345 w 622117"/>
                <a:gd name="connsiteY33" fmla="*/ 380409 h 420341"/>
                <a:gd name="connsiteX34" fmla="*/ 344175 w 622117"/>
                <a:gd name="connsiteY34" fmla="*/ 420221 h 420341"/>
                <a:gd name="connsiteX35" fmla="*/ 325493 w 622117"/>
                <a:gd name="connsiteY35" fmla="*/ 399989 h 420341"/>
                <a:gd name="connsiteX36" fmla="*/ 310719 w 622117"/>
                <a:gd name="connsiteY36" fmla="*/ 359011 h 420341"/>
                <a:gd name="connsiteX37" fmla="*/ 242182 w 622117"/>
                <a:gd name="connsiteY37" fmla="*/ 419306 h 420341"/>
                <a:gd name="connsiteX38" fmla="*/ 228221 w 622117"/>
                <a:gd name="connsiteY38" fmla="*/ 408852 h 420341"/>
                <a:gd name="connsiteX39" fmla="*/ 220047 w 622117"/>
                <a:gd name="connsiteY39" fmla="*/ 358222 h 420341"/>
                <a:gd name="connsiteX40" fmla="*/ 216240 w 622117"/>
                <a:gd name="connsiteY40" fmla="*/ 359124 h 420341"/>
                <a:gd name="connsiteX41" fmla="*/ 149607 w 622117"/>
                <a:gd name="connsiteY41" fmla="*/ 419406 h 420341"/>
                <a:gd name="connsiteX42" fmla="*/ 136470 w 622117"/>
                <a:gd name="connsiteY42" fmla="*/ 410857 h 420341"/>
                <a:gd name="connsiteX43" fmla="*/ 127586 w 622117"/>
                <a:gd name="connsiteY43" fmla="*/ 346138 h 420341"/>
                <a:gd name="connsiteX44" fmla="*/ 123778 w 622117"/>
                <a:gd name="connsiteY44" fmla="*/ 346138 h 420341"/>
                <a:gd name="connsiteX45" fmla="*/ 29616 w 622117"/>
                <a:gd name="connsiteY45" fmla="*/ 420234 h 420341"/>
                <a:gd name="connsiteX46" fmla="*/ 19298 w 622117"/>
                <a:gd name="connsiteY46" fmla="*/ 412637 h 420341"/>
                <a:gd name="connsiteX47" fmla="*/ 41090 w 622117"/>
                <a:gd name="connsiteY47" fmla="*/ 197368 h 420341"/>
                <a:gd name="connsiteX48" fmla="*/ 83177 w 622117"/>
                <a:gd name="connsiteY48" fmla="*/ 178766 h 420341"/>
                <a:gd name="connsiteX49" fmla="*/ 102367 w 622117"/>
                <a:gd name="connsiteY49" fmla="*/ 208224 h 420341"/>
                <a:gd name="connsiteX50" fmla="*/ 102100 w 622117"/>
                <a:gd name="connsiteY50" fmla="*/ 239136 h 420341"/>
                <a:gd name="connsiteX51" fmla="*/ 36368 w 622117"/>
                <a:gd name="connsiteY51" fmla="*/ 299443 h 420341"/>
                <a:gd name="connsiteX52" fmla="*/ 46167 w 622117"/>
                <a:gd name="connsiteY52" fmla="*/ 383831 h 420341"/>
                <a:gd name="connsiteX53" fmla="*/ 58592 w 622117"/>
                <a:gd name="connsiteY53" fmla="*/ 385649 h 420341"/>
                <a:gd name="connsiteX54" fmla="*/ 60331 w 622117"/>
                <a:gd name="connsiteY54" fmla="*/ 383969 h 420341"/>
                <a:gd name="connsiteX55" fmla="*/ 127954 w 622117"/>
                <a:gd name="connsiteY55" fmla="*/ 320866 h 420341"/>
                <a:gd name="connsiteX56" fmla="*/ 202291 w 622117"/>
                <a:gd name="connsiteY56" fmla="*/ 37681 h 420341"/>
                <a:gd name="connsiteX57" fmla="*/ 243007 w 622117"/>
                <a:gd name="connsiteY57" fmla="*/ 0 h 420341"/>
                <a:gd name="connsiteX58" fmla="*/ 244974 w 622117"/>
                <a:gd name="connsiteY58" fmla="*/ 4024 h 420341"/>
                <a:gd name="connsiteX59" fmla="*/ 244162 w 622117"/>
                <a:gd name="connsiteY59" fmla="*/ 5265 h 420341"/>
                <a:gd name="connsiteX60" fmla="*/ 77224 w 622117"/>
                <a:gd name="connsiteY60" fmla="*/ 185510 h 420341"/>
                <a:gd name="connsiteX61" fmla="*/ 63936 w 622117"/>
                <a:gd name="connsiteY61" fmla="*/ 193821 h 420341"/>
                <a:gd name="connsiteX62" fmla="*/ 39516 w 622117"/>
                <a:gd name="connsiteY62" fmla="*/ 281656 h 420341"/>
                <a:gd name="connsiteX63" fmla="*/ 80448 w 622117"/>
                <a:gd name="connsiteY63" fmla="*/ 246419 h 420341"/>
                <a:gd name="connsiteX64" fmla="*/ 86553 w 622117"/>
                <a:gd name="connsiteY64" fmla="*/ 197770 h 420341"/>
                <a:gd name="connsiteX65" fmla="*/ 77224 w 622117"/>
                <a:gd name="connsiteY65" fmla="*/ 185510 h 420341"/>
                <a:gd name="connsiteX66" fmla="*/ 415111 w 622117"/>
                <a:gd name="connsiteY66" fmla="*/ 203536 h 420341"/>
                <a:gd name="connsiteX67" fmla="*/ 378215 w 622117"/>
                <a:gd name="connsiteY67" fmla="*/ 212574 h 420341"/>
                <a:gd name="connsiteX68" fmla="*/ 346891 w 622117"/>
                <a:gd name="connsiteY68" fmla="*/ 331271 h 420341"/>
                <a:gd name="connsiteX69" fmla="*/ 360611 w 622117"/>
                <a:gd name="connsiteY69" fmla="*/ 381976 h 420341"/>
                <a:gd name="connsiteX70" fmla="*/ 395730 w 622117"/>
                <a:gd name="connsiteY70" fmla="*/ 361681 h 420341"/>
                <a:gd name="connsiteX71" fmla="*/ 416037 w 622117"/>
                <a:gd name="connsiteY71" fmla="*/ 208224 h 420341"/>
                <a:gd name="connsiteX72" fmla="*/ 566146 w 622117"/>
                <a:gd name="connsiteY72" fmla="*/ 207698 h 420341"/>
                <a:gd name="connsiteX73" fmla="*/ 530887 w 622117"/>
                <a:gd name="connsiteY73" fmla="*/ 242997 h 420341"/>
                <a:gd name="connsiteX74" fmla="*/ 529618 w 622117"/>
                <a:gd name="connsiteY74" fmla="*/ 378792 h 420341"/>
                <a:gd name="connsiteX75" fmla="*/ 533324 w 622117"/>
                <a:gd name="connsiteY75" fmla="*/ 388219 h 420341"/>
                <a:gd name="connsiteX76" fmla="*/ 558899 w 622117"/>
                <a:gd name="connsiteY76" fmla="*/ 370995 h 420341"/>
                <a:gd name="connsiteX77" fmla="*/ 581871 w 622117"/>
                <a:gd name="connsiteY77" fmla="*/ 223730 h 420341"/>
                <a:gd name="connsiteX78" fmla="*/ 566158 w 622117"/>
                <a:gd name="connsiteY78" fmla="*/ 207710 h 420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117" h="420341">
                  <a:moveTo>
                    <a:pt x="244162" y="5265"/>
                  </a:moveTo>
                  <a:cubicBezTo>
                    <a:pt x="206086" y="28342"/>
                    <a:pt x="203801" y="76089"/>
                    <a:pt x="190234" y="115337"/>
                  </a:cubicBezTo>
                  <a:cubicBezTo>
                    <a:pt x="169685" y="194774"/>
                    <a:pt x="154696" y="286444"/>
                    <a:pt x="166119" y="372750"/>
                  </a:cubicBezTo>
                  <a:cubicBezTo>
                    <a:pt x="167666" y="376363"/>
                    <a:pt x="170752" y="379115"/>
                    <a:pt x="174546" y="380271"/>
                  </a:cubicBezTo>
                  <a:cubicBezTo>
                    <a:pt x="191170" y="369352"/>
                    <a:pt x="206217" y="356253"/>
                    <a:pt x="219273" y="341336"/>
                  </a:cubicBezTo>
                  <a:cubicBezTo>
                    <a:pt x="227904" y="228092"/>
                    <a:pt x="248807" y="118709"/>
                    <a:pt x="302545" y="23617"/>
                  </a:cubicBezTo>
                  <a:cubicBezTo>
                    <a:pt x="309823" y="12451"/>
                    <a:pt x="320916" y="4236"/>
                    <a:pt x="333806" y="464"/>
                  </a:cubicBezTo>
                  <a:cubicBezTo>
                    <a:pt x="336636" y="464"/>
                    <a:pt x="337613" y="5165"/>
                    <a:pt x="335633" y="7032"/>
                  </a:cubicBezTo>
                  <a:cubicBezTo>
                    <a:pt x="316443" y="13977"/>
                    <a:pt x="309780" y="30298"/>
                    <a:pt x="302964" y="48950"/>
                  </a:cubicBezTo>
                  <a:cubicBezTo>
                    <a:pt x="299197" y="58697"/>
                    <a:pt x="296018" y="68655"/>
                    <a:pt x="293445" y="78772"/>
                  </a:cubicBezTo>
                  <a:cubicBezTo>
                    <a:pt x="267185" y="170380"/>
                    <a:pt x="246358" y="270399"/>
                    <a:pt x="257717" y="371697"/>
                  </a:cubicBezTo>
                  <a:cubicBezTo>
                    <a:pt x="259570" y="376398"/>
                    <a:pt x="264241" y="382064"/>
                    <a:pt x="269927" y="380221"/>
                  </a:cubicBezTo>
                  <a:cubicBezTo>
                    <a:pt x="285184" y="369996"/>
                    <a:pt x="298419" y="357102"/>
                    <a:pt x="308980" y="342176"/>
                  </a:cubicBezTo>
                  <a:cubicBezTo>
                    <a:pt x="303214" y="285875"/>
                    <a:pt x="329984" y="231155"/>
                    <a:pt x="378228" y="200628"/>
                  </a:cubicBezTo>
                  <a:cubicBezTo>
                    <a:pt x="399780" y="188729"/>
                    <a:pt x="425822" y="187833"/>
                    <a:pt x="448161" y="198221"/>
                  </a:cubicBezTo>
                  <a:cubicBezTo>
                    <a:pt x="436742" y="251477"/>
                    <a:pt x="430553" y="305697"/>
                    <a:pt x="429681" y="360127"/>
                  </a:cubicBezTo>
                  <a:cubicBezTo>
                    <a:pt x="430316" y="366633"/>
                    <a:pt x="429529" y="377915"/>
                    <a:pt x="437030" y="382690"/>
                  </a:cubicBezTo>
                  <a:lnTo>
                    <a:pt x="444645" y="380885"/>
                  </a:lnTo>
                  <a:lnTo>
                    <a:pt x="491339" y="333527"/>
                  </a:lnTo>
                  <a:cubicBezTo>
                    <a:pt x="498793" y="257666"/>
                    <a:pt x="511159" y="182354"/>
                    <a:pt x="528362" y="108054"/>
                  </a:cubicBezTo>
                  <a:cubicBezTo>
                    <a:pt x="539048" y="74435"/>
                    <a:pt x="563899" y="27954"/>
                    <a:pt x="593332" y="24331"/>
                  </a:cubicBezTo>
                  <a:cubicBezTo>
                    <a:pt x="604171" y="33808"/>
                    <a:pt x="592228" y="28092"/>
                    <a:pt x="580031" y="39536"/>
                  </a:cubicBezTo>
                  <a:cubicBezTo>
                    <a:pt x="544722" y="77957"/>
                    <a:pt x="531725" y="152116"/>
                    <a:pt x="525455" y="215770"/>
                  </a:cubicBezTo>
                  <a:cubicBezTo>
                    <a:pt x="532702" y="217738"/>
                    <a:pt x="534073" y="216911"/>
                    <a:pt x="546295" y="207522"/>
                  </a:cubicBezTo>
                  <a:lnTo>
                    <a:pt x="590083" y="171383"/>
                  </a:lnTo>
                  <a:cubicBezTo>
                    <a:pt x="600465" y="170530"/>
                    <a:pt x="606011" y="182765"/>
                    <a:pt x="609717" y="190299"/>
                  </a:cubicBezTo>
                  <a:cubicBezTo>
                    <a:pt x="632199" y="244293"/>
                    <a:pt x="623715" y="306041"/>
                    <a:pt x="587481" y="352167"/>
                  </a:cubicBezTo>
                  <a:cubicBezTo>
                    <a:pt x="569051" y="379470"/>
                    <a:pt x="544562" y="402266"/>
                    <a:pt x="515873" y="418817"/>
                  </a:cubicBezTo>
                  <a:cubicBezTo>
                    <a:pt x="504450" y="422578"/>
                    <a:pt x="501378" y="418002"/>
                    <a:pt x="500642" y="417313"/>
                  </a:cubicBezTo>
                  <a:cubicBezTo>
                    <a:pt x="492227" y="406833"/>
                    <a:pt x="493712" y="378454"/>
                    <a:pt x="492024" y="355990"/>
                  </a:cubicBezTo>
                  <a:lnTo>
                    <a:pt x="489207" y="354085"/>
                  </a:lnTo>
                  <a:lnTo>
                    <a:pt x="416862" y="419958"/>
                  </a:lnTo>
                  <a:cubicBezTo>
                    <a:pt x="414984" y="419958"/>
                    <a:pt x="410059" y="421211"/>
                    <a:pt x="408397" y="418015"/>
                  </a:cubicBezTo>
                  <a:cubicBezTo>
                    <a:pt x="402772" y="406183"/>
                    <a:pt x="399365" y="393442"/>
                    <a:pt x="398345" y="380409"/>
                  </a:cubicBezTo>
                  <a:cubicBezTo>
                    <a:pt x="379307" y="391490"/>
                    <a:pt x="363150" y="409140"/>
                    <a:pt x="344175" y="420221"/>
                  </a:cubicBezTo>
                  <a:cubicBezTo>
                    <a:pt x="333768" y="421061"/>
                    <a:pt x="329084" y="408438"/>
                    <a:pt x="325493" y="399989"/>
                  </a:cubicBezTo>
                  <a:cubicBezTo>
                    <a:pt x="317357" y="379419"/>
                    <a:pt x="316608" y="374655"/>
                    <a:pt x="310719" y="359011"/>
                  </a:cubicBezTo>
                  <a:lnTo>
                    <a:pt x="242182" y="419306"/>
                  </a:lnTo>
                  <a:cubicBezTo>
                    <a:pt x="234567" y="423067"/>
                    <a:pt x="230176" y="414844"/>
                    <a:pt x="228221" y="408852"/>
                  </a:cubicBezTo>
                  <a:cubicBezTo>
                    <a:pt x="224377" y="392170"/>
                    <a:pt x="221646" y="375257"/>
                    <a:pt x="220047" y="358222"/>
                  </a:cubicBezTo>
                  <a:lnTo>
                    <a:pt x="216240" y="359124"/>
                  </a:lnTo>
                  <a:lnTo>
                    <a:pt x="149607" y="419406"/>
                  </a:lnTo>
                  <a:cubicBezTo>
                    <a:pt x="142550" y="421512"/>
                    <a:pt x="139986" y="418755"/>
                    <a:pt x="136470" y="410857"/>
                  </a:cubicBezTo>
                  <a:cubicBezTo>
                    <a:pt x="130416" y="397269"/>
                    <a:pt x="130696" y="366883"/>
                    <a:pt x="127586" y="346138"/>
                  </a:cubicBezTo>
                  <a:lnTo>
                    <a:pt x="123778" y="346138"/>
                  </a:lnTo>
                  <a:cubicBezTo>
                    <a:pt x="92404" y="370193"/>
                    <a:pt x="64722" y="401807"/>
                    <a:pt x="29616" y="420234"/>
                  </a:cubicBezTo>
                  <a:cubicBezTo>
                    <a:pt x="24895" y="421111"/>
                    <a:pt x="21151" y="416473"/>
                    <a:pt x="19298" y="412637"/>
                  </a:cubicBezTo>
                  <a:cubicBezTo>
                    <a:pt x="-11265" y="346777"/>
                    <a:pt x="-6619" y="252185"/>
                    <a:pt x="41090" y="197368"/>
                  </a:cubicBezTo>
                  <a:cubicBezTo>
                    <a:pt x="46839" y="191301"/>
                    <a:pt x="63859" y="170593"/>
                    <a:pt x="83177" y="178766"/>
                  </a:cubicBezTo>
                  <a:cubicBezTo>
                    <a:pt x="94066" y="182527"/>
                    <a:pt x="99169" y="191163"/>
                    <a:pt x="102367" y="208224"/>
                  </a:cubicBezTo>
                  <a:cubicBezTo>
                    <a:pt x="105644" y="218289"/>
                    <a:pt x="105550" y="229128"/>
                    <a:pt x="102100" y="239136"/>
                  </a:cubicBezTo>
                  <a:lnTo>
                    <a:pt x="36368" y="299443"/>
                  </a:lnTo>
                  <a:cubicBezTo>
                    <a:pt x="31891" y="327931"/>
                    <a:pt x="35276" y="357085"/>
                    <a:pt x="46167" y="383831"/>
                  </a:cubicBezTo>
                  <a:cubicBezTo>
                    <a:pt x="49091" y="387721"/>
                    <a:pt x="54653" y="388534"/>
                    <a:pt x="58592" y="385649"/>
                  </a:cubicBezTo>
                  <a:cubicBezTo>
                    <a:pt x="59251" y="385174"/>
                    <a:pt x="59836" y="384608"/>
                    <a:pt x="60331" y="383969"/>
                  </a:cubicBezTo>
                  <a:lnTo>
                    <a:pt x="127954" y="320866"/>
                  </a:lnTo>
                  <a:cubicBezTo>
                    <a:pt x="138298" y="220734"/>
                    <a:pt x="157146" y="123460"/>
                    <a:pt x="202291" y="37681"/>
                  </a:cubicBezTo>
                  <a:cubicBezTo>
                    <a:pt x="207634" y="27791"/>
                    <a:pt x="225365" y="752"/>
                    <a:pt x="243007" y="0"/>
                  </a:cubicBezTo>
                  <a:cubicBezTo>
                    <a:pt x="244671" y="580"/>
                    <a:pt x="245549" y="2377"/>
                    <a:pt x="244974" y="4024"/>
                  </a:cubicBezTo>
                  <a:cubicBezTo>
                    <a:pt x="244800" y="4491"/>
                    <a:pt x="244523" y="4916"/>
                    <a:pt x="244162" y="5265"/>
                  </a:cubicBezTo>
                  <a:close/>
                  <a:moveTo>
                    <a:pt x="77224" y="185510"/>
                  </a:moveTo>
                  <a:cubicBezTo>
                    <a:pt x="72275" y="187374"/>
                    <a:pt x="67757" y="190199"/>
                    <a:pt x="63936" y="193821"/>
                  </a:cubicBezTo>
                  <a:cubicBezTo>
                    <a:pt x="49883" y="221174"/>
                    <a:pt x="41576" y="251051"/>
                    <a:pt x="39516" y="281656"/>
                  </a:cubicBezTo>
                  <a:cubicBezTo>
                    <a:pt x="54645" y="269747"/>
                    <a:pt x="68060" y="257563"/>
                    <a:pt x="80448" y="246419"/>
                  </a:cubicBezTo>
                  <a:lnTo>
                    <a:pt x="86553" y="197770"/>
                  </a:lnTo>
                  <a:cubicBezTo>
                    <a:pt x="89459" y="190311"/>
                    <a:pt x="84776" y="185585"/>
                    <a:pt x="77224" y="185510"/>
                  </a:cubicBezTo>
                  <a:close/>
                  <a:moveTo>
                    <a:pt x="415111" y="203536"/>
                  </a:moveTo>
                  <a:cubicBezTo>
                    <a:pt x="401949" y="195927"/>
                    <a:pt x="388711" y="202746"/>
                    <a:pt x="378215" y="212574"/>
                  </a:cubicBezTo>
                  <a:cubicBezTo>
                    <a:pt x="347754" y="241405"/>
                    <a:pt x="343502" y="289039"/>
                    <a:pt x="346891" y="331271"/>
                  </a:cubicBezTo>
                  <a:cubicBezTo>
                    <a:pt x="346891" y="335307"/>
                    <a:pt x="349125" y="369503"/>
                    <a:pt x="360611" y="381976"/>
                  </a:cubicBezTo>
                  <a:cubicBezTo>
                    <a:pt x="374915" y="383229"/>
                    <a:pt x="386211" y="370030"/>
                    <a:pt x="395730" y="361681"/>
                  </a:cubicBezTo>
                  <a:cubicBezTo>
                    <a:pt x="400921" y="310211"/>
                    <a:pt x="407039" y="258741"/>
                    <a:pt x="416037" y="208224"/>
                  </a:cubicBezTo>
                  <a:close/>
                  <a:moveTo>
                    <a:pt x="566146" y="207698"/>
                  </a:moveTo>
                  <a:cubicBezTo>
                    <a:pt x="549725" y="213795"/>
                    <a:pt x="536837" y="226697"/>
                    <a:pt x="530887" y="242997"/>
                  </a:cubicBezTo>
                  <a:cubicBezTo>
                    <a:pt x="520125" y="285993"/>
                    <a:pt x="527207" y="334768"/>
                    <a:pt x="529618" y="378792"/>
                  </a:cubicBezTo>
                  <a:lnTo>
                    <a:pt x="533324" y="388219"/>
                  </a:lnTo>
                  <a:cubicBezTo>
                    <a:pt x="542615" y="387893"/>
                    <a:pt x="553784" y="376937"/>
                    <a:pt x="558899" y="370995"/>
                  </a:cubicBezTo>
                  <a:cubicBezTo>
                    <a:pt x="596556" y="329628"/>
                    <a:pt x="589969" y="272518"/>
                    <a:pt x="581871" y="223730"/>
                  </a:cubicBezTo>
                  <a:cubicBezTo>
                    <a:pt x="581224" y="219970"/>
                    <a:pt x="579333" y="203749"/>
                    <a:pt x="566158" y="207710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77BCAF7B-78EE-9B40-B6D2-5D40D1E9E471}"/>
                </a:ext>
              </a:extLst>
            </p:cNvPr>
            <p:cNvSpPr/>
            <p:nvPr/>
          </p:nvSpPr>
          <p:spPr>
            <a:xfrm>
              <a:off x="7944028" y="412486"/>
              <a:ext cx="622096" cy="420416"/>
            </a:xfrm>
            <a:custGeom>
              <a:avLst/>
              <a:gdLst>
                <a:gd name="connsiteX0" fmla="*/ 244048 w 622096"/>
                <a:gd name="connsiteY0" fmla="*/ 5277 h 420416"/>
                <a:gd name="connsiteX1" fmla="*/ 190170 w 622096"/>
                <a:gd name="connsiteY1" fmla="*/ 115337 h 420416"/>
                <a:gd name="connsiteX2" fmla="*/ 166055 w 622096"/>
                <a:gd name="connsiteY2" fmla="*/ 372775 h 420416"/>
                <a:gd name="connsiteX3" fmla="*/ 174496 w 622096"/>
                <a:gd name="connsiteY3" fmla="*/ 380296 h 420416"/>
                <a:gd name="connsiteX4" fmla="*/ 219273 w 622096"/>
                <a:gd name="connsiteY4" fmla="*/ 341437 h 420416"/>
                <a:gd name="connsiteX5" fmla="*/ 302545 w 622096"/>
                <a:gd name="connsiteY5" fmla="*/ 23667 h 420416"/>
                <a:gd name="connsiteX6" fmla="*/ 333806 w 622096"/>
                <a:gd name="connsiteY6" fmla="*/ 514 h 420416"/>
                <a:gd name="connsiteX7" fmla="*/ 335633 w 622096"/>
                <a:gd name="connsiteY7" fmla="*/ 7095 h 420416"/>
                <a:gd name="connsiteX8" fmla="*/ 302964 w 622096"/>
                <a:gd name="connsiteY8" fmla="*/ 49013 h 420416"/>
                <a:gd name="connsiteX9" fmla="*/ 293445 w 622096"/>
                <a:gd name="connsiteY9" fmla="*/ 78835 h 420416"/>
                <a:gd name="connsiteX10" fmla="*/ 257717 w 622096"/>
                <a:gd name="connsiteY10" fmla="*/ 371772 h 420416"/>
                <a:gd name="connsiteX11" fmla="*/ 269927 w 622096"/>
                <a:gd name="connsiteY11" fmla="*/ 380296 h 420416"/>
                <a:gd name="connsiteX12" fmla="*/ 308980 w 622096"/>
                <a:gd name="connsiteY12" fmla="*/ 342239 h 420416"/>
                <a:gd name="connsiteX13" fmla="*/ 378228 w 622096"/>
                <a:gd name="connsiteY13" fmla="*/ 200690 h 420416"/>
                <a:gd name="connsiteX14" fmla="*/ 448161 w 622096"/>
                <a:gd name="connsiteY14" fmla="*/ 198284 h 420416"/>
                <a:gd name="connsiteX15" fmla="*/ 429681 w 622096"/>
                <a:gd name="connsiteY15" fmla="*/ 360202 h 420416"/>
                <a:gd name="connsiteX16" fmla="*/ 437030 w 622096"/>
                <a:gd name="connsiteY16" fmla="*/ 382766 h 420416"/>
                <a:gd name="connsiteX17" fmla="*/ 444645 w 622096"/>
                <a:gd name="connsiteY17" fmla="*/ 380961 h 420416"/>
                <a:gd name="connsiteX18" fmla="*/ 491339 w 622096"/>
                <a:gd name="connsiteY18" fmla="*/ 333590 h 420416"/>
                <a:gd name="connsiteX19" fmla="*/ 528362 w 622096"/>
                <a:gd name="connsiteY19" fmla="*/ 108092 h 420416"/>
                <a:gd name="connsiteX20" fmla="*/ 593332 w 622096"/>
                <a:gd name="connsiteY20" fmla="*/ 24369 h 420416"/>
                <a:gd name="connsiteX21" fmla="*/ 580031 w 622096"/>
                <a:gd name="connsiteY21" fmla="*/ 39574 h 420416"/>
                <a:gd name="connsiteX22" fmla="*/ 525455 w 622096"/>
                <a:gd name="connsiteY22" fmla="*/ 215808 h 420416"/>
                <a:gd name="connsiteX23" fmla="*/ 546295 w 622096"/>
                <a:gd name="connsiteY23" fmla="*/ 207560 h 420416"/>
                <a:gd name="connsiteX24" fmla="*/ 590083 w 622096"/>
                <a:gd name="connsiteY24" fmla="*/ 171420 h 420416"/>
                <a:gd name="connsiteX25" fmla="*/ 609717 w 622096"/>
                <a:gd name="connsiteY25" fmla="*/ 190324 h 420416"/>
                <a:gd name="connsiteX26" fmla="*/ 587443 w 622096"/>
                <a:gd name="connsiteY26" fmla="*/ 352167 h 420416"/>
                <a:gd name="connsiteX27" fmla="*/ 515835 w 622096"/>
                <a:gd name="connsiteY27" fmla="*/ 418842 h 420416"/>
                <a:gd name="connsiteX28" fmla="*/ 500604 w 622096"/>
                <a:gd name="connsiteY28" fmla="*/ 417338 h 420416"/>
                <a:gd name="connsiteX29" fmla="*/ 491986 w 622096"/>
                <a:gd name="connsiteY29" fmla="*/ 356003 h 420416"/>
                <a:gd name="connsiteX30" fmla="*/ 489169 w 622096"/>
                <a:gd name="connsiteY30" fmla="*/ 354097 h 420416"/>
                <a:gd name="connsiteX31" fmla="*/ 416824 w 622096"/>
                <a:gd name="connsiteY31" fmla="*/ 419983 h 420416"/>
                <a:gd name="connsiteX32" fmla="*/ 408359 w 622096"/>
                <a:gd name="connsiteY32" fmla="*/ 418040 h 420416"/>
                <a:gd name="connsiteX33" fmla="*/ 398307 w 622096"/>
                <a:gd name="connsiteY33" fmla="*/ 380434 h 420416"/>
                <a:gd name="connsiteX34" fmla="*/ 344137 w 622096"/>
                <a:gd name="connsiteY34" fmla="*/ 420246 h 420416"/>
                <a:gd name="connsiteX35" fmla="*/ 325454 w 622096"/>
                <a:gd name="connsiteY35" fmla="*/ 400014 h 420416"/>
                <a:gd name="connsiteX36" fmla="*/ 310681 w 622096"/>
                <a:gd name="connsiteY36" fmla="*/ 359036 h 420416"/>
                <a:gd name="connsiteX37" fmla="*/ 242144 w 622096"/>
                <a:gd name="connsiteY37" fmla="*/ 419331 h 420416"/>
                <a:gd name="connsiteX38" fmla="*/ 228183 w 622096"/>
                <a:gd name="connsiteY38" fmla="*/ 408864 h 420416"/>
                <a:gd name="connsiteX39" fmla="*/ 220009 w 622096"/>
                <a:gd name="connsiteY39" fmla="*/ 358222 h 420416"/>
                <a:gd name="connsiteX40" fmla="*/ 216202 w 622096"/>
                <a:gd name="connsiteY40" fmla="*/ 359149 h 420416"/>
                <a:gd name="connsiteX41" fmla="*/ 149607 w 622096"/>
                <a:gd name="connsiteY41" fmla="*/ 419469 h 420416"/>
                <a:gd name="connsiteX42" fmla="*/ 136470 w 622096"/>
                <a:gd name="connsiteY42" fmla="*/ 410920 h 420416"/>
                <a:gd name="connsiteX43" fmla="*/ 127586 w 622096"/>
                <a:gd name="connsiteY43" fmla="*/ 346188 h 420416"/>
                <a:gd name="connsiteX44" fmla="*/ 123778 w 622096"/>
                <a:gd name="connsiteY44" fmla="*/ 346188 h 420416"/>
                <a:gd name="connsiteX45" fmla="*/ 29616 w 622096"/>
                <a:gd name="connsiteY45" fmla="*/ 420309 h 420416"/>
                <a:gd name="connsiteX46" fmla="*/ 19298 w 622096"/>
                <a:gd name="connsiteY46" fmla="*/ 412713 h 420416"/>
                <a:gd name="connsiteX47" fmla="*/ 41090 w 622096"/>
                <a:gd name="connsiteY47" fmla="*/ 197431 h 420416"/>
                <a:gd name="connsiteX48" fmla="*/ 83177 w 622096"/>
                <a:gd name="connsiteY48" fmla="*/ 178829 h 420416"/>
                <a:gd name="connsiteX49" fmla="*/ 102380 w 622096"/>
                <a:gd name="connsiteY49" fmla="*/ 208287 h 420416"/>
                <a:gd name="connsiteX50" fmla="*/ 102100 w 622096"/>
                <a:gd name="connsiteY50" fmla="*/ 239199 h 420416"/>
                <a:gd name="connsiteX51" fmla="*/ 36368 w 622096"/>
                <a:gd name="connsiteY51" fmla="*/ 299506 h 420416"/>
                <a:gd name="connsiteX52" fmla="*/ 46002 w 622096"/>
                <a:gd name="connsiteY52" fmla="*/ 383906 h 420416"/>
                <a:gd name="connsiteX53" fmla="*/ 58427 w 622096"/>
                <a:gd name="connsiteY53" fmla="*/ 385724 h 420416"/>
                <a:gd name="connsiteX54" fmla="*/ 60166 w 622096"/>
                <a:gd name="connsiteY54" fmla="*/ 384044 h 420416"/>
                <a:gd name="connsiteX55" fmla="*/ 127891 w 622096"/>
                <a:gd name="connsiteY55" fmla="*/ 320866 h 420416"/>
                <a:gd name="connsiteX56" fmla="*/ 202240 w 622096"/>
                <a:gd name="connsiteY56" fmla="*/ 37681 h 420416"/>
                <a:gd name="connsiteX57" fmla="*/ 242956 w 622096"/>
                <a:gd name="connsiteY57" fmla="*/ 0 h 420416"/>
                <a:gd name="connsiteX58" fmla="*/ 244860 w 622096"/>
                <a:gd name="connsiteY58" fmla="*/ 4049 h 420416"/>
                <a:gd name="connsiteX59" fmla="*/ 244048 w 622096"/>
                <a:gd name="connsiteY59" fmla="*/ 5277 h 420416"/>
                <a:gd name="connsiteX60" fmla="*/ 77123 w 622096"/>
                <a:gd name="connsiteY60" fmla="*/ 185523 h 420416"/>
                <a:gd name="connsiteX61" fmla="*/ 63834 w 622096"/>
                <a:gd name="connsiteY61" fmla="*/ 193833 h 420416"/>
                <a:gd name="connsiteX62" fmla="*/ 39415 w 622096"/>
                <a:gd name="connsiteY62" fmla="*/ 281681 h 420416"/>
                <a:gd name="connsiteX63" fmla="*/ 80346 w 622096"/>
                <a:gd name="connsiteY63" fmla="*/ 246444 h 420416"/>
                <a:gd name="connsiteX64" fmla="*/ 86451 w 622096"/>
                <a:gd name="connsiteY64" fmla="*/ 197795 h 420416"/>
                <a:gd name="connsiteX65" fmla="*/ 77123 w 622096"/>
                <a:gd name="connsiteY65" fmla="*/ 185523 h 420416"/>
                <a:gd name="connsiteX66" fmla="*/ 415022 w 622096"/>
                <a:gd name="connsiteY66" fmla="*/ 203548 h 420416"/>
                <a:gd name="connsiteX67" fmla="*/ 378126 w 622096"/>
                <a:gd name="connsiteY67" fmla="*/ 212574 h 420416"/>
                <a:gd name="connsiteX68" fmla="*/ 346815 w 622096"/>
                <a:gd name="connsiteY68" fmla="*/ 331283 h 420416"/>
                <a:gd name="connsiteX69" fmla="*/ 360522 w 622096"/>
                <a:gd name="connsiteY69" fmla="*/ 382001 h 420416"/>
                <a:gd name="connsiteX70" fmla="*/ 395641 w 622096"/>
                <a:gd name="connsiteY70" fmla="*/ 361706 h 420416"/>
                <a:gd name="connsiteX71" fmla="*/ 415948 w 622096"/>
                <a:gd name="connsiteY71" fmla="*/ 208237 h 420416"/>
                <a:gd name="connsiteX72" fmla="*/ 566057 w 622096"/>
                <a:gd name="connsiteY72" fmla="*/ 207710 h 420416"/>
                <a:gd name="connsiteX73" fmla="*/ 530798 w 622096"/>
                <a:gd name="connsiteY73" fmla="*/ 243009 h 420416"/>
                <a:gd name="connsiteX74" fmla="*/ 529529 w 622096"/>
                <a:gd name="connsiteY74" fmla="*/ 378817 h 420416"/>
                <a:gd name="connsiteX75" fmla="*/ 533235 w 622096"/>
                <a:gd name="connsiteY75" fmla="*/ 388244 h 420416"/>
                <a:gd name="connsiteX76" fmla="*/ 558810 w 622096"/>
                <a:gd name="connsiteY76" fmla="*/ 371020 h 420416"/>
                <a:gd name="connsiteX77" fmla="*/ 581795 w 622096"/>
                <a:gd name="connsiteY77" fmla="*/ 223743 h 420416"/>
                <a:gd name="connsiteX78" fmla="*/ 566095 w 622096"/>
                <a:gd name="connsiteY78" fmla="*/ 207710 h 42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096" h="420416">
                  <a:moveTo>
                    <a:pt x="244048" y="5277"/>
                  </a:moveTo>
                  <a:cubicBezTo>
                    <a:pt x="206061" y="28355"/>
                    <a:pt x="203738" y="76114"/>
                    <a:pt x="190170" y="115337"/>
                  </a:cubicBezTo>
                  <a:cubicBezTo>
                    <a:pt x="169609" y="194786"/>
                    <a:pt x="154633" y="286457"/>
                    <a:pt x="166055" y="372775"/>
                  </a:cubicBezTo>
                  <a:cubicBezTo>
                    <a:pt x="167605" y="376390"/>
                    <a:pt x="170696" y="379144"/>
                    <a:pt x="174496" y="380296"/>
                  </a:cubicBezTo>
                  <a:cubicBezTo>
                    <a:pt x="191129" y="369398"/>
                    <a:pt x="206191" y="356326"/>
                    <a:pt x="219273" y="341437"/>
                  </a:cubicBezTo>
                  <a:cubicBezTo>
                    <a:pt x="227853" y="228143"/>
                    <a:pt x="248757" y="118760"/>
                    <a:pt x="302545" y="23667"/>
                  </a:cubicBezTo>
                  <a:cubicBezTo>
                    <a:pt x="309829" y="12508"/>
                    <a:pt x="320920" y="4295"/>
                    <a:pt x="333806" y="514"/>
                  </a:cubicBezTo>
                  <a:cubicBezTo>
                    <a:pt x="336636" y="514"/>
                    <a:pt x="337613" y="5227"/>
                    <a:pt x="335633" y="7095"/>
                  </a:cubicBezTo>
                  <a:cubicBezTo>
                    <a:pt x="316443" y="14027"/>
                    <a:pt x="309780" y="30361"/>
                    <a:pt x="302964" y="49013"/>
                  </a:cubicBezTo>
                  <a:cubicBezTo>
                    <a:pt x="299197" y="58759"/>
                    <a:pt x="296018" y="68717"/>
                    <a:pt x="293445" y="78835"/>
                  </a:cubicBezTo>
                  <a:cubicBezTo>
                    <a:pt x="267185" y="170443"/>
                    <a:pt x="246358" y="270462"/>
                    <a:pt x="257717" y="371772"/>
                  </a:cubicBezTo>
                  <a:cubicBezTo>
                    <a:pt x="259570" y="376473"/>
                    <a:pt x="264241" y="382139"/>
                    <a:pt x="269927" y="380296"/>
                  </a:cubicBezTo>
                  <a:cubicBezTo>
                    <a:pt x="285184" y="370066"/>
                    <a:pt x="298419" y="357169"/>
                    <a:pt x="308980" y="342239"/>
                  </a:cubicBezTo>
                  <a:cubicBezTo>
                    <a:pt x="303214" y="285938"/>
                    <a:pt x="329984" y="231218"/>
                    <a:pt x="378228" y="200690"/>
                  </a:cubicBezTo>
                  <a:cubicBezTo>
                    <a:pt x="399780" y="188792"/>
                    <a:pt x="425822" y="187895"/>
                    <a:pt x="448161" y="198284"/>
                  </a:cubicBezTo>
                  <a:cubicBezTo>
                    <a:pt x="436742" y="251544"/>
                    <a:pt x="430553" y="305768"/>
                    <a:pt x="429681" y="360202"/>
                  </a:cubicBezTo>
                  <a:cubicBezTo>
                    <a:pt x="430316" y="366708"/>
                    <a:pt x="429529" y="377990"/>
                    <a:pt x="437030" y="382766"/>
                  </a:cubicBezTo>
                  <a:lnTo>
                    <a:pt x="444645" y="380961"/>
                  </a:lnTo>
                  <a:lnTo>
                    <a:pt x="491339" y="333590"/>
                  </a:lnTo>
                  <a:cubicBezTo>
                    <a:pt x="498791" y="257720"/>
                    <a:pt x="511158" y="182400"/>
                    <a:pt x="528362" y="108092"/>
                  </a:cubicBezTo>
                  <a:cubicBezTo>
                    <a:pt x="539048" y="74472"/>
                    <a:pt x="563963" y="27979"/>
                    <a:pt x="593332" y="24369"/>
                  </a:cubicBezTo>
                  <a:cubicBezTo>
                    <a:pt x="604171" y="33845"/>
                    <a:pt x="592228" y="28129"/>
                    <a:pt x="580031" y="39574"/>
                  </a:cubicBezTo>
                  <a:cubicBezTo>
                    <a:pt x="544722" y="77982"/>
                    <a:pt x="531725" y="152154"/>
                    <a:pt x="525455" y="215808"/>
                  </a:cubicBezTo>
                  <a:cubicBezTo>
                    <a:pt x="532702" y="217763"/>
                    <a:pt x="534073" y="216949"/>
                    <a:pt x="546295" y="207560"/>
                  </a:cubicBezTo>
                  <a:lnTo>
                    <a:pt x="590083" y="171420"/>
                  </a:lnTo>
                  <a:cubicBezTo>
                    <a:pt x="600465" y="170568"/>
                    <a:pt x="606011" y="182802"/>
                    <a:pt x="609717" y="190324"/>
                  </a:cubicBezTo>
                  <a:cubicBezTo>
                    <a:pt x="632177" y="244318"/>
                    <a:pt x="623681" y="306053"/>
                    <a:pt x="587443" y="352167"/>
                  </a:cubicBezTo>
                  <a:cubicBezTo>
                    <a:pt x="569021" y="379484"/>
                    <a:pt x="544530" y="402288"/>
                    <a:pt x="515835" y="418842"/>
                  </a:cubicBezTo>
                  <a:cubicBezTo>
                    <a:pt x="504412" y="422603"/>
                    <a:pt x="501340" y="418027"/>
                    <a:pt x="500604" y="417338"/>
                  </a:cubicBezTo>
                  <a:cubicBezTo>
                    <a:pt x="492189" y="406846"/>
                    <a:pt x="493674" y="378479"/>
                    <a:pt x="491986" y="356003"/>
                  </a:cubicBezTo>
                  <a:lnTo>
                    <a:pt x="489169" y="354097"/>
                  </a:lnTo>
                  <a:lnTo>
                    <a:pt x="416824" y="419983"/>
                  </a:lnTo>
                  <a:cubicBezTo>
                    <a:pt x="414946" y="419983"/>
                    <a:pt x="410021" y="421237"/>
                    <a:pt x="408359" y="418040"/>
                  </a:cubicBezTo>
                  <a:cubicBezTo>
                    <a:pt x="402734" y="406208"/>
                    <a:pt x="399327" y="393467"/>
                    <a:pt x="398307" y="380434"/>
                  </a:cubicBezTo>
                  <a:cubicBezTo>
                    <a:pt x="379269" y="391515"/>
                    <a:pt x="363112" y="409165"/>
                    <a:pt x="344137" y="420246"/>
                  </a:cubicBezTo>
                  <a:cubicBezTo>
                    <a:pt x="333730" y="421086"/>
                    <a:pt x="329046" y="408463"/>
                    <a:pt x="325454" y="400014"/>
                  </a:cubicBezTo>
                  <a:cubicBezTo>
                    <a:pt x="317319" y="379444"/>
                    <a:pt x="316570" y="374668"/>
                    <a:pt x="310681" y="359036"/>
                  </a:cubicBezTo>
                  <a:lnTo>
                    <a:pt x="242144" y="419331"/>
                  </a:lnTo>
                  <a:cubicBezTo>
                    <a:pt x="234529" y="423017"/>
                    <a:pt x="230137" y="414869"/>
                    <a:pt x="228183" y="408864"/>
                  </a:cubicBezTo>
                  <a:cubicBezTo>
                    <a:pt x="224332" y="392180"/>
                    <a:pt x="221602" y="375262"/>
                    <a:pt x="220009" y="358222"/>
                  </a:cubicBezTo>
                  <a:lnTo>
                    <a:pt x="216202" y="359149"/>
                  </a:lnTo>
                  <a:lnTo>
                    <a:pt x="149607" y="419469"/>
                  </a:lnTo>
                  <a:cubicBezTo>
                    <a:pt x="142550" y="421575"/>
                    <a:pt x="139986" y="418817"/>
                    <a:pt x="136470" y="410920"/>
                  </a:cubicBezTo>
                  <a:cubicBezTo>
                    <a:pt x="130416" y="397332"/>
                    <a:pt x="130696" y="366946"/>
                    <a:pt x="127586" y="346188"/>
                  </a:cubicBezTo>
                  <a:lnTo>
                    <a:pt x="123778" y="346188"/>
                  </a:lnTo>
                  <a:cubicBezTo>
                    <a:pt x="92404" y="370268"/>
                    <a:pt x="64722" y="401882"/>
                    <a:pt x="29616" y="420309"/>
                  </a:cubicBezTo>
                  <a:cubicBezTo>
                    <a:pt x="24895" y="421186"/>
                    <a:pt x="21151" y="416548"/>
                    <a:pt x="19298" y="412713"/>
                  </a:cubicBezTo>
                  <a:cubicBezTo>
                    <a:pt x="-11265" y="346839"/>
                    <a:pt x="-6619" y="252261"/>
                    <a:pt x="41090" y="197431"/>
                  </a:cubicBezTo>
                  <a:cubicBezTo>
                    <a:pt x="46839" y="191364"/>
                    <a:pt x="63859" y="170656"/>
                    <a:pt x="83177" y="178829"/>
                  </a:cubicBezTo>
                  <a:cubicBezTo>
                    <a:pt x="94066" y="182589"/>
                    <a:pt x="99181" y="191226"/>
                    <a:pt x="102380" y="208287"/>
                  </a:cubicBezTo>
                  <a:cubicBezTo>
                    <a:pt x="105640" y="218355"/>
                    <a:pt x="105542" y="229191"/>
                    <a:pt x="102100" y="239199"/>
                  </a:cubicBezTo>
                  <a:lnTo>
                    <a:pt x="36368" y="299506"/>
                  </a:lnTo>
                  <a:cubicBezTo>
                    <a:pt x="31849" y="327984"/>
                    <a:pt x="35177" y="357137"/>
                    <a:pt x="46002" y="383906"/>
                  </a:cubicBezTo>
                  <a:cubicBezTo>
                    <a:pt x="48926" y="387796"/>
                    <a:pt x="54488" y="388610"/>
                    <a:pt x="58427" y="385724"/>
                  </a:cubicBezTo>
                  <a:cubicBezTo>
                    <a:pt x="59086" y="385249"/>
                    <a:pt x="59671" y="384684"/>
                    <a:pt x="60166" y="384044"/>
                  </a:cubicBezTo>
                  <a:lnTo>
                    <a:pt x="127891" y="320866"/>
                  </a:lnTo>
                  <a:cubicBezTo>
                    <a:pt x="138235" y="220734"/>
                    <a:pt x="157082" y="123460"/>
                    <a:pt x="202240" y="37681"/>
                  </a:cubicBezTo>
                  <a:cubicBezTo>
                    <a:pt x="207584" y="27791"/>
                    <a:pt x="225314" y="752"/>
                    <a:pt x="242956" y="0"/>
                  </a:cubicBezTo>
                  <a:cubicBezTo>
                    <a:pt x="244613" y="600"/>
                    <a:pt x="245466" y="2412"/>
                    <a:pt x="244860" y="4049"/>
                  </a:cubicBezTo>
                  <a:cubicBezTo>
                    <a:pt x="244685" y="4513"/>
                    <a:pt x="244408" y="4933"/>
                    <a:pt x="244048" y="5277"/>
                  </a:cubicBezTo>
                  <a:close/>
                  <a:moveTo>
                    <a:pt x="77123" y="185523"/>
                  </a:moveTo>
                  <a:cubicBezTo>
                    <a:pt x="72174" y="187387"/>
                    <a:pt x="67656" y="190212"/>
                    <a:pt x="63834" y="193833"/>
                  </a:cubicBezTo>
                  <a:cubicBezTo>
                    <a:pt x="49780" y="221191"/>
                    <a:pt x="41473" y="251072"/>
                    <a:pt x="39415" y="281681"/>
                  </a:cubicBezTo>
                  <a:cubicBezTo>
                    <a:pt x="54543" y="269772"/>
                    <a:pt x="67959" y="257588"/>
                    <a:pt x="80346" y="246444"/>
                  </a:cubicBezTo>
                  <a:lnTo>
                    <a:pt x="86451" y="197795"/>
                  </a:lnTo>
                  <a:cubicBezTo>
                    <a:pt x="89383" y="190324"/>
                    <a:pt x="84738" y="185598"/>
                    <a:pt x="77123" y="185523"/>
                  </a:cubicBezTo>
                  <a:close/>
                  <a:moveTo>
                    <a:pt x="415022" y="203548"/>
                  </a:moveTo>
                  <a:cubicBezTo>
                    <a:pt x="401860" y="195939"/>
                    <a:pt x="388623" y="202759"/>
                    <a:pt x="378126" y="212574"/>
                  </a:cubicBezTo>
                  <a:cubicBezTo>
                    <a:pt x="347665" y="241405"/>
                    <a:pt x="343414" y="289039"/>
                    <a:pt x="346815" y="331283"/>
                  </a:cubicBezTo>
                  <a:cubicBezTo>
                    <a:pt x="346815" y="335320"/>
                    <a:pt x="349036" y="369528"/>
                    <a:pt x="360522" y="382001"/>
                  </a:cubicBezTo>
                  <a:cubicBezTo>
                    <a:pt x="374826" y="383255"/>
                    <a:pt x="386122" y="370055"/>
                    <a:pt x="395641" y="361706"/>
                  </a:cubicBezTo>
                  <a:cubicBezTo>
                    <a:pt x="400832" y="310224"/>
                    <a:pt x="406950" y="258754"/>
                    <a:pt x="415948" y="208237"/>
                  </a:cubicBezTo>
                  <a:close/>
                  <a:moveTo>
                    <a:pt x="566057" y="207710"/>
                  </a:moveTo>
                  <a:cubicBezTo>
                    <a:pt x="549631" y="213798"/>
                    <a:pt x="536740" y="226705"/>
                    <a:pt x="530798" y="243009"/>
                  </a:cubicBezTo>
                  <a:cubicBezTo>
                    <a:pt x="520036" y="286006"/>
                    <a:pt x="527118" y="334781"/>
                    <a:pt x="529529" y="378817"/>
                  </a:cubicBezTo>
                  <a:lnTo>
                    <a:pt x="533235" y="388244"/>
                  </a:lnTo>
                  <a:cubicBezTo>
                    <a:pt x="542526" y="387918"/>
                    <a:pt x="553695" y="376962"/>
                    <a:pt x="558810" y="371020"/>
                  </a:cubicBezTo>
                  <a:cubicBezTo>
                    <a:pt x="596467" y="329654"/>
                    <a:pt x="589880" y="272530"/>
                    <a:pt x="581795" y="223743"/>
                  </a:cubicBezTo>
                  <a:cubicBezTo>
                    <a:pt x="581160" y="219982"/>
                    <a:pt x="579257" y="203761"/>
                    <a:pt x="566095" y="20771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607F5CB-F834-4668-B9C2-4120F6CE47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703537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53" imgH="353" progId="TCLayout.ActiveDocument.1">
                  <p:embed/>
                </p:oleObj>
              </mc:Choice>
              <mc:Fallback>
                <p:oleObj name="think-cell Slide" r:id="rId19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607F5CB-F834-4668-B9C2-4120F6CE47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7" r:id="rId2"/>
    <p:sldLayoutId id="2147483740" r:id="rId3"/>
    <p:sldLayoutId id="2147483739" r:id="rId4"/>
    <p:sldLayoutId id="2147483741" r:id="rId5"/>
    <p:sldLayoutId id="2147483742" r:id="rId6"/>
    <p:sldLayoutId id="2147483713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64" r:id="rId16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44.xml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g"/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mwelt-im-unterricht.de/unterrichtsvorschlaege/datenanalyse-wirtschaftsleistung-und-kohlendioxid-emissionen/" TargetMode="External"/><Relationship Id="rId7" Type="http://schemas.openxmlformats.org/officeDocument/2006/relationships/image" Target="../media/image88.jpg"/><Relationship Id="rId2" Type="http://schemas.openxmlformats.org/officeDocument/2006/relationships/image" Target="../media/image84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g"/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2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38.png"/><Relationship Id="rId18" Type="http://schemas.openxmlformats.org/officeDocument/2006/relationships/image" Target="../media/image41.png"/><Relationship Id="rId3" Type="http://schemas.openxmlformats.org/officeDocument/2006/relationships/oleObject" Target="../embeddings/oleObject30.bin"/><Relationship Id="rId21" Type="http://schemas.microsoft.com/office/2007/relationships/hdphoto" Target="../media/hdphoto7.wdp"/><Relationship Id="rId7" Type="http://schemas.openxmlformats.org/officeDocument/2006/relationships/image" Target="../media/image35.png"/><Relationship Id="rId12" Type="http://schemas.microsoft.com/office/2007/relationships/hdphoto" Target="../media/hdphoto3.wdp"/><Relationship Id="rId17" Type="http://schemas.openxmlformats.org/officeDocument/2006/relationships/image" Target="../media/image40.jpeg"/><Relationship Id="rId25" Type="http://schemas.microsoft.com/office/2007/relationships/hdphoto" Target="../media/hdphoto9.wdp"/><Relationship Id="rId2" Type="http://schemas.openxmlformats.org/officeDocument/2006/relationships/slideLayout" Target="../slideLayouts/slideLayout52.xml"/><Relationship Id="rId16" Type="http://schemas.microsoft.com/office/2007/relationships/hdphoto" Target="../media/hdphoto5.wdp"/><Relationship Id="rId20" Type="http://schemas.openxmlformats.org/officeDocument/2006/relationships/image" Target="../media/image42.png"/><Relationship Id="rId1" Type="http://schemas.openxmlformats.org/officeDocument/2006/relationships/tags" Target="../tags/tag45.xml"/><Relationship Id="rId6" Type="http://schemas.openxmlformats.org/officeDocument/2006/relationships/image" Target="../media/image34.svg"/><Relationship Id="rId11" Type="http://schemas.openxmlformats.org/officeDocument/2006/relationships/image" Target="../media/image37.png"/><Relationship Id="rId24" Type="http://schemas.openxmlformats.org/officeDocument/2006/relationships/image" Target="../media/image44.png"/><Relationship Id="rId5" Type="http://schemas.openxmlformats.org/officeDocument/2006/relationships/image" Target="../media/image33.png"/><Relationship Id="rId15" Type="http://schemas.openxmlformats.org/officeDocument/2006/relationships/image" Target="../media/image39.png"/><Relationship Id="rId23" Type="http://schemas.microsoft.com/office/2007/relationships/hdphoto" Target="../media/hdphoto8.wdp"/><Relationship Id="rId10" Type="http://schemas.microsoft.com/office/2007/relationships/hdphoto" Target="../media/hdphoto2.wdp"/><Relationship Id="rId19" Type="http://schemas.microsoft.com/office/2007/relationships/hdphoto" Target="../media/hdphoto6.wdp"/><Relationship Id="rId4" Type="http://schemas.openxmlformats.org/officeDocument/2006/relationships/image" Target="../media/image32.emf"/><Relationship Id="rId9" Type="http://schemas.openxmlformats.org/officeDocument/2006/relationships/image" Target="../media/image36.png"/><Relationship Id="rId14" Type="http://schemas.microsoft.com/office/2007/relationships/hdphoto" Target="../media/hdphoto4.wdp"/><Relationship Id="rId22" Type="http://schemas.openxmlformats.org/officeDocument/2006/relationships/image" Target="../media/image4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2.jpg"/><Relationship Id="rId5" Type="http://schemas.openxmlformats.org/officeDocument/2006/relationships/image" Target="../media/image97.jpg"/><Relationship Id="rId4" Type="http://schemas.openxmlformats.org/officeDocument/2006/relationships/image" Target="../media/image96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6.jpg"/><Relationship Id="rId4" Type="http://schemas.openxmlformats.org/officeDocument/2006/relationships/image" Target="../media/image105.jp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jp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49.x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6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45.jpeg"/><Relationship Id="rId5" Type="http://schemas.openxmlformats.org/officeDocument/2006/relationships/image" Target="../media/image1.emf"/><Relationship Id="rId10" Type="http://schemas.openxmlformats.org/officeDocument/2006/relationships/image" Target="../media/image49.pn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4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2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emf"/><Relationship Id="rId2" Type="http://schemas.openxmlformats.org/officeDocument/2006/relationships/image" Target="../media/image118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0.emf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emf"/><Relationship Id="rId3" Type="http://schemas.openxmlformats.org/officeDocument/2006/relationships/image" Target="../media/image122.emf"/><Relationship Id="rId7" Type="http://schemas.openxmlformats.org/officeDocument/2006/relationships/image" Target="../media/image126.emf"/><Relationship Id="rId2" Type="http://schemas.openxmlformats.org/officeDocument/2006/relationships/image" Target="../media/image121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5.emf"/><Relationship Id="rId5" Type="http://schemas.openxmlformats.org/officeDocument/2006/relationships/image" Target="../media/image124.emf"/><Relationship Id="rId4" Type="http://schemas.openxmlformats.org/officeDocument/2006/relationships/image" Target="../media/image123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0.xml"/><Relationship Id="rId5" Type="http://schemas.openxmlformats.org/officeDocument/2006/relationships/image" Target="../media/image128.png"/><Relationship Id="rId4" Type="http://schemas.openxmlformats.org/officeDocument/2006/relationships/image" Target="../media/image6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svg"/><Relationship Id="rId5" Type="http://schemas.openxmlformats.org/officeDocument/2006/relationships/image" Target="../media/image53.png"/><Relationship Id="rId10" Type="http://schemas.openxmlformats.org/officeDocument/2006/relationships/image" Target="../media/image58.png"/><Relationship Id="rId4" Type="http://schemas.openxmlformats.org/officeDocument/2006/relationships/image" Target="../media/image52.svg"/><Relationship Id="rId9" Type="http://schemas.openxmlformats.org/officeDocument/2006/relationships/image" Target="../media/image5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2.sv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svg"/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4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131.png"/><Relationship Id="rId5" Type="http://schemas.openxmlformats.org/officeDocument/2006/relationships/image" Target="../media/image31.jpeg"/><Relationship Id="rId4" Type="http://schemas.openxmlformats.org/officeDocument/2006/relationships/image" Target="../media/image4.emf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32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17" Type="http://schemas.openxmlformats.org/officeDocument/2006/relationships/image" Target="../media/image7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7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5.svg"/><Relationship Id="rId11" Type="http://schemas.openxmlformats.org/officeDocument/2006/relationships/image" Target="../media/image70.svg"/><Relationship Id="rId5" Type="http://schemas.openxmlformats.org/officeDocument/2006/relationships/image" Target="../media/image64.png"/><Relationship Id="rId15" Type="http://schemas.openxmlformats.org/officeDocument/2006/relationships/image" Target="../media/image74.png"/><Relationship Id="rId10" Type="http://schemas.openxmlformats.org/officeDocument/2006/relationships/image" Target="../media/image69.png"/><Relationship Id="rId4" Type="http://schemas.openxmlformats.org/officeDocument/2006/relationships/image" Target="../media/image63.svg"/><Relationship Id="rId9" Type="http://schemas.openxmlformats.org/officeDocument/2006/relationships/image" Target="../media/image68.svg"/><Relationship Id="rId14" Type="http://schemas.openxmlformats.org/officeDocument/2006/relationships/image" Target="../media/image7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87BBF7-694C-49B8-A966-5D6CB6D94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963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87BBF7-694C-49B8-A966-5D6CB6D94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le 30">
            <a:extLst>
              <a:ext uri="{FF2B5EF4-FFF2-40B4-BE49-F238E27FC236}">
                <a16:creationId xmlns:a16="http://schemas.microsoft.com/office/drawing/2014/main" id="{52C3165B-6782-8742-9E0B-EA0290C2C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317" y="2336682"/>
            <a:ext cx="4067138" cy="635347"/>
          </a:xfrm>
        </p:spPr>
        <p:txBody>
          <a:bodyPr/>
          <a:lstStyle/>
          <a:p>
            <a:r>
              <a:rPr lang="en-US" dirty="0"/>
              <a:t>Continuous Monitoring - IceSpy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9BF47A0-F885-C7CB-AE00-352696BC95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DE4709-0FE6-EA2F-6E2A-A1D7C659EC6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E2FBD4-A07F-660F-9464-33B908797E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654EB8B-8FC5-7979-BC26-B084055A1F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Installation Option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A2F67CB-F6E3-69F3-C54D-F5A4C13E19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5748" y="1065833"/>
            <a:ext cx="5434070" cy="273573"/>
          </a:xfrm>
        </p:spPr>
        <p:txBody>
          <a:bodyPr/>
          <a:lstStyle/>
          <a:p>
            <a:r>
              <a:rPr lang="en-US" dirty="0"/>
              <a:t>Same software functionality, different level IT effor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3354A0-49B1-71EF-63FF-014FF9F902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6" y="1339408"/>
            <a:ext cx="4137155" cy="4001203"/>
          </a:xfrm>
        </p:spPr>
        <p:txBody>
          <a:bodyPr/>
          <a:lstStyle/>
          <a:p>
            <a:r>
              <a:rPr lang="en-US" dirty="0"/>
              <a:t>On-Premi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stomer purchases and owns the 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talled on Server, Virtual Server, or Azure (with Microsoft SQ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stomer is responsible for all costs, maintenance, and support of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stomer remains in complete control of their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n leverage either SQL Express or Customer’s SQL data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stomer must open appropriate firewall ports for the system to communic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e-time fee for the softwa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9697FC5-9F1B-040B-EDDD-1BA8A99BD139}"/>
              </a:ext>
            </a:extLst>
          </p:cNvPr>
          <p:cNvSpPr txBox="1">
            <a:spLocks/>
          </p:cNvSpPr>
          <p:nvPr/>
        </p:nvSpPr>
        <p:spPr>
          <a:xfrm>
            <a:off x="4668980" y="1339412"/>
            <a:ext cx="4475019" cy="4001203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01497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Arial" panose="020B0604020202020204" pitchFamily="34" charset="0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99994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Arial" panose="020B0604020202020204" pitchFamily="34" charset="0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99991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Arial" panose="020B0604020202020204" pitchFamily="34" charset="0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99988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Arial" panose="020B0604020202020204" pitchFamily="34" charset="0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llab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llab provides the environment that the software is install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llab is responsible for all costs, maintenance, and support of keeping the software ru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ient is still responsible for configuring and managing their softwar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olated environment just for your instal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stomer must open appropriate firewall ports for the system to communic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ckups of data can be supplied for customer’s retention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nual fee applies</a:t>
            </a:r>
          </a:p>
        </p:txBody>
      </p:sp>
    </p:spTree>
    <p:extLst>
      <p:ext uri="{BB962C8B-B14F-4D97-AF65-F5344CB8AC3E}">
        <p14:creationId xmlns:p14="http://schemas.microsoft.com/office/powerpoint/2010/main" val="16316829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F5D6A58-C59D-06BC-B639-1DAD29E64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S Software – Data View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85B1787-90BF-BFBE-4EB1-8F09ADBCFB6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727" y="1024933"/>
            <a:ext cx="3224957" cy="2194128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637B558-90DE-2A9F-EE8A-02EF2E4C9A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0006" y="874540"/>
            <a:ext cx="3578337" cy="26337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DF965FB-24BF-FA42-77DD-5F471C1E2F4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72" y="3077456"/>
            <a:ext cx="3413132" cy="251158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C300E51-6FD3-9634-BBBC-9633ED56C5F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5387" y="3044453"/>
            <a:ext cx="3457797" cy="25445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461247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68712A9-8B0F-6750-9A49-2346C684A1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Requirements: On-Premis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00C5ED2-D4B4-43FC-024E-C3F0D2DB94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7" y="1040244"/>
            <a:ext cx="8092230" cy="4001203"/>
          </a:xfrm>
        </p:spPr>
        <p:txBody>
          <a:bodyPr/>
          <a:lstStyle/>
          <a:p>
            <a:r>
              <a:rPr lang="en-US" dirty="0"/>
              <a:t>Operating System: Windows Server 2008 R2, 2012 R2, 2016, 2019</a:t>
            </a:r>
          </a:p>
          <a:p>
            <a:r>
              <a:rPr lang="en-US" dirty="0"/>
              <a:t>Processor: 2.5GHz or faster</a:t>
            </a:r>
          </a:p>
          <a:p>
            <a:r>
              <a:rPr lang="en-US" dirty="0"/>
              <a:t>RAM: 8GB or more</a:t>
            </a:r>
          </a:p>
          <a:p>
            <a:r>
              <a:rPr lang="en-US" dirty="0"/>
              <a:t>Hard Driv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hysical Machine: 250G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irtual Machine: 70GB</a:t>
            </a:r>
          </a:p>
          <a:p>
            <a:pPr marL="0" indent="0"/>
            <a:r>
              <a:rPr lang="en-US" dirty="0"/>
              <a:t>Network: 1 GB Ethernet Network 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5588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68712A9-8B0F-6750-9A49-2346C684A1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Options: On-Premis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00C5ED2-D4B4-43FC-024E-C3F0D2DB94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7" y="1040244"/>
            <a:ext cx="8092230" cy="4001203"/>
          </a:xfrm>
        </p:spPr>
        <p:txBody>
          <a:bodyPr/>
          <a:lstStyle/>
          <a:p>
            <a:r>
              <a:rPr lang="en-US" dirty="0"/>
              <a:t>Option 1) SQL Expr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vided as part of the A version of the 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300 sensors transmitting at 90 seconds will take 2.5 years to fill active database</a:t>
            </a:r>
          </a:p>
          <a:p>
            <a:pPr marL="415797" lvl="1" indent="-285750"/>
            <a:r>
              <a:rPr lang="en-US" sz="1600" dirty="0"/>
              <a:t>Archiving the database on an annual basis will free up space in the active data base</a:t>
            </a:r>
          </a:p>
          <a:p>
            <a:pPr marL="714294" lvl="2" indent="-285750"/>
            <a:r>
              <a:rPr lang="en-US" sz="1600" dirty="0"/>
              <a:t>Archived data bases are accessed when signing into the software if the user has that level of access</a:t>
            </a:r>
          </a:p>
          <a:p>
            <a:pPr marL="428544" lvl="2" indent="0">
              <a:buNone/>
            </a:pPr>
            <a:endParaRPr lang="en-US" sz="1600" dirty="0"/>
          </a:p>
          <a:p>
            <a:pPr marL="0" indent="0"/>
            <a:r>
              <a:rPr lang="en-US" dirty="0"/>
              <a:t>Option 2) Customer’s S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 version of the software needs to be able to access and use the Customer’s SQL database</a:t>
            </a:r>
          </a:p>
        </p:txBody>
      </p:sp>
    </p:spTree>
    <p:extLst>
      <p:ext uri="{BB962C8B-B14F-4D97-AF65-F5344CB8AC3E}">
        <p14:creationId xmlns:p14="http://schemas.microsoft.com/office/powerpoint/2010/main" val="27307040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B0C31-99B2-B12B-B7C4-CE057E649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ufacturing process and components matter</a:t>
            </a:r>
          </a:p>
        </p:txBody>
      </p:sp>
      <p:pic>
        <p:nvPicPr>
          <p:cNvPr id="5" name="Picture 4" descr="A circuit board&#10;&#10;Description automatically generated">
            <a:extLst>
              <a:ext uri="{FF2B5EF4-FFF2-40B4-BE49-F238E27FC236}">
                <a16:creationId xmlns:a16="http://schemas.microsoft.com/office/drawing/2014/main" id="{24B6E2DE-8670-D90E-3C76-F4737E56A6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5563822" y="1631900"/>
            <a:ext cx="4091632" cy="3068724"/>
          </a:xfrm>
          <a:prstGeom prst="rect">
            <a:avLst/>
          </a:prstGeom>
        </p:spPr>
      </p:pic>
      <p:pic>
        <p:nvPicPr>
          <p:cNvPr id="6" name="Picture 5" descr="A room filled with luggage&#10;&#10;Description automatically generated">
            <a:extLst>
              <a:ext uri="{FF2B5EF4-FFF2-40B4-BE49-F238E27FC236}">
                <a16:creationId xmlns:a16="http://schemas.microsoft.com/office/drawing/2014/main" id="{4CFAB2F3-44DD-711A-C3D3-28847F4139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20446"/>
            <a:ext cx="5455510" cy="4091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9130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2125D3A-C4E1-F90A-2004-9D35687D8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Sensor Typ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528EDBA-7426-5DE9-B81D-1FD85B70FF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3238" y="1045151"/>
            <a:ext cx="4652662" cy="435658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Tempera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Humid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CO</a:t>
            </a:r>
            <a:r>
              <a:rPr lang="en-US" baseline="-25000" dirty="0">
                <a:solidFill>
                  <a:schemeClr val="bg2">
                    <a:lumMod val="10000"/>
                  </a:schemeClr>
                </a:solidFill>
              </a:rPr>
              <a:t>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Differential Press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Door Switch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Flood &amp; Lea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Light (Lux/UV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Utility measurements such as energy, water, g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Many other sensors can be added through analog or voltage input</a:t>
            </a:r>
          </a:p>
        </p:txBody>
      </p:sp>
      <p:grpSp>
        <p:nvGrpSpPr>
          <p:cNvPr id="9" name="Graphic 142">
            <a:extLst>
              <a:ext uri="{FF2B5EF4-FFF2-40B4-BE49-F238E27FC236}">
                <a16:creationId xmlns:a16="http://schemas.microsoft.com/office/drawing/2014/main" id="{DA155E78-6CEA-B625-9736-FBD5E12C9588}"/>
              </a:ext>
            </a:extLst>
          </p:cNvPr>
          <p:cNvGrpSpPr/>
          <p:nvPr/>
        </p:nvGrpSpPr>
        <p:grpSpPr>
          <a:xfrm>
            <a:off x="5160182" y="1518520"/>
            <a:ext cx="924073" cy="799271"/>
            <a:chOff x="4675827" y="2206752"/>
            <a:chExt cx="298450" cy="298450"/>
          </a:xfrm>
        </p:grpSpPr>
        <p:sp>
          <p:nvSpPr>
            <p:cNvPr id="10" name="Freeform 80">
              <a:extLst>
                <a:ext uri="{FF2B5EF4-FFF2-40B4-BE49-F238E27FC236}">
                  <a16:creationId xmlns:a16="http://schemas.microsoft.com/office/drawing/2014/main" id="{DE2EB53D-450B-315B-E30D-E618F867C6C3}"/>
                </a:ext>
              </a:extLst>
            </p:cNvPr>
            <p:cNvSpPr/>
            <p:nvPr/>
          </p:nvSpPr>
          <p:spPr>
            <a:xfrm>
              <a:off x="4751492" y="2209325"/>
              <a:ext cx="146420" cy="299737"/>
            </a:xfrm>
            <a:custGeom>
              <a:avLst/>
              <a:gdLst>
                <a:gd name="connsiteX0" fmla="*/ 112731 w 146420"/>
                <a:gd name="connsiteY0" fmla="*/ 164857 h 299737"/>
                <a:gd name="connsiteX1" fmla="*/ 112731 w 146420"/>
                <a:gd name="connsiteY1" fmla="*/ 38594 h 299737"/>
                <a:gd name="connsiteX2" fmla="*/ 72431 w 146420"/>
                <a:gd name="connsiteY2" fmla="*/ 10 h 299737"/>
                <a:gd name="connsiteX3" fmla="*/ 33847 w 146420"/>
                <a:gd name="connsiteY3" fmla="*/ 38594 h 299737"/>
                <a:gd name="connsiteX4" fmla="*/ 33847 w 146420"/>
                <a:gd name="connsiteY4" fmla="*/ 164801 h 299737"/>
                <a:gd name="connsiteX5" fmla="*/ 11499 w 146420"/>
                <a:gd name="connsiteY5" fmla="*/ 265900 h 299737"/>
                <a:gd name="connsiteX6" fmla="*/ 73019 w 146420"/>
                <a:gd name="connsiteY6" fmla="*/ 299738 h 299737"/>
                <a:gd name="connsiteX7" fmla="*/ 73410 w 146420"/>
                <a:gd name="connsiteY7" fmla="*/ 299738 h 299737"/>
                <a:gd name="connsiteX8" fmla="*/ 146420 w 146420"/>
                <a:gd name="connsiteY8" fmla="*/ 226320 h 299737"/>
                <a:gd name="connsiteX9" fmla="*/ 112582 w 146420"/>
                <a:gd name="connsiteY9" fmla="*/ 164801 h 299737"/>
                <a:gd name="connsiteX10" fmla="*/ 42428 w 146420"/>
                <a:gd name="connsiteY10" fmla="*/ 280301 h 299737"/>
                <a:gd name="connsiteX11" fmla="*/ 19701 w 146420"/>
                <a:gd name="connsiteY11" fmla="*/ 195530 h 299737"/>
                <a:gd name="connsiteX12" fmla="*/ 42428 w 146420"/>
                <a:gd name="connsiteY12" fmla="*/ 172803 h 299737"/>
                <a:gd name="connsiteX13" fmla="*/ 45226 w 146420"/>
                <a:gd name="connsiteY13" fmla="*/ 167935 h 299737"/>
                <a:gd name="connsiteX14" fmla="*/ 45226 w 146420"/>
                <a:gd name="connsiteY14" fmla="*/ 38594 h 299737"/>
                <a:gd name="connsiteX15" fmla="*/ 74183 w 146420"/>
                <a:gd name="connsiteY15" fmla="*/ 11088 h 299737"/>
                <a:gd name="connsiteX16" fmla="*/ 101689 w 146420"/>
                <a:gd name="connsiteY16" fmla="*/ 38594 h 299737"/>
                <a:gd name="connsiteX17" fmla="*/ 101689 w 146420"/>
                <a:gd name="connsiteY17" fmla="*/ 167935 h 299737"/>
                <a:gd name="connsiteX18" fmla="*/ 104487 w 146420"/>
                <a:gd name="connsiteY18" fmla="*/ 172803 h 299737"/>
                <a:gd name="connsiteX19" fmla="*/ 127206 w 146420"/>
                <a:gd name="connsiteY19" fmla="*/ 257581 h 299737"/>
                <a:gd name="connsiteX20" fmla="*/ 42428 w 146420"/>
                <a:gd name="connsiteY20" fmla="*/ 280301 h 29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6420" h="299737">
                  <a:moveTo>
                    <a:pt x="112731" y="164857"/>
                  </a:moveTo>
                  <a:lnTo>
                    <a:pt x="112731" y="38594"/>
                  </a:lnTo>
                  <a:cubicBezTo>
                    <a:pt x="112257" y="16811"/>
                    <a:pt x="94215" y="-464"/>
                    <a:pt x="72431" y="10"/>
                  </a:cubicBezTo>
                  <a:cubicBezTo>
                    <a:pt x="51315" y="469"/>
                    <a:pt x="34306" y="17477"/>
                    <a:pt x="33847" y="38594"/>
                  </a:cubicBezTo>
                  <a:lnTo>
                    <a:pt x="33847" y="164801"/>
                  </a:lnTo>
                  <a:cubicBezTo>
                    <a:pt x="-242" y="186547"/>
                    <a:pt x="-10247" y="231811"/>
                    <a:pt x="11499" y="265900"/>
                  </a:cubicBezTo>
                  <a:cubicBezTo>
                    <a:pt x="24907" y="286918"/>
                    <a:pt x="48089" y="299668"/>
                    <a:pt x="73019" y="299738"/>
                  </a:cubicBezTo>
                  <a:lnTo>
                    <a:pt x="73410" y="299738"/>
                  </a:lnTo>
                  <a:cubicBezTo>
                    <a:pt x="113845" y="299625"/>
                    <a:pt x="146532" y="266755"/>
                    <a:pt x="146420" y="226320"/>
                  </a:cubicBezTo>
                  <a:cubicBezTo>
                    <a:pt x="146350" y="201390"/>
                    <a:pt x="133600" y="178209"/>
                    <a:pt x="112582" y="164801"/>
                  </a:cubicBezTo>
                  <a:close/>
                  <a:moveTo>
                    <a:pt x="42428" y="280301"/>
                  </a:moveTo>
                  <a:cubicBezTo>
                    <a:pt x="12743" y="263168"/>
                    <a:pt x="2568" y="225215"/>
                    <a:pt x="19701" y="195530"/>
                  </a:cubicBezTo>
                  <a:cubicBezTo>
                    <a:pt x="25149" y="186090"/>
                    <a:pt x="32988" y="178251"/>
                    <a:pt x="42428" y="172803"/>
                  </a:cubicBezTo>
                  <a:cubicBezTo>
                    <a:pt x="44166" y="171799"/>
                    <a:pt x="45234" y="169942"/>
                    <a:pt x="45226" y="167935"/>
                  </a:cubicBezTo>
                  <a:lnTo>
                    <a:pt x="45226" y="38594"/>
                  </a:lnTo>
                  <a:cubicBezTo>
                    <a:pt x="45626" y="23002"/>
                    <a:pt x="58591" y="10687"/>
                    <a:pt x="74183" y="11088"/>
                  </a:cubicBezTo>
                  <a:cubicBezTo>
                    <a:pt x="89211" y="11474"/>
                    <a:pt x="101302" y="23566"/>
                    <a:pt x="101689" y="38594"/>
                  </a:cubicBezTo>
                  <a:lnTo>
                    <a:pt x="101689" y="167935"/>
                  </a:lnTo>
                  <a:cubicBezTo>
                    <a:pt x="101681" y="169942"/>
                    <a:pt x="102748" y="171799"/>
                    <a:pt x="104487" y="172803"/>
                  </a:cubicBezTo>
                  <a:cubicBezTo>
                    <a:pt x="134171" y="189940"/>
                    <a:pt x="144343" y="227897"/>
                    <a:pt x="127206" y="257581"/>
                  </a:cubicBezTo>
                  <a:cubicBezTo>
                    <a:pt x="110069" y="287266"/>
                    <a:pt x="72112" y="297438"/>
                    <a:pt x="42428" y="280301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81">
              <a:extLst>
                <a:ext uri="{FF2B5EF4-FFF2-40B4-BE49-F238E27FC236}">
                  <a16:creationId xmlns:a16="http://schemas.microsoft.com/office/drawing/2014/main" id="{2595252E-781D-392B-C8CF-75B61B49C1D4}"/>
                </a:ext>
              </a:extLst>
            </p:cNvPr>
            <p:cNvSpPr/>
            <p:nvPr/>
          </p:nvSpPr>
          <p:spPr>
            <a:xfrm>
              <a:off x="4786080" y="2304942"/>
              <a:ext cx="77719" cy="167963"/>
            </a:xfrm>
            <a:custGeom>
              <a:avLst/>
              <a:gdLst>
                <a:gd name="connsiteX0" fmla="*/ 44455 w 77719"/>
                <a:gd name="connsiteY0" fmla="*/ 90654 h 167963"/>
                <a:gd name="connsiteX1" fmla="*/ 44455 w 77719"/>
                <a:gd name="connsiteY1" fmla="*/ 5596 h 167963"/>
                <a:gd name="connsiteX2" fmla="*/ 38860 w 77719"/>
                <a:gd name="connsiteY2" fmla="*/ 0 h 167963"/>
                <a:gd name="connsiteX3" fmla="*/ 33264 w 77719"/>
                <a:gd name="connsiteY3" fmla="*/ 5596 h 167963"/>
                <a:gd name="connsiteX4" fmla="*/ 33264 w 77719"/>
                <a:gd name="connsiteY4" fmla="*/ 90654 h 167963"/>
                <a:gd name="connsiteX5" fmla="*/ 410 w 77719"/>
                <a:gd name="connsiteY5" fmla="*/ 134700 h 167963"/>
                <a:gd name="connsiteX6" fmla="*/ 44455 w 77719"/>
                <a:gd name="connsiteY6" fmla="*/ 167553 h 167963"/>
                <a:gd name="connsiteX7" fmla="*/ 77309 w 77719"/>
                <a:gd name="connsiteY7" fmla="*/ 123508 h 167963"/>
                <a:gd name="connsiteX8" fmla="*/ 44455 w 77719"/>
                <a:gd name="connsiteY8" fmla="*/ 90654 h 167963"/>
                <a:gd name="connsiteX9" fmla="*/ 38860 w 77719"/>
                <a:gd name="connsiteY9" fmla="*/ 156462 h 167963"/>
                <a:gd name="connsiteX10" fmla="*/ 10620 w 77719"/>
                <a:gd name="connsiteY10" fmla="*/ 129656 h 167963"/>
                <a:gd name="connsiteX11" fmla="*/ 37426 w 77719"/>
                <a:gd name="connsiteY11" fmla="*/ 101417 h 167963"/>
                <a:gd name="connsiteX12" fmla="*/ 38860 w 77719"/>
                <a:gd name="connsiteY12" fmla="*/ 101417 h 167963"/>
                <a:gd name="connsiteX13" fmla="*/ 38860 w 77719"/>
                <a:gd name="connsiteY13" fmla="*/ 101417 h 167963"/>
                <a:gd name="connsiteX14" fmla="*/ 67099 w 77719"/>
                <a:gd name="connsiteY14" fmla="*/ 128223 h 167963"/>
                <a:gd name="connsiteX15" fmla="*/ 40293 w 77719"/>
                <a:gd name="connsiteY15" fmla="*/ 156462 h 167963"/>
                <a:gd name="connsiteX16" fmla="*/ 38860 w 77719"/>
                <a:gd name="connsiteY16" fmla="*/ 156462 h 167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719" h="167963">
                  <a:moveTo>
                    <a:pt x="44455" y="90654"/>
                  </a:moveTo>
                  <a:lnTo>
                    <a:pt x="44455" y="5596"/>
                  </a:lnTo>
                  <a:cubicBezTo>
                    <a:pt x="44455" y="2505"/>
                    <a:pt x="41950" y="0"/>
                    <a:pt x="38860" y="0"/>
                  </a:cubicBezTo>
                  <a:cubicBezTo>
                    <a:pt x="35769" y="0"/>
                    <a:pt x="33264" y="2505"/>
                    <a:pt x="33264" y="5596"/>
                  </a:cubicBezTo>
                  <a:lnTo>
                    <a:pt x="33264" y="90654"/>
                  </a:lnTo>
                  <a:cubicBezTo>
                    <a:pt x="12029" y="93745"/>
                    <a:pt x="-2680" y="113464"/>
                    <a:pt x="410" y="134700"/>
                  </a:cubicBezTo>
                  <a:cubicBezTo>
                    <a:pt x="3501" y="155935"/>
                    <a:pt x="23220" y="170643"/>
                    <a:pt x="44455" y="167553"/>
                  </a:cubicBezTo>
                  <a:cubicBezTo>
                    <a:pt x="65690" y="164462"/>
                    <a:pt x="80399" y="144743"/>
                    <a:pt x="77309" y="123508"/>
                  </a:cubicBezTo>
                  <a:cubicBezTo>
                    <a:pt x="74833" y="106494"/>
                    <a:pt x="61469" y="93130"/>
                    <a:pt x="44455" y="90654"/>
                  </a:cubicBezTo>
                  <a:close/>
                  <a:moveTo>
                    <a:pt x="38860" y="156462"/>
                  </a:moveTo>
                  <a:cubicBezTo>
                    <a:pt x="23659" y="156858"/>
                    <a:pt x="11016" y="144857"/>
                    <a:pt x="10620" y="129656"/>
                  </a:cubicBezTo>
                  <a:cubicBezTo>
                    <a:pt x="10225" y="114456"/>
                    <a:pt x="22226" y="101813"/>
                    <a:pt x="37426" y="101417"/>
                  </a:cubicBezTo>
                  <a:cubicBezTo>
                    <a:pt x="37904" y="101405"/>
                    <a:pt x="38382" y="101405"/>
                    <a:pt x="38860" y="101417"/>
                  </a:cubicBezTo>
                  <a:lnTo>
                    <a:pt x="38860" y="101417"/>
                  </a:lnTo>
                  <a:cubicBezTo>
                    <a:pt x="54060" y="101021"/>
                    <a:pt x="66703" y="113023"/>
                    <a:pt x="67099" y="128223"/>
                  </a:cubicBezTo>
                  <a:cubicBezTo>
                    <a:pt x="67495" y="143424"/>
                    <a:pt x="55493" y="156067"/>
                    <a:pt x="40293" y="156462"/>
                  </a:cubicBezTo>
                  <a:cubicBezTo>
                    <a:pt x="39815" y="156475"/>
                    <a:pt x="39337" y="156475"/>
                    <a:pt x="38860" y="156462"/>
                  </a:cubicBezTo>
                  <a:close/>
                </a:path>
              </a:pathLst>
            </a:custGeom>
            <a:solidFill>
              <a:srgbClr val="BD5C7A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82">
              <a:extLst>
                <a:ext uri="{FF2B5EF4-FFF2-40B4-BE49-F238E27FC236}">
                  <a16:creationId xmlns:a16="http://schemas.microsoft.com/office/drawing/2014/main" id="{F751634F-E1BE-705B-363F-2E2AC223441D}"/>
                </a:ext>
              </a:extLst>
            </p:cNvPr>
            <p:cNvSpPr/>
            <p:nvPr/>
          </p:nvSpPr>
          <p:spPr>
            <a:xfrm>
              <a:off x="4878194" y="2247024"/>
              <a:ext cx="46222" cy="11191"/>
            </a:xfrm>
            <a:custGeom>
              <a:avLst/>
              <a:gdLst>
                <a:gd name="connsiteX0" fmla="*/ 40627 w 46222"/>
                <a:gd name="connsiteY0" fmla="*/ 0 h 11191"/>
                <a:gd name="connsiteX1" fmla="*/ 5596 w 46222"/>
                <a:gd name="connsiteY1" fmla="*/ 0 h 11191"/>
                <a:gd name="connsiteX2" fmla="*/ 0 w 46222"/>
                <a:gd name="connsiteY2" fmla="*/ 5596 h 11191"/>
                <a:gd name="connsiteX3" fmla="*/ 5596 w 46222"/>
                <a:gd name="connsiteY3" fmla="*/ 11192 h 11191"/>
                <a:gd name="connsiteX4" fmla="*/ 40627 w 46222"/>
                <a:gd name="connsiteY4" fmla="*/ 11192 h 11191"/>
                <a:gd name="connsiteX5" fmla="*/ 46222 w 46222"/>
                <a:gd name="connsiteY5" fmla="*/ 5596 h 11191"/>
                <a:gd name="connsiteX6" fmla="*/ 40627 w 46222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22" h="11191">
                  <a:moveTo>
                    <a:pt x="40627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40627" y="11192"/>
                  </a:lnTo>
                  <a:cubicBezTo>
                    <a:pt x="43717" y="11192"/>
                    <a:pt x="46222" y="8686"/>
                    <a:pt x="46222" y="5596"/>
                  </a:cubicBezTo>
                  <a:cubicBezTo>
                    <a:pt x="46222" y="2505"/>
                    <a:pt x="43717" y="0"/>
                    <a:pt x="40627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83">
              <a:extLst>
                <a:ext uri="{FF2B5EF4-FFF2-40B4-BE49-F238E27FC236}">
                  <a16:creationId xmlns:a16="http://schemas.microsoft.com/office/drawing/2014/main" id="{3B8A264D-A87E-6801-69BE-1D6FF57DC767}"/>
                </a:ext>
              </a:extLst>
            </p:cNvPr>
            <p:cNvSpPr/>
            <p:nvPr/>
          </p:nvSpPr>
          <p:spPr>
            <a:xfrm>
              <a:off x="4885245" y="2275059"/>
              <a:ext cx="31710" cy="11191"/>
            </a:xfrm>
            <a:custGeom>
              <a:avLst/>
              <a:gdLst>
                <a:gd name="connsiteX0" fmla="*/ 26114 w 31710"/>
                <a:gd name="connsiteY0" fmla="*/ 0 h 11191"/>
                <a:gd name="connsiteX1" fmla="*/ 5596 w 31710"/>
                <a:gd name="connsiteY1" fmla="*/ 0 h 11191"/>
                <a:gd name="connsiteX2" fmla="*/ 0 w 31710"/>
                <a:gd name="connsiteY2" fmla="*/ 5596 h 11191"/>
                <a:gd name="connsiteX3" fmla="*/ 5596 w 31710"/>
                <a:gd name="connsiteY3" fmla="*/ 11192 h 11191"/>
                <a:gd name="connsiteX4" fmla="*/ 26114 w 31710"/>
                <a:gd name="connsiteY4" fmla="*/ 11192 h 11191"/>
                <a:gd name="connsiteX5" fmla="*/ 31710 w 31710"/>
                <a:gd name="connsiteY5" fmla="*/ 5596 h 11191"/>
                <a:gd name="connsiteX6" fmla="*/ 26114 w 31710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10" h="11191">
                  <a:moveTo>
                    <a:pt x="26114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26114" y="11192"/>
                  </a:lnTo>
                  <a:cubicBezTo>
                    <a:pt x="29205" y="11192"/>
                    <a:pt x="31710" y="8686"/>
                    <a:pt x="31710" y="5596"/>
                  </a:cubicBezTo>
                  <a:cubicBezTo>
                    <a:pt x="31710" y="2505"/>
                    <a:pt x="29205" y="0"/>
                    <a:pt x="26114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84">
              <a:extLst>
                <a:ext uri="{FF2B5EF4-FFF2-40B4-BE49-F238E27FC236}">
                  <a16:creationId xmlns:a16="http://schemas.microsoft.com/office/drawing/2014/main" id="{FFC183AD-F831-A83D-9A50-5B90A374AD4D}"/>
                </a:ext>
              </a:extLst>
            </p:cNvPr>
            <p:cNvSpPr/>
            <p:nvPr/>
          </p:nvSpPr>
          <p:spPr>
            <a:xfrm>
              <a:off x="4878194" y="2303095"/>
              <a:ext cx="46222" cy="11191"/>
            </a:xfrm>
            <a:custGeom>
              <a:avLst/>
              <a:gdLst>
                <a:gd name="connsiteX0" fmla="*/ 40627 w 46222"/>
                <a:gd name="connsiteY0" fmla="*/ 0 h 11191"/>
                <a:gd name="connsiteX1" fmla="*/ 5596 w 46222"/>
                <a:gd name="connsiteY1" fmla="*/ 0 h 11191"/>
                <a:gd name="connsiteX2" fmla="*/ 0 w 46222"/>
                <a:gd name="connsiteY2" fmla="*/ 5596 h 11191"/>
                <a:gd name="connsiteX3" fmla="*/ 5596 w 46222"/>
                <a:gd name="connsiteY3" fmla="*/ 11192 h 11191"/>
                <a:gd name="connsiteX4" fmla="*/ 40627 w 46222"/>
                <a:gd name="connsiteY4" fmla="*/ 11192 h 11191"/>
                <a:gd name="connsiteX5" fmla="*/ 46222 w 46222"/>
                <a:gd name="connsiteY5" fmla="*/ 5596 h 11191"/>
                <a:gd name="connsiteX6" fmla="*/ 40627 w 46222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22" h="11191">
                  <a:moveTo>
                    <a:pt x="40627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7"/>
                    <a:pt x="2505" y="11192"/>
                    <a:pt x="5596" y="11192"/>
                  </a:cubicBezTo>
                  <a:lnTo>
                    <a:pt x="40627" y="11192"/>
                  </a:lnTo>
                  <a:cubicBezTo>
                    <a:pt x="43717" y="11192"/>
                    <a:pt x="46222" y="8686"/>
                    <a:pt x="46222" y="5596"/>
                  </a:cubicBezTo>
                  <a:cubicBezTo>
                    <a:pt x="46222" y="2505"/>
                    <a:pt x="43717" y="0"/>
                    <a:pt x="40627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85">
              <a:extLst>
                <a:ext uri="{FF2B5EF4-FFF2-40B4-BE49-F238E27FC236}">
                  <a16:creationId xmlns:a16="http://schemas.microsoft.com/office/drawing/2014/main" id="{31C5A823-4A91-CDE9-7237-64D941F26793}"/>
                </a:ext>
              </a:extLst>
            </p:cNvPr>
            <p:cNvSpPr/>
            <p:nvPr/>
          </p:nvSpPr>
          <p:spPr>
            <a:xfrm>
              <a:off x="4885245" y="2331112"/>
              <a:ext cx="31710" cy="11191"/>
            </a:xfrm>
            <a:custGeom>
              <a:avLst/>
              <a:gdLst>
                <a:gd name="connsiteX0" fmla="*/ 26114 w 31710"/>
                <a:gd name="connsiteY0" fmla="*/ 0 h 11191"/>
                <a:gd name="connsiteX1" fmla="*/ 5596 w 31710"/>
                <a:gd name="connsiteY1" fmla="*/ 0 h 11191"/>
                <a:gd name="connsiteX2" fmla="*/ 0 w 31710"/>
                <a:gd name="connsiteY2" fmla="*/ 5596 h 11191"/>
                <a:gd name="connsiteX3" fmla="*/ 5596 w 31710"/>
                <a:gd name="connsiteY3" fmla="*/ 11192 h 11191"/>
                <a:gd name="connsiteX4" fmla="*/ 26114 w 31710"/>
                <a:gd name="connsiteY4" fmla="*/ 11192 h 11191"/>
                <a:gd name="connsiteX5" fmla="*/ 31710 w 31710"/>
                <a:gd name="connsiteY5" fmla="*/ 5596 h 11191"/>
                <a:gd name="connsiteX6" fmla="*/ 26114 w 31710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10" h="11191">
                  <a:moveTo>
                    <a:pt x="26114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26114" y="11192"/>
                  </a:lnTo>
                  <a:cubicBezTo>
                    <a:pt x="29205" y="11192"/>
                    <a:pt x="31710" y="8686"/>
                    <a:pt x="31710" y="5596"/>
                  </a:cubicBezTo>
                  <a:cubicBezTo>
                    <a:pt x="31710" y="2505"/>
                    <a:pt x="29205" y="0"/>
                    <a:pt x="26114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86">
              <a:extLst>
                <a:ext uri="{FF2B5EF4-FFF2-40B4-BE49-F238E27FC236}">
                  <a16:creationId xmlns:a16="http://schemas.microsoft.com/office/drawing/2014/main" id="{C5890415-5271-B8FB-BC4A-95920A7E4A4F}"/>
                </a:ext>
              </a:extLst>
            </p:cNvPr>
            <p:cNvSpPr/>
            <p:nvPr/>
          </p:nvSpPr>
          <p:spPr>
            <a:xfrm>
              <a:off x="4878194" y="2359148"/>
              <a:ext cx="46222" cy="11191"/>
            </a:xfrm>
            <a:custGeom>
              <a:avLst/>
              <a:gdLst>
                <a:gd name="connsiteX0" fmla="*/ 40627 w 46222"/>
                <a:gd name="connsiteY0" fmla="*/ 0 h 11191"/>
                <a:gd name="connsiteX1" fmla="*/ 5596 w 46222"/>
                <a:gd name="connsiteY1" fmla="*/ 0 h 11191"/>
                <a:gd name="connsiteX2" fmla="*/ 0 w 46222"/>
                <a:gd name="connsiteY2" fmla="*/ 5596 h 11191"/>
                <a:gd name="connsiteX3" fmla="*/ 5596 w 46222"/>
                <a:gd name="connsiteY3" fmla="*/ 11192 h 11191"/>
                <a:gd name="connsiteX4" fmla="*/ 40627 w 46222"/>
                <a:gd name="connsiteY4" fmla="*/ 11192 h 11191"/>
                <a:gd name="connsiteX5" fmla="*/ 46222 w 46222"/>
                <a:gd name="connsiteY5" fmla="*/ 5596 h 11191"/>
                <a:gd name="connsiteX6" fmla="*/ 40627 w 46222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22" h="11191">
                  <a:moveTo>
                    <a:pt x="40627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40627" y="11192"/>
                  </a:lnTo>
                  <a:cubicBezTo>
                    <a:pt x="43717" y="11192"/>
                    <a:pt x="46222" y="8686"/>
                    <a:pt x="46222" y="5596"/>
                  </a:cubicBezTo>
                  <a:cubicBezTo>
                    <a:pt x="46222" y="2505"/>
                    <a:pt x="43717" y="0"/>
                    <a:pt x="40627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" name="Graphic 59">
            <a:extLst>
              <a:ext uri="{FF2B5EF4-FFF2-40B4-BE49-F238E27FC236}">
                <a16:creationId xmlns:a16="http://schemas.microsoft.com/office/drawing/2014/main" id="{84715E5F-AC45-68E1-4938-33C0C221480D}"/>
              </a:ext>
            </a:extLst>
          </p:cNvPr>
          <p:cNvGrpSpPr/>
          <p:nvPr/>
        </p:nvGrpSpPr>
        <p:grpSpPr>
          <a:xfrm>
            <a:off x="6345921" y="1533758"/>
            <a:ext cx="594696" cy="798207"/>
            <a:chOff x="4757737" y="350836"/>
            <a:chExt cx="190841" cy="296864"/>
          </a:xfrm>
        </p:grpSpPr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FDC7F8C6-C69D-0F83-9103-20F0CA982D8D}"/>
                </a:ext>
              </a:extLst>
            </p:cNvPr>
            <p:cNvSpPr/>
            <p:nvPr/>
          </p:nvSpPr>
          <p:spPr>
            <a:xfrm>
              <a:off x="4762317" y="350830"/>
              <a:ext cx="185497" cy="297260"/>
            </a:xfrm>
            <a:custGeom>
              <a:avLst/>
              <a:gdLst>
                <a:gd name="connsiteX0" fmla="*/ 92367 w 185497"/>
                <a:gd name="connsiteY0" fmla="*/ 6 h 297260"/>
                <a:gd name="connsiteX1" fmla="*/ 97711 w 185497"/>
                <a:gd name="connsiteY1" fmla="*/ 3131 h 297260"/>
                <a:gd name="connsiteX2" fmla="*/ 185497 w 185497"/>
                <a:gd name="connsiteY2" fmla="*/ 202342 h 297260"/>
                <a:gd name="connsiteX3" fmla="*/ 92749 w 185497"/>
                <a:gd name="connsiteY3" fmla="*/ 297260 h 297260"/>
                <a:gd name="connsiteX4" fmla="*/ 0 w 185497"/>
                <a:gd name="connsiteY4" fmla="*/ 202342 h 297260"/>
                <a:gd name="connsiteX5" fmla="*/ 87787 w 185497"/>
                <a:gd name="connsiteY5" fmla="*/ 3131 h 297260"/>
                <a:gd name="connsiteX6" fmla="*/ 92367 w 185497"/>
                <a:gd name="connsiteY6" fmla="*/ 6 h 297260"/>
                <a:gd name="connsiteX7" fmla="*/ 92367 w 185497"/>
                <a:gd name="connsiteY7" fmla="*/ 285151 h 297260"/>
                <a:gd name="connsiteX8" fmla="*/ 173284 w 185497"/>
                <a:gd name="connsiteY8" fmla="*/ 202342 h 297260"/>
                <a:gd name="connsiteX9" fmla="*/ 92367 w 185497"/>
                <a:gd name="connsiteY9" fmla="*/ 17974 h 297260"/>
                <a:gd name="connsiteX10" fmla="*/ 11450 w 185497"/>
                <a:gd name="connsiteY10" fmla="*/ 202342 h 297260"/>
                <a:gd name="connsiteX11" fmla="*/ 92367 w 185497"/>
                <a:gd name="connsiteY11" fmla="*/ 285151 h 2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497" h="297260">
                  <a:moveTo>
                    <a:pt x="92367" y="6"/>
                  </a:moveTo>
                  <a:cubicBezTo>
                    <a:pt x="94588" y="-95"/>
                    <a:pt x="96667" y="1121"/>
                    <a:pt x="97711" y="3131"/>
                  </a:cubicBezTo>
                  <a:cubicBezTo>
                    <a:pt x="101527" y="9380"/>
                    <a:pt x="185497" y="152344"/>
                    <a:pt x="185497" y="202342"/>
                  </a:cubicBezTo>
                  <a:cubicBezTo>
                    <a:pt x="185497" y="254764"/>
                    <a:pt x="143972" y="297260"/>
                    <a:pt x="92749" y="297260"/>
                  </a:cubicBezTo>
                  <a:cubicBezTo>
                    <a:pt x="41525" y="297260"/>
                    <a:pt x="0" y="254764"/>
                    <a:pt x="0" y="202342"/>
                  </a:cubicBezTo>
                  <a:cubicBezTo>
                    <a:pt x="0" y="152344"/>
                    <a:pt x="83970" y="9380"/>
                    <a:pt x="87787" y="3131"/>
                  </a:cubicBezTo>
                  <a:cubicBezTo>
                    <a:pt x="88762" y="1423"/>
                    <a:pt x="90452" y="270"/>
                    <a:pt x="92367" y="6"/>
                  </a:cubicBezTo>
                  <a:close/>
                  <a:moveTo>
                    <a:pt x="92367" y="285151"/>
                  </a:moveTo>
                  <a:cubicBezTo>
                    <a:pt x="137047" y="285130"/>
                    <a:pt x="173263" y="248067"/>
                    <a:pt x="173284" y="202342"/>
                  </a:cubicBezTo>
                  <a:cubicBezTo>
                    <a:pt x="173284" y="161719"/>
                    <a:pt x="110688" y="50004"/>
                    <a:pt x="92367" y="17974"/>
                  </a:cubicBezTo>
                  <a:cubicBezTo>
                    <a:pt x="74046" y="50004"/>
                    <a:pt x="11450" y="161719"/>
                    <a:pt x="11450" y="202342"/>
                  </a:cubicBezTo>
                  <a:cubicBezTo>
                    <a:pt x="11472" y="248067"/>
                    <a:pt x="47687" y="285130"/>
                    <a:pt x="92367" y="285151"/>
                  </a:cubicBezTo>
                  <a:close/>
                </a:path>
              </a:pathLst>
            </a:custGeom>
            <a:solidFill>
              <a:srgbClr val="1F6896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6B6B6F2D-DAFD-8AED-7614-AC1FDAA827BE}"/>
                </a:ext>
              </a:extLst>
            </p:cNvPr>
            <p:cNvSpPr/>
            <p:nvPr/>
          </p:nvSpPr>
          <p:spPr>
            <a:xfrm>
              <a:off x="4787505" y="546141"/>
              <a:ext cx="71759" cy="74216"/>
            </a:xfrm>
            <a:custGeom>
              <a:avLst/>
              <a:gdLst>
                <a:gd name="connsiteX0" fmla="*/ 71759 w 71759"/>
                <a:gd name="connsiteY0" fmla="*/ 67966 h 74216"/>
                <a:gd name="connsiteX1" fmla="*/ 65821 w 71759"/>
                <a:gd name="connsiteY1" fmla="*/ 74216 h 74216"/>
                <a:gd name="connsiteX2" fmla="*/ 65652 w 71759"/>
                <a:gd name="connsiteY2" fmla="*/ 74216 h 74216"/>
                <a:gd name="connsiteX3" fmla="*/ 0 w 71759"/>
                <a:gd name="connsiteY3" fmla="*/ 6706 h 74216"/>
                <a:gd name="connsiteX4" fmla="*/ 3 w 71759"/>
                <a:gd name="connsiteY4" fmla="*/ 6250 h 74216"/>
                <a:gd name="connsiteX5" fmla="*/ 6110 w 71759"/>
                <a:gd name="connsiteY5" fmla="*/ 0 h 74216"/>
                <a:gd name="connsiteX6" fmla="*/ 12217 w 71759"/>
                <a:gd name="connsiteY6" fmla="*/ 6250 h 74216"/>
                <a:gd name="connsiteX7" fmla="*/ 66415 w 71759"/>
                <a:gd name="connsiteY7" fmla="*/ 62498 h 74216"/>
                <a:gd name="connsiteX8" fmla="*/ 71759 w 71759"/>
                <a:gd name="connsiteY8" fmla="*/ 67966 h 74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759" h="74216">
                  <a:moveTo>
                    <a:pt x="71759" y="67966"/>
                  </a:moveTo>
                  <a:cubicBezTo>
                    <a:pt x="71806" y="71370"/>
                    <a:pt x="69147" y="74168"/>
                    <a:pt x="65821" y="74216"/>
                  </a:cubicBezTo>
                  <a:cubicBezTo>
                    <a:pt x="65765" y="74217"/>
                    <a:pt x="65708" y="74217"/>
                    <a:pt x="65652" y="74216"/>
                  </a:cubicBezTo>
                  <a:cubicBezTo>
                    <a:pt x="29307" y="74127"/>
                    <a:pt x="-87" y="43902"/>
                    <a:pt x="0" y="6706"/>
                  </a:cubicBezTo>
                  <a:cubicBezTo>
                    <a:pt x="1" y="6554"/>
                    <a:pt x="1" y="6402"/>
                    <a:pt x="3" y="6250"/>
                  </a:cubicBezTo>
                  <a:cubicBezTo>
                    <a:pt x="3" y="2798"/>
                    <a:pt x="2737" y="0"/>
                    <a:pt x="6110" y="0"/>
                  </a:cubicBezTo>
                  <a:cubicBezTo>
                    <a:pt x="9482" y="0"/>
                    <a:pt x="12217" y="2798"/>
                    <a:pt x="12217" y="6250"/>
                  </a:cubicBezTo>
                  <a:cubicBezTo>
                    <a:pt x="12271" y="36988"/>
                    <a:pt x="36384" y="62012"/>
                    <a:pt x="66415" y="62498"/>
                  </a:cubicBezTo>
                  <a:cubicBezTo>
                    <a:pt x="69285" y="62691"/>
                    <a:pt x="71570" y="65030"/>
                    <a:pt x="71759" y="67966"/>
                  </a:cubicBezTo>
                  <a:close/>
                </a:path>
              </a:pathLst>
            </a:custGeom>
            <a:solidFill>
              <a:srgbClr val="9EC9DF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id="{8017EA75-EE4C-2194-0E34-BFAF3768412B}"/>
                </a:ext>
              </a:extLst>
            </p:cNvPr>
            <p:cNvSpPr/>
            <p:nvPr/>
          </p:nvSpPr>
          <p:spPr>
            <a:xfrm>
              <a:off x="4804282" y="493799"/>
              <a:ext cx="32806" cy="39061"/>
            </a:xfrm>
            <a:custGeom>
              <a:avLst/>
              <a:gdLst>
                <a:gd name="connsiteX0" fmla="*/ 19 w 32806"/>
                <a:gd name="connsiteY0" fmla="*/ 8593 h 39061"/>
                <a:gd name="connsiteX1" fmla="*/ 8378 w 32806"/>
                <a:gd name="connsiteY1" fmla="*/ 1602 h 39061"/>
                <a:gd name="connsiteX2" fmla="*/ 15210 w 32806"/>
                <a:gd name="connsiteY2" fmla="*/ 10156 h 39061"/>
                <a:gd name="connsiteX3" fmla="*/ 7653 w 32806"/>
                <a:gd name="connsiteY3" fmla="*/ 17187 h 39061"/>
                <a:gd name="connsiteX4" fmla="*/ 2 w 32806"/>
                <a:gd name="connsiteY4" fmla="*/ 8960 h 39061"/>
                <a:gd name="connsiteX5" fmla="*/ 19 w 32806"/>
                <a:gd name="connsiteY5" fmla="*/ 8593 h 39061"/>
                <a:gd name="connsiteX6" fmla="*/ 10707 w 32806"/>
                <a:gd name="connsiteY6" fmla="*/ 8593 h 39061"/>
                <a:gd name="connsiteX7" fmla="*/ 8416 w 32806"/>
                <a:gd name="connsiteY7" fmla="*/ 5469 h 39061"/>
                <a:gd name="connsiteX8" fmla="*/ 6126 w 32806"/>
                <a:gd name="connsiteY8" fmla="*/ 8593 h 39061"/>
                <a:gd name="connsiteX9" fmla="*/ 8416 w 32806"/>
                <a:gd name="connsiteY9" fmla="*/ 11718 h 39061"/>
                <a:gd name="connsiteX10" fmla="*/ 10707 w 32806"/>
                <a:gd name="connsiteY10" fmla="*/ 8593 h 39061"/>
                <a:gd name="connsiteX11" fmla="*/ 22920 w 32806"/>
                <a:gd name="connsiteY11" fmla="*/ 1562 h 39061"/>
                <a:gd name="connsiteX12" fmla="*/ 25210 w 32806"/>
                <a:gd name="connsiteY12" fmla="*/ 0 h 39061"/>
                <a:gd name="connsiteX13" fmla="*/ 28264 w 32806"/>
                <a:gd name="connsiteY13" fmla="*/ 3125 h 39061"/>
                <a:gd name="connsiteX14" fmla="*/ 27501 w 32806"/>
                <a:gd name="connsiteY14" fmla="*/ 4687 h 39061"/>
                <a:gd name="connsiteX15" fmla="*/ 10707 w 32806"/>
                <a:gd name="connsiteY15" fmla="*/ 37499 h 39061"/>
                <a:gd name="connsiteX16" fmla="*/ 8416 w 32806"/>
                <a:gd name="connsiteY16" fmla="*/ 39061 h 39061"/>
                <a:gd name="connsiteX17" fmla="*/ 5363 w 32806"/>
                <a:gd name="connsiteY17" fmla="*/ 35936 h 39061"/>
                <a:gd name="connsiteX18" fmla="*/ 6126 w 32806"/>
                <a:gd name="connsiteY18" fmla="*/ 34374 h 39061"/>
                <a:gd name="connsiteX19" fmla="*/ 17577 w 32806"/>
                <a:gd name="connsiteY19" fmla="*/ 30468 h 39061"/>
                <a:gd name="connsiteX20" fmla="*/ 25936 w 32806"/>
                <a:gd name="connsiteY20" fmla="*/ 23476 h 39061"/>
                <a:gd name="connsiteX21" fmla="*/ 32768 w 32806"/>
                <a:gd name="connsiteY21" fmla="*/ 32030 h 39061"/>
                <a:gd name="connsiteX22" fmla="*/ 25210 w 32806"/>
                <a:gd name="connsiteY22" fmla="*/ 39061 h 39061"/>
                <a:gd name="connsiteX23" fmla="*/ 17577 w 32806"/>
                <a:gd name="connsiteY23" fmla="*/ 30468 h 39061"/>
                <a:gd name="connsiteX24" fmla="*/ 28264 w 32806"/>
                <a:gd name="connsiteY24" fmla="*/ 30468 h 39061"/>
                <a:gd name="connsiteX25" fmla="*/ 25974 w 32806"/>
                <a:gd name="connsiteY25" fmla="*/ 27343 h 39061"/>
                <a:gd name="connsiteX26" fmla="*/ 23684 w 32806"/>
                <a:gd name="connsiteY26" fmla="*/ 30468 h 39061"/>
                <a:gd name="connsiteX27" fmla="*/ 25974 w 32806"/>
                <a:gd name="connsiteY27" fmla="*/ 33593 h 39061"/>
                <a:gd name="connsiteX28" fmla="*/ 28264 w 32806"/>
                <a:gd name="connsiteY28" fmla="*/ 30468 h 3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806" h="39061">
                  <a:moveTo>
                    <a:pt x="19" y="8593"/>
                  </a:moveTo>
                  <a:cubicBezTo>
                    <a:pt x="441" y="4301"/>
                    <a:pt x="4184" y="1170"/>
                    <a:pt x="8378" y="1602"/>
                  </a:cubicBezTo>
                  <a:cubicBezTo>
                    <a:pt x="12573" y="2033"/>
                    <a:pt x="15632" y="5863"/>
                    <a:pt x="15210" y="10156"/>
                  </a:cubicBezTo>
                  <a:cubicBezTo>
                    <a:pt x="14820" y="14133"/>
                    <a:pt x="11559" y="17167"/>
                    <a:pt x="7653" y="17187"/>
                  </a:cubicBezTo>
                  <a:cubicBezTo>
                    <a:pt x="3320" y="17077"/>
                    <a:pt x="-105" y="13394"/>
                    <a:pt x="2" y="8960"/>
                  </a:cubicBezTo>
                  <a:cubicBezTo>
                    <a:pt x="5" y="8837"/>
                    <a:pt x="11" y="8715"/>
                    <a:pt x="19" y="8593"/>
                  </a:cubicBezTo>
                  <a:close/>
                  <a:moveTo>
                    <a:pt x="10707" y="8593"/>
                  </a:moveTo>
                  <a:cubicBezTo>
                    <a:pt x="10707" y="7031"/>
                    <a:pt x="9943" y="5469"/>
                    <a:pt x="8416" y="5469"/>
                  </a:cubicBezTo>
                  <a:cubicBezTo>
                    <a:pt x="6890" y="5469"/>
                    <a:pt x="6126" y="7031"/>
                    <a:pt x="6126" y="8593"/>
                  </a:cubicBezTo>
                  <a:cubicBezTo>
                    <a:pt x="6126" y="10156"/>
                    <a:pt x="6890" y="11718"/>
                    <a:pt x="8416" y="11718"/>
                  </a:cubicBezTo>
                  <a:cubicBezTo>
                    <a:pt x="9180" y="11718"/>
                    <a:pt x="10707" y="10937"/>
                    <a:pt x="10707" y="8593"/>
                  </a:cubicBezTo>
                  <a:close/>
                  <a:moveTo>
                    <a:pt x="22920" y="1562"/>
                  </a:moveTo>
                  <a:cubicBezTo>
                    <a:pt x="23684" y="0"/>
                    <a:pt x="24447" y="0"/>
                    <a:pt x="25210" y="0"/>
                  </a:cubicBezTo>
                  <a:cubicBezTo>
                    <a:pt x="26849" y="113"/>
                    <a:pt x="28153" y="1448"/>
                    <a:pt x="28264" y="3125"/>
                  </a:cubicBezTo>
                  <a:cubicBezTo>
                    <a:pt x="28264" y="3906"/>
                    <a:pt x="28264" y="3906"/>
                    <a:pt x="27501" y="4687"/>
                  </a:cubicBezTo>
                  <a:lnTo>
                    <a:pt x="10707" y="37499"/>
                  </a:lnTo>
                  <a:cubicBezTo>
                    <a:pt x="9943" y="38280"/>
                    <a:pt x="9943" y="39061"/>
                    <a:pt x="8416" y="39061"/>
                  </a:cubicBezTo>
                  <a:cubicBezTo>
                    <a:pt x="6778" y="38948"/>
                    <a:pt x="5474" y="37613"/>
                    <a:pt x="5363" y="35936"/>
                  </a:cubicBezTo>
                  <a:cubicBezTo>
                    <a:pt x="5363" y="35155"/>
                    <a:pt x="5363" y="34374"/>
                    <a:pt x="6126" y="34374"/>
                  </a:cubicBezTo>
                  <a:close/>
                  <a:moveTo>
                    <a:pt x="17577" y="30468"/>
                  </a:moveTo>
                  <a:cubicBezTo>
                    <a:pt x="17999" y="26175"/>
                    <a:pt x="21741" y="23044"/>
                    <a:pt x="25936" y="23476"/>
                  </a:cubicBezTo>
                  <a:cubicBezTo>
                    <a:pt x="30130" y="23907"/>
                    <a:pt x="33189" y="27737"/>
                    <a:pt x="32768" y="32030"/>
                  </a:cubicBezTo>
                  <a:cubicBezTo>
                    <a:pt x="32377" y="36007"/>
                    <a:pt x="29116" y="39041"/>
                    <a:pt x="25210" y="39061"/>
                  </a:cubicBezTo>
                  <a:cubicBezTo>
                    <a:pt x="20873" y="38656"/>
                    <a:pt x="17559" y="34925"/>
                    <a:pt x="17577" y="30468"/>
                  </a:cubicBezTo>
                  <a:close/>
                  <a:moveTo>
                    <a:pt x="28264" y="30468"/>
                  </a:moveTo>
                  <a:cubicBezTo>
                    <a:pt x="28264" y="28905"/>
                    <a:pt x="27501" y="27343"/>
                    <a:pt x="25974" y="27343"/>
                  </a:cubicBezTo>
                  <a:cubicBezTo>
                    <a:pt x="24447" y="27343"/>
                    <a:pt x="23684" y="28905"/>
                    <a:pt x="23684" y="30468"/>
                  </a:cubicBezTo>
                  <a:cubicBezTo>
                    <a:pt x="23684" y="32030"/>
                    <a:pt x="24447" y="33593"/>
                    <a:pt x="25974" y="33593"/>
                  </a:cubicBezTo>
                  <a:cubicBezTo>
                    <a:pt x="27501" y="33593"/>
                    <a:pt x="28264" y="32030"/>
                    <a:pt x="28264" y="30468"/>
                  </a:cubicBezTo>
                  <a:close/>
                </a:path>
              </a:pathLst>
            </a:custGeom>
            <a:solidFill>
              <a:srgbClr val="BD5C7A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DBF535C8-24F8-D197-05D1-3D50ED65635E}"/>
                </a:ext>
              </a:extLst>
            </p:cNvPr>
            <p:cNvSpPr/>
            <p:nvPr/>
          </p:nvSpPr>
          <p:spPr>
            <a:xfrm>
              <a:off x="4841700" y="495354"/>
              <a:ext cx="25982" cy="37531"/>
            </a:xfrm>
            <a:custGeom>
              <a:avLst/>
              <a:gdLst>
                <a:gd name="connsiteX0" fmla="*/ 7 w 25982"/>
                <a:gd name="connsiteY0" fmla="*/ 3913 h 37531"/>
                <a:gd name="connsiteX1" fmla="*/ 3383 w 25982"/>
                <a:gd name="connsiteY1" fmla="*/ 7 h 37531"/>
                <a:gd name="connsiteX2" fmla="*/ 3824 w 25982"/>
                <a:gd name="connsiteY2" fmla="*/ 7 h 37531"/>
                <a:gd name="connsiteX3" fmla="*/ 12984 w 25982"/>
                <a:gd name="connsiteY3" fmla="*/ 7 h 37531"/>
                <a:gd name="connsiteX4" fmla="*/ 25961 w 25982"/>
                <a:gd name="connsiteY4" fmla="*/ 11725 h 37531"/>
                <a:gd name="connsiteX5" fmla="*/ 16801 w 25982"/>
                <a:gd name="connsiteY5" fmla="*/ 21881 h 37531"/>
                <a:gd name="connsiteX6" fmla="*/ 25198 w 25982"/>
                <a:gd name="connsiteY6" fmla="*/ 31256 h 37531"/>
                <a:gd name="connsiteX7" fmla="*/ 25961 w 25982"/>
                <a:gd name="connsiteY7" fmla="*/ 33599 h 37531"/>
                <a:gd name="connsiteX8" fmla="*/ 22585 w 25982"/>
                <a:gd name="connsiteY8" fmla="*/ 37506 h 37531"/>
                <a:gd name="connsiteX9" fmla="*/ 22144 w 25982"/>
                <a:gd name="connsiteY9" fmla="*/ 37506 h 37531"/>
                <a:gd name="connsiteX10" fmla="*/ 19091 w 25982"/>
                <a:gd name="connsiteY10" fmla="*/ 35943 h 37531"/>
                <a:gd name="connsiteX11" fmla="*/ 7641 w 25982"/>
                <a:gd name="connsiteY11" fmla="*/ 21881 h 37531"/>
                <a:gd name="connsiteX12" fmla="*/ 7641 w 25982"/>
                <a:gd name="connsiteY12" fmla="*/ 21881 h 37531"/>
                <a:gd name="connsiteX13" fmla="*/ 7641 w 25982"/>
                <a:gd name="connsiteY13" fmla="*/ 32818 h 37531"/>
                <a:gd name="connsiteX14" fmla="*/ 3824 w 25982"/>
                <a:gd name="connsiteY14" fmla="*/ 36724 h 37531"/>
                <a:gd name="connsiteX15" fmla="*/ 7 w 25982"/>
                <a:gd name="connsiteY15" fmla="*/ 32818 h 37531"/>
                <a:gd name="connsiteX16" fmla="*/ 7641 w 25982"/>
                <a:gd name="connsiteY16" fmla="*/ 15631 h 37531"/>
                <a:gd name="connsiteX17" fmla="*/ 12984 w 25982"/>
                <a:gd name="connsiteY17" fmla="*/ 15631 h 37531"/>
                <a:gd name="connsiteX18" fmla="*/ 17564 w 25982"/>
                <a:gd name="connsiteY18" fmla="*/ 12122 h 37531"/>
                <a:gd name="connsiteX19" fmla="*/ 17564 w 25982"/>
                <a:gd name="connsiteY19" fmla="*/ 10944 h 37531"/>
                <a:gd name="connsiteX20" fmla="*/ 13358 w 25982"/>
                <a:gd name="connsiteY20" fmla="*/ 6257 h 37531"/>
                <a:gd name="connsiteX21" fmla="*/ 12984 w 25982"/>
                <a:gd name="connsiteY21" fmla="*/ 6257 h 37531"/>
                <a:gd name="connsiteX22" fmla="*/ 7641 w 25982"/>
                <a:gd name="connsiteY22" fmla="*/ 6257 h 3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982" h="37531">
                  <a:moveTo>
                    <a:pt x="7" y="3913"/>
                  </a:moveTo>
                  <a:cubicBezTo>
                    <a:pt x="-115" y="1880"/>
                    <a:pt x="1397" y="132"/>
                    <a:pt x="3383" y="7"/>
                  </a:cubicBezTo>
                  <a:cubicBezTo>
                    <a:pt x="3530" y="-2"/>
                    <a:pt x="3677" y="-2"/>
                    <a:pt x="3824" y="7"/>
                  </a:cubicBezTo>
                  <a:lnTo>
                    <a:pt x="12984" y="7"/>
                  </a:lnTo>
                  <a:cubicBezTo>
                    <a:pt x="20618" y="7"/>
                    <a:pt x="25961" y="3913"/>
                    <a:pt x="25961" y="11725"/>
                  </a:cubicBezTo>
                  <a:cubicBezTo>
                    <a:pt x="25682" y="16920"/>
                    <a:pt x="21839" y="21181"/>
                    <a:pt x="16801" y="21881"/>
                  </a:cubicBezTo>
                  <a:lnTo>
                    <a:pt x="25198" y="31256"/>
                  </a:lnTo>
                  <a:cubicBezTo>
                    <a:pt x="25785" y="31879"/>
                    <a:pt x="26066" y="32740"/>
                    <a:pt x="25961" y="33599"/>
                  </a:cubicBezTo>
                  <a:cubicBezTo>
                    <a:pt x="26083" y="35632"/>
                    <a:pt x="24572" y="37381"/>
                    <a:pt x="22585" y="37506"/>
                  </a:cubicBezTo>
                  <a:cubicBezTo>
                    <a:pt x="22439" y="37515"/>
                    <a:pt x="22291" y="37515"/>
                    <a:pt x="22144" y="37506"/>
                  </a:cubicBezTo>
                  <a:cubicBezTo>
                    <a:pt x="20911" y="37670"/>
                    <a:pt x="19703" y="37052"/>
                    <a:pt x="19091" y="35943"/>
                  </a:cubicBezTo>
                  <a:lnTo>
                    <a:pt x="7641" y="21881"/>
                  </a:lnTo>
                  <a:lnTo>
                    <a:pt x="7641" y="21881"/>
                  </a:lnTo>
                  <a:lnTo>
                    <a:pt x="7641" y="32818"/>
                  </a:lnTo>
                  <a:cubicBezTo>
                    <a:pt x="7641" y="34975"/>
                    <a:pt x="5932" y="36724"/>
                    <a:pt x="3824" y="36724"/>
                  </a:cubicBezTo>
                  <a:cubicBezTo>
                    <a:pt x="1716" y="36724"/>
                    <a:pt x="7" y="34975"/>
                    <a:pt x="7" y="32818"/>
                  </a:cubicBezTo>
                  <a:close/>
                  <a:moveTo>
                    <a:pt x="7641" y="15631"/>
                  </a:moveTo>
                  <a:lnTo>
                    <a:pt x="12984" y="15631"/>
                  </a:lnTo>
                  <a:cubicBezTo>
                    <a:pt x="15196" y="15957"/>
                    <a:pt x="17246" y="14385"/>
                    <a:pt x="17564" y="12122"/>
                  </a:cubicBezTo>
                  <a:cubicBezTo>
                    <a:pt x="17619" y="11731"/>
                    <a:pt x="17619" y="11335"/>
                    <a:pt x="17564" y="10944"/>
                  </a:cubicBezTo>
                  <a:cubicBezTo>
                    <a:pt x="17668" y="8461"/>
                    <a:pt x="15785" y="6362"/>
                    <a:pt x="13358" y="6257"/>
                  </a:cubicBezTo>
                  <a:cubicBezTo>
                    <a:pt x="13234" y="6251"/>
                    <a:pt x="13109" y="6251"/>
                    <a:pt x="12984" y="6257"/>
                  </a:cubicBezTo>
                  <a:lnTo>
                    <a:pt x="7641" y="6257"/>
                  </a:lnTo>
                  <a:close/>
                </a:path>
              </a:pathLst>
            </a:custGeom>
            <a:solidFill>
              <a:srgbClr val="BD5C7A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id="{6DB47408-9110-CC84-786D-668A2D289E91}"/>
                </a:ext>
              </a:extLst>
            </p:cNvPr>
            <p:cNvSpPr/>
            <p:nvPr/>
          </p:nvSpPr>
          <p:spPr>
            <a:xfrm>
              <a:off x="4869951" y="494580"/>
              <a:ext cx="31297" cy="37498"/>
            </a:xfrm>
            <a:custGeom>
              <a:avLst/>
              <a:gdLst>
                <a:gd name="connsiteX0" fmla="*/ 0 w 31297"/>
                <a:gd name="connsiteY0" fmla="*/ 3906 h 37498"/>
                <a:gd name="connsiteX1" fmla="*/ 3817 w 31297"/>
                <a:gd name="connsiteY1" fmla="*/ 0 h 37498"/>
                <a:gd name="connsiteX2" fmla="*/ 7634 w 31297"/>
                <a:gd name="connsiteY2" fmla="*/ 3906 h 37498"/>
                <a:gd name="connsiteX3" fmla="*/ 7634 w 31297"/>
                <a:gd name="connsiteY3" fmla="*/ 14843 h 37498"/>
                <a:gd name="connsiteX4" fmla="*/ 23664 w 31297"/>
                <a:gd name="connsiteY4" fmla="*/ 14843 h 37498"/>
                <a:gd name="connsiteX5" fmla="*/ 23664 w 31297"/>
                <a:gd name="connsiteY5" fmla="*/ 3906 h 37498"/>
                <a:gd name="connsiteX6" fmla="*/ 27481 w 31297"/>
                <a:gd name="connsiteY6" fmla="*/ 0 h 37498"/>
                <a:gd name="connsiteX7" fmla="*/ 31298 w 31297"/>
                <a:gd name="connsiteY7" fmla="*/ 3906 h 37498"/>
                <a:gd name="connsiteX8" fmla="*/ 31298 w 31297"/>
                <a:gd name="connsiteY8" fmla="*/ 33593 h 37498"/>
                <a:gd name="connsiteX9" fmla="*/ 27481 w 31297"/>
                <a:gd name="connsiteY9" fmla="*/ 37499 h 37498"/>
                <a:gd name="connsiteX10" fmla="*/ 23664 w 31297"/>
                <a:gd name="connsiteY10" fmla="*/ 33593 h 37498"/>
                <a:gd name="connsiteX11" fmla="*/ 23664 w 31297"/>
                <a:gd name="connsiteY11" fmla="*/ 21874 h 37498"/>
                <a:gd name="connsiteX12" fmla="*/ 7634 w 31297"/>
                <a:gd name="connsiteY12" fmla="*/ 21874 h 37498"/>
                <a:gd name="connsiteX13" fmla="*/ 7634 w 31297"/>
                <a:gd name="connsiteY13" fmla="*/ 33593 h 37498"/>
                <a:gd name="connsiteX14" fmla="*/ 3817 w 31297"/>
                <a:gd name="connsiteY14" fmla="*/ 37499 h 37498"/>
                <a:gd name="connsiteX15" fmla="*/ 0 w 31297"/>
                <a:gd name="connsiteY15" fmla="*/ 33593 h 37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297" h="37498">
                  <a:moveTo>
                    <a:pt x="0" y="3906"/>
                  </a:moveTo>
                  <a:cubicBezTo>
                    <a:pt x="0" y="1749"/>
                    <a:pt x="1709" y="0"/>
                    <a:pt x="3817" y="0"/>
                  </a:cubicBezTo>
                  <a:cubicBezTo>
                    <a:pt x="5925" y="0"/>
                    <a:pt x="7634" y="1749"/>
                    <a:pt x="7634" y="3906"/>
                  </a:cubicBezTo>
                  <a:lnTo>
                    <a:pt x="7634" y="14843"/>
                  </a:lnTo>
                  <a:lnTo>
                    <a:pt x="23664" y="14843"/>
                  </a:lnTo>
                  <a:lnTo>
                    <a:pt x="23664" y="3906"/>
                  </a:lnTo>
                  <a:cubicBezTo>
                    <a:pt x="23664" y="1749"/>
                    <a:pt x="25373" y="0"/>
                    <a:pt x="27481" y="0"/>
                  </a:cubicBezTo>
                  <a:cubicBezTo>
                    <a:pt x="29589" y="0"/>
                    <a:pt x="31298" y="1749"/>
                    <a:pt x="31298" y="3906"/>
                  </a:cubicBezTo>
                  <a:lnTo>
                    <a:pt x="31298" y="33593"/>
                  </a:lnTo>
                  <a:cubicBezTo>
                    <a:pt x="31298" y="35750"/>
                    <a:pt x="29589" y="37499"/>
                    <a:pt x="27481" y="37499"/>
                  </a:cubicBezTo>
                  <a:cubicBezTo>
                    <a:pt x="25373" y="37499"/>
                    <a:pt x="23664" y="35750"/>
                    <a:pt x="23664" y="33593"/>
                  </a:cubicBezTo>
                  <a:lnTo>
                    <a:pt x="23664" y="21874"/>
                  </a:lnTo>
                  <a:lnTo>
                    <a:pt x="7634" y="21874"/>
                  </a:lnTo>
                  <a:lnTo>
                    <a:pt x="7634" y="33593"/>
                  </a:lnTo>
                  <a:cubicBezTo>
                    <a:pt x="7634" y="35750"/>
                    <a:pt x="5925" y="37499"/>
                    <a:pt x="3817" y="37499"/>
                  </a:cubicBezTo>
                  <a:cubicBezTo>
                    <a:pt x="1709" y="37499"/>
                    <a:pt x="0" y="35750"/>
                    <a:pt x="0" y="33593"/>
                  </a:cubicBezTo>
                  <a:close/>
                </a:path>
              </a:pathLst>
            </a:custGeom>
            <a:solidFill>
              <a:srgbClr val="BD5C7A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4" name="Picture 23" descr="A green text with a number&#10;&#10;Description automatically generated">
            <a:extLst>
              <a:ext uri="{FF2B5EF4-FFF2-40B4-BE49-F238E27FC236}">
                <a16:creationId xmlns:a16="http://schemas.microsoft.com/office/drawing/2014/main" id="{A0E0DF76-432A-70DE-F65C-95455BCBFF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227365" y="2657369"/>
            <a:ext cx="938488" cy="938488"/>
          </a:xfrm>
          <a:prstGeom prst="rect">
            <a:avLst/>
          </a:prstGeom>
        </p:spPr>
      </p:pic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38C3C2EF-189F-CEE9-F2BE-BBEB9E558F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4461" y="1286302"/>
            <a:ext cx="1135819" cy="1140889"/>
          </a:xfrm>
          <a:prstGeom prst="rect">
            <a:avLst/>
          </a:prstGeom>
        </p:spPr>
      </p:pic>
      <p:pic>
        <p:nvPicPr>
          <p:cNvPr id="27" name="Picture 26" descr="A picture containing plate&#10;&#10;Description automatically generated">
            <a:extLst>
              <a:ext uri="{FF2B5EF4-FFF2-40B4-BE49-F238E27FC236}">
                <a16:creationId xmlns:a16="http://schemas.microsoft.com/office/drawing/2014/main" id="{0DD3DF7A-9D7A-8575-8BAA-E25CBF7CDE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10244" y="2604029"/>
            <a:ext cx="1045168" cy="1045168"/>
          </a:xfrm>
          <a:prstGeom prst="rect">
            <a:avLst/>
          </a:prstGeom>
        </p:spPr>
      </p:pic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EDBA62FD-14FF-1F96-41F1-7DE2A80268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20685" y="3871360"/>
            <a:ext cx="1045168" cy="1045168"/>
          </a:xfrm>
          <a:prstGeom prst="rect">
            <a:avLst/>
          </a:prstGeom>
        </p:spPr>
      </p:pic>
      <p:pic>
        <p:nvPicPr>
          <p:cNvPr id="29" name="Picture 28" descr="A close up of a sign&#10;&#10;Description automatically generated">
            <a:extLst>
              <a:ext uri="{FF2B5EF4-FFF2-40B4-BE49-F238E27FC236}">
                <a16:creationId xmlns:a16="http://schemas.microsoft.com/office/drawing/2014/main" id="{21BC2919-C065-4AD5-B87B-A7ECB4BFA7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64918" y="3826035"/>
            <a:ext cx="1135819" cy="1135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9775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BBE77-EFDF-F584-7AA2-3855C1E12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eSpy – General Information</a:t>
            </a: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48BFFF3B-E685-4374-406E-DA6CF2923D93}"/>
              </a:ext>
            </a:extLst>
          </p:cNvPr>
          <p:cNvSpPr/>
          <p:nvPr/>
        </p:nvSpPr>
        <p:spPr>
          <a:xfrm>
            <a:off x="57149" y="1036864"/>
            <a:ext cx="3339193" cy="426992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DC720-2485-8C86-1290-0775FE774B34}"/>
              </a:ext>
            </a:extLst>
          </p:cNvPr>
          <p:cNvSpPr txBox="1"/>
          <p:nvPr/>
        </p:nvSpPr>
        <p:spPr>
          <a:xfrm>
            <a:off x="3396342" y="1208314"/>
            <a:ext cx="5600701" cy="39549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 eaLnBrk="1" fontAlgn="auto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Sector leading wireless range (1,000 ft line-of-sight)</a:t>
            </a:r>
          </a:p>
          <a:p>
            <a:pPr marL="171450" indent="-171450" algn="l" eaLnBrk="1" fontAlgn="auto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Wide range of sensors: Temperature, Humidity, Door, Analog, Voltage</a:t>
            </a:r>
          </a:p>
          <a:p>
            <a:pPr marL="171450" indent="-171450" algn="l" eaLnBrk="1" fontAlgn="auto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Wide range of temperature: Standard range is -200C to 200C, but optionally can go much higher</a:t>
            </a:r>
          </a:p>
          <a:p>
            <a:pPr marL="171450" indent="-171450" algn="l" eaLnBrk="1" fontAlgn="auto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Best  Accuracy: ±0.5C / ± 3 %RH</a:t>
            </a:r>
          </a:p>
          <a:p>
            <a:pPr marL="171450" indent="-171450" algn="l" eaLnBrk="1" fontAlgn="auto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Durable and Waterproof sensors</a:t>
            </a:r>
          </a:p>
          <a:p>
            <a:pPr marL="171450" indent="-171450" algn="l" eaLnBrk="1" fontAlgn="auto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Battery life up to 2 years with 1.5V lithium AA</a:t>
            </a:r>
          </a:p>
          <a:p>
            <a:pPr marL="171450" indent="-171450" algn="l" eaLnBrk="1" fontAlgn="auto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90 second transmit rate @ 915MHz</a:t>
            </a:r>
          </a:p>
          <a:p>
            <a:pPr marL="171450" indent="-171450" algn="l" eaLnBrk="1" fontAlgn="auto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Memory backup for redundancy</a:t>
            </a:r>
          </a:p>
          <a:p>
            <a:pPr marL="171450" indent="-171450" algn="l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 dirty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051107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666DCA-F7E0-8DB3-CB18-2359D825B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the different RF Typ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B236F4-59B9-8BE7-12FA-9A3D94A58B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6" y="1110343"/>
            <a:ext cx="8092230" cy="436521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.45 GHz – Bluetoo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.4 GHz – Mesh Netwo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.4 GHz – (802.11 Wi-F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868 to 916 MHz – Mesh Net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868 to 916 MHz – Point to Point</a:t>
            </a:r>
          </a:p>
          <a:p>
            <a:pPr marL="415797" lvl="1" indent="-285750"/>
            <a:r>
              <a:rPr lang="en-US" sz="1600" dirty="0"/>
              <a:t>IceSpy 902 to 916 MHz – 1,000ft range with good wall penetration capabilities. Low Battery Consumption. </a:t>
            </a:r>
          </a:p>
        </p:txBody>
      </p:sp>
      <p:grpSp>
        <p:nvGrpSpPr>
          <p:cNvPr id="5" name="Graphic 213">
            <a:extLst>
              <a:ext uri="{FF2B5EF4-FFF2-40B4-BE49-F238E27FC236}">
                <a16:creationId xmlns:a16="http://schemas.microsoft.com/office/drawing/2014/main" id="{F2F946AC-1039-DDA9-E9AD-F6D859540066}"/>
              </a:ext>
            </a:extLst>
          </p:cNvPr>
          <p:cNvGrpSpPr/>
          <p:nvPr/>
        </p:nvGrpSpPr>
        <p:grpSpPr>
          <a:xfrm>
            <a:off x="6371251" y="1053193"/>
            <a:ext cx="1295013" cy="1475921"/>
            <a:chOff x="6373813" y="2801938"/>
            <a:chExt cx="361950" cy="361950"/>
          </a:xfrm>
        </p:grpSpPr>
        <p:sp>
          <p:nvSpPr>
            <p:cNvPr id="6" name="Freeform 137">
              <a:extLst>
                <a:ext uri="{FF2B5EF4-FFF2-40B4-BE49-F238E27FC236}">
                  <a16:creationId xmlns:a16="http://schemas.microsoft.com/office/drawing/2014/main" id="{780CFF9D-E3C3-2914-C40C-D36A8E3AF708}"/>
                </a:ext>
              </a:extLst>
            </p:cNvPr>
            <p:cNvSpPr/>
            <p:nvPr/>
          </p:nvSpPr>
          <p:spPr>
            <a:xfrm>
              <a:off x="6538500" y="3095615"/>
              <a:ext cx="45741" cy="45741"/>
            </a:xfrm>
            <a:custGeom>
              <a:avLst/>
              <a:gdLst>
                <a:gd name="connsiteX0" fmla="*/ 45741 w 45741"/>
                <a:gd name="connsiteY0" fmla="*/ 22871 h 45741"/>
                <a:gd name="connsiteX1" fmla="*/ 22871 w 45741"/>
                <a:gd name="connsiteY1" fmla="*/ 45741 h 45741"/>
                <a:gd name="connsiteX2" fmla="*/ 0 w 45741"/>
                <a:gd name="connsiteY2" fmla="*/ 22871 h 45741"/>
                <a:gd name="connsiteX3" fmla="*/ 22871 w 45741"/>
                <a:gd name="connsiteY3" fmla="*/ 0 h 45741"/>
                <a:gd name="connsiteX4" fmla="*/ 45741 w 45741"/>
                <a:gd name="connsiteY4" fmla="*/ 22871 h 4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41" h="45741">
                  <a:moveTo>
                    <a:pt x="45741" y="22871"/>
                  </a:moveTo>
                  <a:cubicBezTo>
                    <a:pt x="45741" y="35502"/>
                    <a:pt x="35502" y="45741"/>
                    <a:pt x="22871" y="45741"/>
                  </a:cubicBezTo>
                  <a:cubicBezTo>
                    <a:pt x="10240" y="45741"/>
                    <a:pt x="0" y="35502"/>
                    <a:pt x="0" y="22871"/>
                  </a:cubicBezTo>
                  <a:cubicBezTo>
                    <a:pt x="0" y="10240"/>
                    <a:pt x="10240" y="0"/>
                    <a:pt x="22871" y="0"/>
                  </a:cubicBezTo>
                  <a:cubicBezTo>
                    <a:pt x="35502" y="0"/>
                    <a:pt x="45741" y="10240"/>
                    <a:pt x="45741" y="22871"/>
                  </a:cubicBezTo>
                  <a:close/>
                </a:path>
              </a:pathLst>
            </a:custGeom>
            <a:solidFill>
              <a:srgbClr val="BD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8">
              <a:extLst>
                <a:ext uri="{FF2B5EF4-FFF2-40B4-BE49-F238E27FC236}">
                  <a16:creationId xmlns:a16="http://schemas.microsoft.com/office/drawing/2014/main" id="{57C73DCA-1A6F-0F6A-6A35-55F7F7FE1545}"/>
                </a:ext>
              </a:extLst>
            </p:cNvPr>
            <p:cNvSpPr/>
            <p:nvPr/>
          </p:nvSpPr>
          <p:spPr>
            <a:xfrm>
              <a:off x="6384788" y="2849690"/>
              <a:ext cx="354719" cy="99189"/>
            </a:xfrm>
            <a:custGeom>
              <a:avLst/>
              <a:gdLst>
                <a:gd name="connsiteX0" fmla="*/ 350975 w 354719"/>
                <a:gd name="connsiteY0" fmla="*/ 75763 h 99189"/>
                <a:gd name="connsiteX1" fmla="*/ 16252 w 354719"/>
                <a:gd name="connsiteY1" fmla="*/ 63218 h 99189"/>
                <a:gd name="connsiteX2" fmla="*/ 3707 w 354719"/>
                <a:gd name="connsiteY2" fmla="*/ 75763 h 99189"/>
                <a:gd name="connsiteX3" fmla="*/ 4442 w 354719"/>
                <a:gd name="connsiteY3" fmla="*/ 95388 h 99189"/>
                <a:gd name="connsiteX4" fmla="*/ 24066 w 354719"/>
                <a:gd name="connsiteY4" fmla="*/ 94653 h 99189"/>
                <a:gd name="connsiteX5" fmla="*/ 319667 w 354719"/>
                <a:gd name="connsiteY5" fmla="*/ 83809 h 99189"/>
                <a:gd name="connsiteX6" fmla="*/ 330615 w 354719"/>
                <a:gd name="connsiteY6" fmla="*/ 94766 h 99189"/>
                <a:gd name="connsiteX7" fmla="*/ 350296 w 354719"/>
                <a:gd name="connsiteY7" fmla="*/ 95444 h 99189"/>
                <a:gd name="connsiteX8" fmla="*/ 350975 w 354719"/>
                <a:gd name="connsiteY8" fmla="*/ 75763 h 99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719" h="99189">
                  <a:moveTo>
                    <a:pt x="350975" y="75763"/>
                  </a:moveTo>
                  <a:cubicBezTo>
                    <a:pt x="262008" y="-20132"/>
                    <a:pt x="112148" y="-25749"/>
                    <a:pt x="16252" y="63218"/>
                  </a:cubicBezTo>
                  <a:cubicBezTo>
                    <a:pt x="11915" y="67242"/>
                    <a:pt x="7730" y="71426"/>
                    <a:pt x="3707" y="75763"/>
                  </a:cubicBezTo>
                  <a:cubicBezTo>
                    <a:pt x="-1510" y="81386"/>
                    <a:pt x="-1180" y="90172"/>
                    <a:pt x="4442" y="95388"/>
                  </a:cubicBezTo>
                  <a:cubicBezTo>
                    <a:pt x="10064" y="100604"/>
                    <a:pt x="18850" y="100275"/>
                    <a:pt x="24066" y="94653"/>
                  </a:cubicBezTo>
                  <a:cubicBezTo>
                    <a:pt x="102700" y="10030"/>
                    <a:pt x="235045" y="5176"/>
                    <a:pt x="319667" y="83809"/>
                  </a:cubicBezTo>
                  <a:cubicBezTo>
                    <a:pt x="323450" y="87325"/>
                    <a:pt x="327102" y="90980"/>
                    <a:pt x="330615" y="94766"/>
                  </a:cubicBezTo>
                  <a:cubicBezTo>
                    <a:pt x="335863" y="100388"/>
                    <a:pt x="344674" y="100692"/>
                    <a:pt x="350296" y="95444"/>
                  </a:cubicBezTo>
                  <a:cubicBezTo>
                    <a:pt x="355918" y="90197"/>
                    <a:pt x="356222" y="81386"/>
                    <a:pt x="350975" y="75763"/>
                  </a:cubicBez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39">
              <a:extLst>
                <a:ext uri="{FF2B5EF4-FFF2-40B4-BE49-F238E27FC236}">
                  <a16:creationId xmlns:a16="http://schemas.microsoft.com/office/drawing/2014/main" id="{530BBE48-223D-F59B-7DC6-0CCFA2F3455C}"/>
                </a:ext>
              </a:extLst>
            </p:cNvPr>
            <p:cNvSpPr/>
            <p:nvPr/>
          </p:nvSpPr>
          <p:spPr>
            <a:xfrm>
              <a:off x="6435392" y="2930068"/>
              <a:ext cx="253153" cy="76209"/>
            </a:xfrm>
            <a:custGeom>
              <a:avLst/>
              <a:gdLst>
                <a:gd name="connsiteX0" fmla="*/ 249426 w 253153"/>
                <a:gd name="connsiteY0" fmla="*/ 52596 h 76209"/>
                <a:gd name="connsiteX1" fmla="*/ 126657 w 253153"/>
                <a:gd name="connsiteY1" fmla="*/ 0 h 76209"/>
                <a:gd name="connsiteX2" fmla="*/ 4023 w 253153"/>
                <a:gd name="connsiteY2" fmla="*/ 52596 h 76209"/>
                <a:gd name="connsiteX3" fmla="*/ 4091 w 253153"/>
                <a:gd name="connsiteY3" fmla="*/ 72186 h 76209"/>
                <a:gd name="connsiteX4" fmla="*/ 23682 w 253153"/>
                <a:gd name="connsiteY4" fmla="*/ 72119 h 76209"/>
                <a:gd name="connsiteX5" fmla="*/ 126657 w 253153"/>
                <a:gd name="connsiteY5" fmla="*/ 27712 h 76209"/>
                <a:gd name="connsiteX6" fmla="*/ 229745 w 253153"/>
                <a:gd name="connsiteY6" fmla="*/ 72119 h 76209"/>
                <a:gd name="connsiteX7" fmla="*/ 249349 w 253153"/>
                <a:gd name="connsiteY7" fmla="*/ 71598 h 76209"/>
                <a:gd name="connsiteX8" fmla="*/ 249426 w 253153"/>
                <a:gd name="connsiteY8" fmla="*/ 52596 h 7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153" h="76209">
                  <a:moveTo>
                    <a:pt x="249426" y="52596"/>
                  </a:moveTo>
                  <a:cubicBezTo>
                    <a:pt x="217219" y="19300"/>
                    <a:pt x="172980" y="347"/>
                    <a:pt x="126657" y="0"/>
                  </a:cubicBezTo>
                  <a:cubicBezTo>
                    <a:pt x="80380" y="378"/>
                    <a:pt x="36195" y="19329"/>
                    <a:pt x="4023" y="52596"/>
                  </a:cubicBezTo>
                  <a:cubicBezTo>
                    <a:pt x="-1368" y="58024"/>
                    <a:pt x="-1337" y="66795"/>
                    <a:pt x="4091" y="72186"/>
                  </a:cubicBezTo>
                  <a:cubicBezTo>
                    <a:pt x="9520" y="77577"/>
                    <a:pt x="18291" y="77547"/>
                    <a:pt x="23682" y="72119"/>
                  </a:cubicBezTo>
                  <a:cubicBezTo>
                    <a:pt x="50667" y="44112"/>
                    <a:pt x="87767" y="28113"/>
                    <a:pt x="126657" y="27712"/>
                  </a:cubicBezTo>
                  <a:cubicBezTo>
                    <a:pt x="165587" y="28077"/>
                    <a:pt x="202735" y="44080"/>
                    <a:pt x="229745" y="72119"/>
                  </a:cubicBezTo>
                  <a:cubicBezTo>
                    <a:pt x="235302" y="77388"/>
                    <a:pt x="244079" y="77155"/>
                    <a:pt x="249349" y="71598"/>
                  </a:cubicBezTo>
                  <a:cubicBezTo>
                    <a:pt x="254392" y="66279"/>
                    <a:pt x="254426" y="57955"/>
                    <a:pt x="249426" y="52596"/>
                  </a:cubicBez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140">
              <a:extLst>
                <a:ext uri="{FF2B5EF4-FFF2-40B4-BE49-F238E27FC236}">
                  <a16:creationId xmlns:a16="http://schemas.microsoft.com/office/drawing/2014/main" id="{B86174D5-FD80-6B80-D975-A4BCC71AAD92}"/>
                </a:ext>
              </a:extLst>
            </p:cNvPr>
            <p:cNvSpPr/>
            <p:nvPr/>
          </p:nvSpPr>
          <p:spPr>
            <a:xfrm>
              <a:off x="6489379" y="3011099"/>
              <a:ext cx="144399" cy="52962"/>
            </a:xfrm>
            <a:custGeom>
              <a:avLst/>
              <a:gdLst>
                <a:gd name="connsiteX0" fmla="*/ 140060 w 144399"/>
                <a:gd name="connsiteY0" fmla="*/ 28956 h 52962"/>
                <a:gd name="connsiteX1" fmla="*/ 72624 w 144399"/>
                <a:gd name="connsiteY1" fmla="*/ 0 h 52962"/>
                <a:gd name="connsiteX2" fmla="*/ 71539 w 144399"/>
                <a:gd name="connsiteY2" fmla="*/ 0 h 52962"/>
                <a:gd name="connsiteX3" fmla="*/ 4103 w 144399"/>
                <a:gd name="connsiteY3" fmla="*/ 28956 h 52962"/>
                <a:gd name="connsiteX4" fmla="*/ 4012 w 144399"/>
                <a:gd name="connsiteY4" fmla="*/ 48547 h 52962"/>
                <a:gd name="connsiteX5" fmla="*/ 23603 w 144399"/>
                <a:gd name="connsiteY5" fmla="*/ 48637 h 52962"/>
                <a:gd name="connsiteX6" fmla="*/ 71539 w 144399"/>
                <a:gd name="connsiteY6" fmla="*/ 27712 h 52962"/>
                <a:gd name="connsiteX7" fmla="*/ 72557 w 144399"/>
                <a:gd name="connsiteY7" fmla="*/ 27712 h 52962"/>
                <a:gd name="connsiteX8" fmla="*/ 120470 w 144399"/>
                <a:gd name="connsiteY8" fmla="*/ 48637 h 52962"/>
                <a:gd name="connsiteX9" fmla="*/ 140074 w 144399"/>
                <a:gd name="connsiteY9" fmla="*/ 49158 h 52962"/>
                <a:gd name="connsiteX10" fmla="*/ 140595 w 144399"/>
                <a:gd name="connsiteY10" fmla="*/ 29554 h 52962"/>
                <a:gd name="connsiteX11" fmla="*/ 139992 w 144399"/>
                <a:gd name="connsiteY11" fmla="*/ 28956 h 52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4399" h="52962">
                  <a:moveTo>
                    <a:pt x="140060" y="28956"/>
                  </a:moveTo>
                  <a:cubicBezTo>
                    <a:pt x="122067" y="11101"/>
                    <a:pt x="97962" y="751"/>
                    <a:pt x="72624" y="0"/>
                  </a:cubicBezTo>
                  <a:lnTo>
                    <a:pt x="71539" y="0"/>
                  </a:lnTo>
                  <a:cubicBezTo>
                    <a:pt x="46200" y="746"/>
                    <a:pt x="22093" y="11098"/>
                    <a:pt x="4103" y="28956"/>
                  </a:cubicBezTo>
                  <a:cubicBezTo>
                    <a:pt x="-1332" y="34341"/>
                    <a:pt x="-1373" y="43112"/>
                    <a:pt x="4012" y="48547"/>
                  </a:cubicBezTo>
                  <a:cubicBezTo>
                    <a:pt x="9397" y="53981"/>
                    <a:pt x="18168" y="54022"/>
                    <a:pt x="23603" y="48637"/>
                  </a:cubicBezTo>
                  <a:cubicBezTo>
                    <a:pt x="36415" y="35931"/>
                    <a:pt x="53510" y="28469"/>
                    <a:pt x="71539" y="27712"/>
                  </a:cubicBezTo>
                  <a:lnTo>
                    <a:pt x="72557" y="27712"/>
                  </a:lnTo>
                  <a:cubicBezTo>
                    <a:pt x="90577" y="28474"/>
                    <a:pt x="107663" y="35937"/>
                    <a:pt x="120470" y="48637"/>
                  </a:cubicBezTo>
                  <a:cubicBezTo>
                    <a:pt x="125739" y="54194"/>
                    <a:pt x="134517" y="54428"/>
                    <a:pt x="140074" y="49158"/>
                  </a:cubicBezTo>
                  <a:cubicBezTo>
                    <a:pt x="145631" y="43888"/>
                    <a:pt x="145865" y="35111"/>
                    <a:pt x="140595" y="29554"/>
                  </a:cubicBezTo>
                  <a:cubicBezTo>
                    <a:pt x="140400" y="29348"/>
                    <a:pt x="140199" y="29149"/>
                    <a:pt x="139992" y="28956"/>
                  </a:cubicBez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442563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CC619-7A9E-DFD0-EE4D-8913DEBAB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Overview</a:t>
            </a:r>
          </a:p>
        </p:txBody>
      </p:sp>
      <p:pic>
        <p:nvPicPr>
          <p:cNvPr id="5" name="Picture 4" descr="A picture containing monitor, photo, white, black&#10;&#10;Description automatically generated">
            <a:extLst>
              <a:ext uri="{FF2B5EF4-FFF2-40B4-BE49-F238E27FC236}">
                <a16:creationId xmlns:a16="http://schemas.microsoft.com/office/drawing/2014/main" id="{6C8EF238-36B9-3BDE-92C7-E9BAF35A0B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10687"/>
            <a:ext cx="2870674" cy="2835227"/>
          </a:xfrm>
          <a:prstGeom prst="rect">
            <a:avLst/>
          </a:prstGeom>
        </p:spPr>
      </p:pic>
      <p:pic>
        <p:nvPicPr>
          <p:cNvPr id="6" name="Picture 5" descr="A close up of a device&#10;&#10;Description automatically generated">
            <a:extLst>
              <a:ext uri="{FF2B5EF4-FFF2-40B4-BE49-F238E27FC236}">
                <a16:creationId xmlns:a16="http://schemas.microsoft.com/office/drawing/2014/main" id="{A6239B6A-8471-DDD9-028B-D38E9F1B6E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0674" y="1610687"/>
            <a:ext cx="3074440" cy="3036565"/>
          </a:xfrm>
          <a:prstGeom prst="rect">
            <a:avLst/>
          </a:prstGeom>
        </p:spPr>
      </p:pic>
      <p:pic>
        <p:nvPicPr>
          <p:cNvPr id="7" name="Picture 6" descr="A picture containing indoor, photo, white, dryer&#10;&#10;Description automatically generated">
            <a:extLst>
              <a:ext uri="{FF2B5EF4-FFF2-40B4-BE49-F238E27FC236}">
                <a16:creationId xmlns:a16="http://schemas.microsoft.com/office/drawing/2014/main" id="{51798A40-ED0E-9259-3FD7-F9814B83F8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5114" y="1610687"/>
            <a:ext cx="3074440" cy="3074441"/>
          </a:xfrm>
          <a:prstGeom prst="rect">
            <a:avLst/>
          </a:prstGeom>
        </p:spPr>
      </p:pic>
      <p:pic>
        <p:nvPicPr>
          <p:cNvPr id="8" name="Picture 7" descr="A picture containing monitor, photo, white, black&#10;&#10;Description automatically generated">
            <a:extLst>
              <a:ext uri="{FF2B5EF4-FFF2-40B4-BE49-F238E27FC236}">
                <a16:creationId xmlns:a16="http://schemas.microsoft.com/office/drawing/2014/main" id="{7AFAF75B-0086-C2CC-5A10-024CC465BF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65" y="1610687"/>
            <a:ext cx="2870674" cy="2835227"/>
          </a:xfrm>
          <a:prstGeom prst="rect">
            <a:avLst/>
          </a:prstGeom>
        </p:spPr>
      </p:pic>
      <p:pic>
        <p:nvPicPr>
          <p:cNvPr id="9" name="Picture 8" descr="A close up of a device&#10;&#10;Description automatically generated">
            <a:extLst>
              <a:ext uri="{FF2B5EF4-FFF2-40B4-BE49-F238E27FC236}">
                <a16:creationId xmlns:a16="http://schemas.microsoft.com/office/drawing/2014/main" id="{8D1BE0AC-6333-23DF-89B8-EF75C7427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4839" y="1610687"/>
            <a:ext cx="3074440" cy="3036565"/>
          </a:xfrm>
          <a:prstGeom prst="rect">
            <a:avLst/>
          </a:prstGeom>
        </p:spPr>
      </p:pic>
      <p:pic>
        <p:nvPicPr>
          <p:cNvPr id="10" name="Picture 9" descr="A picture containing indoor, photo, white, dryer&#10;&#10;Description automatically generated">
            <a:extLst>
              <a:ext uri="{FF2B5EF4-FFF2-40B4-BE49-F238E27FC236}">
                <a16:creationId xmlns:a16="http://schemas.microsoft.com/office/drawing/2014/main" id="{D30D5030-F1AB-7680-587C-C0B879018D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9279" y="1610687"/>
            <a:ext cx="3074440" cy="3074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3941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651CD-A2E0-0F45-10A5-F968111BD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eSpy Receiv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88D5CF-A7D7-7624-E1A6-CC34C69B1FD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4668" y="1214741"/>
            <a:ext cx="5249332" cy="4001203"/>
          </a:xfrm>
        </p:spPr>
        <p:txBody>
          <a:bodyPr/>
          <a:lstStyle/>
          <a:p>
            <a:r>
              <a:rPr lang="en-US" dirty="0"/>
              <a:t>IceSpy Network Recei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s standard TCP/IP communication protocols for data hand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llects data from up to 200 transmit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board relays for common alarm and power fail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ttery backup for up to 3 days</a:t>
            </a:r>
          </a:p>
          <a:p>
            <a:pPr marL="415797" lvl="1" indent="-285750"/>
            <a:r>
              <a:rPr lang="en-US" sz="1600" dirty="0"/>
              <a:t>5-Year battery lif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emory backup: up to 5 days with 50 measuring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5" name="Picture 4" descr="A picture containing monitor, photo, white, black&#10;&#10;Description automatically generated">
            <a:extLst>
              <a:ext uri="{FF2B5EF4-FFF2-40B4-BE49-F238E27FC236}">
                <a16:creationId xmlns:a16="http://schemas.microsoft.com/office/drawing/2014/main" id="{5406698D-B54B-B770-DF1F-038F267642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1868" y="1283759"/>
            <a:ext cx="2036622" cy="2036622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0D46F32-AE7F-92B0-ACBE-A8D13E4F794B}"/>
              </a:ext>
            </a:extLst>
          </p:cNvPr>
          <p:cNvSpPr txBox="1">
            <a:spLocks/>
          </p:cNvSpPr>
          <p:nvPr/>
        </p:nvSpPr>
        <p:spPr>
          <a:xfrm>
            <a:off x="7425267" y="4922228"/>
            <a:ext cx="1718733" cy="426308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1167" b="1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dirty="0"/>
              <a:t>Requires Ethernet and 115V AC power outlet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5D42BD-8594-80AB-BCDF-F32A0B7945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360" y="3398834"/>
            <a:ext cx="3798308" cy="1949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8324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0770F1E-2DC0-4D7E-B956-67CE840A77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0770F1E-2DC0-4D7E-B956-67CE840A77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4" name="Rectangle 4">
            <a:extLst>
              <a:ext uri="{FF2B5EF4-FFF2-40B4-BE49-F238E27FC236}">
                <a16:creationId xmlns:a16="http://schemas.microsoft.com/office/drawing/2014/main" id="{36A7AA93-D7E3-42AF-A44A-EEDF3E923257}"/>
              </a:ext>
            </a:extLst>
          </p:cNvPr>
          <p:cNvSpPr/>
          <p:nvPr/>
        </p:nvSpPr>
        <p:spPr>
          <a:xfrm>
            <a:off x="3469710" y="0"/>
            <a:ext cx="5674290" cy="5367403"/>
          </a:xfrm>
          <a:custGeom>
            <a:avLst/>
            <a:gdLst>
              <a:gd name="connsiteX0" fmla="*/ 0 w 4940290"/>
              <a:gd name="connsiteY0" fmla="*/ 0 h 5367403"/>
              <a:gd name="connsiteX1" fmla="*/ 4940290 w 4940290"/>
              <a:gd name="connsiteY1" fmla="*/ 0 h 5367403"/>
              <a:gd name="connsiteX2" fmla="*/ 4940290 w 4940290"/>
              <a:gd name="connsiteY2" fmla="*/ 5367403 h 5367403"/>
              <a:gd name="connsiteX3" fmla="*/ 0 w 4940290"/>
              <a:gd name="connsiteY3" fmla="*/ 5367403 h 5367403"/>
              <a:gd name="connsiteX4" fmla="*/ 0 w 4940290"/>
              <a:gd name="connsiteY4" fmla="*/ 0 h 5367403"/>
              <a:gd name="connsiteX0" fmla="*/ 1139868 w 6080158"/>
              <a:gd name="connsiteY0" fmla="*/ 0 h 5367403"/>
              <a:gd name="connsiteX1" fmla="*/ 6080158 w 6080158"/>
              <a:gd name="connsiteY1" fmla="*/ 0 h 5367403"/>
              <a:gd name="connsiteX2" fmla="*/ 6080158 w 6080158"/>
              <a:gd name="connsiteY2" fmla="*/ 5367403 h 5367403"/>
              <a:gd name="connsiteX3" fmla="*/ 0 w 6080158"/>
              <a:gd name="connsiteY3" fmla="*/ 5367403 h 5367403"/>
              <a:gd name="connsiteX4" fmla="*/ 1139868 w 6080158"/>
              <a:gd name="connsiteY4" fmla="*/ 0 h 5367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0158" h="5367403">
                <a:moveTo>
                  <a:pt x="1139868" y="0"/>
                </a:moveTo>
                <a:lnTo>
                  <a:pt x="6080158" y="0"/>
                </a:lnTo>
                <a:lnTo>
                  <a:pt x="6080158" y="5367403"/>
                </a:lnTo>
                <a:lnTo>
                  <a:pt x="0" y="5367403"/>
                </a:lnTo>
                <a:lnTo>
                  <a:pt x="1139868" y="0"/>
                </a:lnTo>
                <a:close/>
              </a:path>
            </a:pathLst>
          </a:custGeom>
          <a:solidFill>
            <a:srgbClr val="EFF5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CDA3A8-0A4C-CA41-B699-6FBB904E6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K"/>
              <a:t>Company overview</a:t>
            </a:r>
            <a:endParaRPr lang="en-US"/>
          </a:p>
        </p:txBody>
      </p:sp>
      <p:pic>
        <p:nvPicPr>
          <p:cNvPr id="145" name="Graphic 54">
            <a:extLst>
              <a:ext uri="{FF2B5EF4-FFF2-40B4-BE49-F238E27FC236}">
                <a16:creationId xmlns:a16="http://schemas.microsoft.com/office/drawing/2014/main" id="{158449C5-8975-4D7D-B365-DE170F4640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63584" y="1846381"/>
            <a:ext cx="5250284" cy="3051267"/>
          </a:xfrm>
          <a:prstGeom prst="rect">
            <a:avLst/>
          </a:prstGeom>
        </p:spPr>
      </p:pic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AB2FC909-FE19-469F-8D98-76B0F79A2C7A}"/>
              </a:ext>
            </a:extLst>
          </p:cNvPr>
          <p:cNvSpPr txBox="1">
            <a:spLocks/>
          </p:cNvSpPr>
          <p:nvPr/>
        </p:nvSpPr>
        <p:spPr>
          <a:xfrm>
            <a:off x="610336" y="1102779"/>
            <a:ext cx="3200454" cy="41147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1167" b="1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5F5F5">
                    <a:lumMod val="10000"/>
                  </a:srgbClr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Global Expertise </a:t>
            </a:r>
            <a:r>
              <a:rPr kumimoji="0" lang="en-DK" sz="1400" b="1" i="0" u="none" strike="noStrike" kern="1200" cap="none" spc="0" normalizeH="0" baseline="0" noProof="0" dirty="0">
                <a:ln>
                  <a:noFill/>
                </a:ln>
                <a:solidFill>
                  <a:srgbClr val="F5F5F5">
                    <a:lumMod val="10000"/>
                  </a:srgbClr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with local reach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5F5F5">
                  <a:lumMod val="10000"/>
                </a:srgbClr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sp>
        <p:nvSpPr>
          <p:cNvPr id="147" name="Text Placeholder 3">
            <a:extLst>
              <a:ext uri="{FF2B5EF4-FFF2-40B4-BE49-F238E27FC236}">
                <a16:creationId xmlns:a16="http://schemas.microsoft.com/office/drawing/2014/main" id="{384E8FE1-ED7B-4935-8C3A-89AA700BA7F0}"/>
              </a:ext>
            </a:extLst>
          </p:cNvPr>
          <p:cNvSpPr txBox="1">
            <a:spLocks/>
          </p:cNvSpPr>
          <p:nvPr/>
        </p:nvSpPr>
        <p:spPr>
          <a:xfrm>
            <a:off x="629964" y="1531246"/>
            <a:ext cx="3200454" cy="2784716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1167" b="1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01497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Arial" panose="020B0604020202020204" pitchFamily="34" charset="0"/>
              <a:buChar char="•"/>
              <a:defRPr sz="1000" b="0" i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99994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Arial" panose="020B0604020202020204" pitchFamily="34" charset="0"/>
              <a:buChar char="•"/>
              <a:defRPr sz="1000" b="0" i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99991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Arial" panose="020B0604020202020204" pitchFamily="34" charset="0"/>
              <a:buChar char="•"/>
              <a:defRPr sz="1000" b="0" i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99988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Arial" panose="020B0604020202020204" pitchFamily="34" charset="0"/>
              <a:buChar char="•"/>
              <a:defRPr sz="1000" b="0" i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Established in Denmark in 1949</a:t>
            </a:r>
          </a:p>
          <a:p>
            <a:pPr marL="0" marR="0" lvl="1" indent="0" algn="l" defTabSz="685800" rtl="0" eaLnBrk="1" fontAlgn="base" latinLnBrk="0" hangingPunct="1">
              <a:lnSpc>
                <a:spcPct val="15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5F5F5">
                    <a:lumMod val="10000"/>
                  </a:srgbClr>
                </a:solidFill>
                <a:effectLst/>
                <a:uLnTx/>
                <a:uFillTx/>
                <a:latin typeface="Avenir Next LT Pro"/>
                <a:ea typeface="Verdana"/>
                <a:cs typeface="Times New Roman"/>
              </a:rPr>
              <a:t>~800+ employees and growing</a:t>
            </a:r>
          </a:p>
          <a:p>
            <a:pPr>
              <a:defRPr/>
            </a:pPr>
            <a:r>
              <a:rPr lang="en-US" sz="1200" dirty="0">
                <a:solidFill>
                  <a:srgbClr val="1F6898"/>
                </a:solidFill>
                <a:latin typeface="Avenir Next LT Pro Demi"/>
              </a:rPr>
              <a:t>US Headquarters – Denver, CO</a:t>
            </a:r>
          </a:p>
          <a:p>
            <a:pPr marL="171450" marR="0" lvl="1" algn="l" defTabSz="685800" rtl="0" eaLnBrk="1" fontAlgn="base" latinLnBrk="0" hangingPunct="1">
              <a:lnSpc>
                <a:spcPct val="15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5F5F5">
                    <a:lumMod val="10000"/>
                  </a:srgbClr>
                </a:solidFill>
                <a:effectLst/>
                <a:uLnTx/>
                <a:uFillTx/>
                <a:latin typeface="Avenir Next LT Pro"/>
                <a:ea typeface="Verdana"/>
                <a:cs typeface="Times New Roman"/>
              </a:rPr>
              <a:t>Multiple offices around US</a:t>
            </a:r>
          </a:p>
          <a:p>
            <a:pPr marL="171450" marR="0" lvl="1" algn="l" defTabSz="685800" rtl="0" eaLnBrk="1" fontAlgn="base" latinLnBrk="0" hangingPunct="1">
              <a:lnSpc>
                <a:spcPct val="15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5F5F5">
                    <a:lumMod val="10000"/>
                  </a:srgbClr>
                </a:solidFill>
                <a:effectLst/>
                <a:uLnTx/>
                <a:uFillTx/>
                <a:latin typeface="Avenir Next LT Pro"/>
                <a:ea typeface="Verdana"/>
                <a:cs typeface="Times New Roman"/>
              </a:rPr>
              <a:t>Validation Equipment</a:t>
            </a:r>
          </a:p>
          <a:p>
            <a:pPr marL="171450" marR="0" lvl="1" algn="l" defTabSz="685800" rtl="0" eaLnBrk="1" fontAlgn="base" latinLnBrk="0" hangingPunct="1">
              <a:lnSpc>
                <a:spcPct val="15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Wingdings" panose="05000000000000000000" pitchFamily="2" charset="2"/>
              <a:buChar char="ü"/>
              <a:tabLst/>
              <a:defRPr/>
            </a:pPr>
            <a:r>
              <a:rPr lang="en-US" sz="1200" dirty="0">
                <a:solidFill>
                  <a:srgbClr val="F5F5F5">
                    <a:lumMod val="10000"/>
                  </a:srgbClr>
                </a:solidFill>
                <a:latin typeface="Avenir Next LT Pro"/>
                <a:ea typeface="Verdana"/>
                <a:cs typeface="Times New Roman"/>
              </a:rPr>
              <a:t>Calibration, Qualifications, Validations</a:t>
            </a:r>
          </a:p>
          <a:p>
            <a:pPr marL="469947" lvl="2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en-US" sz="1200">
                <a:solidFill>
                  <a:srgbClr val="F5F5F5">
                    <a:lumMod val="10000"/>
                  </a:srgbClr>
                </a:solidFill>
                <a:latin typeface="Avenir Next LT Pro"/>
                <a:ea typeface="Verdana"/>
                <a:cs typeface="Times New Roman"/>
              </a:rPr>
              <a:t>150+ </a:t>
            </a:r>
            <a:r>
              <a:rPr lang="en-US" sz="1200" dirty="0">
                <a:solidFill>
                  <a:srgbClr val="F5F5F5">
                    <a:lumMod val="10000"/>
                  </a:srgbClr>
                </a:solidFill>
                <a:latin typeface="Avenir Next LT Pro"/>
                <a:ea typeface="Verdana"/>
                <a:cs typeface="Times New Roman"/>
              </a:rPr>
              <a:t>engineers located around US</a:t>
            </a:r>
          </a:p>
          <a:p>
            <a:pPr marL="171450" marR="0" lvl="1" algn="l" defTabSz="685800" rtl="0" eaLnBrk="1" fontAlgn="base" latinLnBrk="0" hangingPunct="1">
              <a:lnSpc>
                <a:spcPct val="15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5F5F5">
                    <a:lumMod val="10000"/>
                  </a:srgbClr>
                </a:solidFill>
                <a:effectLst/>
                <a:uLnTx/>
                <a:uFillTx/>
                <a:latin typeface="Avenir Next LT Pro"/>
                <a:ea typeface="Verdana"/>
                <a:cs typeface="Times New Roman"/>
              </a:rPr>
              <a:t>Continuous monitoring</a:t>
            </a:r>
          </a:p>
          <a:p>
            <a:pPr marL="469947" lvl="2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sz="1200" dirty="0">
                <a:solidFill>
                  <a:srgbClr val="F5F5F5">
                    <a:lumMod val="10000"/>
                  </a:srgbClr>
                </a:solidFill>
                <a:latin typeface="Avenir Next LT Pro"/>
                <a:ea typeface="Verdana"/>
                <a:cs typeface="Times New Roman"/>
              </a:rPr>
              <a:t>40+ years of experie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5F5F5">
                  <a:lumMod val="10000"/>
                </a:srgbClr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5774FB36-3A9E-4FE8-8E3A-E27706A6BD3F}"/>
              </a:ext>
            </a:extLst>
          </p:cNvPr>
          <p:cNvSpPr/>
          <p:nvPr/>
        </p:nvSpPr>
        <p:spPr>
          <a:xfrm>
            <a:off x="1229322" y="4735784"/>
            <a:ext cx="21774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0047" marR="0" lvl="1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lab performs direct sales in 24 countries and is represented by a dedicated Distribution Network in +50 countries</a:t>
            </a: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B44B5276-F66B-4813-B64E-103A6EB78C10}"/>
              </a:ext>
            </a:extLst>
          </p:cNvPr>
          <p:cNvSpPr/>
          <p:nvPr/>
        </p:nvSpPr>
        <p:spPr>
          <a:xfrm>
            <a:off x="4760230" y="3074552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9A9EC5F1-65A1-4060-884D-97F98289FEA5}"/>
              </a:ext>
            </a:extLst>
          </p:cNvPr>
          <p:cNvSpPr/>
          <p:nvPr/>
        </p:nvSpPr>
        <p:spPr>
          <a:xfrm>
            <a:off x="4981046" y="3240204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grpSp>
        <p:nvGrpSpPr>
          <p:cNvPr id="151" name="Graphic 73">
            <a:extLst>
              <a:ext uri="{FF2B5EF4-FFF2-40B4-BE49-F238E27FC236}">
                <a16:creationId xmlns:a16="http://schemas.microsoft.com/office/drawing/2014/main" id="{2912B19D-0795-40F6-B37F-7DE3F4C79FCC}"/>
              </a:ext>
            </a:extLst>
          </p:cNvPr>
          <p:cNvGrpSpPr/>
          <p:nvPr/>
        </p:nvGrpSpPr>
        <p:grpSpPr>
          <a:xfrm>
            <a:off x="709520" y="4735824"/>
            <a:ext cx="551859" cy="597848"/>
            <a:chOff x="6443524" y="716304"/>
            <a:chExt cx="303213" cy="328481"/>
          </a:xfrm>
        </p:grpSpPr>
        <p:sp>
          <p:nvSpPr>
            <p:cNvPr id="152" name="Freeform 76">
              <a:extLst>
                <a:ext uri="{FF2B5EF4-FFF2-40B4-BE49-F238E27FC236}">
                  <a16:creationId xmlns:a16="http://schemas.microsoft.com/office/drawing/2014/main" id="{CC73DB4A-CF1F-4E27-BB16-70C636A5B3A5}"/>
                </a:ext>
              </a:extLst>
            </p:cNvPr>
            <p:cNvSpPr/>
            <p:nvPr/>
          </p:nvSpPr>
          <p:spPr>
            <a:xfrm>
              <a:off x="6454742" y="732472"/>
              <a:ext cx="292047" cy="308826"/>
            </a:xfrm>
            <a:custGeom>
              <a:avLst/>
              <a:gdLst>
                <a:gd name="connsiteX0" fmla="*/ 0 w 292047"/>
                <a:gd name="connsiteY0" fmla="*/ 0 h 308826"/>
                <a:gd name="connsiteX1" fmla="*/ 292048 w 292047"/>
                <a:gd name="connsiteY1" fmla="*/ 0 h 308826"/>
                <a:gd name="connsiteX2" fmla="*/ 292048 w 292047"/>
                <a:gd name="connsiteY2" fmla="*/ 308827 h 308826"/>
                <a:gd name="connsiteX3" fmla="*/ 0 w 292047"/>
                <a:gd name="connsiteY3" fmla="*/ 308827 h 308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2047" h="308826">
                  <a:moveTo>
                    <a:pt x="0" y="0"/>
                  </a:moveTo>
                  <a:lnTo>
                    <a:pt x="292048" y="0"/>
                  </a:lnTo>
                  <a:lnTo>
                    <a:pt x="292048" y="308827"/>
                  </a:lnTo>
                  <a:lnTo>
                    <a:pt x="0" y="308827"/>
                  </a:lnTo>
                  <a:close/>
                </a:path>
              </a:pathLst>
            </a:custGeom>
            <a:noFill/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3" name="Freeform 79">
              <a:extLst>
                <a:ext uri="{FF2B5EF4-FFF2-40B4-BE49-F238E27FC236}">
                  <a16:creationId xmlns:a16="http://schemas.microsoft.com/office/drawing/2014/main" id="{7A34F5A9-B9D6-45FC-841B-696E278D224A}"/>
                </a:ext>
              </a:extLst>
            </p:cNvPr>
            <p:cNvSpPr/>
            <p:nvPr/>
          </p:nvSpPr>
          <p:spPr>
            <a:xfrm>
              <a:off x="6455527" y="806344"/>
              <a:ext cx="266342" cy="234464"/>
            </a:xfrm>
            <a:custGeom>
              <a:avLst/>
              <a:gdLst>
                <a:gd name="connsiteX0" fmla="*/ 253290 w 266342"/>
                <a:gd name="connsiteY0" fmla="*/ 39527 h 234464"/>
                <a:gd name="connsiteX1" fmla="*/ 246672 w 266342"/>
                <a:gd name="connsiteY1" fmla="*/ 42776 h 234464"/>
                <a:gd name="connsiteX2" fmla="*/ 258926 w 266342"/>
                <a:gd name="connsiteY2" fmla="*/ 98271 h 234464"/>
                <a:gd name="connsiteX3" fmla="*/ 258926 w 266342"/>
                <a:gd name="connsiteY3" fmla="*/ 99548 h 234464"/>
                <a:gd name="connsiteX4" fmla="*/ 253575 w 266342"/>
                <a:gd name="connsiteY4" fmla="*/ 100114 h 234464"/>
                <a:gd name="connsiteX5" fmla="*/ 252790 w 266342"/>
                <a:gd name="connsiteY5" fmla="*/ 100114 h 234464"/>
                <a:gd name="connsiteX6" fmla="*/ 250311 w 266342"/>
                <a:gd name="connsiteY6" fmla="*/ 100223 h 234464"/>
                <a:gd name="connsiteX7" fmla="*/ 236595 w 266342"/>
                <a:gd name="connsiteY7" fmla="*/ 109859 h 234464"/>
                <a:gd name="connsiteX8" fmla="*/ 235971 w 266342"/>
                <a:gd name="connsiteY8" fmla="*/ 111319 h 234464"/>
                <a:gd name="connsiteX9" fmla="*/ 222183 w 266342"/>
                <a:gd name="connsiteY9" fmla="*/ 120443 h 234464"/>
                <a:gd name="connsiteX10" fmla="*/ 211642 w 266342"/>
                <a:gd name="connsiteY10" fmla="*/ 120443 h 234464"/>
                <a:gd name="connsiteX11" fmla="*/ 205275 w 266342"/>
                <a:gd name="connsiteY11" fmla="*/ 114549 h 234464"/>
                <a:gd name="connsiteX12" fmla="*/ 204847 w 266342"/>
                <a:gd name="connsiteY12" fmla="*/ 110242 h 234464"/>
                <a:gd name="connsiteX13" fmla="*/ 197712 w 266342"/>
                <a:gd name="connsiteY13" fmla="*/ 98362 h 234464"/>
                <a:gd name="connsiteX14" fmla="*/ 194270 w 266342"/>
                <a:gd name="connsiteY14" fmla="*/ 91865 h 234464"/>
                <a:gd name="connsiteX15" fmla="*/ 194270 w 266342"/>
                <a:gd name="connsiteY15" fmla="*/ 87558 h 234464"/>
                <a:gd name="connsiteX16" fmla="*/ 197570 w 266342"/>
                <a:gd name="connsiteY16" fmla="*/ 80058 h 234464"/>
                <a:gd name="connsiteX17" fmla="*/ 215566 w 266342"/>
                <a:gd name="connsiteY17" fmla="*/ 63798 h 234464"/>
                <a:gd name="connsiteX18" fmla="*/ 220329 w 266342"/>
                <a:gd name="connsiteY18" fmla="*/ 46590 h 234464"/>
                <a:gd name="connsiteX19" fmla="*/ 206523 w 266342"/>
                <a:gd name="connsiteY19" fmla="*/ 34691 h 234464"/>
                <a:gd name="connsiteX20" fmla="*/ 204740 w 266342"/>
                <a:gd name="connsiteY20" fmla="*/ 34472 h 234464"/>
                <a:gd name="connsiteX21" fmla="*/ 198176 w 266342"/>
                <a:gd name="connsiteY21" fmla="*/ 30822 h 234464"/>
                <a:gd name="connsiteX22" fmla="*/ 197409 w 266342"/>
                <a:gd name="connsiteY22" fmla="*/ 23121 h 234464"/>
                <a:gd name="connsiteX23" fmla="*/ 208450 w 266342"/>
                <a:gd name="connsiteY23" fmla="*/ 3796 h 234464"/>
                <a:gd name="connsiteX24" fmla="*/ 202118 w 266342"/>
                <a:gd name="connsiteY24" fmla="*/ 0 h 234464"/>
                <a:gd name="connsiteX25" fmla="*/ 191042 w 266342"/>
                <a:gd name="connsiteY25" fmla="*/ 19453 h 234464"/>
                <a:gd name="connsiteX26" fmla="*/ 192647 w 266342"/>
                <a:gd name="connsiteY26" fmla="*/ 35877 h 234464"/>
                <a:gd name="connsiteX27" fmla="*/ 203830 w 266342"/>
                <a:gd name="connsiteY27" fmla="*/ 41936 h 234464"/>
                <a:gd name="connsiteX28" fmla="*/ 205614 w 266342"/>
                <a:gd name="connsiteY28" fmla="*/ 42173 h 234464"/>
                <a:gd name="connsiteX29" fmla="*/ 213301 w 266342"/>
                <a:gd name="connsiteY29" fmla="*/ 48779 h 234464"/>
                <a:gd name="connsiteX30" fmla="*/ 210697 w 266342"/>
                <a:gd name="connsiteY30" fmla="*/ 58178 h 234464"/>
                <a:gd name="connsiteX31" fmla="*/ 192700 w 266342"/>
                <a:gd name="connsiteY31" fmla="*/ 74437 h 234464"/>
                <a:gd name="connsiteX32" fmla="*/ 186922 w 266342"/>
                <a:gd name="connsiteY32" fmla="*/ 87577 h 234464"/>
                <a:gd name="connsiteX33" fmla="*/ 186922 w 266342"/>
                <a:gd name="connsiteY33" fmla="*/ 91883 h 234464"/>
                <a:gd name="connsiteX34" fmla="*/ 193735 w 266342"/>
                <a:gd name="connsiteY34" fmla="*/ 104658 h 234464"/>
                <a:gd name="connsiteX35" fmla="*/ 197516 w 266342"/>
                <a:gd name="connsiteY35" fmla="*/ 110954 h 234464"/>
                <a:gd name="connsiteX36" fmla="*/ 197926 w 266342"/>
                <a:gd name="connsiteY36" fmla="*/ 115279 h 234464"/>
                <a:gd name="connsiteX37" fmla="*/ 211607 w 266342"/>
                <a:gd name="connsiteY37" fmla="*/ 127943 h 234464"/>
                <a:gd name="connsiteX38" fmla="*/ 222059 w 266342"/>
                <a:gd name="connsiteY38" fmla="*/ 127943 h 234464"/>
                <a:gd name="connsiteX39" fmla="*/ 242570 w 266342"/>
                <a:gd name="connsiteY39" fmla="*/ 114238 h 234464"/>
                <a:gd name="connsiteX40" fmla="*/ 243194 w 266342"/>
                <a:gd name="connsiteY40" fmla="*/ 112760 h 234464"/>
                <a:gd name="connsiteX41" fmla="*/ 250525 w 266342"/>
                <a:gd name="connsiteY41" fmla="*/ 107614 h 234464"/>
                <a:gd name="connsiteX42" fmla="*/ 253004 w 266342"/>
                <a:gd name="connsiteY42" fmla="*/ 107505 h 234464"/>
                <a:gd name="connsiteX43" fmla="*/ 254199 w 266342"/>
                <a:gd name="connsiteY43" fmla="*/ 107505 h 234464"/>
                <a:gd name="connsiteX44" fmla="*/ 258587 w 266342"/>
                <a:gd name="connsiteY44" fmla="*/ 107048 h 234464"/>
                <a:gd name="connsiteX45" fmla="*/ 124315 w 266342"/>
                <a:gd name="connsiteY45" fmla="*/ 226539 h 234464"/>
                <a:gd name="connsiteX46" fmla="*/ 7528 w 266342"/>
                <a:gd name="connsiteY46" fmla="*/ 89159 h 234464"/>
                <a:gd name="connsiteX47" fmla="*/ 10024 w 266342"/>
                <a:gd name="connsiteY47" fmla="*/ 71098 h 234464"/>
                <a:gd name="connsiteX48" fmla="*/ 16890 w 266342"/>
                <a:gd name="connsiteY48" fmla="*/ 69711 h 234464"/>
                <a:gd name="connsiteX49" fmla="*/ 32622 w 266342"/>
                <a:gd name="connsiteY49" fmla="*/ 77011 h 234464"/>
                <a:gd name="connsiteX50" fmla="*/ 37973 w 266342"/>
                <a:gd name="connsiteY50" fmla="*/ 83945 h 234464"/>
                <a:gd name="connsiteX51" fmla="*/ 47961 w 266342"/>
                <a:gd name="connsiteY51" fmla="*/ 93581 h 234464"/>
                <a:gd name="connsiteX52" fmla="*/ 57396 w 266342"/>
                <a:gd name="connsiteY52" fmla="*/ 99055 h 234464"/>
                <a:gd name="connsiteX53" fmla="*/ 58555 w 266342"/>
                <a:gd name="connsiteY53" fmla="*/ 99384 h 234464"/>
                <a:gd name="connsiteX54" fmla="*/ 67598 w 266342"/>
                <a:gd name="connsiteY54" fmla="*/ 108508 h 234464"/>
                <a:gd name="connsiteX55" fmla="*/ 72949 w 266342"/>
                <a:gd name="connsiteY55" fmla="*/ 128290 h 234464"/>
                <a:gd name="connsiteX56" fmla="*/ 77373 w 266342"/>
                <a:gd name="connsiteY56" fmla="*/ 137415 h 234464"/>
                <a:gd name="connsiteX57" fmla="*/ 93603 w 266342"/>
                <a:gd name="connsiteY57" fmla="*/ 159204 h 234464"/>
                <a:gd name="connsiteX58" fmla="*/ 96136 w 266342"/>
                <a:gd name="connsiteY58" fmla="*/ 165153 h 234464"/>
                <a:gd name="connsiteX59" fmla="*/ 100559 w 266342"/>
                <a:gd name="connsiteY59" fmla="*/ 192380 h 234464"/>
                <a:gd name="connsiteX60" fmla="*/ 113285 w 266342"/>
                <a:gd name="connsiteY60" fmla="*/ 201725 h 234464"/>
                <a:gd name="connsiteX61" fmla="*/ 113294 w 266342"/>
                <a:gd name="connsiteY61" fmla="*/ 201724 h 234464"/>
                <a:gd name="connsiteX62" fmla="*/ 115809 w 266342"/>
                <a:gd name="connsiteY62" fmla="*/ 200976 h 234464"/>
                <a:gd name="connsiteX63" fmla="*/ 124727 w 266342"/>
                <a:gd name="connsiteY63" fmla="*/ 188566 h 234464"/>
                <a:gd name="connsiteX64" fmla="*/ 129293 w 266342"/>
                <a:gd name="connsiteY64" fmla="*/ 177471 h 234464"/>
                <a:gd name="connsiteX65" fmla="*/ 133984 w 266342"/>
                <a:gd name="connsiteY65" fmla="*/ 171668 h 234464"/>
                <a:gd name="connsiteX66" fmla="*/ 137213 w 266342"/>
                <a:gd name="connsiteY66" fmla="*/ 165609 h 234464"/>
                <a:gd name="connsiteX67" fmla="*/ 142046 w 266342"/>
                <a:gd name="connsiteY67" fmla="*/ 149550 h 234464"/>
                <a:gd name="connsiteX68" fmla="*/ 147593 w 266342"/>
                <a:gd name="connsiteY68" fmla="*/ 141375 h 234464"/>
                <a:gd name="connsiteX69" fmla="*/ 162112 w 266342"/>
                <a:gd name="connsiteY69" fmla="*/ 129969 h 234464"/>
                <a:gd name="connsiteX70" fmla="*/ 164377 w 266342"/>
                <a:gd name="connsiteY70" fmla="*/ 112395 h 234464"/>
                <a:gd name="connsiteX71" fmla="*/ 163984 w 266342"/>
                <a:gd name="connsiteY71" fmla="*/ 111903 h 234464"/>
                <a:gd name="connsiteX72" fmla="*/ 158509 w 266342"/>
                <a:gd name="connsiteY72" fmla="*/ 105406 h 234464"/>
                <a:gd name="connsiteX73" fmla="*/ 157011 w 266342"/>
                <a:gd name="connsiteY73" fmla="*/ 115206 h 234464"/>
                <a:gd name="connsiteX74" fmla="*/ 158402 w 266342"/>
                <a:gd name="connsiteY74" fmla="*/ 116866 h 234464"/>
                <a:gd name="connsiteX75" fmla="*/ 159543 w 266342"/>
                <a:gd name="connsiteY75" fmla="*/ 120644 h 234464"/>
                <a:gd name="connsiteX76" fmla="*/ 157653 w 266342"/>
                <a:gd name="connsiteY76" fmla="*/ 124111 h 234464"/>
                <a:gd name="connsiteX77" fmla="*/ 143170 w 266342"/>
                <a:gd name="connsiteY77" fmla="*/ 135517 h 234464"/>
                <a:gd name="connsiteX78" fmla="*/ 135054 w 266342"/>
                <a:gd name="connsiteY78" fmla="*/ 147433 h 234464"/>
                <a:gd name="connsiteX79" fmla="*/ 130221 w 266342"/>
                <a:gd name="connsiteY79" fmla="*/ 163492 h 234464"/>
                <a:gd name="connsiteX80" fmla="*/ 128437 w 266342"/>
                <a:gd name="connsiteY80" fmla="*/ 166960 h 234464"/>
                <a:gd name="connsiteX81" fmla="*/ 123728 w 266342"/>
                <a:gd name="connsiteY81" fmla="*/ 172763 h 234464"/>
                <a:gd name="connsiteX82" fmla="*/ 117504 w 266342"/>
                <a:gd name="connsiteY82" fmla="*/ 187873 h 234464"/>
                <a:gd name="connsiteX83" fmla="*/ 112973 w 266342"/>
                <a:gd name="connsiteY83" fmla="*/ 194151 h 234464"/>
                <a:gd name="connsiteX84" fmla="*/ 108034 w 266342"/>
                <a:gd name="connsiteY84" fmla="*/ 192055 h 234464"/>
                <a:gd name="connsiteX85" fmla="*/ 108033 w 266342"/>
                <a:gd name="connsiteY85" fmla="*/ 192052 h 234464"/>
                <a:gd name="connsiteX86" fmla="*/ 107801 w 266342"/>
                <a:gd name="connsiteY86" fmla="*/ 191231 h 234464"/>
                <a:gd name="connsiteX87" fmla="*/ 103377 w 266342"/>
                <a:gd name="connsiteY87" fmla="*/ 164022 h 234464"/>
                <a:gd name="connsiteX88" fmla="*/ 99454 w 266342"/>
                <a:gd name="connsiteY88" fmla="*/ 154751 h 234464"/>
                <a:gd name="connsiteX89" fmla="*/ 83401 w 266342"/>
                <a:gd name="connsiteY89" fmla="*/ 132852 h 234464"/>
                <a:gd name="connsiteX90" fmla="*/ 80226 w 266342"/>
                <a:gd name="connsiteY90" fmla="*/ 126283 h 234464"/>
                <a:gd name="connsiteX91" fmla="*/ 74875 w 266342"/>
                <a:gd name="connsiteY91" fmla="*/ 106501 h 234464"/>
                <a:gd name="connsiteX92" fmla="*/ 60607 w 266342"/>
                <a:gd name="connsiteY92" fmla="*/ 92029 h 234464"/>
                <a:gd name="connsiteX93" fmla="*/ 59340 w 266342"/>
                <a:gd name="connsiteY93" fmla="*/ 91774 h 234464"/>
                <a:gd name="connsiteX94" fmla="*/ 53008 w 266342"/>
                <a:gd name="connsiteY94" fmla="*/ 88124 h 234464"/>
                <a:gd name="connsiteX95" fmla="*/ 43002 w 266342"/>
                <a:gd name="connsiteY95" fmla="*/ 78489 h 234464"/>
                <a:gd name="connsiteX96" fmla="*/ 38936 w 266342"/>
                <a:gd name="connsiteY96" fmla="*/ 73251 h 234464"/>
                <a:gd name="connsiteX97" fmla="*/ 15446 w 266342"/>
                <a:gd name="connsiteY97" fmla="*/ 62302 h 234464"/>
                <a:gd name="connsiteX98" fmla="*/ 11879 w 266342"/>
                <a:gd name="connsiteY98" fmla="*/ 63014 h 234464"/>
                <a:gd name="connsiteX99" fmla="*/ 27253 w 266342"/>
                <a:gd name="connsiteY99" fmla="*/ 28341 h 234464"/>
                <a:gd name="connsiteX100" fmla="*/ 22295 w 266342"/>
                <a:gd name="connsiteY100" fmla="*/ 22756 h 234464"/>
                <a:gd name="connsiteX101" fmla="*/ 59439 w 266342"/>
                <a:gd name="connsiteY101" fmla="*/ 211653 h 234464"/>
                <a:gd name="connsiteX102" fmla="*/ 244062 w 266342"/>
                <a:gd name="connsiteY102" fmla="*/ 173649 h 234464"/>
                <a:gd name="connsiteX103" fmla="*/ 253361 w 266342"/>
                <a:gd name="connsiteY103" fmla="*/ 39527 h 234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66342" h="234464">
                  <a:moveTo>
                    <a:pt x="253290" y="39527"/>
                  </a:moveTo>
                  <a:lnTo>
                    <a:pt x="246672" y="42776"/>
                  </a:lnTo>
                  <a:cubicBezTo>
                    <a:pt x="254788" y="60094"/>
                    <a:pt x="258977" y="79064"/>
                    <a:pt x="258926" y="98271"/>
                  </a:cubicBezTo>
                  <a:lnTo>
                    <a:pt x="258926" y="99548"/>
                  </a:lnTo>
                  <a:lnTo>
                    <a:pt x="253575" y="100114"/>
                  </a:lnTo>
                  <a:lnTo>
                    <a:pt x="252790" y="100114"/>
                  </a:lnTo>
                  <a:lnTo>
                    <a:pt x="250311" y="100223"/>
                  </a:lnTo>
                  <a:cubicBezTo>
                    <a:pt x="244312" y="100479"/>
                    <a:pt x="238983" y="104222"/>
                    <a:pt x="236595" y="109859"/>
                  </a:cubicBezTo>
                  <a:lnTo>
                    <a:pt x="235971" y="111319"/>
                  </a:lnTo>
                  <a:cubicBezTo>
                    <a:pt x="233547" y="116886"/>
                    <a:pt x="228140" y="120464"/>
                    <a:pt x="222183" y="120443"/>
                  </a:cubicBezTo>
                  <a:lnTo>
                    <a:pt x="211642" y="120443"/>
                  </a:lnTo>
                  <a:cubicBezTo>
                    <a:pt x="208350" y="120458"/>
                    <a:pt x="205588" y="117902"/>
                    <a:pt x="205275" y="114549"/>
                  </a:cubicBezTo>
                  <a:lnTo>
                    <a:pt x="204847" y="110242"/>
                  </a:lnTo>
                  <a:cubicBezTo>
                    <a:pt x="204379" y="105371"/>
                    <a:pt x="201748" y="100990"/>
                    <a:pt x="197712" y="98362"/>
                  </a:cubicBezTo>
                  <a:cubicBezTo>
                    <a:pt x="195553" y="96943"/>
                    <a:pt x="194254" y="94491"/>
                    <a:pt x="194270" y="91865"/>
                  </a:cubicBezTo>
                  <a:lnTo>
                    <a:pt x="194270" y="87558"/>
                  </a:lnTo>
                  <a:cubicBezTo>
                    <a:pt x="194268" y="84690"/>
                    <a:pt x="195469" y="81958"/>
                    <a:pt x="197570" y="80058"/>
                  </a:cubicBezTo>
                  <a:lnTo>
                    <a:pt x="215566" y="63798"/>
                  </a:lnTo>
                  <a:cubicBezTo>
                    <a:pt x="220311" y="59511"/>
                    <a:pt x="222172" y="52785"/>
                    <a:pt x="220329" y="46590"/>
                  </a:cubicBezTo>
                  <a:cubicBezTo>
                    <a:pt x="218431" y="40179"/>
                    <a:pt x="213020" y="35515"/>
                    <a:pt x="206523" y="34691"/>
                  </a:cubicBezTo>
                  <a:lnTo>
                    <a:pt x="204740" y="34472"/>
                  </a:lnTo>
                  <a:cubicBezTo>
                    <a:pt x="202188" y="34121"/>
                    <a:pt x="199852" y="32822"/>
                    <a:pt x="198176" y="30822"/>
                  </a:cubicBezTo>
                  <a:cubicBezTo>
                    <a:pt x="196350" y="28682"/>
                    <a:pt x="196042" y="25595"/>
                    <a:pt x="197409" y="23121"/>
                  </a:cubicBezTo>
                  <a:lnTo>
                    <a:pt x="208450" y="3796"/>
                  </a:lnTo>
                  <a:lnTo>
                    <a:pt x="202118" y="0"/>
                  </a:lnTo>
                  <a:lnTo>
                    <a:pt x="191042" y="19453"/>
                  </a:lnTo>
                  <a:cubicBezTo>
                    <a:pt x="188114" y="24721"/>
                    <a:pt x="188758" y="31307"/>
                    <a:pt x="192647" y="35877"/>
                  </a:cubicBezTo>
                  <a:cubicBezTo>
                    <a:pt x="195519" y="39236"/>
                    <a:pt x="199501" y="41393"/>
                    <a:pt x="203830" y="41936"/>
                  </a:cubicBezTo>
                  <a:lnTo>
                    <a:pt x="205614" y="42173"/>
                  </a:lnTo>
                  <a:cubicBezTo>
                    <a:pt x="209228" y="42626"/>
                    <a:pt x="212241" y="45215"/>
                    <a:pt x="213301" y="48779"/>
                  </a:cubicBezTo>
                  <a:cubicBezTo>
                    <a:pt x="214283" y="52164"/>
                    <a:pt x="213269" y="55824"/>
                    <a:pt x="210697" y="58178"/>
                  </a:cubicBezTo>
                  <a:lnTo>
                    <a:pt x="192700" y="74437"/>
                  </a:lnTo>
                  <a:cubicBezTo>
                    <a:pt x="189025" y="77769"/>
                    <a:pt x="186922" y="82553"/>
                    <a:pt x="186922" y="87577"/>
                  </a:cubicBezTo>
                  <a:lnTo>
                    <a:pt x="186922" y="91883"/>
                  </a:lnTo>
                  <a:cubicBezTo>
                    <a:pt x="186920" y="97050"/>
                    <a:pt x="189487" y="101863"/>
                    <a:pt x="193735" y="104658"/>
                  </a:cubicBezTo>
                  <a:cubicBezTo>
                    <a:pt x="195869" y="106055"/>
                    <a:pt x="197262" y="108374"/>
                    <a:pt x="197516" y="110954"/>
                  </a:cubicBezTo>
                  <a:lnTo>
                    <a:pt x="197926" y="115279"/>
                  </a:lnTo>
                  <a:cubicBezTo>
                    <a:pt x="198624" y="122472"/>
                    <a:pt x="204542" y="127951"/>
                    <a:pt x="211607" y="127943"/>
                  </a:cubicBezTo>
                  <a:lnTo>
                    <a:pt x="222059" y="127943"/>
                  </a:lnTo>
                  <a:cubicBezTo>
                    <a:pt x="230944" y="127929"/>
                    <a:pt x="238985" y="122556"/>
                    <a:pt x="242570" y="114238"/>
                  </a:cubicBezTo>
                  <a:lnTo>
                    <a:pt x="243194" y="112760"/>
                  </a:lnTo>
                  <a:cubicBezTo>
                    <a:pt x="244474" y="109751"/>
                    <a:pt x="247320" y="107753"/>
                    <a:pt x="250525" y="107614"/>
                  </a:cubicBezTo>
                  <a:lnTo>
                    <a:pt x="253004" y="107505"/>
                  </a:lnTo>
                  <a:lnTo>
                    <a:pt x="254199" y="107505"/>
                  </a:lnTo>
                  <a:lnTo>
                    <a:pt x="258587" y="107048"/>
                  </a:lnTo>
                  <a:cubicBezTo>
                    <a:pt x="253759" y="177981"/>
                    <a:pt x="193643" y="231479"/>
                    <a:pt x="124315" y="226539"/>
                  </a:cubicBezTo>
                  <a:cubicBezTo>
                    <a:pt x="54987" y="221599"/>
                    <a:pt x="2700" y="160092"/>
                    <a:pt x="7528" y="89159"/>
                  </a:cubicBezTo>
                  <a:cubicBezTo>
                    <a:pt x="7942" y="83086"/>
                    <a:pt x="8775" y="77050"/>
                    <a:pt x="10024" y="71098"/>
                  </a:cubicBezTo>
                  <a:lnTo>
                    <a:pt x="16890" y="69711"/>
                  </a:lnTo>
                  <a:cubicBezTo>
                    <a:pt x="23120" y="68455"/>
                    <a:pt x="29441" y="71388"/>
                    <a:pt x="32622" y="77011"/>
                  </a:cubicBezTo>
                  <a:cubicBezTo>
                    <a:pt x="34062" y="79579"/>
                    <a:pt x="35865" y="81916"/>
                    <a:pt x="37973" y="83945"/>
                  </a:cubicBezTo>
                  <a:lnTo>
                    <a:pt x="47961" y="93581"/>
                  </a:lnTo>
                  <a:cubicBezTo>
                    <a:pt x="50619" y="96171"/>
                    <a:pt x="53859" y="98051"/>
                    <a:pt x="57396" y="99055"/>
                  </a:cubicBezTo>
                  <a:lnTo>
                    <a:pt x="58555" y="99384"/>
                  </a:lnTo>
                  <a:cubicBezTo>
                    <a:pt x="62924" y="100594"/>
                    <a:pt x="66355" y="104055"/>
                    <a:pt x="67598" y="108508"/>
                  </a:cubicBezTo>
                  <a:lnTo>
                    <a:pt x="72949" y="128290"/>
                  </a:lnTo>
                  <a:cubicBezTo>
                    <a:pt x="73839" y="131593"/>
                    <a:pt x="75340" y="134691"/>
                    <a:pt x="77373" y="137415"/>
                  </a:cubicBezTo>
                  <a:lnTo>
                    <a:pt x="93603" y="159204"/>
                  </a:lnTo>
                  <a:cubicBezTo>
                    <a:pt x="94908" y="160947"/>
                    <a:pt x="95777" y="162989"/>
                    <a:pt x="96136" y="165153"/>
                  </a:cubicBezTo>
                  <a:lnTo>
                    <a:pt x="100559" y="192380"/>
                  </a:lnTo>
                  <a:cubicBezTo>
                    <a:pt x="101551" y="198556"/>
                    <a:pt x="107249" y="202740"/>
                    <a:pt x="113285" y="201725"/>
                  </a:cubicBezTo>
                  <a:cubicBezTo>
                    <a:pt x="113288" y="201725"/>
                    <a:pt x="113291" y="201724"/>
                    <a:pt x="113294" y="201724"/>
                  </a:cubicBezTo>
                  <a:cubicBezTo>
                    <a:pt x="114158" y="201575"/>
                    <a:pt x="115002" y="201324"/>
                    <a:pt x="115809" y="200976"/>
                  </a:cubicBezTo>
                  <a:cubicBezTo>
                    <a:pt x="120769" y="198810"/>
                    <a:pt x="124185" y="194056"/>
                    <a:pt x="124727" y="188566"/>
                  </a:cubicBezTo>
                  <a:cubicBezTo>
                    <a:pt x="125136" y="184485"/>
                    <a:pt x="126726" y="180622"/>
                    <a:pt x="129293" y="177471"/>
                  </a:cubicBezTo>
                  <a:lnTo>
                    <a:pt x="133984" y="171668"/>
                  </a:lnTo>
                  <a:cubicBezTo>
                    <a:pt x="135442" y="169887"/>
                    <a:pt x="136540" y="167828"/>
                    <a:pt x="137213" y="165609"/>
                  </a:cubicBezTo>
                  <a:lnTo>
                    <a:pt x="142046" y="149550"/>
                  </a:lnTo>
                  <a:cubicBezTo>
                    <a:pt x="143012" y="146298"/>
                    <a:pt x="144953" y="143438"/>
                    <a:pt x="147593" y="141375"/>
                  </a:cubicBezTo>
                  <a:lnTo>
                    <a:pt x="162112" y="129969"/>
                  </a:lnTo>
                  <a:cubicBezTo>
                    <a:pt x="167479" y="125755"/>
                    <a:pt x="168493" y="117889"/>
                    <a:pt x="164377" y="112395"/>
                  </a:cubicBezTo>
                  <a:lnTo>
                    <a:pt x="163984" y="111903"/>
                  </a:lnTo>
                  <a:lnTo>
                    <a:pt x="158509" y="105406"/>
                  </a:lnTo>
                  <a:cubicBezTo>
                    <a:pt x="159083" y="108752"/>
                    <a:pt x="158556" y="112199"/>
                    <a:pt x="157011" y="115206"/>
                  </a:cubicBezTo>
                  <a:lnTo>
                    <a:pt x="158402" y="116866"/>
                  </a:lnTo>
                  <a:cubicBezTo>
                    <a:pt x="159275" y="117910"/>
                    <a:pt x="159688" y="119277"/>
                    <a:pt x="159543" y="120644"/>
                  </a:cubicBezTo>
                  <a:cubicBezTo>
                    <a:pt x="159396" y="122013"/>
                    <a:pt x="158714" y="123263"/>
                    <a:pt x="157653" y="124111"/>
                  </a:cubicBezTo>
                  <a:lnTo>
                    <a:pt x="143170" y="135517"/>
                  </a:lnTo>
                  <a:cubicBezTo>
                    <a:pt x="139313" y="138523"/>
                    <a:pt x="136475" y="142691"/>
                    <a:pt x="135054" y="147433"/>
                  </a:cubicBezTo>
                  <a:lnTo>
                    <a:pt x="130221" y="163492"/>
                  </a:lnTo>
                  <a:cubicBezTo>
                    <a:pt x="129862" y="164760"/>
                    <a:pt x="129255" y="165939"/>
                    <a:pt x="128437" y="166960"/>
                  </a:cubicBezTo>
                  <a:lnTo>
                    <a:pt x="123728" y="172763"/>
                  </a:lnTo>
                  <a:cubicBezTo>
                    <a:pt x="120237" y="177058"/>
                    <a:pt x="118071" y="182317"/>
                    <a:pt x="117504" y="187873"/>
                  </a:cubicBezTo>
                  <a:cubicBezTo>
                    <a:pt x="117237" y="190659"/>
                    <a:pt x="115497" y="193070"/>
                    <a:pt x="112973" y="194151"/>
                  </a:cubicBezTo>
                  <a:cubicBezTo>
                    <a:pt x="111044" y="194967"/>
                    <a:pt x="108832" y="194029"/>
                    <a:pt x="108034" y="192055"/>
                  </a:cubicBezTo>
                  <a:cubicBezTo>
                    <a:pt x="108033" y="192054"/>
                    <a:pt x="108033" y="192053"/>
                    <a:pt x="108033" y="192052"/>
                  </a:cubicBezTo>
                  <a:cubicBezTo>
                    <a:pt x="107929" y="191787"/>
                    <a:pt x="107851" y="191512"/>
                    <a:pt x="107801" y="191231"/>
                  </a:cubicBezTo>
                  <a:lnTo>
                    <a:pt x="103377" y="164022"/>
                  </a:lnTo>
                  <a:cubicBezTo>
                    <a:pt x="102821" y="160652"/>
                    <a:pt x="101475" y="157471"/>
                    <a:pt x="99454" y="154751"/>
                  </a:cubicBezTo>
                  <a:lnTo>
                    <a:pt x="83401" y="132852"/>
                  </a:lnTo>
                  <a:cubicBezTo>
                    <a:pt x="81941" y="130891"/>
                    <a:pt x="80864" y="128660"/>
                    <a:pt x="80226" y="126283"/>
                  </a:cubicBezTo>
                  <a:lnTo>
                    <a:pt x="74875" y="106501"/>
                  </a:lnTo>
                  <a:cubicBezTo>
                    <a:pt x="72940" y="99444"/>
                    <a:pt x="67521" y="93947"/>
                    <a:pt x="60607" y="92029"/>
                  </a:cubicBezTo>
                  <a:lnTo>
                    <a:pt x="59340" y="91774"/>
                  </a:lnTo>
                  <a:cubicBezTo>
                    <a:pt x="56966" y="91114"/>
                    <a:pt x="54790" y="89860"/>
                    <a:pt x="53008" y="88124"/>
                  </a:cubicBezTo>
                  <a:lnTo>
                    <a:pt x="43002" y="78489"/>
                  </a:lnTo>
                  <a:cubicBezTo>
                    <a:pt x="41411" y="76950"/>
                    <a:pt x="40041" y="75186"/>
                    <a:pt x="38936" y="73251"/>
                  </a:cubicBezTo>
                  <a:cubicBezTo>
                    <a:pt x="34196" y="64842"/>
                    <a:pt x="24758" y="60442"/>
                    <a:pt x="15446" y="62302"/>
                  </a:cubicBezTo>
                  <a:lnTo>
                    <a:pt x="11879" y="63014"/>
                  </a:lnTo>
                  <a:cubicBezTo>
                    <a:pt x="15282" y="50735"/>
                    <a:pt x="20464" y="39048"/>
                    <a:pt x="27253" y="28341"/>
                  </a:cubicBezTo>
                  <a:cubicBezTo>
                    <a:pt x="25768" y="26331"/>
                    <a:pt x="24108" y="24462"/>
                    <a:pt x="22295" y="22756"/>
                  </a:cubicBezTo>
                  <a:cubicBezTo>
                    <a:pt x="-18430" y="85413"/>
                    <a:pt x="-1800" y="169985"/>
                    <a:pt x="59439" y="211653"/>
                  </a:cubicBezTo>
                  <a:cubicBezTo>
                    <a:pt x="120678" y="253321"/>
                    <a:pt x="203337" y="236306"/>
                    <a:pt x="244062" y="173649"/>
                  </a:cubicBezTo>
                  <a:cubicBezTo>
                    <a:pt x="270009" y="133729"/>
                    <a:pt x="273540" y="82795"/>
                    <a:pt x="253361" y="39527"/>
                  </a:cubicBezTo>
                  <a:close/>
                </a:path>
              </a:pathLst>
            </a:custGeom>
            <a:solidFill>
              <a:srgbClr val="1F6898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4" name="Freeform 80">
              <a:extLst>
                <a:ext uri="{FF2B5EF4-FFF2-40B4-BE49-F238E27FC236}">
                  <a16:creationId xmlns:a16="http://schemas.microsoft.com/office/drawing/2014/main" id="{E3240843-89DC-46E0-A6C3-871550130511}"/>
                </a:ext>
              </a:extLst>
            </p:cNvPr>
            <p:cNvSpPr/>
            <p:nvPr/>
          </p:nvSpPr>
          <p:spPr>
            <a:xfrm>
              <a:off x="6560243" y="879413"/>
              <a:ext cx="6902" cy="4197"/>
            </a:xfrm>
            <a:custGeom>
              <a:avLst/>
              <a:gdLst>
                <a:gd name="connsiteX0" fmla="*/ 6903 w 6902"/>
                <a:gd name="connsiteY0" fmla="*/ 4197 h 4197"/>
                <a:gd name="connsiteX1" fmla="*/ 6064 w 6902"/>
                <a:gd name="connsiteY1" fmla="*/ 3048 h 4197"/>
                <a:gd name="connsiteX2" fmla="*/ 0 w 6902"/>
                <a:gd name="connsiteY2" fmla="*/ 0 h 4197"/>
                <a:gd name="connsiteX3" fmla="*/ 910 w 6902"/>
                <a:gd name="connsiteY3" fmla="*/ 511 h 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02" h="4197">
                  <a:moveTo>
                    <a:pt x="6903" y="4197"/>
                  </a:moveTo>
                  <a:cubicBezTo>
                    <a:pt x="6635" y="3814"/>
                    <a:pt x="6350" y="3413"/>
                    <a:pt x="6064" y="3048"/>
                  </a:cubicBezTo>
                  <a:cubicBezTo>
                    <a:pt x="4427" y="1375"/>
                    <a:pt x="2295" y="304"/>
                    <a:pt x="0" y="0"/>
                  </a:cubicBezTo>
                  <a:lnTo>
                    <a:pt x="910" y="511"/>
                  </a:lnTo>
                  <a:close/>
                </a:path>
              </a:pathLst>
            </a:custGeom>
            <a:solidFill>
              <a:srgbClr val="66A3C7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5" name="Freeform 81">
              <a:extLst>
                <a:ext uri="{FF2B5EF4-FFF2-40B4-BE49-F238E27FC236}">
                  <a16:creationId xmlns:a16="http://schemas.microsoft.com/office/drawing/2014/main" id="{81048AAA-7463-4E8C-9993-6C2018034123}"/>
                </a:ext>
              </a:extLst>
            </p:cNvPr>
            <p:cNvSpPr/>
            <p:nvPr/>
          </p:nvSpPr>
          <p:spPr>
            <a:xfrm>
              <a:off x="6508296" y="768336"/>
              <a:ext cx="146798" cy="117372"/>
            </a:xfrm>
            <a:custGeom>
              <a:avLst/>
              <a:gdLst>
                <a:gd name="connsiteX0" fmla="*/ 10282 w 146798"/>
                <a:gd name="connsiteY0" fmla="*/ 110073 h 117372"/>
                <a:gd name="connsiteX1" fmla="*/ 21929 w 146798"/>
                <a:gd name="connsiteY1" fmla="*/ 117373 h 117372"/>
                <a:gd name="connsiteX2" fmla="*/ 20520 w 146798"/>
                <a:gd name="connsiteY2" fmla="*/ 113723 h 117372"/>
                <a:gd name="connsiteX3" fmla="*/ 22303 w 146798"/>
                <a:gd name="connsiteY3" fmla="*/ 109800 h 117372"/>
                <a:gd name="connsiteX4" fmla="*/ 16399 w 146798"/>
                <a:gd name="connsiteY4" fmla="*/ 106004 h 117372"/>
                <a:gd name="connsiteX5" fmla="*/ 8766 w 146798"/>
                <a:gd name="connsiteY5" fmla="*/ 93667 h 117372"/>
                <a:gd name="connsiteX6" fmla="*/ 8926 w 146798"/>
                <a:gd name="connsiteY6" fmla="*/ 83247 h 117372"/>
                <a:gd name="connsiteX7" fmla="*/ 19895 w 146798"/>
                <a:gd name="connsiteY7" fmla="*/ 78174 h 117372"/>
                <a:gd name="connsiteX8" fmla="*/ 31489 w 146798"/>
                <a:gd name="connsiteY8" fmla="*/ 79671 h 117372"/>
                <a:gd name="connsiteX9" fmla="*/ 48932 w 146798"/>
                <a:gd name="connsiteY9" fmla="*/ 70911 h 117372"/>
                <a:gd name="connsiteX10" fmla="*/ 59634 w 146798"/>
                <a:gd name="connsiteY10" fmla="*/ 65546 h 117372"/>
                <a:gd name="connsiteX11" fmla="*/ 64664 w 146798"/>
                <a:gd name="connsiteY11" fmla="*/ 66203 h 117372"/>
                <a:gd name="connsiteX12" fmla="*/ 80716 w 146798"/>
                <a:gd name="connsiteY12" fmla="*/ 59359 h 117372"/>
                <a:gd name="connsiteX13" fmla="*/ 85157 w 146798"/>
                <a:gd name="connsiteY13" fmla="*/ 53483 h 117372"/>
                <a:gd name="connsiteX14" fmla="*/ 85817 w 146798"/>
                <a:gd name="connsiteY14" fmla="*/ 26438 h 117372"/>
                <a:gd name="connsiteX15" fmla="*/ 73100 w 146798"/>
                <a:gd name="connsiteY15" fmla="*/ 7733 h 117372"/>
                <a:gd name="connsiteX16" fmla="*/ 80235 w 146798"/>
                <a:gd name="connsiteY16" fmla="*/ 7514 h 117372"/>
                <a:gd name="connsiteX17" fmla="*/ 143125 w 146798"/>
                <a:gd name="connsiteY17" fmla="*/ 24723 h 117372"/>
                <a:gd name="connsiteX18" fmla="*/ 146799 w 146798"/>
                <a:gd name="connsiteY18" fmla="*/ 18226 h 117372"/>
                <a:gd name="connsiteX19" fmla="*/ 30543 w 146798"/>
                <a:gd name="connsiteY19" fmla="*/ 9850 h 117372"/>
                <a:gd name="connsiteX20" fmla="*/ 28029 w 146798"/>
                <a:gd name="connsiteY20" fmla="*/ 19084 h 117372"/>
                <a:gd name="connsiteX21" fmla="*/ 64682 w 146798"/>
                <a:gd name="connsiteY21" fmla="*/ 8500 h 117372"/>
                <a:gd name="connsiteX22" fmla="*/ 79789 w 146798"/>
                <a:gd name="connsiteY22" fmla="*/ 30782 h 117372"/>
                <a:gd name="connsiteX23" fmla="*/ 79325 w 146798"/>
                <a:gd name="connsiteY23" fmla="*/ 48903 h 117372"/>
                <a:gd name="connsiteX24" fmla="*/ 74902 w 146798"/>
                <a:gd name="connsiteY24" fmla="*/ 54779 h 117372"/>
                <a:gd name="connsiteX25" fmla="*/ 65556 w 146798"/>
                <a:gd name="connsiteY25" fmla="*/ 58739 h 117372"/>
                <a:gd name="connsiteX26" fmla="*/ 60544 w 146798"/>
                <a:gd name="connsiteY26" fmla="*/ 58082 h 117372"/>
                <a:gd name="connsiteX27" fmla="*/ 42708 w 146798"/>
                <a:gd name="connsiteY27" fmla="*/ 67079 h 117372"/>
                <a:gd name="connsiteX28" fmla="*/ 32505 w 146798"/>
                <a:gd name="connsiteY28" fmla="*/ 72207 h 117372"/>
                <a:gd name="connsiteX29" fmla="*/ 20841 w 146798"/>
                <a:gd name="connsiteY29" fmla="*/ 70729 h 117372"/>
                <a:gd name="connsiteX30" fmla="*/ 2862 w 146798"/>
                <a:gd name="connsiteY30" fmla="*/ 79050 h 117372"/>
                <a:gd name="connsiteX31" fmla="*/ 2576 w 146798"/>
                <a:gd name="connsiteY31" fmla="*/ 97719 h 11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6798" h="117372">
                  <a:moveTo>
                    <a:pt x="10282" y="110073"/>
                  </a:moveTo>
                  <a:cubicBezTo>
                    <a:pt x="12850" y="114220"/>
                    <a:pt x="17151" y="116915"/>
                    <a:pt x="21929" y="117373"/>
                  </a:cubicBezTo>
                  <a:cubicBezTo>
                    <a:pt x="21034" y="116376"/>
                    <a:pt x="20532" y="115076"/>
                    <a:pt x="20520" y="113723"/>
                  </a:cubicBezTo>
                  <a:cubicBezTo>
                    <a:pt x="20469" y="112199"/>
                    <a:pt x="21131" y="110742"/>
                    <a:pt x="22303" y="109800"/>
                  </a:cubicBezTo>
                  <a:cubicBezTo>
                    <a:pt x="19880" y="109500"/>
                    <a:pt x="17714" y="108108"/>
                    <a:pt x="16399" y="106004"/>
                  </a:cubicBezTo>
                  <a:lnTo>
                    <a:pt x="8766" y="93667"/>
                  </a:lnTo>
                  <a:cubicBezTo>
                    <a:pt x="6779" y="90473"/>
                    <a:pt x="6842" y="86376"/>
                    <a:pt x="8926" y="83247"/>
                  </a:cubicBezTo>
                  <a:cubicBezTo>
                    <a:pt x="11343" y="79561"/>
                    <a:pt x="15594" y="77595"/>
                    <a:pt x="19895" y="78174"/>
                  </a:cubicBezTo>
                  <a:lnTo>
                    <a:pt x="31489" y="79671"/>
                  </a:lnTo>
                  <a:cubicBezTo>
                    <a:pt x="38492" y="80581"/>
                    <a:pt x="45352" y="77136"/>
                    <a:pt x="48932" y="70911"/>
                  </a:cubicBezTo>
                  <a:cubicBezTo>
                    <a:pt x="51106" y="67068"/>
                    <a:pt x="55334" y="64949"/>
                    <a:pt x="59634" y="65546"/>
                  </a:cubicBezTo>
                  <a:lnTo>
                    <a:pt x="64664" y="66203"/>
                  </a:lnTo>
                  <a:cubicBezTo>
                    <a:pt x="70820" y="66981"/>
                    <a:pt x="76921" y="64380"/>
                    <a:pt x="80716" y="59359"/>
                  </a:cubicBezTo>
                  <a:lnTo>
                    <a:pt x="85157" y="53483"/>
                  </a:lnTo>
                  <a:cubicBezTo>
                    <a:pt x="91148" y="45591"/>
                    <a:pt x="91415" y="34627"/>
                    <a:pt x="85817" y="26438"/>
                  </a:cubicBezTo>
                  <a:lnTo>
                    <a:pt x="73100" y="7733"/>
                  </a:lnTo>
                  <a:cubicBezTo>
                    <a:pt x="75455" y="7605"/>
                    <a:pt x="77845" y="7514"/>
                    <a:pt x="80235" y="7514"/>
                  </a:cubicBezTo>
                  <a:cubicBezTo>
                    <a:pt x="102310" y="7511"/>
                    <a:pt x="123998" y="13446"/>
                    <a:pt x="143125" y="24723"/>
                  </a:cubicBezTo>
                  <a:lnTo>
                    <a:pt x="146799" y="18226"/>
                  </a:lnTo>
                  <a:cubicBezTo>
                    <a:pt x="111361" y="-2686"/>
                    <a:pt x="68496" y="-5775"/>
                    <a:pt x="30543" y="9850"/>
                  </a:cubicBezTo>
                  <a:cubicBezTo>
                    <a:pt x="30044" y="12898"/>
                    <a:pt x="28760" y="16109"/>
                    <a:pt x="28029" y="19084"/>
                  </a:cubicBezTo>
                  <a:cubicBezTo>
                    <a:pt x="39669" y="13724"/>
                    <a:pt x="52020" y="10157"/>
                    <a:pt x="64682" y="8500"/>
                  </a:cubicBezTo>
                  <a:lnTo>
                    <a:pt x="79789" y="30782"/>
                  </a:lnTo>
                  <a:cubicBezTo>
                    <a:pt x="83521" y="36277"/>
                    <a:pt x="83333" y="43615"/>
                    <a:pt x="79325" y="48903"/>
                  </a:cubicBezTo>
                  <a:lnTo>
                    <a:pt x="74902" y="54779"/>
                  </a:lnTo>
                  <a:cubicBezTo>
                    <a:pt x="72695" y="57704"/>
                    <a:pt x="69137" y="59211"/>
                    <a:pt x="65556" y="58739"/>
                  </a:cubicBezTo>
                  <a:lnTo>
                    <a:pt x="60544" y="58082"/>
                  </a:lnTo>
                  <a:cubicBezTo>
                    <a:pt x="53382" y="57207"/>
                    <a:pt x="46390" y="60734"/>
                    <a:pt x="42708" y="67079"/>
                  </a:cubicBezTo>
                  <a:cubicBezTo>
                    <a:pt x="40618" y="70725"/>
                    <a:pt x="36603" y="72743"/>
                    <a:pt x="32505" y="72207"/>
                  </a:cubicBezTo>
                  <a:lnTo>
                    <a:pt x="20841" y="70729"/>
                  </a:lnTo>
                  <a:cubicBezTo>
                    <a:pt x="13791" y="69794"/>
                    <a:pt x="6830" y="73016"/>
                    <a:pt x="2862" y="79050"/>
                  </a:cubicBezTo>
                  <a:cubicBezTo>
                    <a:pt x="-848" y="84663"/>
                    <a:pt x="-960" y="91990"/>
                    <a:pt x="2576" y="97719"/>
                  </a:cubicBezTo>
                  <a:close/>
                </a:path>
              </a:pathLst>
            </a:custGeom>
            <a:solidFill>
              <a:srgbClr val="1F6898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6" name="Freeform 82">
              <a:extLst>
                <a:ext uri="{FF2B5EF4-FFF2-40B4-BE49-F238E27FC236}">
                  <a16:creationId xmlns:a16="http://schemas.microsoft.com/office/drawing/2014/main" id="{8A379C5F-BB09-449C-AC1B-FEA1CC593CF2}"/>
                </a:ext>
              </a:extLst>
            </p:cNvPr>
            <p:cNvSpPr/>
            <p:nvPr/>
          </p:nvSpPr>
          <p:spPr>
            <a:xfrm>
              <a:off x="6648905" y="732911"/>
              <a:ext cx="97147" cy="131652"/>
            </a:xfrm>
            <a:custGeom>
              <a:avLst/>
              <a:gdLst>
                <a:gd name="connsiteX0" fmla="*/ 82474 w 97147"/>
                <a:gd name="connsiteY0" fmla="*/ 14415 h 131652"/>
                <a:gd name="connsiteX1" fmla="*/ 14894 w 97147"/>
                <a:gd name="connsiteY1" fmla="*/ 14215 h 131652"/>
                <a:gd name="connsiteX2" fmla="*/ 14697 w 97147"/>
                <a:gd name="connsiteY2" fmla="*/ 14415 h 131652"/>
                <a:gd name="connsiteX3" fmla="*/ 10292 w 97147"/>
                <a:gd name="connsiteY3" fmla="*/ 81754 h 131652"/>
                <a:gd name="connsiteX4" fmla="*/ 45643 w 97147"/>
                <a:gd name="connsiteY4" fmla="*/ 130077 h 131652"/>
                <a:gd name="connsiteX5" fmla="*/ 50601 w 97147"/>
                <a:gd name="connsiteY5" fmla="*/ 131008 h 131652"/>
                <a:gd name="connsiteX6" fmla="*/ 51511 w 97147"/>
                <a:gd name="connsiteY6" fmla="*/ 130077 h 131652"/>
                <a:gd name="connsiteX7" fmla="*/ 86844 w 97147"/>
                <a:gd name="connsiteY7" fmla="*/ 81754 h 131652"/>
                <a:gd name="connsiteX8" fmla="*/ 97064 w 97147"/>
                <a:gd name="connsiteY8" fmla="*/ 47665 h 131652"/>
                <a:gd name="connsiteX9" fmla="*/ 82457 w 97147"/>
                <a:gd name="connsiteY9" fmla="*/ 14415 h 131652"/>
                <a:gd name="connsiteX10" fmla="*/ 80994 w 97147"/>
                <a:gd name="connsiteY10" fmla="*/ 77246 h 131652"/>
                <a:gd name="connsiteX11" fmla="*/ 48586 w 97147"/>
                <a:gd name="connsiteY11" fmla="*/ 121555 h 131652"/>
                <a:gd name="connsiteX12" fmla="*/ 16196 w 97147"/>
                <a:gd name="connsiteY12" fmla="*/ 77265 h 131652"/>
                <a:gd name="connsiteX13" fmla="*/ 19906 w 97147"/>
                <a:gd name="connsiteY13" fmla="*/ 19689 h 131652"/>
                <a:gd name="connsiteX14" fmla="*/ 77106 w 97147"/>
                <a:gd name="connsiteY14" fmla="*/ 19543 h 131652"/>
                <a:gd name="connsiteX15" fmla="*/ 77249 w 97147"/>
                <a:gd name="connsiteY15" fmla="*/ 19689 h 131652"/>
                <a:gd name="connsiteX16" fmla="*/ 89734 w 97147"/>
                <a:gd name="connsiteY16" fmla="*/ 48139 h 131652"/>
                <a:gd name="connsiteX17" fmla="*/ 80976 w 97147"/>
                <a:gd name="connsiteY17" fmla="*/ 77228 h 13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7147" h="131652">
                  <a:moveTo>
                    <a:pt x="82474" y="14415"/>
                  </a:moveTo>
                  <a:cubicBezTo>
                    <a:pt x="63864" y="-4726"/>
                    <a:pt x="33613" y="-4816"/>
                    <a:pt x="14894" y="14215"/>
                  </a:cubicBezTo>
                  <a:lnTo>
                    <a:pt x="14697" y="14415"/>
                  </a:lnTo>
                  <a:cubicBezTo>
                    <a:pt x="-3073" y="32553"/>
                    <a:pt x="-4957" y="61355"/>
                    <a:pt x="10292" y="81754"/>
                  </a:cubicBezTo>
                  <a:lnTo>
                    <a:pt x="45643" y="130077"/>
                  </a:lnTo>
                  <a:cubicBezTo>
                    <a:pt x="46762" y="131734"/>
                    <a:pt x="48981" y="132150"/>
                    <a:pt x="50601" y="131008"/>
                  </a:cubicBezTo>
                  <a:cubicBezTo>
                    <a:pt x="50956" y="130755"/>
                    <a:pt x="51264" y="130440"/>
                    <a:pt x="51511" y="130077"/>
                  </a:cubicBezTo>
                  <a:lnTo>
                    <a:pt x="86844" y="81754"/>
                  </a:lnTo>
                  <a:cubicBezTo>
                    <a:pt x="94127" y="72008"/>
                    <a:pt x="97753" y="59913"/>
                    <a:pt x="97064" y="47665"/>
                  </a:cubicBezTo>
                  <a:cubicBezTo>
                    <a:pt x="96280" y="35140"/>
                    <a:pt x="91091" y="23330"/>
                    <a:pt x="82457" y="14415"/>
                  </a:cubicBezTo>
                  <a:close/>
                  <a:moveTo>
                    <a:pt x="80994" y="77246"/>
                  </a:moveTo>
                  <a:lnTo>
                    <a:pt x="48586" y="121555"/>
                  </a:lnTo>
                  <a:lnTo>
                    <a:pt x="16196" y="77265"/>
                  </a:lnTo>
                  <a:cubicBezTo>
                    <a:pt x="3156" y="59833"/>
                    <a:pt x="4742" y="35218"/>
                    <a:pt x="19906" y="19689"/>
                  </a:cubicBezTo>
                  <a:cubicBezTo>
                    <a:pt x="35663" y="3491"/>
                    <a:pt x="61270" y="3426"/>
                    <a:pt x="77106" y="19543"/>
                  </a:cubicBezTo>
                  <a:lnTo>
                    <a:pt x="77249" y="19689"/>
                  </a:lnTo>
                  <a:cubicBezTo>
                    <a:pt x="84634" y="27317"/>
                    <a:pt x="89070" y="37424"/>
                    <a:pt x="89734" y="48139"/>
                  </a:cubicBezTo>
                  <a:cubicBezTo>
                    <a:pt x="90307" y="58595"/>
                    <a:pt x="87200" y="68915"/>
                    <a:pt x="80976" y="77228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7" name="Freeform 83">
              <a:extLst>
                <a:ext uri="{FF2B5EF4-FFF2-40B4-BE49-F238E27FC236}">
                  <a16:creationId xmlns:a16="http://schemas.microsoft.com/office/drawing/2014/main" id="{EF3144B6-45CA-4373-9291-97BA828BEFB6}"/>
                </a:ext>
              </a:extLst>
            </p:cNvPr>
            <p:cNvSpPr/>
            <p:nvPr/>
          </p:nvSpPr>
          <p:spPr>
            <a:xfrm>
              <a:off x="6674483" y="760594"/>
              <a:ext cx="44911" cy="45950"/>
            </a:xfrm>
            <a:custGeom>
              <a:avLst/>
              <a:gdLst>
                <a:gd name="connsiteX0" fmla="*/ 22456 w 44911"/>
                <a:gd name="connsiteY0" fmla="*/ 0 h 45950"/>
                <a:gd name="connsiteX1" fmla="*/ 0 w 44911"/>
                <a:gd name="connsiteY1" fmla="*/ 22975 h 45950"/>
                <a:gd name="connsiteX2" fmla="*/ 22456 w 44911"/>
                <a:gd name="connsiteY2" fmla="*/ 45951 h 45950"/>
                <a:gd name="connsiteX3" fmla="*/ 44911 w 44911"/>
                <a:gd name="connsiteY3" fmla="*/ 22994 h 45950"/>
                <a:gd name="connsiteX4" fmla="*/ 22473 w 44911"/>
                <a:gd name="connsiteY4" fmla="*/ 0 h 45950"/>
                <a:gd name="connsiteX5" fmla="*/ 22456 w 44911"/>
                <a:gd name="connsiteY5" fmla="*/ 0 h 45950"/>
                <a:gd name="connsiteX6" fmla="*/ 33157 w 44911"/>
                <a:gd name="connsiteY6" fmla="*/ 33925 h 45950"/>
                <a:gd name="connsiteX7" fmla="*/ 11793 w 44911"/>
                <a:gd name="connsiteY7" fmla="*/ 33782 h 45950"/>
                <a:gd name="connsiteX8" fmla="*/ 11932 w 44911"/>
                <a:gd name="connsiteY8" fmla="*/ 11923 h 45950"/>
                <a:gd name="connsiteX9" fmla="*/ 33297 w 44911"/>
                <a:gd name="connsiteY9" fmla="*/ 12066 h 45950"/>
                <a:gd name="connsiteX10" fmla="*/ 37652 w 44911"/>
                <a:gd name="connsiteY10" fmla="*/ 22975 h 45950"/>
                <a:gd name="connsiteX11" fmla="*/ 33157 w 44911"/>
                <a:gd name="connsiteY11" fmla="*/ 33925 h 4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911" h="45950">
                  <a:moveTo>
                    <a:pt x="22456" y="0"/>
                  </a:moveTo>
                  <a:cubicBezTo>
                    <a:pt x="10054" y="0"/>
                    <a:pt x="0" y="10286"/>
                    <a:pt x="0" y="22975"/>
                  </a:cubicBezTo>
                  <a:cubicBezTo>
                    <a:pt x="0" y="35664"/>
                    <a:pt x="10054" y="45951"/>
                    <a:pt x="22456" y="45951"/>
                  </a:cubicBezTo>
                  <a:cubicBezTo>
                    <a:pt x="34851" y="45951"/>
                    <a:pt x="44901" y="35676"/>
                    <a:pt x="44911" y="22994"/>
                  </a:cubicBezTo>
                  <a:cubicBezTo>
                    <a:pt x="44921" y="10305"/>
                    <a:pt x="34875" y="10"/>
                    <a:pt x="22473" y="0"/>
                  </a:cubicBezTo>
                  <a:cubicBezTo>
                    <a:pt x="22467" y="0"/>
                    <a:pt x="22462" y="0"/>
                    <a:pt x="22456" y="0"/>
                  </a:cubicBezTo>
                  <a:close/>
                  <a:moveTo>
                    <a:pt x="33157" y="33925"/>
                  </a:moveTo>
                  <a:cubicBezTo>
                    <a:pt x="27219" y="39922"/>
                    <a:pt x="17654" y="39858"/>
                    <a:pt x="11793" y="33782"/>
                  </a:cubicBezTo>
                  <a:cubicBezTo>
                    <a:pt x="5932" y="27706"/>
                    <a:pt x="5994" y="17920"/>
                    <a:pt x="11932" y="11923"/>
                  </a:cubicBezTo>
                  <a:cubicBezTo>
                    <a:pt x="17871" y="5926"/>
                    <a:pt x="27436" y="5990"/>
                    <a:pt x="33297" y="12066"/>
                  </a:cubicBezTo>
                  <a:cubicBezTo>
                    <a:pt x="36100" y="14971"/>
                    <a:pt x="37665" y="18893"/>
                    <a:pt x="37652" y="22975"/>
                  </a:cubicBezTo>
                  <a:cubicBezTo>
                    <a:pt x="37639" y="27092"/>
                    <a:pt x="36021" y="31033"/>
                    <a:pt x="33157" y="33925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8" name="Freeform 84">
              <a:extLst>
                <a:ext uri="{FF2B5EF4-FFF2-40B4-BE49-F238E27FC236}">
                  <a16:creationId xmlns:a16="http://schemas.microsoft.com/office/drawing/2014/main" id="{AC9694A2-4EE0-4C25-B29B-9776A161AE6B}"/>
                </a:ext>
              </a:extLst>
            </p:cNvPr>
            <p:cNvSpPr/>
            <p:nvPr/>
          </p:nvSpPr>
          <p:spPr>
            <a:xfrm>
              <a:off x="6443505" y="716282"/>
              <a:ext cx="97182" cy="131591"/>
            </a:xfrm>
            <a:custGeom>
              <a:avLst/>
              <a:gdLst>
                <a:gd name="connsiteX0" fmla="*/ 82474 w 97182"/>
                <a:gd name="connsiteY0" fmla="*/ 14438 h 131591"/>
                <a:gd name="connsiteX1" fmla="*/ 14950 w 97182"/>
                <a:gd name="connsiteY1" fmla="*/ 14179 h 131591"/>
                <a:gd name="connsiteX2" fmla="*/ 14947 w 97182"/>
                <a:gd name="connsiteY2" fmla="*/ 14183 h 131591"/>
                <a:gd name="connsiteX3" fmla="*/ 14697 w 97182"/>
                <a:gd name="connsiteY3" fmla="*/ 14438 h 131591"/>
                <a:gd name="connsiteX4" fmla="*/ 10292 w 97182"/>
                <a:gd name="connsiteY4" fmla="*/ 81777 h 131591"/>
                <a:gd name="connsiteX5" fmla="*/ 45661 w 97182"/>
                <a:gd name="connsiteY5" fmla="*/ 130082 h 131591"/>
                <a:gd name="connsiteX6" fmla="*/ 50798 w 97182"/>
                <a:gd name="connsiteY6" fmla="*/ 130848 h 131591"/>
                <a:gd name="connsiteX7" fmla="*/ 51547 w 97182"/>
                <a:gd name="connsiteY7" fmla="*/ 130082 h 131591"/>
                <a:gd name="connsiteX8" fmla="*/ 86880 w 97182"/>
                <a:gd name="connsiteY8" fmla="*/ 81777 h 131591"/>
                <a:gd name="connsiteX9" fmla="*/ 97100 w 97182"/>
                <a:gd name="connsiteY9" fmla="*/ 47688 h 131591"/>
                <a:gd name="connsiteX10" fmla="*/ 82474 w 97182"/>
                <a:gd name="connsiteY10" fmla="*/ 14438 h 131591"/>
                <a:gd name="connsiteX11" fmla="*/ 81012 w 97182"/>
                <a:gd name="connsiteY11" fmla="*/ 77269 h 131591"/>
                <a:gd name="connsiteX12" fmla="*/ 48586 w 97182"/>
                <a:gd name="connsiteY12" fmla="*/ 121596 h 131591"/>
                <a:gd name="connsiteX13" fmla="*/ 16231 w 97182"/>
                <a:gd name="connsiteY13" fmla="*/ 77306 h 131591"/>
                <a:gd name="connsiteX14" fmla="*/ 19941 w 97182"/>
                <a:gd name="connsiteY14" fmla="*/ 19730 h 131591"/>
                <a:gd name="connsiteX15" fmla="*/ 77124 w 97182"/>
                <a:gd name="connsiteY15" fmla="*/ 19584 h 131591"/>
                <a:gd name="connsiteX16" fmla="*/ 77266 w 97182"/>
                <a:gd name="connsiteY16" fmla="*/ 19730 h 131591"/>
                <a:gd name="connsiteX17" fmla="*/ 89752 w 97182"/>
                <a:gd name="connsiteY17" fmla="*/ 48180 h 131591"/>
                <a:gd name="connsiteX18" fmla="*/ 80994 w 97182"/>
                <a:gd name="connsiteY18" fmla="*/ 77269 h 13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7182" h="131591">
                  <a:moveTo>
                    <a:pt x="82474" y="14438"/>
                  </a:moveTo>
                  <a:cubicBezTo>
                    <a:pt x="63898" y="-4711"/>
                    <a:pt x="33666" y="-4827"/>
                    <a:pt x="14950" y="14179"/>
                  </a:cubicBezTo>
                  <a:cubicBezTo>
                    <a:pt x="14949" y="14181"/>
                    <a:pt x="14948" y="14182"/>
                    <a:pt x="14947" y="14183"/>
                  </a:cubicBezTo>
                  <a:lnTo>
                    <a:pt x="14697" y="14438"/>
                  </a:lnTo>
                  <a:cubicBezTo>
                    <a:pt x="-3073" y="32575"/>
                    <a:pt x="-4957" y="61378"/>
                    <a:pt x="10292" y="81777"/>
                  </a:cubicBezTo>
                  <a:lnTo>
                    <a:pt x="45661" y="130082"/>
                  </a:lnTo>
                  <a:cubicBezTo>
                    <a:pt x="46874" y="131743"/>
                    <a:pt x="49172" y="132086"/>
                    <a:pt x="50798" y="130848"/>
                  </a:cubicBezTo>
                  <a:cubicBezTo>
                    <a:pt x="51082" y="130630"/>
                    <a:pt x="51334" y="130372"/>
                    <a:pt x="51547" y="130082"/>
                  </a:cubicBezTo>
                  <a:lnTo>
                    <a:pt x="86880" y="81777"/>
                  </a:lnTo>
                  <a:cubicBezTo>
                    <a:pt x="94163" y="72030"/>
                    <a:pt x="97789" y="59936"/>
                    <a:pt x="97100" y="47688"/>
                  </a:cubicBezTo>
                  <a:cubicBezTo>
                    <a:pt x="96320" y="35158"/>
                    <a:pt x="91124" y="23344"/>
                    <a:pt x="82474" y="14438"/>
                  </a:cubicBezTo>
                  <a:close/>
                  <a:moveTo>
                    <a:pt x="81012" y="77269"/>
                  </a:moveTo>
                  <a:lnTo>
                    <a:pt x="48586" y="121596"/>
                  </a:lnTo>
                  <a:lnTo>
                    <a:pt x="16231" y="77306"/>
                  </a:lnTo>
                  <a:cubicBezTo>
                    <a:pt x="3119" y="59897"/>
                    <a:pt x="4709" y="35227"/>
                    <a:pt x="19941" y="19730"/>
                  </a:cubicBezTo>
                  <a:cubicBezTo>
                    <a:pt x="35692" y="3534"/>
                    <a:pt x="61294" y="3469"/>
                    <a:pt x="77124" y="19584"/>
                  </a:cubicBezTo>
                  <a:lnTo>
                    <a:pt x="77266" y="19730"/>
                  </a:lnTo>
                  <a:cubicBezTo>
                    <a:pt x="84652" y="27358"/>
                    <a:pt x="89087" y="37465"/>
                    <a:pt x="89752" y="48180"/>
                  </a:cubicBezTo>
                  <a:cubicBezTo>
                    <a:pt x="90325" y="58636"/>
                    <a:pt x="87218" y="68956"/>
                    <a:pt x="80994" y="77269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9" name="Freeform 85">
              <a:extLst>
                <a:ext uri="{FF2B5EF4-FFF2-40B4-BE49-F238E27FC236}">
                  <a16:creationId xmlns:a16="http://schemas.microsoft.com/office/drawing/2014/main" id="{BF0D808C-4982-486F-9A1D-55D08F1158F7}"/>
                </a:ext>
              </a:extLst>
            </p:cNvPr>
            <p:cNvSpPr/>
            <p:nvPr/>
          </p:nvSpPr>
          <p:spPr>
            <a:xfrm>
              <a:off x="6469100" y="744024"/>
              <a:ext cx="44911" cy="45950"/>
            </a:xfrm>
            <a:custGeom>
              <a:avLst/>
              <a:gdLst>
                <a:gd name="connsiteX0" fmla="*/ 22456 w 44911"/>
                <a:gd name="connsiteY0" fmla="*/ 0 h 45950"/>
                <a:gd name="connsiteX1" fmla="*/ 0 w 44911"/>
                <a:gd name="connsiteY1" fmla="*/ 22975 h 45950"/>
                <a:gd name="connsiteX2" fmla="*/ 22456 w 44911"/>
                <a:gd name="connsiteY2" fmla="*/ 45951 h 45950"/>
                <a:gd name="connsiteX3" fmla="*/ 44911 w 44911"/>
                <a:gd name="connsiteY3" fmla="*/ 22975 h 45950"/>
                <a:gd name="connsiteX4" fmla="*/ 22456 w 44911"/>
                <a:gd name="connsiteY4" fmla="*/ 0 h 45950"/>
                <a:gd name="connsiteX5" fmla="*/ 33157 w 44911"/>
                <a:gd name="connsiteY5" fmla="*/ 33925 h 45950"/>
                <a:gd name="connsiteX6" fmla="*/ 11793 w 44911"/>
                <a:gd name="connsiteY6" fmla="*/ 33818 h 45950"/>
                <a:gd name="connsiteX7" fmla="*/ 11897 w 44911"/>
                <a:gd name="connsiteY7" fmla="*/ 11959 h 45950"/>
                <a:gd name="connsiteX8" fmla="*/ 33261 w 44911"/>
                <a:gd name="connsiteY8" fmla="*/ 12066 h 45950"/>
                <a:gd name="connsiteX9" fmla="*/ 37634 w 44911"/>
                <a:gd name="connsiteY9" fmla="*/ 22975 h 45950"/>
                <a:gd name="connsiteX10" fmla="*/ 33157 w 44911"/>
                <a:gd name="connsiteY10" fmla="*/ 33925 h 4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911" h="45950">
                  <a:moveTo>
                    <a:pt x="22456" y="0"/>
                  </a:moveTo>
                  <a:cubicBezTo>
                    <a:pt x="10054" y="0"/>
                    <a:pt x="0" y="10286"/>
                    <a:pt x="0" y="22975"/>
                  </a:cubicBezTo>
                  <a:cubicBezTo>
                    <a:pt x="0" y="35664"/>
                    <a:pt x="10054" y="45951"/>
                    <a:pt x="22456" y="45951"/>
                  </a:cubicBezTo>
                  <a:cubicBezTo>
                    <a:pt x="34857" y="45951"/>
                    <a:pt x="44911" y="35664"/>
                    <a:pt x="44911" y="22975"/>
                  </a:cubicBezTo>
                  <a:cubicBezTo>
                    <a:pt x="44911" y="10286"/>
                    <a:pt x="34857" y="0"/>
                    <a:pt x="22456" y="0"/>
                  </a:cubicBezTo>
                  <a:close/>
                  <a:moveTo>
                    <a:pt x="33157" y="33925"/>
                  </a:moveTo>
                  <a:cubicBezTo>
                    <a:pt x="27229" y="39932"/>
                    <a:pt x="17664" y="39884"/>
                    <a:pt x="11793" y="33818"/>
                  </a:cubicBezTo>
                  <a:cubicBezTo>
                    <a:pt x="5922" y="27753"/>
                    <a:pt x="5968" y="17966"/>
                    <a:pt x="11897" y="11959"/>
                  </a:cubicBezTo>
                  <a:cubicBezTo>
                    <a:pt x="17825" y="5953"/>
                    <a:pt x="27390" y="6000"/>
                    <a:pt x="33261" y="12066"/>
                  </a:cubicBezTo>
                  <a:cubicBezTo>
                    <a:pt x="36071" y="14968"/>
                    <a:pt x="37643" y="18891"/>
                    <a:pt x="37634" y="22975"/>
                  </a:cubicBezTo>
                  <a:cubicBezTo>
                    <a:pt x="37623" y="27089"/>
                    <a:pt x="36013" y="31029"/>
                    <a:pt x="33157" y="33925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60" name="Freeform 86">
              <a:extLst>
                <a:ext uri="{FF2B5EF4-FFF2-40B4-BE49-F238E27FC236}">
                  <a16:creationId xmlns:a16="http://schemas.microsoft.com/office/drawing/2014/main" id="{45174EDF-C046-4114-B594-790BF88F8ADF}"/>
                </a:ext>
              </a:extLst>
            </p:cNvPr>
            <p:cNvSpPr/>
            <p:nvPr/>
          </p:nvSpPr>
          <p:spPr>
            <a:xfrm>
              <a:off x="6522662" y="847624"/>
              <a:ext cx="97236" cy="131641"/>
            </a:xfrm>
            <a:custGeom>
              <a:avLst/>
              <a:gdLst>
                <a:gd name="connsiteX0" fmla="*/ 82474 w 97236"/>
                <a:gd name="connsiteY0" fmla="*/ 14415 h 131641"/>
                <a:gd name="connsiteX1" fmla="*/ 14876 w 97236"/>
                <a:gd name="connsiteY1" fmla="*/ 14233 h 131641"/>
                <a:gd name="connsiteX2" fmla="*/ 14697 w 97236"/>
                <a:gd name="connsiteY2" fmla="*/ 14415 h 131641"/>
                <a:gd name="connsiteX3" fmla="*/ 10292 w 97236"/>
                <a:gd name="connsiteY3" fmla="*/ 81754 h 131641"/>
                <a:gd name="connsiteX4" fmla="*/ 45714 w 97236"/>
                <a:gd name="connsiteY4" fmla="*/ 130132 h 131641"/>
                <a:gd name="connsiteX5" fmla="*/ 50851 w 97236"/>
                <a:gd name="connsiteY5" fmla="*/ 130898 h 131641"/>
                <a:gd name="connsiteX6" fmla="*/ 51600 w 97236"/>
                <a:gd name="connsiteY6" fmla="*/ 130132 h 131641"/>
                <a:gd name="connsiteX7" fmla="*/ 86934 w 97236"/>
                <a:gd name="connsiteY7" fmla="*/ 81809 h 131641"/>
                <a:gd name="connsiteX8" fmla="*/ 97154 w 97236"/>
                <a:gd name="connsiteY8" fmla="*/ 47720 h 131641"/>
                <a:gd name="connsiteX9" fmla="*/ 82528 w 97236"/>
                <a:gd name="connsiteY9" fmla="*/ 14452 h 131641"/>
                <a:gd name="connsiteX10" fmla="*/ 81012 w 97236"/>
                <a:gd name="connsiteY10" fmla="*/ 77210 h 131641"/>
                <a:gd name="connsiteX11" fmla="*/ 48604 w 97236"/>
                <a:gd name="connsiteY11" fmla="*/ 121518 h 131641"/>
                <a:gd name="connsiteX12" fmla="*/ 16231 w 97236"/>
                <a:gd name="connsiteY12" fmla="*/ 77301 h 131641"/>
                <a:gd name="connsiteX13" fmla="*/ 19941 w 97236"/>
                <a:gd name="connsiteY13" fmla="*/ 19726 h 131641"/>
                <a:gd name="connsiteX14" fmla="*/ 77124 w 97236"/>
                <a:gd name="connsiteY14" fmla="*/ 19580 h 131641"/>
                <a:gd name="connsiteX15" fmla="*/ 77266 w 97236"/>
                <a:gd name="connsiteY15" fmla="*/ 19726 h 131641"/>
                <a:gd name="connsiteX16" fmla="*/ 89752 w 97236"/>
                <a:gd name="connsiteY16" fmla="*/ 48176 h 131641"/>
                <a:gd name="connsiteX17" fmla="*/ 80994 w 97236"/>
                <a:gd name="connsiteY17" fmla="*/ 77265 h 1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7236" h="131641">
                  <a:moveTo>
                    <a:pt x="82474" y="14415"/>
                  </a:moveTo>
                  <a:cubicBezTo>
                    <a:pt x="63857" y="-4734"/>
                    <a:pt x="33592" y="-4815"/>
                    <a:pt x="14876" y="14233"/>
                  </a:cubicBezTo>
                  <a:lnTo>
                    <a:pt x="14697" y="14415"/>
                  </a:lnTo>
                  <a:cubicBezTo>
                    <a:pt x="-3073" y="32553"/>
                    <a:pt x="-4957" y="61355"/>
                    <a:pt x="10292" y="81754"/>
                  </a:cubicBezTo>
                  <a:lnTo>
                    <a:pt x="45714" y="130132"/>
                  </a:lnTo>
                  <a:cubicBezTo>
                    <a:pt x="46927" y="131793"/>
                    <a:pt x="49225" y="132136"/>
                    <a:pt x="50851" y="130898"/>
                  </a:cubicBezTo>
                  <a:cubicBezTo>
                    <a:pt x="51135" y="130681"/>
                    <a:pt x="51388" y="130422"/>
                    <a:pt x="51600" y="130132"/>
                  </a:cubicBezTo>
                  <a:lnTo>
                    <a:pt x="86934" y="81809"/>
                  </a:lnTo>
                  <a:cubicBezTo>
                    <a:pt x="94216" y="72062"/>
                    <a:pt x="97842" y="59968"/>
                    <a:pt x="97154" y="47720"/>
                  </a:cubicBezTo>
                  <a:cubicBezTo>
                    <a:pt x="96370" y="35186"/>
                    <a:pt x="91174" y="23367"/>
                    <a:pt x="82528" y="14452"/>
                  </a:cubicBezTo>
                  <a:close/>
                  <a:moveTo>
                    <a:pt x="81012" y="77210"/>
                  </a:moveTo>
                  <a:lnTo>
                    <a:pt x="48604" y="121518"/>
                  </a:lnTo>
                  <a:lnTo>
                    <a:pt x="16231" y="77301"/>
                  </a:lnTo>
                  <a:cubicBezTo>
                    <a:pt x="3119" y="59892"/>
                    <a:pt x="4709" y="35222"/>
                    <a:pt x="19941" y="19726"/>
                  </a:cubicBezTo>
                  <a:cubicBezTo>
                    <a:pt x="35692" y="3529"/>
                    <a:pt x="61294" y="3464"/>
                    <a:pt x="77124" y="19580"/>
                  </a:cubicBezTo>
                  <a:lnTo>
                    <a:pt x="77266" y="19726"/>
                  </a:lnTo>
                  <a:cubicBezTo>
                    <a:pt x="84652" y="27353"/>
                    <a:pt x="89087" y="37460"/>
                    <a:pt x="89752" y="48176"/>
                  </a:cubicBezTo>
                  <a:cubicBezTo>
                    <a:pt x="90325" y="58631"/>
                    <a:pt x="87218" y="68951"/>
                    <a:pt x="80994" y="77265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61" name="Freeform 87">
              <a:extLst>
                <a:ext uri="{FF2B5EF4-FFF2-40B4-BE49-F238E27FC236}">
                  <a16:creationId xmlns:a16="http://schemas.microsoft.com/office/drawing/2014/main" id="{84350A4E-01BC-4AD6-A15E-9E29A01BABF4}"/>
                </a:ext>
              </a:extLst>
            </p:cNvPr>
            <p:cNvSpPr/>
            <p:nvPr/>
          </p:nvSpPr>
          <p:spPr>
            <a:xfrm>
              <a:off x="6548257" y="875361"/>
              <a:ext cx="44911" cy="45950"/>
            </a:xfrm>
            <a:custGeom>
              <a:avLst/>
              <a:gdLst>
                <a:gd name="connsiteX0" fmla="*/ 22456 w 44911"/>
                <a:gd name="connsiteY0" fmla="*/ 0 h 45950"/>
                <a:gd name="connsiteX1" fmla="*/ 0 w 44911"/>
                <a:gd name="connsiteY1" fmla="*/ 22975 h 45950"/>
                <a:gd name="connsiteX2" fmla="*/ 22456 w 44911"/>
                <a:gd name="connsiteY2" fmla="*/ 45951 h 45950"/>
                <a:gd name="connsiteX3" fmla="*/ 44911 w 44911"/>
                <a:gd name="connsiteY3" fmla="*/ 22975 h 45950"/>
                <a:gd name="connsiteX4" fmla="*/ 44911 w 44911"/>
                <a:gd name="connsiteY4" fmla="*/ 22975 h 45950"/>
                <a:gd name="connsiteX5" fmla="*/ 22456 w 44911"/>
                <a:gd name="connsiteY5" fmla="*/ 0 h 45950"/>
                <a:gd name="connsiteX6" fmla="*/ 33157 w 44911"/>
                <a:gd name="connsiteY6" fmla="*/ 33907 h 45950"/>
                <a:gd name="connsiteX7" fmla="*/ 11793 w 44911"/>
                <a:gd name="connsiteY7" fmla="*/ 33800 h 45950"/>
                <a:gd name="connsiteX8" fmla="*/ 11897 w 44911"/>
                <a:gd name="connsiteY8" fmla="*/ 11941 h 45950"/>
                <a:gd name="connsiteX9" fmla="*/ 33261 w 44911"/>
                <a:gd name="connsiteY9" fmla="*/ 12048 h 45950"/>
                <a:gd name="connsiteX10" fmla="*/ 37634 w 44911"/>
                <a:gd name="connsiteY10" fmla="*/ 22957 h 45950"/>
                <a:gd name="connsiteX11" fmla="*/ 33157 w 44911"/>
                <a:gd name="connsiteY11" fmla="*/ 33907 h 4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911" h="45950">
                  <a:moveTo>
                    <a:pt x="22456" y="0"/>
                  </a:moveTo>
                  <a:cubicBezTo>
                    <a:pt x="10054" y="0"/>
                    <a:pt x="0" y="10286"/>
                    <a:pt x="0" y="22975"/>
                  </a:cubicBezTo>
                  <a:cubicBezTo>
                    <a:pt x="0" y="35664"/>
                    <a:pt x="10054" y="45951"/>
                    <a:pt x="22456" y="45951"/>
                  </a:cubicBezTo>
                  <a:cubicBezTo>
                    <a:pt x="34857" y="45951"/>
                    <a:pt x="44911" y="35664"/>
                    <a:pt x="44911" y="22975"/>
                  </a:cubicBezTo>
                  <a:lnTo>
                    <a:pt x="44911" y="22975"/>
                  </a:lnTo>
                  <a:cubicBezTo>
                    <a:pt x="44892" y="10295"/>
                    <a:pt x="34849" y="20"/>
                    <a:pt x="22456" y="0"/>
                  </a:cubicBezTo>
                  <a:close/>
                  <a:moveTo>
                    <a:pt x="33157" y="33907"/>
                  </a:moveTo>
                  <a:cubicBezTo>
                    <a:pt x="27229" y="39913"/>
                    <a:pt x="17664" y="39866"/>
                    <a:pt x="11793" y="33800"/>
                  </a:cubicBezTo>
                  <a:cubicBezTo>
                    <a:pt x="5922" y="27735"/>
                    <a:pt x="5968" y="17948"/>
                    <a:pt x="11897" y="11941"/>
                  </a:cubicBezTo>
                  <a:cubicBezTo>
                    <a:pt x="17825" y="5934"/>
                    <a:pt x="27390" y="5982"/>
                    <a:pt x="33261" y="12048"/>
                  </a:cubicBezTo>
                  <a:cubicBezTo>
                    <a:pt x="36071" y="14950"/>
                    <a:pt x="37643" y="18872"/>
                    <a:pt x="37634" y="22957"/>
                  </a:cubicBezTo>
                  <a:cubicBezTo>
                    <a:pt x="37625" y="27071"/>
                    <a:pt x="36014" y="31012"/>
                    <a:pt x="33157" y="33907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62" name="Oval 161">
            <a:extLst>
              <a:ext uri="{FF2B5EF4-FFF2-40B4-BE49-F238E27FC236}">
                <a16:creationId xmlns:a16="http://schemas.microsoft.com/office/drawing/2014/main" id="{E48E196C-C8EA-41A5-AE14-BE86296AA315}"/>
              </a:ext>
            </a:extLst>
          </p:cNvPr>
          <p:cNvSpPr/>
          <p:nvPr/>
        </p:nvSpPr>
        <p:spPr>
          <a:xfrm>
            <a:off x="4430234" y="2285237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C930087A-81E6-4D4D-AC42-3BA2B2E5DDB5}"/>
              </a:ext>
            </a:extLst>
          </p:cNvPr>
          <p:cNvSpPr/>
          <p:nvPr/>
        </p:nvSpPr>
        <p:spPr>
          <a:xfrm>
            <a:off x="4653611" y="2740294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73E771A3-FCB3-4DD1-A4F4-EEB5361AC864}"/>
              </a:ext>
            </a:extLst>
          </p:cNvPr>
          <p:cNvSpPr/>
          <p:nvPr/>
        </p:nvSpPr>
        <p:spPr>
          <a:xfrm>
            <a:off x="4797770" y="2713816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1B636D8A-9E1F-4FA7-8682-1DCF848D1402}"/>
              </a:ext>
            </a:extLst>
          </p:cNvPr>
          <p:cNvSpPr/>
          <p:nvPr/>
        </p:nvSpPr>
        <p:spPr>
          <a:xfrm>
            <a:off x="4892884" y="2824677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B504D14C-59AE-4C69-A57F-4E8D6B64348C}"/>
              </a:ext>
            </a:extLst>
          </p:cNvPr>
          <p:cNvSpPr/>
          <p:nvPr/>
        </p:nvSpPr>
        <p:spPr>
          <a:xfrm>
            <a:off x="5046892" y="2754701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853E78B7-333C-49C5-AAFD-B279295CF3E7}"/>
              </a:ext>
            </a:extLst>
          </p:cNvPr>
          <p:cNvSpPr/>
          <p:nvPr/>
        </p:nvSpPr>
        <p:spPr>
          <a:xfrm>
            <a:off x="5178769" y="2893596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B248C00D-4359-4835-ADB6-4AB52D5B54E8}"/>
              </a:ext>
            </a:extLst>
          </p:cNvPr>
          <p:cNvSpPr/>
          <p:nvPr/>
        </p:nvSpPr>
        <p:spPr>
          <a:xfrm>
            <a:off x="5427214" y="2802921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0CF3DCC6-13D6-48D8-AC1D-70C84D09E9F3}"/>
              </a:ext>
            </a:extLst>
          </p:cNvPr>
          <p:cNvSpPr/>
          <p:nvPr/>
        </p:nvSpPr>
        <p:spPr>
          <a:xfrm>
            <a:off x="5403720" y="2956024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91C89F77-1130-4865-ACC5-46D33C51B7B8}"/>
              </a:ext>
            </a:extLst>
          </p:cNvPr>
          <p:cNvSpPr/>
          <p:nvPr/>
        </p:nvSpPr>
        <p:spPr>
          <a:xfrm>
            <a:off x="5458842" y="2988408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67A9F8C5-50E6-43C1-80E8-7D2ED862E5B3}"/>
              </a:ext>
            </a:extLst>
          </p:cNvPr>
          <p:cNvSpPr/>
          <p:nvPr/>
        </p:nvSpPr>
        <p:spPr>
          <a:xfrm>
            <a:off x="4814210" y="3340668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D86670CA-30FC-486B-B402-50D56F226F78}"/>
              </a:ext>
            </a:extLst>
          </p:cNvPr>
          <p:cNvSpPr/>
          <p:nvPr/>
        </p:nvSpPr>
        <p:spPr>
          <a:xfrm>
            <a:off x="4988402" y="3509103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6FCBFE68-064A-40DE-8FDB-034741A81C52}"/>
              </a:ext>
            </a:extLst>
          </p:cNvPr>
          <p:cNvSpPr/>
          <p:nvPr/>
        </p:nvSpPr>
        <p:spPr>
          <a:xfrm>
            <a:off x="5076101" y="3582341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9EBB2FCD-81D3-4E66-98DA-93B8F23A8316}"/>
              </a:ext>
            </a:extLst>
          </p:cNvPr>
          <p:cNvSpPr/>
          <p:nvPr/>
        </p:nvSpPr>
        <p:spPr>
          <a:xfrm>
            <a:off x="5236339" y="3662340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F48674B3-772B-4E60-B8AC-952B7996ED7B}"/>
              </a:ext>
            </a:extLst>
          </p:cNvPr>
          <p:cNvSpPr/>
          <p:nvPr/>
        </p:nvSpPr>
        <p:spPr>
          <a:xfrm>
            <a:off x="5313551" y="3639490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A524CDC3-AE8D-4C35-B01F-3DFA703879AD}"/>
              </a:ext>
            </a:extLst>
          </p:cNvPr>
          <p:cNvSpPr/>
          <p:nvPr/>
        </p:nvSpPr>
        <p:spPr>
          <a:xfrm>
            <a:off x="5204478" y="3759576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3FAAFBE9-D74B-4BC3-B6A7-F323B8FD29D5}"/>
              </a:ext>
            </a:extLst>
          </p:cNvPr>
          <p:cNvSpPr/>
          <p:nvPr/>
        </p:nvSpPr>
        <p:spPr>
          <a:xfrm>
            <a:off x="5199287" y="3870211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F6865028-A8EA-44AB-8C81-D42F5B4D736B}"/>
              </a:ext>
            </a:extLst>
          </p:cNvPr>
          <p:cNvSpPr/>
          <p:nvPr/>
        </p:nvSpPr>
        <p:spPr>
          <a:xfrm>
            <a:off x="5371786" y="4035639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79" name="Oval 178">
            <a:extLst>
              <a:ext uri="{FF2B5EF4-FFF2-40B4-BE49-F238E27FC236}">
                <a16:creationId xmlns:a16="http://schemas.microsoft.com/office/drawing/2014/main" id="{F8D1C31A-CD49-44BB-8E76-D39D0218314A}"/>
              </a:ext>
            </a:extLst>
          </p:cNvPr>
          <p:cNvSpPr/>
          <p:nvPr/>
        </p:nvSpPr>
        <p:spPr>
          <a:xfrm>
            <a:off x="5334309" y="4244780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E042F14B-DC34-48E8-BBC6-C144BFE4E3D4}"/>
              </a:ext>
            </a:extLst>
          </p:cNvPr>
          <p:cNvSpPr/>
          <p:nvPr/>
        </p:nvSpPr>
        <p:spPr>
          <a:xfrm>
            <a:off x="5503915" y="4240336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C59D01A6-C0A8-4D1D-AD1E-0320925E4525}"/>
              </a:ext>
            </a:extLst>
          </p:cNvPr>
          <p:cNvSpPr/>
          <p:nvPr/>
        </p:nvSpPr>
        <p:spPr>
          <a:xfrm>
            <a:off x="5466196" y="4315962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E6EB4938-2E94-4025-8ABF-13A515683710}"/>
              </a:ext>
            </a:extLst>
          </p:cNvPr>
          <p:cNvSpPr/>
          <p:nvPr/>
        </p:nvSpPr>
        <p:spPr>
          <a:xfrm>
            <a:off x="5551418" y="4306374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F5BDDEA1-D615-435A-8058-4DBD2C8EB253}"/>
              </a:ext>
            </a:extLst>
          </p:cNvPr>
          <p:cNvCxnSpPr>
            <a:cxnSpLocks/>
            <a:endCxn id="149" idx="3"/>
          </p:cNvCxnSpPr>
          <p:nvPr/>
        </p:nvCxnSpPr>
        <p:spPr>
          <a:xfrm flipV="1">
            <a:off x="4260401" y="3113576"/>
            <a:ext cx="506524" cy="206148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EA6FBEC1-7C45-4F81-B585-54BEBB56B559}"/>
              </a:ext>
            </a:extLst>
          </p:cNvPr>
          <p:cNvCxnSpPr>
            <a:cxnSpLocks/>
            <a:endCxn id="150" idx="2"/>
          </p:cNvCxnSpPr>
          <p:nvPr/>
        </p:nvCxnSpPr>
        <p:spPr>
          <a:xfrm>
            <a:off x="4342149" y="3143482"/>
            <a:ext cx="638897" cy="119582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Oval 184">
            <a:extLst>
              <a:ext uri="{FF2B5EF4-FFF2-40B4-BE49-F238E27FC236}">
                <a16:creationId xmlns:a16="http://schemas.microsoft.com/office/drawing/2014/main" id="{F8100612-462B-462B-9446-A5F346A5D134}"/>
              </a:ext>
            </a:extLst>
          </p:cNvPr>
          <p:cNvSpPr/>
          <p:nvPr/>
        </p:nvSpPr>
        <p:spPr>
          <a:xfrm>
            <a:off x="5286790" y="3026087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7B267E27-7E31-4812-9F9E-3CEF1D376096}"/>
              </a:ext>
            </a:extLst>
          </p:cNvPr>
          <p:cNvCxnSpPr>
            <a:cxnSpLocks/>
            <a:endCxn id="185" idx="2"/>
          </p:cNvCxnSpPr>
          <p:nvPr/>
        </p:nvCxnSpPr>
        <p:spPr>
          <a:xfrm flipV="1">
            <a:off x="4369660" y="3048947"/>
            <a:ext cx="917130" cy="184474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Oval 186">
            <a:extLst>
              <a:ext uri="{FF2B5EF4-FFF2-40B4-BE49-F238E27FC236}">
                <a16:creationId xmlns:a16="http://schemas.microsoft.com/office/drawing/2014/main" id="{2A058EAA-DCED-4926-8543-D7F214F7CAED}"/>
              </a:ext>
            </a:extLst>
          </p:cNvPr>
          <p:cNvSpPr/>
          <p:nvPr/>
        </p:nvSpPr>
        <p:spPr>
          <a:xfrm>
            <a:off x="3967700" y="2923582"/>
            <a:ext cx="642332" cy="642332"/>
          </a:xfrm>
          <a:prstGeom prst="ellipse">
            <a:avLst/>
          </a:prstGeom>
          <a:blipFill dpi="0" rotWithShape="1">
            <a:blip r:embed="rId7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15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Ellab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 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USA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Demi Bold"/>
              <a:ea typeface="+mn-ea"/>
              <a:cs typeface="+mn-cs"/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16D29DFE-C5B8-4AA0-A13E-EC8F3846A07D}"/>
              </a:ext>
            </a:extLst>
          </p:cNvPr>
          <p:cNvSpPr/>
          <p:nvPr/>
        </p:nvSpPr>
        <p:spPr>
          <a:xfrm>
            <a:off x="6243134" y="2858320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48D86840-9D12-47EA-889C-3DC0DEC8F062}"/>
              </a:ext>
            </a:extLst>
          </p:cNvPr>
          <p:cNvSpPr/>
          <p:nvPr/>
        </p:nvSpPr>
        <p:spPr>
          <a:xfrm>
            <a:off x="6305132" y="2841187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667FECE1-A192-4A42-872E-C9B7E84667A6}"/>
              </a:ext>
            </a:extLst>
          </p:cNvPr>
          <p:cNvSpPr/>
          <p:nvPr/>
        </p:nvSpPr>
        <p:spPr>
          <a:xfrm>
            <a:off x="6333360" y="2884236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17D9AEAE-6ED7-43A5-9F12-5A5F14D317B1}"/>
              </a:ext>
            </a:extLst>
          </p:cNvPr>
          <p:cNvCxnSpPr>
            <a:cxnSpLocks/>
            <a:endCxn id="188" idx="1"/>
          </p:cNvCxnSpPr>
          <p:nvPr/>
        </p:nvCxnSpPr>
        <p:spPr>
          <a:xfrm>
            <a:off x="5899941" y="2151529"/>
            <a:ext cx="349888" cy="713486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Arrow Connector 191">
            <a:extLst>
              <a:ext uri="{FF2B5EF4-FFF2-40B4-BE49-F238E27FC236}">
                <a16:creationId xmlns:a16="http://schemas.microsoft.com/office/drawing/2014/main" id="{1A16A13F-1FA2-459E-918A-E25DFF8D3DA3}"/>
              </a:ext>
            </a:extLst>
          </p:cNvPr>
          <p:cNvCxnSpPr>
            <a:cxnSpLocks/>
            <a:endCxn id="189" idx="1"/>
          </p:cNvCxnSpPr>
          <p:nvPr/>
        </p:nvCxnSpPr>
        <p:spPr>
          <a:xfrm>
            <a:off x="5915633" y="2204131"/>
            <a:ext cx="396194" cy="643751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Oval 192">
            <a:extLst>
              <a:ext uri="{FF2B5EF4-FFF2-40B4-BE49-F238E27FC236}">
                <a16:creationId xmlns:a16="http://schemas.microsoft.com/office/drawing/2014/main" id="{7A2E12C6-2ABA-411B-9568-C0A02C004731}"/>
              </a:ext>
            </a:extLst>
          </p:cNvPr>
          <p:cNvSpPr/>
          <p:nvPr/>
        </p:nvSpPr>
        <p:spPr>
          <a:xfrm>
            <a:off x="5521380" y="1635552"/>
            <a:ext cx="642332" cy="642332"/>
          </a:xfrm>
          <a:prstGeom prst="ellipse">
            <a:avLst/>
          </a:prstGeom>
          <a:blipFill dpi="0" rotWithShape="1">
            <a:blip r:embed="rId9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colorTemperature colorTemp="6427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Ellab 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UK &amp; Ireland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Demi Bold"/>
              <a:ea typeface="+mn-ea"/>
              <a:cs typeface="+mn-cs"/>
            </a:endParaRPr>
          </a:p>
        </p:txBody>
      </p:sp>
      <p:cxnSp>
        <p:nvCxnSpPr>
          <p:cNvPr id="194" name="Straight Arrow Connector 193">
            <a:extLst>
              <a:ext uri="{FF2B5EF4-FFF2-40B4-BE49-F238E27FC236}">
                <a16:creationId xmlns:a16="http://schemas.microsoft.com/office/drawing/2014/main" id="{35F09A2F-11A5-4E93-B8F0-AB166CB25A17}"/>
              </a:ext>
            </a:extLst>
          </p:cNvPr>
          <p:cNvCxnSpPr>
            <a:cxnSpLocks/>
            <a:endCxn id="190" idx="0"/>
          </p:cNvCxnSpPr>
          <p:nvPr/>
        </p:nvCxnSpPr>
        <p:spPr>
          <a:xfrm flipH="1">
            <a:off x="6356220" y="2178470"/>
            <a:ext cx="171976" cy="705766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Oval 194">
            <a:extLst>
              <a:ext uri="{FF2B5EF4-FFF2-40B4-BE49-F238E27FC236}">
                <a16:creationId xmlns:a16="http://schemas.microsoft.com/office/drawing/2014/main" id="{4C0581ED-1E4E-4DC3-B68E-03D939ED9F17}"/>
              </a:ext>
            </a:extLst>
          </p:cNvPr>
          <p:cNvSpPr/>
          <p:nvPr/>
        </p:nvSpPr>
        <p:spPr>
          <a:xfrm>
            <a:off x="6254476" y="1636215"/>
            <a:ext cx="642332" cy="642332"/>
          </a:xfrm>
          <a:prstGeom prst="ellipse">
            <a:avLst/>
          </a:prstGeom>
          <a:blipFill dpi="0" rotWithShape="1">
            <a:blip r:embed="rId11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colorTemperature colorTemp="6368"/>
                      </a14:imgEffect>
                    </a14:imgLayer>
                  </a14:imgProps>
                </a:ext>
              </a:extLst>
            </a:blip>
            <a:srcRect/>
            <a:stretch>
              <a:fillRect l="-22860" r="-2286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Ellab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 Hanwell UK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Demi Bold"/>
              <a:ea typeface="+mn-ea"/>
              <a:cs typeface="+mn-cs"/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326A711F-1C6C-4011-A449-0D0D5842E0AA}"/>
              </a:ext>
            </a:extLst>
          </p:cNvPr>
          <p:cNvSpPr/>
          <p:nvPr/>
        </p:nvSpPr>
        <p:spPr>
          <a:xfrm>
            <a:off x="6489274" y="2805178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80A902A9-6B00-4333-BE79-253D43500C02}"/>
              </a:ext>
            </a:extLst>
          </p:cNvPr>
          <p:cNvSpPr/>
          <p:nvPr/>
        </p:nvSpPr>
        <p:spPr>
          <a:xfrm>
            <a:off x="6406331" y="2916673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F22E89BE-4E93-4D7B-A731-BA537C4B2BA9}"/>
              </a:ext>
            </a:extLst>
          </p:cNvPr>
          <p:cNvSpPr/>
          <p:nvPr/>
        </p:nvSpPr>
        <p:spPr>
          <a:xfrm>
            <a:off x="6493657" y="2857709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230892DA-5676-43B8-93B1-A116DD5F88D7}"/>
              </a:ext>
            </a:extLst>
          </p:cNvPr>
          <p:cNvCxnSpPr>
            <a:cxnSpLocks/>
            <a:endCxn id="196" idx="7"/>
          </p:cNvCxnSpPr>
          <p:nvPr/>
        </p:nvCxnSpPr>
        <p:spPr>
          <a:xfrm flipH="1">
            <a:off x="6528298" y="2266650"/>
            <a:ext cx="686042" cy="545223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Oval 199">
            <a:extLst>
              <a:ext uri="{FF2B5EF4-FFF2-40B4-BE49-F238E27FC236}">
                <a16:creationId xmlns:a16="http://schemas.microsoft.com/office/drawing/2014/main" id="{4B19AEB5-DEB9-4725-9F12-3E0AF686CCB0}"/>
              </a:ext>
            </a:extLst>
          </p:cNvPr>
          <p:cNvSpPr/>
          <p:nvPr/>
        </p:nvSpPr>
        <p:spPr>
          <a:xfrm>
            <a:off x="6978502" y="1636215"/>
            <a:ext cx="642332" cy="642332"/>
          </a:xfrm>
          <a:prstGeom prst="ellipse">
            <a:avLst/>
          </a:prstGeom>
          <a:blipFill dpi="0" rotWithShape="1">
            <a:blip r:embed="rId13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colorTemperature colorTemp="15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Ellab 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Nordic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Demi Bold"/>
              <a:ea typeface="+mn-ea"/>
              <a:cs typeface="+mn-cs"/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E46B6DFA-0843-4CF5-8A0F-7E5A180EC2C9}"/>
              </a:ext>
            </a:extLst>
          </p:cNvPr>
          <p:cNvSpPr/>
          <p:nvPr/>
        </p:nvSpPr>
        <p:spPr>
          <a:xfrm>
            <a:off x="6508711" y="2909530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02" name="Oval 201">
            <a:extLst>
              <a:ext uri="{FF2B5EF4-FFF2-40B4-BE49-F238E27FC236}">
                <a16:creationId xmlns:a16="http://schemas.microsoft.com/office/drawing/2014/main" id="{858D7894-A9F5-4674-B7BE-B7E952C01E00}"/>
              </a:ext>
            </a:extLst>
          </p:cNvPr>
          <p:cNvSpPr/>
          <p:nvPr/>
        </p:nvSpPr>
        <p:spPr>
          <a:xfrm>
            <a:off x="6466331" y="2979672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03" name="Oval 202">
            <a:extLst>
              <a:ext uri="{FF2B5EF4-FFF2-40B4-BE49-F238E27FC236}">
                <a16:creationId xmlns:a16="http://schemas.microsoft.com/office/drawing/2014/main" id="{65488F8E-9380-4023-AA28-46AE7F9031C0}"/>
              </a:ext>
            </a:extLst>
          </p:cNvPr>
          <p:cNvSpPr/>
          <p:nvPr/>
        </p:nvSpPr>
        <p:spPr>
          <a:xfrm>
            <a:off x="5643615" y="4105434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95AC8968-4A72-47BB-9C9E-C8A1B0172E93}"/>
              </a:ext>
            </a:extLst>
          </p:cNvPr>
          <p:cNvSpPr/>
          <p:nvPr/>
        </p:nvSpPr>
        <p:spPr>
          <a:xfrm>
            <a:off x="5185355" y="3434731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3DCED83D-C221-4977-AB32-FD5948867895}"/>
              </a:ext>
            </a:extLst>
          </p:cNvPr>
          <p:cNvSpPr/>
          <p:nvPr/>
        </p:nvSpPr>
        <p:spPr>
          <a:xfrm>
            <a:off x="5281617" y="3465856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89036C3E-2BB2-49AE-B987-A92A280CCA90}"/>
              </a:ext>
            </a:extLst>
          </p:cNvPr>
          <p:cNvSpPr/>
          <p:nvPr/>
        </p:nvSpPr>
        <p:spPr>
          <a:xfrm>
            <a:off x="6504490" y="3010769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5D3AC8F4-7B4E-44AB-9142-45A2E2521D6D}"/>
              </a:ext>
            </a:extLst>
          </p:cNvPr>
          <p:cNvCxnSpPr>
            <a:cxnSpLocks/>
            <a:stCxn id="206" idx="5"/>
          </p:cNvCxnSpPr>
          <p:nvPr/>
        </p:nvCxnSpPr>
        <p:spPr>
          <a:xfrm>
            <a:off x="6543514" y="3049793"/>
            <a:ext cx="676557" cy="1300554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Oval 207">
            <a:extLst>
              <a:ext uri="{FF2B5EF4-FFF2-40B4-BE49-F238E27FC236}">
                <a16:creationId xmlns:a16="http://schemas.microsoft.com/office/drawing/2014/main" id="{4BEA3EF8-4005-4413-A4F5-AB892EAAB2F1}"/>
              </a:ext>
            </a:extLst>
          </p:cNvPr>
          <p:cNvSpPr/>
          <p:nvPr/>
        </p:nvSpPr>
        <p:spPr>
          <a:xfrm>
            <a:off x="7192779" y="3374628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F19AE8BC-F534-40AB-A695-545FF6386BDE}"/>
              </a:ext>
            </a:extLst>
          </p:cNvPr>
          <p:cNvSpPr/>
          <p:nvPr/>
        </p:nvSpPr>
        <p:spPr>
          <a:xfrm>
            <a:off x="7014459" y="4306858"/>
            <a:ext cx="642332" cy="642332"/>
          </a:xfrm>
          <a:prstGeom prst="ellipse">
            <a:avLst/>
          </a:prstGeom>
          <a:blipFill dpi="0" rotWithShape="1">
            <a:blip r:embed="rId15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colorTemperature colorTemp="15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Ellab 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Italy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Demi Bold"/>
              <a:ea typeface="+mn-ea"/>
              <a:cs typeface="+mn-cs"/>
            </a:endParaRPr>
          </a:p>
        </p:txBody>
      </p: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id="{CF9E4527-40CE-48B8-AC13-93152C705471}"/>
              </a:ext>
            </a:extLst>
          </p:cNvPr>
          <p:cNvCxnSpPr>
            <a:cxnSpLocks/>
            <a:stCxn id="208" idx="5"/>
          </p:cNvCxnSpPr>
          <p:nvPr/>
        </p:nvCxnSpPr>
        <p:spPr>
          <a:xfrm>
            <a:off x="7231803" y="3413652"/>
            <a:ext cx="784437" cy="1012870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Oval 210">
            <a:extLst>
              <a:ext uri="{FF2B5EF4-FFF2-40B4-BE49-F238E27FC236}">
                <a16:creationId xmlns:a16="http://schemas.microsoft.com/office/drawing/2014/main" id="{527649D4-42FF-49A4-904D-46F0562B021F}"/>
              </a:ext>
            </a:extLst>
          </p:cNvPr>
          <p:cNvSpPr/>
          <p:nvPr/>
        </p:nvSpPr>
        <p:spPr>
          <a:xfrm>
            <a:off x="7738345" y="4308315"/>
            <a:ext cx="642332" cy="642332"/>
          </a:xfrm>
          <a:prstGeom prst="ellipse">
            <a:avLst/>
          </a:prstGeom>
          <a:blipFill>
            <a:blip r:embed="rId17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Ellab 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Dubai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Demi Bold"/>
              <a:ea typeface="+mn-ea"/>
              <a:cs typeface="+mn-cs"/>
            </a:endParaRPr>
          </a:p>
        </p:txBody>
      </p:sp>
      <p:sp>
        <p:nvSpPr>
          <p:cNvPr id="212" name="Oval 211">
            <a:extLst>
              <a:ext uri="{FF2B5EF4-FFF2-40B4-BE49-F238E27FC236}">
                <a16:creationId xmlns:a16="http://schemas.microsoft.com/office/drawing/2014/main" id="{3DABB944-B5EE-4A3E-A5AD-76106AB88465}"/>
              </a:ext>
            </a:extLst>
          </p:cNvPr>
          <p:cNvSpPr/>
          <p:nvPr/>
        </p:nvSpPr>
        <p:spPr>
          <a:xfrm>
            <a:off x="6412165" y="3059294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13" name="Oval 212">
            <a:extLst>
              <a:ext uri="{FF2B5EF4-FFF2-40B4-BE49-F238E27FC236}">
                <a16:creationId xmlns:a16="http://schemas.microsoft.com/office/drawing/2014/main" id="{B38A534A-2EA2-45D5-8EDC-CA001DF4429B}"/>
              </a:ext>
            </a:extLst>
          </p:cNvPr>
          <p:cNvSpPr/>
          <p:nvPr/>
        </p:nvSpPr>
        <p:spPr>
          <a:xfrm>
            <a:off x="8205261" y="3515842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cxnSp>
        <p:nvCxnSpPr>
          <p:cNvPr id="214" name="Straight Arrow Connector 213">
            <a:extLst>
              <a:ext uri="{FF2B5EF4-FFF2-40B4-BE49-F238E27FC236}">
                <a16:creationId xmlns:a16="http://schemas.microsoft.com/office/drawing/2014/main" id="{8862610F-8CB5-41E0-9A88-066DB076056F}"/>
              </a:ext>
            </a:extLst>
          </p:cNvPr>
          <p:cNvCxnSpPr>
            <a:cxnSpLocks/>
          </p:cNvCxnSpPr>
          <p:nvPr/>
        </p:nvCxnSpPr>
        <p:spPr>
          <a:xfrm flipV="1">
            <a:off x="8249619" y="3319724"/>
            <a:ext cx="427451" cy="207728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Oval 214">
            <a:extLst>
              <a:ext uri="{FF2B5EF4-FFF2-40B4-BE49-F238E27FC236}">
                <a16:creationId xmlns:a16="http://schemas.microsoft.com/office/drawing/2014/main" id="{E2059D6E-7DAE-4281-8F3B-88E5E069281F}"/>
              </a:ext>
            </a:extLst>
          </p:cNvPr>
          <p:cNvSpPr/>
          <p:nvPr/>
        </p:nvSpPr>
        <p:spPr>
          <a:xfrm>
            <a:off x="8470088" y="2922635"/>
            <a:ext cx="642332" cy="642332"/>
          </a:xfrm>
          <a:prstGeom prst="ellipse">
            <a:avLst/>
          </a:prstGeom>
          <a:blipFill dpi="0" rotWithShape="1">
            <a:blip r:embed="rId18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colorTemperature colorTemp="6476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Ellab </a:t>
            </a: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Philippines</a:t>
            </a:r>
          </a:p>
        </p:txBody>
      </p:sp>
      <p:sp>
        <p:nvSpPr>
          <p:cNvPr id="216" name="Oval 215">
            <a:extLst>
              <a:ext uri="{FF2B5EF4-FFF2-40B4-BE49-F238E27FC236}">
                <a16:creationId xmlns:a16="http://schemas.microsoft.com/office/drawing/2014/main" id="{20D756D5-8B6B-4AF3-8C68-5B33A2927186}"/>
              </a:ext>
            </a:extLst>
          </p:cNvPr>
          <p:cNvSpPr/>
          <p:nvPr/>
        </p:nvSpPr>
        <p:spPr>
          <a:xfrm>
            <a:off x="6240009" y="3150388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17" name="Oval 216">
            <a:extLst>
              <a:ext uri="{FF2B5EF4-FFF2-40B4-BE49-F238E27FC236}">
                <a16:creationId xmlns:a16="http://schemas.microsoft.com/office/drawing/2014/main" id="{239AF878-0655-483C-9A80-21AAE6EE6977}"/>
              </a:ext>
            </a:extLst>
          </p:cNvPr>
          <p:cNvSpPr/>
          <p:nvPr/>
        </p:nvSpPr>
        <p:spPr>
          <a:xfrm>
            <a:off x="6336583" y="3123693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cxnSp>
        <p:nvCxnSpPr>
          <p:cNvPr id="218" name="Straight Arrow Connector 217">
            <a:extLst>
              <a:ext uri="{FF2B5EF4-FFF2-40B4-BE49-F238E27FC236}">
                <a16:creationId xmlns:a16="http://schemas.microsoft.com/office/drawing/2014/main" id="{A2ED9077-1C7A-4218-811D-AEB4E06887BC}"/>
              </a:ext>
            </a:extLst>
          </p:cNvPr>
          <p:cNvCxnSpPr>
            <a:cxnSpLocks/>
          </p:cNvCxnSpPr>
          <p:nvPr/>
        </p:nvCxnSpPr>
        <p:spPr>
          <a:xfrm flipH="1">
            <a:off x="5901714" y="2949971"/>
            <a:ext cx="508278" cy="1355626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Oval 218">
            <a:extLst>
              <a:ext uri="{FF2B5EF4-FFF2-40B4-BE49-F238E27FC236}">
                <a16:creationId xmlns:a16="http://schemas.microsoft.com/office/drawing/2014/main" id="{439631C1-1BD2-4E30-BD8B-59F241D4926E}"/>
              </a:ext>
            </a:extLst>
          </p:cNvPr>
          <p:cNvSpPr/>
          <p:nvPr/>
        </p:nvSpPr>
        <p:spPr>
          <a:xfrm>
            <a:off x="5583582" y="4311323"/>
            <a:ext cx="642332" cy="642332"/>
          </a:xfrm>
          <a:prstGeom prst="ellipse">
            <a:avLst/>
          </a:prstGeom>
          <a:blipFill dpi="0" rotWithShape="1">
            <a:blip r:embed="rId20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colorTemperature colorTemp="15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Ellab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 Benelux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Demi Bold"/>
              <a:ea typeface="+mn-ea"/>
              <a:cs typeface="+mn-cs"/>
            </a:endParaRPr>
          </a:p>
        </p:txBody>
      </p:sp>
      <p:sp>
        <p:nvSpPr>
          <p:cNvPr id="220" name="Oval 219">
            <a:extLst>
              <a:ext uri="{FF2B5EF4-FFF2-40B4-BE49-F238E27FC236}">
                <a16:creationId xmlns:a16="http://schemas.microsoft.com/office/drawing/2014/main" id="{AD9D28BF-DA76-4A3C-AA87-63ADFE82DEFD}"/>
              </a:ext>
            </a:extLst>
          </p:cNvPr>
          <p:cNvSpPr/>
          <p:nvPr/>
        </p:nvSpPr>
        <p:spPr>
          <a:xfrm>
            <a:off x="6535291" y="3168028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21" name="Oval 220">
            <a:extLst>
              <a:ext uri="{FF2B5EF4-FFF2-40B4-BE49-F238E27FC236}">
                <a16:creationId xmlns:a16="http://schemas.microsoft.com/office/drawing/2014/main" id="{85E4301D-149A-4E4E-8C00-D686DE688892}"/>
              </a:ext>
            </a:extLst>
          </p:cNvPr>
          <p:cNvSpPr/>
          <p:nvPr/>
        </p:nvSpPr>
        <p:spPr>
          <a:xfrm>
            <a:off x="6221254" y="3277741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id="{796C1E87-3D1C-4F40-82D4-DA36A0E488B2}"/>
              </a:ext>
            </a:extLst>
          </p:cNvPr>
          <p:cNvSpPr/>
          <p:nvPr/>
        </p:nvSpPr>
        <p:spPr>
          <a:xfrm>
            <a:off x="6492374" y="3240502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23" name="Oval 222">
            <a:extLst>
              <a:ext uri="{FF2B5EF4-FFF2-40B4-BE49-F238E27FC236}">
                <a16:creationId xmlns:a16="http://schemas.microsoft.com/office/drawing/2014/main" id="{8AA7F210-AF1E-4A21-ABD9-F87C06418DA9}"/>
              </a:ext>
            </a:extLst>
          </p:cNvPr>
          <p:cNvSpPr/>
          <p:nvPr/>
        </p:nvSpPr>
        <p:spPr>
          <a:xfrm>
            <a:off x="6300858" y="3535644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24" name="Oval 223">
            <a:extLst>
              <a:ext uri="{FF2B5EF4-FFF2-40B4-BE49-F238E27FC236}">
                <a16:creationId xmlns:a16="http://schemas.microsoft.com/office/drawing/2014/main" id="{536E26D6-88AC-418D-8A45-6D03459638AF}"/>
              </a:ext>
            </a:extLst>
          </p:cNvPr>
          <p:cNvSpPr/>
          <p:nvPr/>
        </p:nvSpPr>
        <p:spPr>
          <a:xfrm>
            <a:off x="6271475" y="3655869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25" name="Oval 224">
            <a:extLst>
              <a:ext uri="{FF2B5EF4-FFF2-40B4-BE49-F238E27FC236}">
                <a16:creationId xmlns:a16="http://schemas.microsoft.com/office/drawing/2014/main" id="{F741AB03-373C-43CD-AD96-2C2E2FA6C106}"/>
              </a:ext>
            </a:extLst>
          </p:cNvPr>
          <p:cNvSpPr/>
          <p:nvPr/>
        </p:nvSpPr>
        <p:spPr>
          <a:xfrm>
            <a:off x="6346577" y="3652739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26" name="Oval 225">
            <a:extLst>
              <a:ext uri="{FF2B5EF4-FFF2-40B4-BE49-F238E27FC236}">
                <a16:creationId xmlns:a16="http://schemas.microsoft.com/office/drawing/2014/main" id="{1C3F5DB7-B64F-43D9-85B2-103A77907669}"/>
              </a:ext>
            </a:extLst>
          </p:cNvPr>
          <p:cNvSpPr/>
          <p:nvPr/>
        </p:nvSpPr>
        <p:spPr>
          <a:xfrm>
            <a:off x="6379548" y="3594064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27" name="Oval 226">
            <a:extLst>
              <a:ext uri="{FF2B5EF4-FFF2-40B4-BE49-F238E27FC236}">
                <a16:creationId xmlns:a16="http://schemas.microsoft.com/office/drawing/2014/main" id="{97C49E8E-AC38-4B9B-8358-496C181B0067}"/>
              </a:ext>
            </a:extLst>
          </p:cNvPr>
          <p:cNvSpPr/>
          <p:nvPr/>
        </p:nvSpPr>
        <p:spPr>
          <a:xfrm>
            <a:off x="6428079" y="3646834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03D70F4B-9DEC-448E-9032-44264C889677}"/>
              </a:ext>
            </a:extLst>
          </p:cNvPr>
          <p:cNvSpPr/>
          <p:nvPr/>
        </p:nvSpPr>
        <p:spPr>
          <a:xfrm>
            <a:off x="6501785" y="3633199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cxnSp>
        <p:nvCxnSpPr>
          <p:cNvPr id="229" name="Straight Arrow Connector 228">
            <a:extLst>
              <a:ext uri="{FF2B5EF4-FFF2-40B4-BE49-F238E27FC236}">
                <a16:creationId xmlns:a16="http://schemas.microsoft.com/office/drawing/2014/main" id="{AF4F5AA9-0DA7-4C1A-9911-BE4886F40828}"/>
              </a:ext>
            </a:extLst>
          </p:cNvPr>
          <p:cNvCxnSpPr>
            <a:cxnSpLocks/>
          </p:cNvCxnSpPr>
          <p:nvPr/>
        </p:nvCxnSpPr>
        <p:spPr>
          <a:xfrm>
            <a:off x="6423893" y="2996847"/>
            <a:ext cx="130537" cy="1411075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Oval 229">
            <a:extLst>
              <a:ext uri="{FF2B5EF4-FFF2-40B4-BE49-F238E27FC236}">
                <a16:creationId xmlns:a16="http://schemas.microsoft.com/office/drawing/2014/main" id="{C99116DD-6DDC-48AA-A413-87110AB68240}"/>
              </a:ext>
            </a:extLst>
          </p:cNvPr>
          <p:cNvSpPr/>
          <p:nvPr/>
        </p:nvSpPr>
        <p:spPr>
          <a:xfrm>
            <a:off x="3817865" y="5107814"/>
            <a:ext cx="86939" cy="8693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C373B101-7921-4EB8-8FD3-45312E61D6DC}"/>
              </a:ext>
            </a:extLst>
          </p:cNvPr>
          <p:cNvSpPr/>
          <p:nvPr/>
        </p:nvSpPr>
        <p:spPr>
          <a:xfrm>
            <a:off x="3865128" y="5058950"/>
            <a:ext cx="10107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4572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5F5F5">
                    <a:lumMod val="25000"/>
                  </a:srgbClr>
                </a:solidFill>
                <a:effectLst/>
                <a:uLnTx/>
                <a:uFillTx/>
                <a:latin typeface="AvenirNext LT Pro Regular" panose="020B0504020202020204" pitchFamily="34" charset="77"/>
                <a:ea typeface="+mn-ea"/>
                <a:cs typeface="+mn-cs"/>
              </a:rPr>
              <a:t>Ellab distributors</a:t>
            </a:r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42270589-1166-44EE-AD46-D92F444DFAE1}"/>
              </a:ext>
            </a:extLst>
          </p:cNvPr>
          <p:cNvSpPr/>
          <p:nvPr/>
        </p:nvSpPr>
        <p:spPr>
          <a:xfrm>
            <a:off x="6793185" y="3332332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C600D766-435D-4B80-8EFD-06211D7B7996}"/>
              </a:ext>
            </a:extLst>
          </p:cNvPr>
          <p:cNvSpPr/>
          <p:nvPr/>
        </p:nvSpPr>
        <p:spPr>
          <a:xfrm>
            <a:off x="6653199" y="4255316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34" name="Oval 233">
            <a:extLst>
              <a:ext uri="{FF2B5EF4-FFF2-40B4-BE49-F238E27FC236}">
                <a16:creationId xmlns:a16="http://schemas.microsoft.com/office/drawing/2014/main" id="{29510A3E-8217-4286-B348-A01CBEF48BD3}"/>
              </a:ext>
            </a:extLst>
          </p:cNvPr>
          <p:cNvSpPr/>
          <p:nvPr/>
        </p:nvSpPr>
        <p:spPr>
          <a:xfrm>
            <a:off x="6884394" y="3291301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E34A5A89-3280-4EF8-A771-ED6297BFB08F}"/>
              </a:ext>
            </a:extLst>
          </p:cNvPr>
          <p:cNvSpPr/>
          <p:nvPr/>
        </p:nvSpPr>
        <p:spPr>
          <a:xfrm>
            <a:off x="6885645" y="3241687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27A04F56-13DF-460D-BA90-733AA25A1DFC}"/>
              </a:ext>
            </a:extLst>
          </p:cNvPr>
          <p:cNvSpPr/>
          <p:nvPr/>
        </p:nvSpPr>
        <p:spPr>
          <a:xfrm>
            <a:off x="7022521" y="3420795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37" name="Oval 236">
            <a:extLst>
              <a:ext uri="{FF2B5EF4-FFF2-40B4-BE49-F238E27FC236}">
                <a16:creationId xmlns:a16="http://schemas.microsoft.com/office/drawing/2014/main" id="{B2668E9D-2100-4D26-8C86-D9B01A40D2D4}"/>
              </a:ext>
            </a:extLst>
          </p:cNvPr>
          <p:cNvSpPr/>
          <p:nvPr/>
        </p:nvSpPr>
        <p:spPr>
          <a:xfrm>
            <a:off x="7099482" y="3363527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38" name="Oval 237">
            <a:extLst>
              <a:ext uri="{FF2B5EF4-FFF2-40B4-BE49-F238E27FC236}">
                <a16:creationId xmlns:a16="http://schemas.microsoft.com/office/drawing/2014/main" id="{CD70685F-B752-4D2D-86E7-E68E3913F2FD}"/>
              </a:ext>
            </a:extLst>
          </p:cNvPr>
          <p:cNvSpPr/>
          <p:nvPr/>
        </p:nvSpPr>
        <p:spPr>
          <a:xfrm>
            <a:off x="7522456" y="3529528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39" name="Oval 238">
            <a:extLst>
              <a:ext uri="{FF2B5EF4-FFF2-40B4-BE49-F238E27FC236}">
                <a16:creationId xmlns:a16="http://schemas.microsoft.com/office/drawing/2014/main" id="{B955DF60-EC03-424E-86EA-4A0FDB346403}"/>
              </a:ext>
            </a:extLst>
          </p:cNvPr>
          <p:cNvSpPr/>
          <p:nvPr/>
        </p:nvSpPr>
        <p:spPr>
          <a:xfrm>
            <a:off x="7689050" y="3387327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40" name="Oval 239">
            <a:extLst>
              <a:ext uri="{FF2B5EF4-FFF2-40B4-BE49-F238E27FC236}">
                <a16:creationId xmlns:a16="http://schemas.microsoft.com/office/drawing/2014/main" id="{9E8E3492-1598-4D95-86DD-A2ECB01774F0}"/>
              </a:ext>
            </a:extLst>
          </p:cNvPr>
          <p:cNvSpPr/>
          <p:nvPr/>
        </p:nvSpPr>
        <p:spPr>
          <a:xfrm>
            <a:off x="7147060" y="3289929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41" name="Oval 240">
            <a:extLst>
              <a:ext uri="{FF2B5EF4-FFF2-40B4-BE49-F238E27FC236}">
                <a16:creationId xmlns:a16="http://schemas.microsoft.com/office/drawing/2014/main" id="{AC95D75C-D5A0-431B-BE8F-F6071D51FB8A}"/>
              </a:ext>
            </a:extLst>
          </p:cNvPr>
          <p:cNvSpPr/>
          <p:nvPr/>
        </p:nvSpPr>
        <p:spPr>
          <a:xfrm>
            <a:off x="7875757" y="3515842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636E3C91-AD75-48BC-8A60-7968B9013F64}"/>
              </a:ext>
            </a:extLst>
          </p:cNvPr>
          <p:cNvSpPr/>
          <p:nvPr/>
        </p:nvSpPr>
        <p:spPr>
          <a:xfrm>
            <a:off x="7894283" y="3655869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43" name="Oval 242">
            <a:extLst>
              <a:ext uri="{FF2B5EF4-FFF2-40B4-BE49-F238E27FC236}">
                <a16:creationId xmlns:a16="http://schemas.microsoft.com/office/drawing/2014/main" id="{39592D07-3C71-443D-BB62-0EF77B6C0271}"/>
              </a:ext>
            </a:extLst>
          </p:cNvPr>
          <p:cNvSpPr/>
          <p:nvPr/>
        </p:nvSpPr>
        <p:spPr>
          <a:xfrm>
            <a:off x="7926144" y="3720207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B8715869-9927-422B-90A9-CDC52BED51E5}"/>
              </a:ext>
            </a:extLst>
          </p:cNvPr>
          <p:cNvSpPr/>
          <p:nvPr/>
        </p:nvSpPr>
        <p:spPr>
          <a:xfrm>
            <a:off x="8012097" y="3866056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5484763B-D96E-48C3-A588-DF23700FDA39}"/>
              </a:ext>
            </a:extLst>
          </p:cNvPr>
          <p:cNvSpPr/>
          <p:nvPr/>
        </p:nvSpPr>
        <p:spPr>
          <a:xfrm>
            <a:off x="8596297" y="4304468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85822200-97B6-47C9-9F4B-FE1687ED5BC1}"/>
              </a:ext>
            </a:extLst>
          </p:cNvPr>
          <p:cNvSpPr/>
          <p:nvPr/>
        </p:nvSpPr>
        <p:spPr>
          <a:xfrm>
            <a:off x="8548060" y="3852721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47" name="Oval 246">
            <a:extLst>
              <a:ext uri="{FF2B5EF4-FFF2-40B4-BE49-F238E27FC236}">
                <a16:creationId xmlns:a16="http://schemas.microsoft.com/office/drawing/2014/main" id="{AE6A619F-1F76-4DB0-9911-13BF8084A89B}"/>
              </a:ext>
            </a:extLst>
          </p:cNvPr>
          <p:cNvSpPr/>
          <p:nvPr/>
        </p:nvSpPr>
        <p:spPr>
          <a:xfrm>
            <a:off x="8177503" y="3359677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C01880DC-5413-458D-A0DD-93C6908869C4}"/>
              </a:ext>
            </a:extLst>
          </p:cNvPr>
          <p:cNvSpPr/>
          <p:nvPr/>
        </p:nvSpPr>
        <p:spPr>
          <a:xfrm>
            <a:off x="8236284" y="3102762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49" name="Oval 248">
            <a:extLst>
              <a:ext uri="{FF2B5EF4-FFF2-40B4-BE49-F238E27FC236}">
                <a16:creationId xmlns:a16="http://schemas.microsoft.com/office/drawing/2014/main" id="{E30E79B0-7B00-468D-B5B1-B52C624C0C68}"/>
              </a:ext>
            </a:extLst>
          </p:cNvPr>
          <p:cNvSpPr/>
          <p:nvPr/>
        </p:nvSpPr>
        <p:spPr>
          <a:xfrm>
            <a:off x="7338087" y="2923639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50" name="Oval 249">
            <a:extLst>
              <a:ext uri="{FF2B5EF4-FFF2-40B4-BE49-F238E27FC236}">
                <a16:creationId xmlns:a16="http://schemas.microsoft.com/office/drawing/2014/main" id="{A827E60B-2A7D-4C4F-B2E4-C4D5F0815FC5}"/>
              </a:ext>
            </a:extLst>
          </p:cNvPr>
          <p:cNvSpPr/>
          <p:nvPr/>
        </p:nvSpPr>
        <p:spPr>
          <a:xfrm>
            <a:off x="8055660" y="3296865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51" name="Oval 250">
            <a:extLst>
              <a:ext uri="{FF2B5EF4-FFF2-40B4-BE49-F238E27FC236}">
                <a16:creationId xmlns:a16="http://schemas.microsoft.com/office/drawing/2014/main" id="{F8AC0752-603E-4679-9130-75D4AC35A404}"/>
              </a:ext>
            </a:extLst>
          </p:cNvPr>
          <p:cNvSpPr/>
          <p:nvPr/>
        </p:nvSpPr>
        <p:spPr>
          <a:xfrm>
            <a:off x="7006483" y="3099206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52" name="Oval 251">
            <a:extLst>
              <a:ext uri="{FF2B5EF4-FFF2-40B4-BE49-F238E27FC236}">
                <a16:creationId xmlns:a16="http://schemas.microsoft.com/office/drawing/2014/main" id="{B7FD3A7D-9FA7-4D3D-96DF-8E4CF6C9104C}"/>
              </a:ext>
            </a:extLst>
          </p:cNvPr>
          <p:cNvSpPr/>
          <p:nvPr/>
        </p:nvSpPr>
        <p:spPr>
          <a:xfrm>
            <a:off x="6799915" y="3133942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53" name="Oval 252">
            <a:extLst>
              <a:ext uri="{FF2B5EF4-FFF2-40B4-BE49-F238E27FC236}">
                <a16:creationId xmlns:a16="http://schemas.microsoft.com/office/drawing/2014/main" id="{689601B7-77DB-4442-B550-DD14F0352EF4}"/>
              </a:ext>
            </a:extLst>
          </p:cNvPr>
          <p:cNvSpPr/>
          <p:nvPr/>
        </p:nvSpPr>
        <p:spPr>
          <a:xfrm>
            <a:off x="6834228" y="2714450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54" name="Oval 253">
            <a:extLst>
              <a:ext uri="{FF2B5EF4-FFF2-40B4-BE49-F238E27FC236}">
                <a16:creationId xmlns:a16="http://schemas.microsoft.com/office/drawing/2014/main" id="{87B1718A-87B0-4C21-AEAE-52E1FB9C5EEB}"/>
              </a:ext>
            </a:extLst>
          </p:cNvPr>
          <p:cNvSpPr/>
          <p:nvPr/>
        </p:nvSpPr>
        <p:spPr>
          <a:xfrm>
            <a:off x="6800289" y="2946499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55" name="Oval 254">
            <a:extLst>
              <a:ext uri="{FF2B5EF4-FFF2-40B4-BE49-F238E27FC236}">
                <a16:creationId xmlns:a16="http://schemas.microsoft.com/office/drawing/2014/main" id="{E2E79263-6ED1-4F6D-B7F3-F6C77EF02713}"/>
              </a:ext>
            </a:extLst>
          </p:cNvPr>
          <p:cNvSpPr/>
          <p:nvPr/>
        </p:nvSpPr>
        <p:spPr>
          <a:xfrm>
            <a:off x="6761506" y="2882844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56" name="Oval 255">
            <a:extLst>
              <a:ext uri="{FF2B5EF4-FFF2-40B4-BE49-F238E27FC236}">
                <a16:creationId xmlns:a16="http://schemas.microsoft.com/office/drawing/2014/main" id="{55987078-D71D-436F-829C-67D55D257B48}"/>
              </a:ext>
            </a:extLst>
          </p:cNvPr>
          <p:cNvSpPr/>
          <p:nvPr/>
        </p:nvSpPr>
        <p:spPr>
          <a:xfrm>
            <a:off x="6699386" y="3147155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762FD97B-D10D-43A7-AF1F-EF2223B561E0}"/>
              </a:ext>
            </a:extLst>
          </p:cNvPr>
          <p:cNvSpPr/>
          <p:nvPr/>
        </p:nvSpPr>
        <p:spPr>
          <a:xfrm>
            <a:off x="6666094" y="3063681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58" name="Oval 257">
            <a:extLst>
              <a:ext uri="{FF2B5EF4-FFF2-40B4-BE49-F238E27FC236}">
                <a16:creationId xmlns:a16="http://schemas.microsoft.com/office/drawing/2014/main" id="{7662F424-7361-4787-BE8B-2B5E6514D090}"/>
              </a:ext>
            </a:extLst>
          </p:cNvPr>
          <p:cNvSpPr/>
          <p:nvPr/>
        </p:nvSpPr>
        <p:spPr>
          <a:xfrm>
            <a:off x="6718552" y="3079902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59" name="Oval 258">
            <a:extLst>
              <a:ext uri="{FF2B5EF4-FFF2-40B4-BE49-F238E27FC236}">
                <a16:creationId xmlns:a16="http://schemas.microsoft.com/office/drawing/2014/main" id="{57EEA5FF-74DE-44A2-988A-C47B2D517A33}"/>
              </a:ext>
            </a:extLst>
          </p:cNvPr>
          <p:cNvSpPr/>
          <p:nvPr/>
        </p:nvSpPr>
        <p:spPr>
          <a:xfrm>
            <a:off x="6729785" y="3015418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60" name="Oval 259">
            <a:extLst>
              <a:ext uri="{FF2B5EF4-FFF2-40B4-BE49-F238E27FC236}">
                <a16:creationId xmlns:a16="http://schemas.microsoft.com/office/drawing/2014/main" id="{25DF0761-DEAC-456B-952E-F9BE6C2C9EC7}"/>
              </a:ext>
            </a:extLst>
          </p:cNvPr>
          <p:cNvSpPr/>
          <p:nvPr/>
        </p:nvSpPr>
        <p:spPr>
          <a:xfrm>
            <a:off x="6606033" y="3043865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61" name="Oval 260">
            <a:extLst>
              <a:ext uri="{FF2B5EF4-FFF2-40B4-BE49-F238E27FC236}">
                <a16:creationId xmlns:a16="http://schemas.microsoft.com/office/drawing/2014/main" id="{FBA04D20-27A3-4F99-9B77-D0362F260DA7}"/>
              </a:ext>
            </a:extLst>
          </p:cNvPr>
          <p:cNvSpPr/>
          <p:nvPr/>
        </p:nvSpPr>
        <p:spPr>
          <a:xfrm>
            <a:off x="6600068" y="2973003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62" name="Oval 261">
            <a:extLst>
              <a:ext uri="{FF2B5EF4-FFF2-40B4-BE49-F238E27FC236}">
                <a16:creationId xmlns:a16="http://schemas.microsoft.com/office/drawing/2014/main" id="{9B82D903-5915-4642-9A08-92D90EF2728A}"/>
              </a:ext>
            </a:extLst>
          </p:cNvPr>
          <p:cNvSpPr/>
          <p:nvPr/>
        </p:nvSpPr>
        <p:spPr>
          <a:xfrm>
            <a:off x="6577848" y="2925350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63" name="Oval 262">
            <a:extLst>
              <a:ext uri="{FF2B5EF4-FFF2-40B4-BE49-F238E27FC236}">
                <a16:creationId xmlns:a16="http://schemas.microsoft.com/office/drawing/2014/main" id="{A46FE976-C332-4C66-AFE0-3181AB52C240}"/>
              </a:ext>
            </a:extLst>
          </p:cNvPr>
          <p:cNvSpPr/>
          <p:nvPr/>
        </p:nvSpPr>
        <p:spPr>
          <a:xfrm>
            <a:off x="6664562" y="2810569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BC4EBDCE-39C6-4489-A4BD-AB0C89659DBF}"/>
              </a:ext>
            </a:extLst>
          </p:cNvPr>
          <p:cNvSpPr/>
          <p:nvPr/>
        </p:nvSpPr>
        <p:spPr>
          <a:xfrm>
            <a:off x="6686026" y="2634823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65" name="Oval 264">
            <a:extLst>
              <a:ext uri="{FF2B5EF4-FFF2-40B4-BE49-F238E27FC236}">
                <a16:creationId xmlns:a16="http://schemas.microsoft.com/office/drawing/2014/main" id="{A0518545-7AE0-446D-A141-3C0E9D7612AA}"/>
              </a:ext>
            </a:extLst>
          </p:cNvPr>
          <p:cNvSpPr/>
          <p:nvPr/>
        </p:nvSpPr>
        <p:spPr>
          <a:xfrm>
            <a:off x="6528921" y="2669583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66" name="Oval 265">
            <a:extLst>
              <a:ext uri="{FF2B5EF4-FFF2-40B4-BE49-F238E27FC236}">
                <a16:creationId xmlns:a16="http://schemas.microsoft.com/office/drawing/2014/main" id="{85058413-6D0F-4580-B978-820C19FBFE09}"/>
              </a:ext>
            </a:extLst>
          </p:cNvPr>
          <p:cNvSpPr/>
          <p:nvPr/>
        </p:nvSpPr>
        <p:spPr>
          <a:xfrm>
            <a:off x="6452611" y="2676100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8AD07BDA-C65B-4297-A11D-9B1B587A3771}"/>
              </a:ext>
            </a:extLst>
          </p:cNvPr>
          <p:cNvSpPr/>
          <p:nvPr/>
        </p:nvSpPr>
        <p:spPr>
          <a:xfrm>
            <a:off x="6708904" y="2729628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68" name="Oval 267">
            <a:extLst>
              <a:ext uri="{FF2B5EF4-FFF2-40B4-BE49-F238E27FC236}">
                <a16:creationId xmlns:a16="http://schemas.microsoft.com/office/drawing/2014/main" id="{18B1E1D2-E91F-4FAB-89A6-5F319C93296F}"/>
              </a:ext>
            </a:extLst>
          </p:cNvPr>
          <p:cNvSpPr/>
          <p:nvPr/>
        </p:nvSpPr>
        <p:spPr>
          <a:xfrm>
            <a:off x="6597163" y="2854986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cxnSp>
        <p:nvCxnSpPr>
          <p:cNvPr id="269" name="Straight Arrow Connector 268">
            <a:extLst>
              <a:ext uri="{FF2B5EF4-FFF2-40B4-BE49-F238E27FC236}">
                <a16:creationId xmlns:a16="http://schemas.microsoft.com/office/drawing/2014/main" id="{6A0D5AA0-FFF3-436F-BF5C-7A148B4BA988}"/>
              </a:ext>
            </a:extLst>
          </p:cNvPr>
          <p:cNvCxnSpPr>
            <a:cxnSpLocks/>
            <a:stCxn id="271" idx="3"/>
            <a:endCxn id="198" idx="7"/>
          </p:cNvCxnSpPr>
          <p:nvPr/>
        </p:nvCxnSpPr>
        <p:spPr>
          <a:xfrm flipH="1">
            <a:off x="6532681" y="2182770"/>
            <a:ext cx="1275375" cy="681634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Arrow Connector 269">
            <a:extLst>
              <a:ext uri="{FF2B5EF4-FFF2-40B4-BE49-F238E27FC236}">
                <a16:creationId xmlns:a16="http://schemas.microsoft.com/office/drawing/2014/main" id="{3DC091E0-B912-44C6-BD06-E9D5F8C4CC03}"/>
              </a:ext>
            </a:extLst>
          </p:cNvPr>
          <p:cNvCxnSpPr>
            <a:cxnSpLocks/>
            <a:stCxn id="271" idx="3"/>
            <a:endCxn id="202" idx="7"/>
          </p:cNvCxnSpPr>
          <p:nvPr/>
        </p:nvCxnSpPr>
        <p:spPr>
          <a:xfrm flipH="1">
            <a:off x="6505355" y="2182770"/>
            <a:ext cx="1302701" cy="803597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Oval 270">
            <a:extLst>
              <a:ext uri="{FF2B5EF4-FFF2-40B4-BE49-F238E27FC236}">
                <a16:creationId xmlns:a16="http://schemas.microsoft.com/office/drawing/2014/main" id="{4789410A-1FFB-47F2-A08A-6486D88AA594}"/>
              </a:ext>
            </a:extLst>
          </p:cNvPr>
          <p:cNvSpPr/>
          <p:nvPr/>
        </p:nvSpPr>
        <p:spPr>
          <a:xfrm>
            <a:off x="7713989" y="1634505"/>
            <a:ext cx="642332" cy="642332"/>
          </a:xfrm>
          <a:prstGeom prst="ellipse">
            <a:avLst/>
          </a:prstGeom>
          <a:blipFill dpi="0" rotWithShape="1">
            <a:blip r:embed="rId2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colorTemperature colorTemp="15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Ellab 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DACH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Demi Bold"/>
              <a:ea typeface="+mn-ea"/>
              <a:cs typeface="+mn-cs"/>
            </a:endParaRPr>
          </a:p>
        </p:txBody>
      </p:sp>
      <p:cxnSp>
        <p:nvCxnSpPr>
          <p:cNvPr id="272" name="Straight Arrow Connector 271">
            <a:extLst>
              <a:ext uri="{FF2B5EF4-FFF2-40B4-BE49-F238E27FC236}">
                <a16:creationId xmlns:a16="http://schemas.microsoft.com/office/drawing/2014/main" id="{1B8BC023-5FF2-4990-90F8-54427C7F0471}"/>
              </a:ext>
            </a:extLst>
          </p:cNvPr>
          <p:cNvCxnSpPr>
            <a:cxnSpLocks/>
            <a:stCxn id="271" idx="3"/>
            <a:endCxn id="201" idx="7"/>
          </p:cNvCxnSpPr>
          <p:nvPr/>
        </p:nvCxnSpPr>
        <p:spPr>
          <a:xfrm flipH="1">
            <a:off x="6547735" y="2182770"/>
            <a:ext cx="1260321" cy="733455"/>
          </a:xfrm>
          <a:prstGeom prst="straightConnector1">
            <a:avLst/>
          </a:prstGeom>
          <a:ln>
            <a:solidFill>
              <a:srgbClr val="0F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Oval 272">
            <a:extLst>
              <a:ext uri="{FF2B5EF4-FFF2-40B4-BE49-F238E27FC236}">
                <a16:creationId xmlns:a16="http://schemas.microsoft.com/office/drawing/2014/main" id="{1A99D9C5-F308-4572-9423-262B79AA1958}"/>
              </a:ext>
            </a:extLst>
          </p:cNvPr>
          <p:cNvSpPr/>
          <p:nvPr/>
        </p:nvSpPr>
        <p:spPr>
          <a:xfrm>
            <a:off x="8400459" y="3109076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74" name="Oval 273">
            <a:extLst>
              <a:ext uri="{FF2B5EF4-FFF2-40B4-BE49-F238E27FC236}">
                <a16:creationId xmlns:a16="http://schemas.microsoft.com/office/drawing/2014/main" id="{FABEE802-05E7-445D-9D5A-5215C2C0F7EC}"/>
              </a:ext>
            </a:extLst>
          </p:cNvPr>
          <p:cNvSpPr/>
          <p:nvPr/>
        </p:nvSpPr>
        <p:spPr>
          <a:xfrm>
            <a:off x="7976343" y="3572532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75" name="Oval 274">
            <a:extLst>
              <a:ext uri="{FF2B5EF4-FFF2-40B4-BE49-F238E27FC236}">
                <a16:creationId xmlns:a16="http://schemas.microsoft.com/office/drawing/2014/main" id="{DBFB1C5C-A7B1-4D9A-B61C-6E999BBDB904}"/>
              </a:ext>
            </a:extLst>
          </p:cNvPr>
          <p:cNvSpPr/>
          <p:nvPr/>
        </p:nvSpPr>
        <p:spPr>
          <a:xfrm>
            <a:off x="6115585" y="2579391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76" name="Oval 275">
            <a:extLst>
              <a:ext uri="{FF2B5EF4-FFF2-40B4-BE49-F238E27FC236}">
                <a16:creationId xmlns:a16="http://schemas.microsoft.com/office/drawing/2014/main" id="{555D267A-5434-4323-A2C9-C2851943EFD8}"/>
              </a:ext>
            </a:extLst>
          </p:cNvPr>
          <p:cNvSpPr/>
          <p:nvPr/>
        </p:nvSpPr>
        <p:spPr>
          <a:xfrm>
            <a:off x="6447003" y="2891211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77" name="Oval 276">
            <a:extLst>
              <a:ext uri="{FF2B5EF4-FFF2-40B4-BE49-F238E27FC236}">
                <a16:creationId xmlns:a16="http://schemas.microsoft.com/office/drawing/2014/main" id="{416030DE-A544-4110-81AD-FCA7610F2101}"/>
              </a:ext>
            </a:extLst>
          </p:cNvPr>
          <p:cNvSpPr/>
          <p:nvPr/>
        </p:nvSpPr>
        <p:spPr>
          <a:xfrm>
            <a:off x="6429190" y="3020137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78" name="Oval 277">
            <a:extLst>
              <a:ext uri="{FF2B5EF4-FFF2-40B4-BE49-F238E27FC236}">
                <a16:creationId xmlns:a16="http://schemas.microsoft.com/office/drawing/2014/main" id="{31559196-1DBF-4D39-9B14-F5D6FEEA5BC2}"/>
              </a:ext>
            </a:extLst>
          </p:cNvPr>
          <p:cNvSpPr/>
          <p:nvPr/>
        </p:nvSpPr>
        <p:spPr>
          <a:xfrm>
            <a:off x="6446298" y="3032695"/>
            <a:ext cx="45719" cy="4571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79" name="Oval 278">
            <a:extLst>
              <a:ext uri="{FF2B5EF4-FFF2-40B4-BE49-F238E27FC236}">
                <a16:creationId xmlns:a16="http://schemas.microsoft.com/office/drawing/2014/main" id="{E674C726-B8F5-4170-A9B1-93F797D23ED4}"/>
              </a:ext>
            </a:extLst>
          </p:cNvPr>
          <p:cNvSpPr/>
          <p:nvPr/>
        </p:nvSpPr>
        <p:spPr>
          <a:xfrm>
            <a:off x="6402640" y="2969443"/>
            <a:ext cx="45719" cy="45719"/>
          </a:xfrm>
          <a:prstGeom prst="ellipse">
            <a:avLst/>
          </a:prstGeom>
          <a:gradFill flip="none" rotWithShape="1">
            <a:gsLst>
              <a:gs pos="21000">
                <a:srgbClr val="1F6898">
                  <a:alpha val="79000"/>
                </a:srgbClr>
              </a:gs>
              <a:gs pos="100000">
                <a:srgbClr val="0F9CD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 Medium" panose="020B0504020202020204" pitchFamily="34" charset="77"/>
              <a:ea typeface="+mn-ea"/>
              <a:cs typeface="+mn-cs"/>
            </a:endParaRPr>
          </a:p>
        </p:txBody>
      </p:sp>
      <p:sp>
        <p:nvSpPr>
          <p:cNvPr id="280" name="Oval 279">
            <a:extLst>
              <a:ext uri="{FF2B5EF4-FFF2-40B4-BE49-F238E27FC236}">
                <a16:creationId xmlns:a16="http://schemas.microsoft.com/office/drawing/2014/main" id="{93FD2F21-516A-472B-B29B-F27C142DA27F}"/>
              </a:ext>
            </a:extLst>
          </p:cNvPr>
          <p:cNvSpPr/>
          <p:nvPr/>
        </p:nvSpPr>
        <p:spPr>
          <a:xfrm>
            <a:off x="6295253" y="4311323"/>
            <a:ext cx="642332" cy="642332"/>
          </a:xfrm>
          <a:prstGeom prst="ellipse">
            <a:avLst/>
          </a:prstGeom>
          <a:blipFill dpi="0" rotWithShape="1">
            <a:blip r:embed="rId24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colorTemperature colorTemp="15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Ellab 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Demi Bold"/>
                <a:ea typeface="+mn-ea"/>
                <a:cs typeface="+mn-cs"/>
              </a:rPr>
              <a:t>France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Demi Bold"/>
              <a:ea typeface="+mn-ea"/>
              <a:cs typeface="+mn-cs"/>
            </a:endParaRPr>
          </a:p>
        </p:txBody>
      </p:sp>
      <p:grpSp>
        <p:nvGrpSpPr>
          <p:cNvPr id="281" name="Graphic 100">
            <a:extLst>
              <a:ext uri="{FF2B5EF4-FFF2-40B4-BE49-F238E27FC236}">
                <a16:creationId xmlns:a16="http://schemas.microsoft.com/office/drawing/2014/main" id="{6E672775-B411-42DD-85C1-B4A2CD8F5DC9}"/>
              </a:ext>
            </a:extLst>
          </p:cNvPr>
          <p:cNvGrpSpPr/>
          <p:nvPr/>
        </p:nvGrpSpPr>
        <p:grpSpPr>
          <a:xfrm>
            <a:off x="7611200" y="284166"/>
            <a:ext cx="1112606" cy="739028"/>
            <a:chOff x="7611200" y="284166"/>
            <a:chExt cx="1112606" cy="739028"/>
          </a:xfrm>
        </p:grpSpPr>
        <p:sp>
          <p:nvSpPr>
            <p:cNvPr id="282" name="Freeform 186">
              <a:extLst>
                <a:ext uri="{FF2B5EF4-FFF2-40B4-BE49-F238E27FC236}">
                  <a16:creationId xmlns:a16="http://schemas.microsoft.com/office/drawing/2014/main" id="{4EDD44FB-B9EA-494D-BB93-9BFDF9601AD9}"/>
                </a:ext>
              </a:extLst>
            </p:cNvPr>
            <p:cNvSpPr/>
            <p:nvPr/>
          </p:nvSpPr>
          <p:spPr>
            <a:xfrm>
              <a:off x="8065090" y="981314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83" name="Freeform 187">
              <a:extLst>
                <a:ext uri="{FF2B5EF4-FFF2-40B4-BE49-F238E27FC236}">
                  <a16:creationId xmlns:a16="http://schemas.microsoft.com/office/drawing/2014/main" id="{1608A164-4154-47EE-8B5D-34DC45F973E9}"/>
                </a:ext>
              </a:extLst>
            </p:cNvPr>
            <p:cNvSpPr/>
            <p:nvPr/>
          </p:nvSpPr>
          <p:spPr>
            <a:xfrm>
              <a:off x="8065090" y="284175"/>
              <a:ext cx="184529" cy="41880"/>
            </a:xfrm>
            <a:custGeom>
              <a:avLst/>
              <a:gdLst>
                <a:gd name="connsiteX0" fmla="*/ 0 w 184529"/>
                <a:gd name="connsiteY0" fmla="*/ 0 h 41880"/>
                <a:gd name="connsiteX1" fmla="*/ 184529 w 184529"/>
                <a:gd name="connsiteY1" fmla="*/ 0 h 41880"/>
                <a:gd name="connsiteX2" fmla="*/ 184529 w 184529"/>
                <a:gd name="connsiteY2" fmla="*/ 41880 h 41880"/>
                <a:gd name="connsiteX3" fmla="*/ 0 w 184529"/>
                <a:gd name="connsiteY3" fmla="*/ 41880 h 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29" h="41880">
                  <a:moveTo>
                    <a:pt x="0" y="0"/>
                  </a:moveTo>
                  <a:lnTo>
                    <a:pt x="184529" y="0"/>
                  </a:lnTo>
                  <a:lnTo>
                    <a:pt x="184529" y="41880"/>
                  </a:lnTo>
                  <a:lnTo>
                    <a:pt x="0" y="41880"/>
                  </a:ln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84" name="Freeform 200">
              <a:extLst>
                <a:ext uri="{FF2B5EF4-FFF2-40B4-BE49-F238E27FC236}">
                  <a16:creationId xmlns:a16="http://schemas.microsoft.com/office/drawing/2014/main" id="{57C94310-4BA0-45EA-9895-35E7CBEFDC71}"/>
                </a:ext>
              </a:extLst>
            </p:cNvPr>
            <p:cNvSpPr/>
            <p:nvPr/>
          </p:nvSpPr>
          <p:spPr>
            <a:xfrm>
              <a:off x="7611200" y="284166"/>
              <a:ext cx="928953" cy="738998"/>
            </a:xfrm>
            <a:custGeom>
              <a:avLst/>
              <a:gdLst>
                <a:gd name="connsiteX0" fmla="*/ 835856 w 928953"/>
                <a:gd name="connsiteY0" fmla="*/ 129348 h 738998"/>
                <a:gd name="connsiteX1" fmla="*/ 928952 w 928953"/>
                <a:gd name="connsiteY1" fmla="*/ 373724 h 738998"/>
                <a:gd name="connsiteX2" fmla="*/ 687905 w 928953"/>
                <a:gd name="connsiteY2" fmla="*/ 707088 h 738998"/>
                <a:gd name="connsiteX3" fmla="*/ 422261 w 928953"/>
                <a:gd name="connsiteY3" fmla="*/ 738739 h 738998"/>
                <a:gd name="connsiteX4" fmla="*/ 59346 w 928953"/>
                <a:gd name="connsiteY4" fmla="*/ 566442 h 738998"/>
                <a:gd name="connsiteX5" fmla="*/ 36221 w 928953"/>
                <a:gd name="connsiteY5" fmla="*/ 210589 h 738998"/>
                <a:gd name="connsiteX6" fmla="*/ 317565 w 928953"/>
                <a:gd name="connsiteY6" fmla="*/ 11729 h 738998"/>
                <a:gd name="connsiteX7" fmla="*/ 681889 w 928953"/>
                <a:gd name="connsiteY7" fmla="*/ 31485 h 738998"/>
                <a:gd name="connsiteX8" fmla="*/ 835856 w 928953"/>
                <a:gd name="connsiteY8" fmla="*/ 129348 h 73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3" h="738998">
                  <a:moveTo>
                    <a:pt x="835856" y="129348"/>
                  </a:moveTo>
                  <a:cubicBezTo>
                    <a:pt x="896114" y="196814"/>
                    <a:pt x="929236" y="283759"/>
                    <a:pt x="928952" y="373724"/>
                  </a:cubicBezTo>
                  <a:cubicBezTo>
                    <a:pt x="925917" y="523314"/>
                    <a:pt x="830184" y="655711"/>
                    <a:pt x="687905" y="707088"/>
                  </a:cubicBezTo>
                  <a:cubicBezTo>
                    <a:pt x="605509" y="733926"/>
                    <a:pt x="513834" y="740469"/>
                    <a:pt x="422261" y="738739"/>
                  </a:cubicBezTo>
                  <a:cubicBezTo>
                    <a:pt x="276874" y="734728"/>
                    <a:pt x="140410" y="684838"/>
                    <a:pt x="59346" y="566442"/>
                  </a:cubicBezTo>
                  <a:cubicBezTo>
                    <a:pt x="-7731" y="467563"/>
                    <a:pt x="-21426" y="316651"/>
                    <a:pt x="36221" y="210589"/>
                  </a:cubicBezTo>
                  <a:cubicBezTo>
                    <a:pt x="85377" y="102522"/>
                    <a:pt x="197486" y="29968"/>
                    <a:pt x="317565" y="11729"/>
                  </a:cubicBezTo>
                  <a:cubicBezTo>
                    <a:pt x="438958" y="-8966"/>
                    <a:pt x="563521" y="-2211"/>
                    <a:pt x="681889" y="31485"/>
                  </a:cubicBezTo>
                  <a:cubicBezTo>
                    <a:pt x="740531" y="51203"/>
                    <a:pt x="793392" y="84802"/>
                    <a:pt x="835856" y="129348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85" name="Freeform 201">
              <a:extLst>
                <a:ext uri="{FF2B5EF4-FFF2-40B4-BE49-F238E27FC236}">
                  <a16:creationId xmlns:a16="http://schemas.microsoft.com/office/drawing/2014/main" id="{532B106F-3846-4E61-B4EB-FBF153C34867}"/>
                </a:ext>
              </a:extLst>
            </p:cNvPr>
            <p:cNvSpPr/>
            <p:nvPr/>
          </p:nvSpPr>
          <p:spPr>
            <a:xfrm>
              <a:off x="7648818" y="292586"/>
              <a:ext cx="513653" cy="722735"/>
            </a:xfrm>
            <a:custGeom>
              <a:avLst/>
              <a:gdLst>
                <a:gd name="connsiteX0" fmla="*/ 501893 w 513653"/>
                <a:gd name="connsiteY0" fmla="*/ 722736 h 722735"/>
                <a:gd name="connsiteX1" fmla="*/ 419052 w 513653"/>
                <a:gd name="connsiteY1" fmla="*/ 722736 h 722735"/>
                <a:gd name="connsiteX2" fmla="*/ 0 w 513653"/>
                <a:gd name="connsiteY2" fmla="*/ 361368 h 722735"/>
                <a:gd name="connsiteX3" fmla="*/ 419052 w 513653"/>
                <a:gd name="connsiteY3" fmla="*/ 0 h 722735"/>
                <a:gd name="connsiteX4" fmla="*/ 491524 w 513653"/>
                <a:gd name="connsiteY4" fmla="*/ 0 h 722735"/>
                <a:gd name="connsiteX5" fmla="*/ 497075 w 513653"/>
                <a:gd name="connsiteY5" fmla="*/ 6964 h 722735"/>
                <a:gd name="connsiteX6" fmla="*/ 491524 w 513653"/>
                <a:gd name="connsiteY6" fmla="*/ 12448 h 722735"/>
                <a:gd name="connsiteX7" fmla="*/ 82841 w 513653"/>
                <a:gd name="connsiteY7" fmla="*/ 361368 h 722735"/>
                <a:gd name="connsiteX8" fmla="*/ 491524 w 513653"/>
                <a:gd name="connsiteY8" fmla="*/ 710301 h 722735"/>
                <a:gd name="connsiteX9" fmla="*/ 502502 w 513653"/>
                <a:gd name="connsiteY9" fmla="*/ 710150 h 722735"/>
                <a:gd name="connsiteX10" fmla="*/ 507985 w 513653"/>
                <a:gd name="connsiteY10" fmla="*/ 710226 h 722735"/>
                <a:gd name="connsiteX11" fmla="*/ 513617 w 513653"/>
                <a:gd name="connsiteY11" fmla="*/ 717127 h 722735"/>
                <a:gd name="connsiteX12" fmla="*/ 508214 w 513653"/>
                <a:gd name="connsiteY12" fmla="*/ 722661 h 722735"/>
                <a:gd name="connsiteX13" fmla="*/ 501893 w 513653"/>
                <a:gd name="connsiteY13" fmla="*/ 722736 h 722735"/>
                <a:gd name="connsiteX14" fmla="*/ 372219 w 513653"/>
                <a:gd name="connsiteY14" fmla="*/ 14754 h 722735"/>
                <a:gd name="connsiteX15" fmla="*/ 12603 w 513653"/>
                <a:gd name="connsiteY15" fmla="*/ 361368 h 722735"/>
                <a:gd name="connsiteX16" fmla="*/ 372219 w 513653"/>
                <a:gd name="connsiteY16" fmla="*/ 707994 h 722735"/>
                <a:gd name="connsiteX17" fmla="*/ 70187 w 513653"/>
                <a:gd name="connsiteY17" fmla="*/ 361368 h 722735"/>
                <a:gd name="connsiteX18" fmla="*/ 372219 w 513653"/>
                <a:gd name="connsiteY18" fmla="*/ 14754 h 722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3653" h="722735">
                  <a:moveTo>
                    <a:pt x="501893" y="722736"/>
                  </a:moveTo>
                  <a:lnTo>
                    <a:pt x="419052" y="722736"/>
                  </a:lnTo>
                  <a:cubicBezTo>
                    <a:pt x="187981" y="722736"/>
                    <a:pt x="0" y="560679"/>
                    <a:pt x="0" y="361368"/>
                  </a:cubicBezTo>
                  <a:cubicBezTo>
                    <a:pt x="0" y="162056"/>
                    <a:pt x="187981" y="0"/>
                    <a:pt x="419052" y="0"/>
                  </a:cubicBezTo>
                  <a:lnTo>
                    <a:pt x="491524" y="0"/>
                  </a:lnTo>
                  <a:cubicBezTo>
                    <a:pt x="495004" y="409"/>
                    <a:pt x="497490" y="3527"/>
                    <a:pt x="497075" y="6964"/>
                  </a:cubicBezTo>
                  <a:cubicBezTo>
                    <a:pt x="496730" y="9839"/>
                    <a:pt x="494434" y="12106"/>
                    <a:pt x="491524" y="12448"/>
                  </a:cubicBezTo>
                  <a:cubicBezTo>
                    <a:pt x="266151" y="12448"/>
                    <a:pt x="82841" y="168976"/>
                    <a:pt x="82841" y="361368"/>
                  </a:cubicBezTo>
                  <a:cubicBezTo>
                    <a:pt x="82841" y="553760"/>
                    <a:pt x="266190" y="710301"/>
                    <a:pt x="491524" y="710301"/>
                  </a:cubicBezTo>
                  <a:cubicBezTo>
                    <a:pt x="495192" y="710301"/>
                    <a:pt x="498872" y="710301"/>
                    <a:pt x="502502" y="710150"/>
                  </a:cubicBezTo>
                  <a:cubicBezTo>
                    <a:pt x="504622" y="710213"/>
                    <a:pt x="506462" y="710326"/>
                    <a:pt x="507985" y="710226"/>
                  </a:cubicBezTo>
                  <a:cubicBezTo>
                    <a:pt x="511470" y="710595"/>
                    <a:pt x="513991" y="713685"/>
                    <a:pt x="513617" y="717127"/>
                  </a:cubicBezTo>
                  <a:cubicBezTo>
                    <a:pt x="513306" y="719974"/>
                    <a:pt x="511082" y="722252"/>
                    <a:pt x="508214" y="722661"/>
                  </a:cubicBezTo>
                  <a:cubicBezTo>
                    <a:pt x="506107" y="722736"/>
                    <a:pt x="504025" y="722736"/>
                    <a:pt x="501893" y="722736"/>
                  </a:cubicBezTo>
                  <a:close/>
                  <a:moveTo>
                    <a:pt x="372219" y="14754"/>
                  </a:moveTo>
                  <a:cubicBezTo>
                    <a:pt x="170086" y="34760"/>
                    <a:pt x="12603" y="182577"/>
                    <a:pt x="12603" y="361368"/>
                  </a:cubicBezTo>
                  <a:cubicBezTo>
                    <a:pt x="12603" y="540159"/>
                    <a:pt x="170098" y="687988"/>
                    <a:pt x="372219" y="707994"/>
                  </a:cubicBezTo>
                  <a:cubicBezTo>
                    <a:pt x="197818" y="663757"/>
                    <a:pt x="70187" y="525104"/>
                    <a:pt x="70187" y="361368"/>
                  </a:cubicBezTo>
                  <a:cubicBezTo>
                    <a:pt x="70187" y="197632"/>
                    <a:pt x="197818" y="58991"/>
                    <a:pt x="372219" y="147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86" name="Freeform 202">
              <a:extLst>
                <a:ext uri="{FF2B5EF4-FFF2-40B4-BE49-F238E27FC236}">
                  <a16:creationId xmlns:a16="http://schemas.microsoft.com/office/drawing/2014/main" id="{6054C9D3-1D08-485B-AA29-59CFF12043D6}"/>
                </a:ext>
              </a:extLst>
            </p:cNvPr>
            <p:cNvSpPr/>
            <p:nvPr/>
          </p:nvSpPr>
          <p:spPr>
            <a:xfrm>
              <a:off x="7725312" y="298816"/>
              <a:ext cx="426223" cy="710288"/>
            </a:xfrm>
            <a:custGeom>
              <a:avLst/>
              <a:gdLst>
                <a:gd name="connsiteX0" fmla="*/ 38 w 426223"/>
                <a:gd name="connsiteY0" fmla="*/ 355138 h 710288"/>
                <a:gd name="connsiteX1" fmla="*/ 415067 w 426223"/>
                <a:gd name="connsiteY1" fmla="*/ 710288 h 710288"/>
                <a:gd name="connsiteX2" fmla="*/ 426223 w 426223"/>
                <a:gd name="connsiteY2" fmla="*/ 710138 h 710288"/>
                <a:gd name="connsiteX3" fmla="*/ 22427 w 426223"/>
                <a:gd name="connsiteY3" fmla="*/ 355138 h 710288"/>
                <a:gd name="connsiteX4" fmla="*/ 426185 w 426223"/>
                <a:gd name="connsiteY4" fmla="*/ 125 h 710288"/>
                <a:gd name="connsiteX5" fmla="*/ 415029 w 426223"/>
                <a:gd name="connsiteY5" fmla="*/ 0 h 710288"/>
                <a:gd name="connsiteX6" fmla="*/ 0 w 426223"/>
                <a:gd name="connsiteY6" fmla="*/ 355138 h 71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223" h="710288">
                  <a:moveTo>
                    <a:pt x="38" y="355138"/>
                  </a:moveTo>
                  <a:cubicBezTo>
                    <a:pt x="38" y="551178"/>
                    <a:pt x="185951" y="710288"/>
                    <a:pt x="415067" y="710288"/>
                  </a:cubicBezTo>
                  <a:cubicBezTo>
                    <a:pt x="418798" y="710288"/>
                    <a:pt x="422530" y="710288"/>
                    <a:pt x="426223" y="710138"/>
                  </a:cubicBezTo>
                  <a:cubicBezTo>
                    <a:pt x="202323" y="705124"/>
                    <a:pt x="22427" y="547956"/>
                    <a:pt x="22427" y="355138"/>
                  </a:cubicBezTo>
                  <a:cubicBezTo>
                    <a:pt x="22427" y="162320"/>
                    <a:pt x="202285" y="5202"/>
                    <a:pt x="426185" y="125"/>
                  </a:cubicBezTo>
                  <a:cubicBezTo>
                    <a:pt x="422492" y="50"/>
                    <a:pt x="418760" y="0"/>
                    <a:pt x="415029" y="0"/>
                  </a:cubicBezTo>
                  <a:cubicBezTo>
                    <a:pt x="185951" y="0"/>
                    <a:pt x="0" y="159111"/>
                    <a:pt x="0" y="355138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87" name="Freeform 210">
              <a:extLst>
                <a:ext uri="{FF2B5EF4-FFF2-40B4-BE49-F238E27FC236}">
                  <a16:creationId xmlns:a16="http://schemas.microsoft.com/office/drawing/2014/main" id="{32584D1B-3369-4B54-A5C2-E15B3083A77C}"/>
                </a:ext>
              </a:extLst>
            </p:cNvPr>
            <p:cNvSpPr/>
            <p:nvPr/>
          </p:nvSpPr>
          <p:spPr>
            <a:xfrm>
              <a:off x="7722216" y="295708"/>
              <a:ext cx="429383" cy="716505"/>
            </a:xfrm>
            <a:custGeom>
              <a:avLst/>
              <a:gdLst>
                <a:gd name="connsiteX0" fmla="*/ 418164 w 429383"/>
                <a:gd name="connsiteY0" fmla="*/ 716506 h 716505"/>
                <a:gd name="connsiteX1" fmla="*/ 0 w 429383"/>
                <a:gd name="connsiteY1" fmla="*/ 360503 h 716505"/>
                <a:gd name="connsiteX2" fmla="*/ 0 w 429383"/>
                <a:gd name="connsiteY2" fmla="*/ 360503 h 716505"/>
                <a:gd name="connsiteX3" fmla="*/ 0 w 429383"/>
                <a:gd name="connsiteY3" fmla="*/ 358247 h 716505"/>
                <a:gd name="connsiteX4" fmla="*/ 418126 w 429383"/>
                <a:gd name="connsiteY4" fmla="*/ 0 h 716505"/>
                <a:gd name="connsiteX5" fmla="*/ 429345 w 429383"/>
                <a:gd name="connsiteY5" fmla="*/ 125 h 716505"/>
                <a:gd name="connsiteX6" fmla="*/ 429345 w 429383"/>
                <a:gd name="connsiteY6" fmla="*/ 6393 h 716505"/>
                <a:gd name="connsiteX7" fmla="*/ 145527 w 429383"/>
                <a:gd name="connsiteY7" fmla="*/ 112667 h 716505"/>
                <a:gd name="connsiteX8" fmla="*/ 28659 w 429383"/>
                <a:gd name="connsiteY8" fmla="*/ 358247 h 716505"/>
                <a:gd name="connsiteX9" fmla="*/ 145539 w 429383"/>
                <a:gd name="connsiteY9" fmla="*/ 603851 h 716505"/>
                <a:gd name="connsiteX10" fmla="*/ 429383 w 429383"/>
                <a:gd name="connsiteY10" fmla="*/ 710150 h 716505"/>
                <a:gd name="connsiteX11" fmla="*/ 429383 w 429383"/>
                <a:gd name="connsiteY11" fmla="*/ 716343 h 716505"/>
                <a:gd name="connsiteX12" fmla="*/ 418164 w 429383"/>
                <a:gd name="connsiteY12" fmla="*/ 716506 h 716505"/>
                <a:gd name="connsiteX13" fmla="*/ 6244 w 429383"/>
                <a:gd name="connsiteY13" fmla="*/ 356354 h 716505"/>
                <a:gd name="connsiteX14" fmla="*/ 6244 w 429383"/>
                <a:gd name="connsiteY14" fmla="*/ 358259 h 716505"/>
                <a:gd name="connsiteX15" fmla="*/ 294252 w 429383"/>
                <a:gd name="connsiteY15" fmla="*/ 694042 h 716505"/>
                <a:gd name="connsiteX16" fmla="*/ 141338 w 429383"/>
                <a:gd name="connsiteY16" fmla="*/ 608502 h 716505"/>
                <a:gd name="connsiteX17" fmla="*/ 22376 w 429383"/>
                <a:gd name="connsiteY17" fmla="*/ 358247 h 716505"/>
                <a:gd name="connsiteX18" fmla="*/ 141351 w 429383"/>
                <a:gd name="connsiteY18" fmla="*/ 108017 h 716505"/>
                <a:gd name="connsiteX19" fmla="*/ 294391 w 429383"/>
                <a:gd name="connsiteY19" fmla="*/ 22438 h 716505"/>
                <a:gd name="connsiteX20" fmla="*/ 6244 w 429383"/>
                <a:gd name="connsiteY20" fmla="*/ 356354 h 7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9383" h="716505">
                  <a:moveTo>
                    <a:pt x="418164" y="716506"/>
                  </a:moveTo>
                  <a:cubicBezTo>
                    <a:pt x="188438" y="716506"/>
                    <a:pt x="1409" y="557006"/>
                    <a:pt x="0" y="360503"/>
                  </a:cubicBezTo>
                  <a:lnTo>
                    <a:pt x="0" y="360503"/>
                  </a:lnTo>
                  <a:lnTo>
                    <a:pt x="0" y="358247"/>
                  </a:lnTo>
                  <a:cubicBezTo>
                    <a:pt x="-38" y="160715"/>
                    <a:pt x="187550" y="0"/>
                    <a:pt x="418126" y="0"/>
                  </a:cubicBezTo>
                  <a:cubicBezTo>
                    <a:pt x="421933" y="0"/>
                    <a:pt x="425627" y="0"/>
                    <a:pt x="429345" y="125"/>
                  </a:cubicBezTo>
                  <a:lnTo>
                    <a:pt x="429345" y="6393"/>
                  </a:lnTo>
                  <a:cubicBezTo>
                    <a:pt x="324993" y="7564"/>
                    <a:pt x="224437" y="45217"/>
                    <a:pt x="145527" y="112667"/>
                  </a:cubicBezTo>
                  <a:cubicBezTo>
                    <a:pt x="72436" y="173976"/>
                    <a:pt x="29812" y="263544"/>
                    <a:pt x="28659" y="358247"/>
                  </a:cubicBezTo>
                  <a:cubicBezTo>
                    <a:pt x="29815" y="452958"/>
                    <a:pt x="72442" y="542534"/>
                    <a:pt x="145539" y="603851"/>
                  </a:cubicBezTo>
                  <a:cubicBezTo>
                    <a:pt x="224451" y="671320"/>
                    <a:pt x="325018" y="708982"/>
                    <a:pt x="429383" y="710150"/>
                  </a:cubicBezTo>
                  <a:lnTo>
                    <a:pt x="429383" y="716343"/>
                  </a:lnTo>
                  <a:cubicBezTo>
                    <a:pt x="425715" y="716506"/>
                    <a:pt x="421933" y="716506"/>
                    <a:pt x="418164" y="716506"/>
                  </a:cubicBezTo>
                  <a:close/>
                  <a:moveTo>
                    <a:pt x="6244" y="356354"/>
                  </a:moveTo>
                  <a:lnTo>
                    <a:pt x="6244" y="358259"/>
                  </a:lnTo>
                  <a:cubicBezTo>
                    <a:pt x="6244" y="515515"/>
                    <a:pt x="127466" y="649003"/>
                    <a:pt x="294252" y="694042"/>
                  </a:cubicBezTo>
                  <a:cubicBezTo>
                    <a:pt x="237836" y="676287"/>
                    <a:pt x="185767" y="647159"/>
                    <a:pt x="141338" y="608502"/>
                  </a:cubicBezTo>
                  <a:cubicBezTo>
                    <a:pt x="66896" y="546008"/>
                    <a:pt x="23508" y="454733"/>
                    <a:pt x="22376" y="358247"/>
                  </a:cubicBezTo>
                  <a:cubicBezTo>
                    <a:pt x="23520" y="261766"/>
                    <a:pt x="66912" y="170503"/>
                    <a:pt x="141351" y="108017"/>
                  </a:cubicBezTo>
                  <a:cubicBezTo>
                    <a:pt x="185811" y="69329"/>
                    <a:pt x="237927" y="40186"/>
                    <a:pt x="294391" y="22438"/>
                  </a:cubicBezTo>
                  <a:cubicBezTo>
                    <a:pt x="128215" y="67264"/>
                    <a:pt x="7209" y="199901"/>
                    <a:pt x="6244" y="35635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88" name="Freeform 211">
              <a:extLst>
                <a:ext uri="{FF2B5EF4-FFF2-40B4-BE49-F238E27FC236}">
                  <a16:creationId xmlns:a16="http://schemas.microsoft.com/office/drawing/2014/main" id="{9624584B-CB6B-4035-B6F9-3D81F60B890E}"/>
                </a:ext>
              </a:extLst>
            </p:cNvPr>
            <p:cNvSpPr/>
            <p:nvPr/>
          </p:nvSpPr>
          <p:spPr>
            <a:xfrm>
              <a:off x="7734489" y="466915"/>
              <a:ext cx="600154" cy="22200"/>
            </a:xfrm>
            <a:custGeom>
              <a:avLst/>
              <a:gdLst>
                <a:gd name="connsiteX0" fmla="*/ 600154 w 600154"/>
                <a:gd name="connsiteY0" fmla="*/ 11094 h 22200"/>
                <a:gd name="connsiteX1" fmla="*/ 300065 w 600154"/>
                <a:gd name="connsiteY1" fmla="*/ 22200 h 22200"/>
                <a:gd name="connsiteX2" fmla="*/ 0 w 600154"/>
                <a:gd name="connsiteY2" fmla="*/ 11094 h 22200"/>
                <a:gd name="connsiteX3" fmla="*/ 300065 w 600154"/>
                <a:gd name="connsiteY3" fmla="*/ 0 h 22200"/>
                <a:gd name="connsiteX4" fmla="*/ 600154 w 600154"/>
                <a:gd name="connsiteY4" fmla="*/ 11094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54" h="22200">
                  <a:moveTo>
                    <a:pt x="600154" y="11094"/>
                  </a:moveTo>
                  <a:cubicBezTo>
                    <a:pt x="600154" y="17198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94"/>
                  </a:cubicBezTo>
                  <a:cubicBezTo>
                    <a:pt x="0" y="5002"/>
                    <a:pt x="134434" y="0"/>
                    <a:pt x="300065" y="0"/>
                  </a:cubicBezTo>
                  <a:cubicBezTo>
                    <a:pt x="465695" y="0"/>
                    <a:pt x="600154" y="4964"/>
                    <a:pt x="600154" y="11094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89" name="Freeform 212">
              <a:extLst>
                <a:ext uri="{FF2B5EF4-FFF2-40B4-BE49-F238E27FC236}">
                  <a16:creationId xmlns:a16="http://schemas.microsoft.com/office/drawing/2014/main" id="{0CE15047-D7EA-4FAF-BB86-CAC0D51E36B3}"/>
                </a:ext>
              </a:extLst>
            </p:cNvPr>
            <p:cNvSpPr/>
            <p:nvPr/>
          </p:nvSpPr>
          <p:spPr>
            <a:xfrm>
              <a:off x="7731341" y="463844"/>
              <a:ext cx="606437" cy="28405"/>
            </a:xfrm>
            <a:custGeom>
              <a:avLst/>
              <a:gdLst>
                <a:gd name="connsiteX0" fmla="*/ 303212 w 606437"/>
                <a:gd name="connsiteY0" fmla="*/ 28405 h 28405"/>
                <a:gd name="connsiteX1" fmla="*/ 90938 w 606437"/>
                <a:gd name="connsiteY1" fmla="*/ 25146 h 28405"/>
                <a:gd name="connsiteX2" fmla="*/ 0 w 606437"/>
                <a:gd name="connsiteY2" fmla="*/ 14203 h 28405"/>
                <a:gd name="connsiteX3" fmla="*/ 90951 w 606437"/>
                <a:gd name="connsiteY3" fmla="*/ 3272 h 28405"/>
                <a:gd name="connsiteX4" fmla="*/ 303212 w 606437"/>
                <a:gd name="connsiteY4" fmla="*/ 0 h 28405"/>
                <a:gd name="connsiteX5" fmla="*/ 515486 w 606437"/>
                <a:gd name="connsiteY5" fmla="*/ 3259 h 28405"/>
                <a:gd name="connsiteX6" fmla="*/ 606437 w 606437"/>
                <a:gd name="connsiteY6" fmla="*/ 14203 h 28405"/>
                <a:gd name="connsiteX7" fmla="*/ 515486 w 606437"/>
                <a:gd name="connsiteY7" fmla="*/ 25146 h 28405"/>
                <a:gd name="connsiteX8" fmla="*/ 303212 w 606437"/>
                <a:gd name="connsiteY8" fmla="*/ 28405 h 28405"/>
                <a:gd name="connsiteX9" fmla="*/ 14799 w 606437"/>
                <a:gd name="connsiteY9" fmla="*/ 14165 h 28405"/>
                <a:gd name="connsiteX10" fmla="*/ 303212 w 606437"/>
                <a:gd name="connsiteY10" fmla="*/ 22162 h 28405"/>
                <a:gd name="connsiteX11" fmla="*/ 591803 w 606437"/>
                <a:gd name="connsiteY11" fmla="*/ 14152 h 28405"/>
                <a:gd name="connsiteX12" fmla="*/ 303212 w 606437"/>
                <a:gd name="connsiteY12" fmla="*/ 6167 h 28405"/>
                <a:gd name="connsiteX13" fmla="*/ 14799 w 606437"/>
                <a:gd name="connsiteY13" fmla="*/ 14165 h 28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37" h="28405">
                  <a:moveTo>
                    <a:pt x="303212" y="28405"/>
                  </a:moveTo>
                  <a:cubicBezTo>
                    <a:pt x="223176" y="28405"/>
                    <a:pt x="147786" y="27252"/>
                    <a:pt x="90938" y="25146"/>
                  </a:cubicBezTo>
                  <a:cubicBezTo>
                    <a:pt x="0" y="21761"/>
                    <a:pt x="0" y="18088"/>
                    <a:pt x="0" y="14203"/>
                  </a:cubicBezTo>
                  <a:cubicBezTo>
                    <a:pt x="0" y="10317"/>
                    <a:pt x="0" y="6681"/>
                    <a:pt x="90951" y="3272"/>
                  </a:cubicBezTo>
                  <a:cubicBezTo>
                    <a:pt x="147786" y="1166"/>
                    <a:pt x="223164" y="0"/>
                    <a:pt x="303212" y="0"/>
                  </a:cubicBezTo>
                  <a:cubicBezTo>
                    <a:pt x="383261" y="0"/>
                    <a:pt x="458753" y="1166"/>
                    <a:pt x="515486" y="3259"/>
                  </a:cubicBezTo>
                  <a:cubicBezTo>
                    <a:pt x="606437" y="6619"/>
                    <a:pt x="606437" y="10304"/>
                    <a:pt x="606437" y="14203"/>
                  </a:cubicBezTo>
                  <a:cubicBezTo>
                    <a:pt x="606437" y="18101"/>
                    <a:pt x="606437" y="21724"/>
                    <a:pt x="515486" y="25146"/>
                  </a:cubicBezTo>
                  <a:cubicBezTo>
                    <a:pt x="458677" y="27214"/>
                    <a:pt x="383286" y="28405"/>
                    <a:pt x="303212" y="28405"/>
                  </a:cubicBezTo>
                  <a:close/>
                  <a:moveTo>
                    <a:pt x="14799" y="14165"/>
                  </a:moveTo>
                  <a:cubicBezTo>
                    <a:pt x="47455" y="18314"/>
                    <a:pt x="158028" y="22162"/>
                    <a:pt x="303212" y="22162"/>
                  </a:cubicBezTo>
                  <a:cubicBezTo>
                    <a:pt x="448650" y="22162"/>
                    <a:pt x="559337" y="18302"/>
                    <a:pt x="591803" y="14152"/>
                  </a:cubicBezTo>
                  <a:cubicBezTo>
                    <a:pt x="560073" y="10016"/>
                    <a:pt x="452978" y="6167"/>
                    <a:pt x="303212" y="6167"/>
                  </a:cubicBezTo>
                  <a:cubicBezTo>
                    <a:pt x="158016" y="6167"/>
                    <a:pt x="47455" y="10016"/>
                    <a:pt x="14799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90" name="Freeform 213">
              <a:extLst>
                <a:ext uri="{FF2B5EF4-FFF2-40B4-BE49-F238E27FC236}">
                  <a16:creationId xmlns:a16="http://schemas.microsoft.com/office/drawing/2014/main" id="{A8E05F80-DFE8-4B25-AAEF-94B2B50B08A9}"/>
                </a:ext>
              </a:extLst>
            </p:cNvPr>
            <p:cNvSpPr/>
            <p:nvPr/>
          </p:nvSpPr>
          <p:spPr>
            <a:xfrm>
              <a:off x="7744744" y="835014"/>
              <a:ext cx="600116" cy="22200"/>
            </a:xfrm>
            <a:custGeom>
              <a:avLst/>
              <a:gdLst>
                <a:gd name="connsiteX0" fmla="*/ 600116 w 600116"/>
                <a:gd name="connsiteY0" fmla="*/ 11081 h 22200"/>
                <a:gd name="connsiteX1" fmla="*/ 300065 w 600116"/>
                <a:gd name="connsiteY1" fmla="*/ 22200 h 22200"/>
                <a:gd name="connsiteX2" fmla="*/ 0 w 600116"/>
                <a:gd name="connsiteY2" fmla="*/ 11081 h 22200"/>
                <a:gd name="connsiteX3" fmla="*/ 300065 w 600116"/>
                <a:gd name="connsiteY3" fmla="*/ 0 h 22200"/>
                <a:gd name="connsiteX4" fmla="*/ 600116 w 600116"/>
                <a:gd name="connsiteY4" fmla="*/ 11081 h 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16" h="22200">
                  <a:moveTo>
                    <a:pt x="600116" y="11081"/>
                  </a:moveTo>
                  <a:cubicBezTo>
                    <a:pt x="600116" y="17236"/>
                    <a:pt x="465708" y="22200"/>
                    <a:pt x="300065" y="22200"/>
                  </a:cubicBezTo>
                  <a:cubicBezTo>
                    <a:pt x="134421" y="22200"/>
                    <a:pt x="0" y="17186"/>
                    <a:pt x="0" y="11081"/>
                  </a:cubicBezTo>
                  <a:cubicBezTo>
                    <a:pt x="0" y="4977"/>
                    <a:pt x="134434" y="0"/>
                    <a:pt x="300065" y="0"/>
                  </a:cubicBezTo>
                  <a:cubicBezTo>
                    <a:pt x="465695" y="0"/>
                    <a:pt x="600116" y="5014"/>
                    <a:pt x="600116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91" name="Freeform 214">
              <a:extLst>
                <a:ext uri="{FF2B5EF4-FFF2-40B4-BE49-F238E27FC236}">
                  <a16:creationId xmlns:a16="http://schemas.microsoft.com/office/drawing/2014/main" id="{93E2535E-B6C5-4848-92BC-D437B689D76A}"/>
                </a:ext>
              </a:extLst>
            </p:cNvPr>
            <p:cNvSpPr/>
            <p:nvPr/>
          </p:nvSpPr>
          <p:spPr>
            <a:xfrm>
              <a:off x="7741596" y="831918"/>
              <a:ext cx="606398" cy="28392"/>
            </a:xfrm>
            <a:custGeom>
              <a:avLst/>
              <a:gdLst>
                <a:gd name="connsiteX0" fmla="*/ 303212 w 606398"/>
                <a:gd name="connsiteY0" fmla="*/ 28393 h 28392"/>
                <a:gd name="connsiteX1" fmla="*/ 90938 w 606398"/>
                <a:gd name="connsiteY1" fmla="*/ 25121 h 28392"/>
                <a:gd name="connsiteX2" fmla="*/ 0 w 606398"/>
                <a:gd name="connsiteY2" fmla="*/ 14177 h 28392"/>
                <a:gd name="connsiteX3" fmla="*/ 90951 w 606398"/>
                <a:gd name="connsiteY3" fmla="*/ 3247 h 28392"/>
                <a:gd name="connsiteX4" fmla="*/ 303212 w 606398"/>
                <a:gd name="connsiteY4" fmla="*/ 0 h 28392"/>
                <a:gd name="connsiteX5" fmla="*/ 515473 w 606398"/>
                <a:gd name="connsiteY5" fmla="*/ 3259 h 28392"/>
                <a:gd name="connsiteX6" fmla="*/ 606399 w 606398"/>
                <a:gd name="connsiteY6" fmla="*/ 14177 h 28392"/>
                <a:gd name="connsiteX7" fmla="*/ 515473 w 606398"/>
                <a:gd name="connsiteY7" fmla="*/ 25146 h 28392"/>
                <a:gd name="connsiteX8" fmla="*/ 303212 w 606398"/>
                <a:gd name="connsiteY8" fmla="*/ 28393 h 28392"/>
                <a:gd name="connsiteX9" fmla="*/ 14672 w 606398"/>
                <a:gd name="connsiteY9" fmla="*/ 14165 h 28392"/>
                <a:gd name="connsiteX10" fmla="*/ 303212 w 606398"/>
                <a:gd name="connsiteY10" fmla="*/ 22200 h 28392"/>
                <a:gd name="connsiteX11" fmla="*/ 591740 w 606398"/>
                <a:gd name="connsiteY11" fmla="*/ 14203 h 28392"/>
                <a:gd name="connsiteX12" fmla="*/ 303212 w 606398"/>
                <a:gd name="connsiteY12" fmla="*/ 6192 h 28392"/>
                <a:gd name="connsiteX13" fmla="*/ 14672 w 606398"/>
                <a:gd name="connsiteY13" fmla="*/ 14165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398" h="28392">
                  <a:moveTo>
                    <a:pt x="303212" y="28393"/>
                  </a:moveTo>
                  <a:cubicBezTo>
                    <a:pt x="223138" y="28393"/>
                    <a:pt x="147760" y="27239"/>
                    <a:pt x="90938" y="25121"/>
                  </a:cubicBezTo>
                  <a:cubicBezTo>
                    <a:pt x="0" y="21749"/>
                    <a:pt x="0" y="18063"/>
                    <a:pt x="0" y="14177"/>
                  </a:cubicBezTo>
                  <a:cubicBezTo>
                    <a:pt x="0" y="10292"/>
                    <a:pt x="0" y="6656"/>
                    <a:pt x="90951" y="3247"/>
                  </a:cubicBezTo>
                  <a:cubicBezTo>
                    <a:pt x="147697" y="1153"/>
                    <a:pt x="223087" y="0"/>
                    <a:pt x="303212" y="0"/>
                  </a:cubicBezTo>
                  <a:cubicBezTo>
                    <a:pt x="383337" y="0"/>
                    <a:pt x="458600" y="1153"/>
                    <a:pt x="515473" y="3259"/>
                  </a:cubicBezTo>
                  <a:cubicBezTo>
                    <a:pt x="606399" y="6619"/>
                    <a:pt x="606399" y="10292"/>
                    <a:pt x="606399" y="14177"/>
                  </a:cubicBezTo>
                  <a:cubicBezTo>
                    <a:pt x="606399" y="18063"/>
                    <a:pt x="606399" y="21774"/>
                    <a:pt x="515473" y="25146"/>
                  </a:cubicBezTo>
                  <a:cubicBezTo>
                    <a:pt x="458804" y="27239"/>
                    <a:pt x="383426" y="28393"/>
                    <a:pt x="303212" y="28393"/>
                  </a:cubicBezTo>
                  <a:close/>
                  <a:moveTo>
                    <a:pt x="14672" y="14165"/>
                  </a:moveTo>
                  <a:cubicBezTo>
                    <a:pt x="47164" y="18327"/>
                    <a:pt x="157825" y="22200"/>
                    <a:pt x="303212" y="22200"/>
                  </a:cubicBezTo>
                  <a:cubicBezTo>
                    <a:pt x="452978" y="22200"/>
                    <a:pt x="559984" y="18339"/>
                    <a:pt x="591740" y="14203"/>
                  </a:cubicBezTo>
                  <a:cubicBezTo>
                    <a:pt x="559274" y="10053"/>
                    <a:pt x="448599" y="6192"/>
                    <a:pt x="303212" y="6192"/>
                  </a:cubicBezTo>
                  <a:cubicBezTo>
                    <a:pt x="153497" y="6192"/>
                    <a:pt x="46453" y="10066"/>
                    <a:pt x="14672" y="14165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92" name="Freeform 220">
              <a:extLst>
                <a:ext uri="{FF2B5EF4-FFF2-40B4-BE49-F238E27FC236}">
                  <a16:creationId xmlns:a16="http://schemas.microsoft.com/office/drawing/2014/main" id="{76381C71-F5D6-4C35-A669-440992D3D533}"/>
                </a:ext>
              </a:extLst>
            </p:cNvPr>
            <p:cNvSpPr/>
            <p:nvPr/>
          </p:nvSpPr>
          <p:spPr>
            <a:xfrm>
              <a:off x="7680662" y="649366"/>
              <a:ext cx="600141" cy="22187"/>
            </a:xfrm>
            <a:custGeom>
              <a:avLst/>
              <a:gdLst>
                <a:gd name="connsiteX0" fmla="*/ 600142 w 600141"/>
                <a:gd name="connsiteY0" fmla="*/ 11081 h 22187"/>
                <a:gd name="connsiteX1" fmla="*/ 300065 w 600141"/>
                <a:gd name="connsiteY1" fmla="*/ 22187 h 22187"/>
                <a:gd name="connsiteX2" fmla="*/ 0 w 600141"/>
                <a:gd name="connsiteY2" fmla="*/ 11081 h 22187"/>
                <a:gd name="connsiteX3" fmla="*/ 300065 w 600141"/>
                <a:gd name="connsiteY3" fmla="*/ 0 h 22187"/>
                <a:gd name="connsiteX4" fmla="*/ 600142 w 600141"/>
                <a:gd name="connsiteY4" fmla="*/ 11081 h 2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41" h="22187">
                  <a:moveTo>
                    <a:pt x="600142" y="11081"/>
                  </a:moveTo>
                  <a:cubicBezTo>
                    <a:pt x="600142" y="17211"/>
                    <a:pt x="465708" y="22187"/>
                    <a:pt x="300065" y="22187"/>
                  </a:cubicBezTo>
                  <a:cubicBezTo>
                    <a:pt x="134421" y="22187"/>
                    <a:pt x="0" y="17173"/>
                    <a:pt x="0" y="11081"/>
                  </a:cubicBezTo>
                  <a:cubicBezTo>
                    <a:pt x="0" y="4989"/>
                    <a:pt x="134434" y="0"/>
                    <a:pt x="300065" y="0"/>
                  </a:cubicBezTo>
                  <a:cubicBezTo>
                    <a:pt x="465695" y="0"/>
                    <a:pt x="600142" y="5014"/>
                    <a:pt x="600142" y="11081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93" name="Freeform 223">
              <a:extLst>
                <a:ext uri="{FF2B5EF4-FFF2-40B4-BE49-F238E27FC236}">
                  <a16:creationId xmlns:a16="http://schemas.microsoft.com/office/drawing/2014/main" id="{ED9C9185-68BF-4330-817E-5936880AAF11}"/>
                </a:ext>
              </a:extLst>
            </p:cNvPr>
            <p:cNvSpPr/>
            <p:nvPr/>
          </p:nvSpPr>
          <p:spPr>
            <a:xfrm>
              <a:off x="7677514" y="646257"/>
              <a:ext cx="606424" cy="28392"/>
            </a:xfrm>
            <a:custGeom>
              <a:avLst/>
              <a:gdLst>
                <a:gd name="connsiteX0" fmla="*/ 303212 w 606424"/>
                <a:gd name="connsiteY0" fmla="*/ 28392 h 28392"/>
                <a:gd name="connsiteX1" fmla="*/ 90938 w 606424"/>
                <a:gd name="connsiteY1" fmla="*/ 25121 h 28392"/>
                <a:gd name="connsiteX2" fmla="*/ 0 w 606424"/>
                <a:gd name="connsiteY2" fmla="*/ 14190 h 28392"/>
                <a:gd name="connsiteX3" fmla="*/ 90951 w 606424"/>
                <a:gd name="connsiteY3" fmla="*/ 3259 h 28392"/>
                <a:gd name="connsiteX4" fmla="*/ 303212 w 606424"/>
                <a:gd name="connsiteY4" fmla="*/ 0 h 28392"/>
                <a:gd name="connsiteX5" fmla="*/ 515486 w 606424"/>
                <a:gd name="connsiteY5" fmla="*/ 3272 h 28392"/>
                <a:gd name="connsiteX6" fmla="*/ 606424 w 606424"/>
                <a:gd name="connsiteY6" fmla="*/ 14190 h 28392"/>
                <a:gd name="connsiteX7" fmla="*/ 515486 w 606424"/>
                <a:gd name="connsiteY7" fmla="*/ 25133 h 28392"/>
                <a:gd name="connsiteX8" fmla="*/ 303212 w 606424"/>
                <a:gd name="connsiteY8" fmla="*/ 28392 h 28392"/>
                <a:gd name="connsiteX9" fmla="*/ 14812 w 606424"/>
                <a:gd name="connsiteY9" fmla="*/ 14190 h 28392"/>
                <a:gd name="connsiteX10" fmla="*/ 303212 w 606424"/>
                <a:gd name="connsiteY10" fmla="*/ 22188 h 28392"/>
                <a:gd name="connsiteX11" fmla="*/ 591740 w 606424"/>
                <a:gd name="connsiteY11" fmla="*/ 14215 h 28392"/>
                <a:gd name="connsiteX12" fmla="*/ 303212 w 606424"/>
                <a:gd name="connsiteY12" fmla="*/ 6205 h 28392"/>
                <a:gd name="connsiteX13" fmla="*/ 14812 w 606424"/>
                <a:gd name="connsiteY13" fmla="*/ 14190 h 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424" h="28392">
                  <a:moveTo>
                    <a:pt x="303212" y="28392"/>
                  </a:moveTo>
                  <a:cubicBezTo>
                    <a:pt x="223176" y="28392"/>
                    <a:pt x="147786" y="27227"/>
                    <a:pt x="90938" y="25121"/>
                  </a:cubicBezTo>
                  <a:cubicBezTo>
                    <a:pt x="0" y="21749"/>
                    <a:pt x="0" y="18076"/>
                    <a:pt x="0" y="14190"/>
                  </a:cubicBezTo>
                  <a:cubicBezTo>
                    <a:pt x="0" y="10304"/>
                    <a:pt x="0" y="6669"/>
                    <a:pt x="90951" y="3259"/>
                  </a:cubicBezTo>
                  <a:cubicBezTo>
                    <a:pt x="147748" y="1153"/>
                    <a:pt x="223138" y="0"/>
                    <a:pt x="303212" y="0"/>
                  </a:cubicBezTo>
                  <a:cubicBezTo>
                    <a:pt x="383286" y="0"/>
                    <a:pt x="458575" y="1166"/>
                    <a:pt x="515486" y="3272"/>
                  </a:cubicBezTo>
                  <a:cubicBezTo>
                    <a:pt x="606424" y="6644"/>
                    <a:pt x="606424" y="10304"/>
                    <a:pt x="606424" y="14190"/>
                  </a:cubicBezTo>
                  <a:cubicBezTo>
                    <a:pt x="606424" y="18076"/>
                    <a:pt x="606424" y="21774"/>
                    <a:pt x="515486" y="25133"/>
                  </a:cubicBezTo>
                  <a:cubicBezTo>
                    <a:pt x="458740" y="27239"/>
                    <a:pt x="383362" y="28392"/>
                    <a:pt x="303212" y="28392"/>
                  </a:cubicBezTo>
                  <a:close/>
                  <a:moveTo>
                    <a:pt x="14812" y="14190"/>
                  </a:moveTo>
                  <a:cubicBezTo>
                    <a:pt x="47481" y="18339"/>
                    <a:pt x="158041" y="22188"/>
                    <a:pt x="303212" y="22188"/>
                  </a:cubicBezTo>
                  <a:cubicBezTo>
                    <a:pt x="452914" y="22188"/>
                    <a:pt x="559933" y="18339"/>
                    <a:pt x="591740" y="14215"/>
                  </a:cubicBezTo>
                  <a:cubicBezTo>
                    <a:pt x="559210" y="10053"/>
                    <a:pt x="448561" y="6205"/>
                    <a:pt x="303212" y="6205"/>
                  </a:cubicBezTo>
                  <a:cubicBezTo>
                    <a:pt x="157863" y="6205"/>
                    <a:pt x="47481" y="10041"/>
                    <a:pt x="14812" y="1419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94" name="Freeform 224">
              <a:extLst>
                <a:ext uri="{FF2B5EF4-FFF2-40B4-BE49-F238E27FC236}">
                  <a16:creationId xmlns:a16="http://schemas.microsoft.com/office/drawing/2014/main" id="{91363F46-503B-4318-B566-063E652F144A}"/>
                </a:ext>
              </a:extLst>
            </p:cNvPr>
            <p:cNvSpPr/>
            <p:nvPr/>
          </p:nvSpPr>
          <p:spPr>
            <a:xfrm>
              <a:off x="7794847" y="284166"/>
              <a:ext cx="928959" cy="738994"/>
            </a:xfrm>
            <a:custGeom>
              <a:avLst/>
              <a:gdLst>
                <a:gd name="connsiteX0" fmla="*/ 835862 w 928959"/>
                <a:gd name="connsiteY0" fmla="*/ 129348 h 738994"/>
                <a:gd name="connsiteX1" fmla="*/ 928958 w 928959"/>
                <a:gd name="connsiteY1" fmla="*/ 373724 h 738994"/>
                <a:gd name="connsiteX2" fmla="*/ 687886 w 928959"/>
                <a:gd name="connsiteY2" fmla="*/ 707075 h 738994"/>
                <a:gd name="connsiteX3" fmla="*/ 422255 w 928959"/>
                <a:gd name="connsiteY3" fmla="*/ 738739 h 738994"/>
                <a:gd name="connsiteX4" fmla="*/ 59340 w 928959"/>
                <a:gd name="connsiteY4" fmla="*/ 566442 h 738994"/>
                <a:gd name="connsiteX5" fmla="*/ 36227 w 928959"/>
                <a:gd name="connsiteY5" fmla="*/ 210589 h 738994"/>
                <a:gd name="connsiteX6" fmla="*/ 317571 w 928959"/>
                <a:gd name="connsiteY6" fmla="*/ 11729 h 738994"/>
                <a:gd name="connsiteX7" fmla="*/ 681946 w 928959"/>
                <a:gd name="connsiteY7" fmla="*/ 31485 h 738994"/>
                <a:gd name="connsiteX8" fmla="*/ 835862 w 928959"/>
                <a:gd name="connsiteY8" fmla="*/ 129348 h 73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959" h="738994">
                  <a:moveTo>
                    <a:pt x="835862" y="129348"/>
                  </a:moveTo>
                  <a:cubicBezTo>
                    <a:pt x="896115" y="196817"/>
                    <a:pt x="929237" y="283760"/>
                    <a:pt x="928958" y="373724"/>
                  </a:cubicBezTo>
                  <a:cubicBezTo>
                    <a:pt x="925921" y="523318"/>
                    <a:pt x="830175" y="655713"/>
                    <a:pt x="687886" y="707075"/>
                  </a:cubicBezTo>
                  <a:cubicBezTo>
                    <a:pt x="605502" y="733913"/>
                    <a:pt x="513828" y="740457"/>
                    <a:pt x="422255" y="738739"/>
                  </a:cubicBezTo>
                  <a:cubicBezTo>
                    <a:pt x="276855" y="734716"/>
                    <a:pt x="140403" y="684838"/>
                    <a:pt x="59340" y="566442"/>
                  </a:cubicBezTo>
                  <a:cubicBezTo>
                    <a:pt x="-7725" y="467563"/>
                    <a:pt x="-21432" y="316650"/>
                    <a:pt x="36227" y="210589"/>
                  </a:cubicBezTo>
                  <a:cubicBezTo>
                    <a:pt x="85422" y="102522"/>
                    <a:pt x="197479" y="29968"/>
                    <a:pt x="317571" y="11729"/>
                  </a:cubicBezTo>
                  <a:cubicBezTo>
                    <a:pt x="438981" y="-8966"/>
                    <a:pt x="563560" y="-2211"/>
                    <a:pt x="681946" y="31485"/>
                  </a:cubicBezTo>
                  <a:cubicBezTo>
                    <a:pt x="740568" y="51213"/>
                    <a:pt x="793411" y="84811"/>
                    <a:pt x="835862" y="129348"/>
                  </a:cubicBezTo>
                  <a:close/>
                </a:path>
              </a:pathLst>
            </a:custGeom>
            <a:solidFill>
              <a:srgbClr val="CA0538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95" name="Freeform 225">
              <a:extLst>
                <a:ext uri="{FF2B5EF4-FFF2-40B4-BE49-F238E27FC236}">
                  <a16:creationId xmlns:a16="http://schemas.microsoft.com/office/drawing/2014/main" id="{FD51E1F2-B165-4136-87A6-F15A6B0EFCA6}"/>
                </a:ext>
              </a:extLst>
            </p:cNvPr>
            <p:cNvSpPr/>
            <p:nvPr/>
          </p:nvSpPr>
          <p:spPr>
            <a:xfrm>
              <a:off x="7833276" y="310649"/>
              <a:ext cx="674105" cy="476179"/>
            </a:xfrm>
            <a:custGeom>
              <a:avLst/>
              <a:gdLst>
                <a:gd name="connsiteX0" fmla="*/ 674105 w 674105"/>
                <a:gd name="connsiteY0" fmla="*/ 47259 h 476179"/>
                <a:gd name="connsiteX1" fmla="*/ 53199 w 674105"/>
                <a:gd name="connsiteY1" fmla="*/ 164301 h 476179"/>
                <a:gd name="connsiteX2" fmla="*/ 23043 w 674105"/>
                <a:gd name="connsiteY2" fmla="*/ 476180 h 476179"/>
                <a:gd name="connsiteX3" fmla="*/ 674105 w 674105"/>
                <a:gd name="connsiteY3" fmla="*/ 47259 h 47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4105" h="476179">
                  <a:moveTo>
                    <a:pt x="674105" y="47259"/>
                  </a:moveTo>
                  <a:cubicBezTo>
                    <a:pt x="674105" y="47259"/>
                    <a:pt x="245737" y="-115976"/>
                    <a:pt x="53199" y="164301"/>
                  </a:cubicBezTo>
                  <a:cubicBezTo>
                    <a:pt x="-45202" y="307555"/>
                    <a:pt x="23043" y="476180"/>
                    <a:pt x="23043" y="476180"/>
                  </a:cubicBezTo>
                  <a:cubicBezTo>
                    <a:pt x="23043" y="476180"/>
                    <a:pt x="9323" y="-76226"/>
                    <a:pt x="674105" y="47259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96" name="Freeform 226">
              <a:extLst>
                <a:ext uri="{FF2B5EF4-FFF2-40B4-BE49-F238E27FC236}">
                  <a16:creationId xmlns:a16="http://schemas.microsoft.com/office/drawing/2014/main" id="{D23E1D0A-C978-43A1-861E-CB60A0F1A483}"/>
                </a:ext>
              </a:extLst>
            </p:cNvPr>
            <p:cNvSpPr/>
            <p:nvPr/>
          </p:nvSpPr>
          <p:spPr>
            <a:xfrm>
              <a:off x="7952138" y="416172"/>
              <a:ext cx="622117" cy="420341"/>
            </a:xfrm>
            <a:custGeom>
              <a:avLst/>
              <a:gdLst>
                <a:gd name="connsiteX0" fmla="*/ 244162 w 622117"/>
                <a:gd name="connsiteY0" fmla="*/ 5265 h 420341"/>
                <a:gd name="connsiteX1" fmla="*/ 190234 w 622117"/>
                <a:gd name="connsiteY1" fmla="*/ 115337 h 420341"/>
                <a:gd name="connsiteX2" fmla="*/ 166119 w 622117"/>
                <a:gd name="connsiteY2" fmla="*/ 372750 h 420341"/>
                <a:gd name="connsiteX3" fmla="*/ 174546 w 622117"/>
                <a:gd name="connsiteY3" fmla="*/ 380271 h 420341"/>
                <a:gd name="connsiteX4" fmla="*/ 219273 w 622117"/>
                <a:gd name="connsiteY4" fmla="*/ 341336 h 420341"/>
                <a:gd name="connsiteX5" fmla="*/ 302545 w 622117"/>
                <a:gd name="connsiteY5" fmla="*/ 23617 h 420341"/>
                <a:gd name="connsiteX6" fmla="*/ 333806 w 622117"/>
                <a:gd name="connsiteY6" fmla="*/ 464 h 420341"/>
                <a:gd name="connsiteX7" fmla="*/ 335633 w 622117"/>
                <a:gd name="connsiteY7" fmla="*/ 7032 h 420341"/>
                <a:gd name="connsiteX8" fmla="*/ 302964 w 622117"/>
                <a:gd name="connsiteY8" fmla="*/ 48950 h 420341"/>
                <a:gd name="connsiteX9" fmla="*/ 293445 w 622117"/>
                <a:gd name="connsiteY9" fmla="*/ 78772 h 420341"/>
                <a:gd name="connsiteX10" fmla="*/ 257717 w 622117"/>
                <a:gd name="connsiteY10" fmla="*/ 371697 h 420341"/>
                <a:gd name="connsiteX11" fmla="*/ 269927 w 622117"/>
                <a:gd name="connsiteY11" fmla="*/ 380221 h 420341"/>
                <a:gd name="connsiteX12" fmla="*/ 308980 w 622117"/>
                <a:gd name="connsiteY12" fmla="*/ 342176 h 420341"/>
                <a:gd name="connsiteX13" fmla="*/ 378228 w 622117"/>
                <a:gd name="connsiteY13" fmla="*/ 200628 h 420341"/>
                <a:gd name="connsiteX14" fmla="*/ 448161 w 622117"/>
                <a:gd name="connsiteY14" fmla="*/ 198221 h 420341"/>
                <a:gd name="connsiteX15" fmla="*/ 429681 w 622117"/>
                <a:gd name="connsiteY15" fmla="*/ 360127 h 420341"/>
                <a:gd name="connsiteX16" fmla="*/ 437030 w 622117"/>
                <a:gd name="connsiteY16" fmla="*/ 382690 h 420341"/>
                <a:gd name="connsiteX17" fmla="*/ 444645 w 622117"/>
                <a:gd name="connsiteY17" fmla="*/ 380885 h 420341"/>
                <a:gd name="connsiteX18" fmla="*/ 491339 w 622117"/>
                <a:gd name="connsiteY18" fmla="*/ 333527 h 420341"/>
                <a:gd name="connsiteX19" fmla="*/ 528362 w 622117"/>
                <a:gd name="connsiteY19" fmla="*/ 108054 h 420341"/>
                <a:gd name="connsiteX20" fmla="*/ 593332 w 622117"/>
                <a:gd name="connsiteY20" fmla="*/ 24331 h 420341"/>
                <a:gd name="connsiteX21" fmla="*/ 580031 w 622117"/>
                <a:gd name="connsiteY21" fmla="*/ 39536 h 420341"/>
                <a:gd name="connsiteX22" fmla="*/ 525455 w 622117"/>
                <a:gd name="connsiteY22" fmla="*/ 215770 h 420341"/>
                <a:gd name="connsiteX23" fmla="*/ 546295 w 622117"/>
                <a:gd name="connsiteY23" fmla="*/ 207522 h 420341"/>
                <a:gd name="connsiteX24" fmla="*/ 590083 w 622117"/>
                <a:gd name="connsiteY24" fmla="*/ 171383 h 420341"/>
                <a:gd name="connsiteX25" fmla="*/ 609717 w 622117"/>
                <a:gd name="connsiteY25" fmla="*/ 190299 h 420341"/>
                <a:gd name="connsiteX26" fmla="*/ 587481 w 622117"/>
                <a:gd name="connsiteY26" fmla="*/ 352167 h 420341"/>
                <a:gd name="connsiteX27" fmla="*/ 515873 w 622117"/>
                <a:gd name="connsiteY27" fmla="*/ 418817 h 420341"/>
                <a:gd name="connsiteX28" fmla="*/ 500642 w 622117"/>
                <a:gd name="connsiteY28" fmla="*/ 417313 h 420341"/>
                <a:gd name="connsiteX29" fmla="*/ 492024 w 622117"/>
                <a:gd name="connsiteY29" fmla="*/ 355990 h 420341"/>
                <a:gd name="connsiteX30" fmla="*/ 489207 w 622117"/>
                <a:gd name="connsiteY30" fmla="*/ 354085 h 420341"/>
                <a:gd name="connsiteX31" fmla="*/ 416862 w 622117"/>
                <a:gd name="connsiteY31" fmla="*/ 419958 h 420341"/>
                <a:gd name="connsiteX32" fmla="*/ 408397 w 622117"/>
                <a:gd name="connsiteY32" fmla="*/ 418015 h 420341"/>
                <a:gd name="connsiteX33" fmla="*/ 398345 w 622117"/>
                <a:gd name="connsiteY33" fmla="*/ 380409 h 420341"/>
                <a:gd name="connsiteX34" fmla="*/ 344175 w 622117"/>
                <a:gd name="connsiteY34" fmla="*/ 420221 h 420341"/>
                <a:gd name="connsiteX35" fmla="*/ 325493 w 622117"/>
                <a:gd name="connsiteY35" fmla="*/ 399989 h 420341"/>
                <a:gd name="connsiteX36" fmla="*/ 310719 w 622117"/>
                <a:gd name="connsiteY36" fmla="*/ 359011 h 420341"/>
                <a:gd name="connsiteX37" fmla="*/ 242182 w 622117"/>
                <a:gd name="connsiteY37" fmla="*/ 419306 h 420341"/>
                <a:gd name="connsiteX38" fmla="*/ 228221 w 622117"/>
                <a:gd name="connsiteY38" fmla="*/ 408852 h 420341"/>
                <a:gd name="connsiteX39" fmla="*/ 220047 w 622117"/>
                <a:gd name="connsiteY39" fmla="*/ 358222 h 420341"/>
                <a:gd name="connsiteX40" fmla="*/ 216240 w 622117"/>
                <a:gd name="connsiteY40" fmla="*/ 359124 h 420341"/>
                <a:gd name="connsiteX41" fmla="*/ 149607 w 622117"/>
                <a:gd name="connsiteY41" fmla="*/ 419406 h 420341"/>
                <a:gd name="connsiteX42" fmla="*/ 136470 w 622117"/>
                <a:gd name="connsiteY42" fmla="*/ 410857 h 420341"/>
                <a:gd name="connsiteX43" fmla="*/ 127586 w 622117"/>
                <a:gd name="connsiteY43" fmla="*/ 346138 h 420341"/>
                <a:gd name="connsiteX44" fmla="*/ 123778 w 622117"/>
                <a:gd name="connsiteY44" fmla="*/ 346138 h 420341"/>
                <a:gd name="connsiteX45" fmla="*/ 29616 w 622117"/>
                <a:gd name="connsiteY45" fmla="*/ 420234 h 420341"/>
                <a:gd name="connsiteX46" fmla="*/ 19298 w 622117"/>
                <a:gd name="connsiteY46" fmla="*/ 412637 h 420341"/>
                <a:gd name="connsiteX47" fmla="*/ 41090 w 622117"/>
                <a:gd name="connsiteY47" fmla="*/ 197368 h 420341"/>
                <a:gd name="connsiteX48" fmla="*/ 83177 w 622117"/>
                <a:gd name="connsiteY48" fmla="*/ 178766 h 420341"/>
                <a:gd name="connsiteX49" fmla="*/ 102367 w 622117"/>
                <a:gd name="connsiteY49" fmla="*/ 208224 h 420341"/>
                <a:gd name="connsiteX50" fmla="*/ 102100 w 622117"/>
                <a:gd name="connsiteY50" fmla="*/ 239136 h 420341"/>
                <a:gd name="connsiteX51" fmla="*/ 36368 w 622117"/>
                <a:gd name="connsiteY51" fmla="*/ 299443 h 420341"/>
                <a:gd name="connsiteX52" fmla="*/ 46167 w 622117"/>
                <a:gd name="connsiteY52" fmla="*/ 383831 h 420341"/>
                <a:gd name="connsiteX53" fmla="*/ 58592 w 622117"/>
                <a:gd name="connsiteY53" fmla="*/ 385649 h 420341"/>
                <a:gd name="connsiteX54" fmla="*/ 60331 w 622117"/>
                <a:gd name="connsiteY54" fmla="*/ 383969 h 420341"/>
                <a:gd name="connsiteX55" fmla="*/ 127954 w 622117"/>
                <a:gd name="connsiteY55" fmla="*/ 320866 h 420341"/>
                <a:gd name="connsiteX56" fmla="*/ 202291 w 622117"/>
                <a:gd name="connsiteY56" fmla="*/ 37681 h 420341"/>
                <a:gd name="connsiteX57" fmla="*/ 243007 w 622117"/>
                <a:gd name="connsiteY57" fmla="*/ 0 h 420341"/>
                <a:gd name="connsiteX58" fmla="*/ 244974 w 622117"/>
                <a:gd name="connsiteY58" fmla="*/ 4024 h 420341"/>
                <a:gd name="connsiteX59" fmla="*/ 244162 w 622117"/>
                <a:gd name="connsiteY59" fmla="*/ 5265 h 420341"/>
                <a:gd name="connsiteX60" fmla="*/ 77224 w 622117"/>
                <a:gd name="connsiteY60" fmla="*/ 185510 h 420341"/>
                <a:gd name="connsiteX61" fmla="*/ 63936 w 622117"/>
                <a:gd name="connsiteY61" fmla="*/ 193821 h 420341"/>
                <a:gd name="connsiteX62" fmla="*/ 39516 w 622117"/>
                <a:gd name="connsiteY62" fmla="*/ 281656 h 420341"/>
                <a:gd name="connsiteX63" fmla="*/ 80448 w 622117"/>
                <a:gd name="connsiteY63" fmla="*/ 246419 h 420341"/>
                <a:gd name="connsiteX64" fmla="*/ 86553 w 622117"/>
                <a:gd name="connsiteY64" fmla="*/ 197770 h 420341"/>
                <a:gd name="connsiteX65" fmla="*/ 77224 w 622117"/>
                <a:gd name="connsiteY65" fmla="*/ 185510 h 420341"/>
                <a:gd name="connsiteX66" fmla="*/ 415111 w 622117"/>
                <a:gd name="connsiteY66" fmla="*/ 203536 h 420341"/>
                <a:gd name="connsiteX67" fmla="*/ 378215 w 622117"/>
                <a:gd name="connsiteY67" fmla="*/ 212574 h 420341"/>
                <a:gd name="connsiteX68" fmla="*/ 346891 w 622117"/>
                <a:gd name="connsiteY68" fmla="*/ 331271 h 420341"/>
                <a:gd name="connsiteX69" fmla="*/ 360611 w 622117"/>
                <a:gd name="connsiteY69" fmla="*/ 381976 h 420341"/>
                <a:gd name="connsiteX70" fmla="*/ 395730 w 622117"/>
                <a:gd name="connsiteY70" fmla="*/ 361681 h 420341"/>
                <a:gd name="connsiteX71" fmla="*/ 416037 w 622117"/>
                <a:gd name="connsiteY71" fmla="*/ 208224 h 420341"/>
                <a:gd name="connsiteX72" fmla="*/ 566146 w 622117"/>
                <a:gd name="connsiteY72" fmla="*/ 207698 h 420341"/>
                <a:gd name="connsiteX73" fmla="*/ 530887 w 622117"/>
                <a:gd name="connsiteY73" fmla="*/ 242997 h 420341"/>
                <a:gd name="connsiteX74" fmla="*/ 529618 w 622117"/>
                <a:gd name="connsiteY74" fmla="*/ 378792 h 420341"/>
                <a:gd name="connsiteX75" fmla="*/ 533324 w 622117"/>
                <a:gd name="connsiteY75" fmla="*/ 388219 h 420341"/>
                <a:gd name="connsiteX76" fmla="*/ 558899 w 622117"/>
                <a:gd name="connsiteY76" fmla="*/ 370995 h 420341"/>
                <a:gd name="connsiteX77" fmla="*/ 581871 w 622117"/>
                <a:gd name="connsiteY77" fmla="*/ 223730 h 420341"/>
                <a:gd name="connsiteX78" fmla="*/ 566158 w 622117"/>
                <a:gd name="connsiteY78" fmla="*/ 207710 h 420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117" h="420341">
                  <a:moveTo>
                    <a:pt x="244162" y="5265"/>
                  </a:moveTo>
                  <a:cubicBezTo>
                    <a:pt x="206086" y="28342"/>
                    <a:pt x="203801" y="76089"/>
                    <a:pt x="190234" y="115337"/>
                  </a:cubicBezTo>
                  <a:cubicBezTo>
                    <a:pt x="169685" y="194774"/>
                    <a:pt x="154696" y="286444"/>
                    <a:pt x="166119" y="372750"/>
                  </a:cubicBezTo>
                  <a:cubicBezTo>
                    <a:pt x="167666" y="376363"/>
                    <a:pt x="170752" y="379115"/>
                    <a:pt x="174546" y="380271"/>
                  </a:cubicBezTo>
                  <a:cubicBezTo>
                    <a:pt x="191170" y="369352"/>
                    <a:pt x="206217" y="356253"/>
                    <a:pt x="219273" y="341336"/>
                  </a:cubicBezTo>
                  <a:cubicBezTo>
                    <a:pt x="227904" y="228092"/>
                    <a:pt x="248807" y="118709"/>
                    <a:pt x="302545" y="23617"/>
                  </a:cubicBezTo>
                  <a:cubicBezTo>
                    <a:pt x="309823" y="12451"/>
                    <a:pt x="320916" y="4236"/>
                    <a:pt x="333806" y="464"/>
                  </a:cubicBezTo>
                  <a:cubicBezTo>
                    <a:pt x="336636" y="464"/>
                    <a:pt x="337613" y="5165"/>
                    <a:pt x="335633" y="7032"/>
                  </a:cubicBezTo>
                  <a:cubicBezTo>
                    <a:pt x="316443" y="13977"/>
                    <a:pt x="309780" y="30298"/>
                    <a:pt x="302964" y="48950"/>
                  </a:cubicBezTo>
                  <a:cubicBezTo>
                    <a:pt x="299197" y="58697"/>
                    <a:pt x="296018" y="68655"/>
                    <a:pt x="293445" y="78772"/>
                  </a:cubicBezTo>
                  <a:cubicBezTo>
                    <a:pt x="267185" y="170380"/>
                    <a:pt x="246358" y="270399"/>
                    <a:pt x="257717" y="371697"/>
                  </a:cubicBezTo>
                  <a:cubicBezTo>
                    <a:pt x="259570" y="376398"/>
                    <a:pt x="264241" y="382064"/>
                    <a:pt x="269927" y="380221"/>
                  </a:cubicBezTo>
                  <a:cubicBezTo>
                    <a:pt x="285184" y="369996"/>
                    <a:pt x="298419" y="357102"/>
                    <a:pt x="308980" y="342176"/>
                  </a:cubicBezTo>
                  <a:cubicBezTo>
                    <a:pt x="303214" y="285875"/>
                    <a:pt x="329984" y="231155"/>
                    <a:pt x="378228" y="200628"/>
                  </a:cubicBezTo>
                  <a:cubicBezTo>
                    <a:pt x="399780" y="188729"/>
                    <a:pt x="425822" y="187833"/>
                    <a:pt x="448161" y="198221"/>
                  </a:cubicBezTo>
                  <a:cubicBezTo>
                    <a:pt x="436742" y="251477"/>
                    <a:pt x="430553" y="305697"/>
                    <a:pt x="429681" y="360127"/>
                  </a:cubicBezTo>
                  <a:cubicBezTo>
                    <a:pt x="430316" y="366633"/>
                    <a:pt x="429529" y="377915"/>
                    <a:pt x="437030" y="382690"/>
                  </a:cubicBezTo>
                  <a:lnTo>
                    <a:pt x="444645" y="380885"/>
                  </a:lnTo>
                  <a:lnTo>
                    <a:pt x="491339" y="333527"/>
                  </a:lnTo>
                  <a:cubicBezTo>
                    <a:pt x="498793" y="257666"/>
                    <a:pt x="511159" y="182354"/>
                    <a:pt x="528362" y="108054"/>
                  </a:cubicBezTo>
                  <a:cubicBezTo>
                    <a:pt x="539048" y="74435"/>
                    <a:pt x="563899" y="27954"/>
                    <a:pt x="593332" y="24331"/>
                  </a:cubicBezTo>
                  <a:cubicBezTo>
                    <a:pt x="604171" y="33808"/>
                    <a:pt x="592228" y="28092"/>
                    <a:pt x="580031" y="39536"/>
                  </a:cubicBezTo>
                  <a:cubicBezTo>
                    <a:pt x="544722" y="77957"/>
                    <a:pt x="531725" y="152116"/>
                    <a:pt x="525455" y="215770"/>
                  </a:cubicBezTo>
                  <a:cubicBezTo>
                    <a:pt x="532702" y="217738"/>
                    <a:pt x="534073" y="216911"/>
                    <a:pt x="546295" y="207522"/>
                  </a:cubicBezTo>
                  <a:lnTo>
                    <a:pt x="590083" y="171383"/>
                  </a:lnTo>
                  <a:cubicBezTo>
                    <a:pt x="600465" y="170530"/>
                    <a:pt x="606011" y="182765"/>
                    <a:pt x="609717" y="190299"/>
                  </a:cubicBezTo>
                  <a:cubicBezTo>
                    <a:pt x="632199" y="244293"/>
                    <a:pt x="623715" y="306041"/>
                    <a:pt x="587481" y="352167"/>
                  </a:cubicBezTo>
                  <a:cubicBezTo>
                    <a:pt x="569051" y="379470"/>
                    <a:pt x="544562" y="402266"/>
                    <a:pt x="515873" y="418817"/>
                  </a:cubicBezTo>
                  <a:cubicBezTo>
                    <a:pt x="504450" y="422578"/>
                    <a:pt x="501378" y="418002"/>
                    <a:pt x="500642" y="417313"/>
                  </a:cubicBezTo>
                  <a:cubicBezTo>
                    <a:pt x="492227" y="406833"/>
                    <a:pt x="493712" y="378454"/>
                    <a:pt x="492024" y="355990"/>
                  </a:cubicBezTo>
                  <a:lnTo>
                    <a:pt x="489207" y="354085"/>
                  </a:lnTo>
                  <a:lnTo>
                    <a:pt x="416862" y="419958"/>
                  </a:lnTo>
                  <a:cubicBezTo>
                    <a:pt x="414984" y="419958"/>
                    <a:pt x="410059" y="421211"/>
                    <a:pt x="408397" y="418015"/>
                  </a:cubicBezTo>
                  <a:cubicBezTo>
                    <a:pt x="402772" y="406183"/>
                    <a:pt x="399365" y="393442"/>
                    <a:pt x="398345" y="380409"/>
                  </a:cubicBezTo>
                  <a:cubicBezTo>
                    <a:pt x="379307" y="391490"/>
                    <a:pt x="363150" y="409140"/>
                    <a:pt x="344175" y="420221"/>
                  </a:cubicBezTo>
                  <a:cubicBezTo>
                    <a:pt x="333768" y="421061"/>
                    <a:pt x="329084" y="408438"/>
                    <a:pt x="325493" y="399989"/>
                  </a:cubicBezTo>
                  <a:cubicBezTo>
                    <a:pt x="317357" y="379419"/>
                    <a:pt x="316608" y="374655"/>
                    <a:pt x="310719" y="359011"/>
                  </a:cubicBezTo>
                  <a:lnTo>
                    <a:pt x="242182" y="419306"/>
                  </a:lnTo>
                  <a:cubicBezTo>
                    <a:pt x="234567" y="423067"/>
                    <a:pt x="230176" y="414844"/>
                    <a:pt x="228221" y="408852"/>
                  </a:cubicBezTo>
                  <a:cubicBezTo>
                    <a:pt x="224377" y="392170"/>
                    <a:pt x="221646" y="375257"/>
                    <a:pt x="220047" y="358222"/>
                  </a:cubicBezTo>
                  <a:lnTo>
                    <a:pt x="216240" y="359124"/>
                  </a:lnTo>
                  <a:lnTo>
                    <a:pt x="149607" y="419406"/>
                  </a:lnTo>
                  <a:cubicBezTo>
                    <a:pt x="142550" y="421512"/>
                    <a:pt x="139986" y="418755"/>
                    <a:pt x="136470" y="410857"/>
                  </a:cubicBezTo>
                  <a:cubicBezTo>
                    <a:pt x="130416" y="397269"/>
                    <a:pt x="130696" y="366883"/>
                    <a:pt x="127586" y="346138"/>
                  </a:cubicBezTo>
                  <a:lnTo>
                    <a:pt x="123778" y="346138"/>
                  </a:lnTo>
                  <a:cubicBezTo>
                    <a:pt x="92404" y="370193"/>
                    <a:pt x="64722" y="401807"/>
                    <a:pt x="29616" y="420234"/>
                  </a:cubicBezTo>
                  <a:cubicBezTo>
                    <a:pt x="24895" y="421111"/>
                    <a:pt x="21151" y="416473"/>
                    <a:pt x="19298" y="412637"/>
                  </a:cubicBezTo>
                  <a:cubicBezTo>
                    <a:pt x="-11265" y="346777"/>
                    <a:pt x="-6619" y="252185"/>
                    <a:pt x="41090" y="197368"/>
                  </a:cubicBezTo>
                  <a:cubicBezTo>
                    <a:pt x="46839" y="191301"/>
                    <a:pt x="63859" y="170593"/>
                    <a:pt x="83177" y="178766"/>
                  </a:cubicBezTo>
                  <a:cubicBezTo>
                    <a:pt x="94066" y="182527"/>
                    <a:pt x="99169" y="191163"/>
                    <a:pt x="102367" y="208224"/>
                  </a:cubicBezTo>
                  <a:cubicBezTo>
                    <a:pt x="105644" y="218289"/>
                    <a:pt x="105550" y="229128"/>
                    <a:pt x="102100" y="239136"/>
                  </a:cubicBezTo>
                  <a:lnTo>
                    <a:pt x="36368" y="299443"/>
                  </a:lnTo>
                  <a:cubicBezTo>
                    <a:pt x="31891" y="327931"/>
                    <a:pt x="35276" y="357085"/>
                    <a:pt x="46167" y="383831"/>
                  </a:cubicBezTo>
                  <a:cubicBezTo>
                    <a:pt x="49091" y="387721"/>
                    <a:pt x="54653" y="388534"/>
                    <a:pt x="58592" y="385649"/>
                  </a:cubicBezTo>
                  <a:cubicBezTo>
                    <a:pt x="59251" y="385174"/>
                    <a:pt x="59836" y="384608"/>
                    <a:pt x="60331" y="383969"/>
                  </a:cubicBezTo>
                  <a:lnTo>
                    <a:pt x="127954" y="320866"/>
                  </a:lnTo>
                  <a:cubicBezTo>
                    <a:pt x="138298" y="220734"/>
                    <a:pt x="157146" y="123460"/>
                    <a:pt x="202291" y="37681"/>
                  </a:cubicBezTo>
                  <a:cubicBezTo>
                    <a:pt x="207634" y="27791"/>
                    <a:pt x="225365" y="752"/>
                    <a:pt x="243007" y="0"/>
                  </a:cubicBezTo>
                  <a:cubicBezTo>
                    <a:pt x="244671" y="580"/>
                    <a:pt x="245549" y="2377"/>
                    <a:pt x="244974" y="4024"/>
                  </a:cubicBezTo>
                  <a:cubicBezTo>
                    <a:pt x="244800" y="4491"/>
                    <a:pt x="244523" y="4916"/>
                    <a:pt x="244162" y="5265"/>
                  </a:cubicBezTo>
                  <a:close/>
                  <a:moveTo>
                    <a:pt x="77224" y="185510"/>
                  </a:moveTo>
                  <a:cubicBezTo>
                    <a:pt x="72275" y="187374"/>
                    <a:pt x="67757" y="190199"/>
                    <a:pt x="63936" y="193821"/>
                  </a:cubicBezTo>
                  <a:cubicBezTo>
                    <a:pt x="49883" y="221174"/>
                    <a:pt x="41576" y="251051"/>
                    <a:pt x="39516" y="281656"/>
                  </a:cubicBezTo>
                  <a:cubicBezTo>
                    <a:pt x="54645" y="269747"/>
                    <a:pt x="68060" y="257563"/>
                    <a:pt x="80448" y="246419"/>
                  </a:cubicBezTo>
                  <a:lnTo>
                    <a:pt x="86553" y="197770"/>
                  </a:lnTo>
                  <a:cubicBezTo>
                    <a:pt x="89459" y="190311"/>
                    <a:pt x="84776" y="185585"/>
                    <a:pt x="77224" y="185510"/>
                  </a:cubicBezTo>
                  <a:close/>
                  <a:moveTo>
                    <a:pt x="415111" y="203536"/>
                  </a:moveTo>
                  <a:cubicBezTo>
                    <a:pt x="401949" y="195927"/>
                    <a:pt x="388711" y="202746"/>
                    <a:pt x="378215" y="212574"/>
                  </a:cubicBezTo>
                  <a:cubicBezTo>
                    <a:pt x="347754" y="241405"/>
                    <a:pt x="343502" y="289039"/>
                    <a:pt x="346891" y="331271"/>
                  </a:cubicBezTo>
                  <a:cubicBezTo>
                    <a:pt x="346891" y="335307"/>
                    <a:pt x="349125" y="369503"/>
                    <a:pt x="360611" y="381976"/>
                  </a:cubicBezTo>
                  <a:cubicBezTo>
                    <a:pt x="374915" y="383229"/>
                    <a:pt x="386211" y="370030"/>
                    <a:pt x="395730" y="361681"/>
                  </a:cubicBezTo>
                  <a:cubicBezTo>
                    <a:pt x="400921" y="310211"/>
                    <a:pt x="407039" y="258741"/>
                    <a:pt x="416037" y="208224"/>
                  </a:cubicBezTo>
                  <a:close/>
                  <a:moveTo>
                    <a:pt x="566146" y="207698"/>
                  </a:moveTo>
                  <a:cubicBezTo>
                    <a:pt x="549725" y="213795"/>
                    <a:pt x="536837" y="226697"/>
                    <a:pt x="530887" y="242997"/>
                  </a:cubicBezTo>
                  <a:cubicBezTo>
                    <a:pt x="520125" y="285993"/>
                    <a:pt x="527207" y="334768"/>
                    <a:pt x="529618" y="378792"/>
                  </a:cubicBezTo>
                  <a:lnTo>
                    <a:pt x="533324" y="388219"/>
                  </a:lnTo>
                  <a:cubicBezTo>
                    <a:pt x="542615" y="387893"/>
                    <a:pt x="553784" y="376937"/>
                    <a:pt x="558899" y="370995"/>
                  </a:cubicBezTo>
                  <a:cubicBezTo>
                    <a:pt x="596556" y="329628"/>
                    <a:pt x="589969" y="272518"/>
                    <a:pt x="581871" y="223730"/>
                  </a:cubicBezTo>
                  <a:cubicBezTo>
                    <a:pt x="581224" y="219970"/>
                    <a:pt x="579333" y="203749"/>
                    <a:pt x="566158" y="207710"/>
                  </a:cubicBezTo>
                  <a:close/>
                </a:path>
              </a:pathLst>
            </a:custGeom>
            <a:solidFill>
              <a:srgbClr val="1D1D1B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97" name="Freeform 227">
              <a:extLst>
                <a:ext uri="{FF2B5EF4-FFF2-40B4-BE49-F238E27FC236}">
                  <a16:creationId xmlns:a16="http://schemas.microsoft.com/office/drawing/2014/main" id="{F5CB14BE-C5F4-46B5-99DB-B92A1A9822CF}"/>
                </a:ext>
              </a:extLst>
            </p:cNvPr>
            <p:cNvSpPr/>
            <p:nvPr/>
          </p:nvSpPr>
          <p:spPr>
            <a:xfrm>
              <a:off x="7944028" y="412486"/>
              <a:ext cx="622096" cy="420416"/>
            </a:xfrm>
            <a:custGeom>
              <a:avLst/>
              <a:gdLst>
                <a:gd name="connsiteX0" fmla="*/ 244048 w 622096"/>
                <a:gd name="connsiteY0" fmla="*/ 5277 h 420416"/>
                <a:gd name="connsiteX1" fmla="*/ 190170 w 622096"/>
                <a:gd name="connsiteY1" fmla="*/ 115337 h 420416"/>
                <a:gd name="connsiteX2" fmla="*/ 166055 w 622096"/>
                <a:gd name="connsiteY2" fmla="*/ 372775 h 420416"/>
                <a:gd name="connsiteX3" fmla="*/ 174496 w 622096"/>
                <a:gd name="connsiteY3" fmla="*/ 380296 h 420416"/>
                <a:gd name="connsiteX4" fmla="*/ 219273 w 622096"/>
                <a:gd name="connsiteY4" fmla="*/ 341437 h 420416"/>
                <a:gd name="connsiteX5" fmla="*/ 302545 w 622096"/>
                <a:gd name="connsiteY5" fmla="*/ 23667 h 420416"/>
                <a:gd name="connsiteX6" fmla="*/ 333806 w 622096"/>
                <a:gd name="connsiteY6" fmla="*/ 514 h 420416"/>
                <a:gd name="connsiteX7" fmla="*/ 335633 w 622096"/>
                <a:gd name="connsiteY7" fmla="*/ 7095 h 420416"/>
                <a:gd name="connsiteX8" fmla="*/ 302964 w 622096"/>
                <a:gd name="connsiteY8" fmla="*/ 49013 h 420416"/>
                <a:gd name="connsiteX9" fmla="*/ 293445 w 622096"/>
                <a:gd name="connsiteY9" fmla="*/ 78835 h 420416"/>
                <a:gd name="connsiteX10" fmla="*/ 257717 w 622096"/>
                <a:gd name="connsiteY10" fmla="*/ 371772 h 420416"/>
                <a:gd name="connsiteX11" fmla="*/ 269927 w 622096"/>
                <a:gd name="connsiteY11" fmla="*/ 380296 h 420416"/>
                <a:gd name="connsiteX12" fmla="*/ 308980 w 622096"/>
                <a:gd name="connsiteY12" fmla="*/ 342239 h 420416"/>
                <a:gd name="connsiteX13" fmla="*/ 378228 w 622096"/>
                <a:gd name="connsiteY13" fmla="*/ 200690 h 420416"/>
                <a:gd name="connsiteX14" fmla="*/ 448161 w 622096"/>
                <a:gd name="connsiteY14" fmla="*/ 198284 h 420416"/>
                <a:gd name="connsiteX15" fmla="*/ 429681 w 622096"/>
                <a:gd name="connsiteY15" fmla="*/ 360202 h 420416"/>
                <a:gd name="connsiteX16" fmla="*/ 437030 w 622096"/>
                <a:gd name="connsiteY16" fmla="*/ 382766 h 420416"/>
                <a:gd name="connsiteX17" fmla="*/ 444645 w 622096"/>
                <a:gd name="connsiteY17" fmla="*/ 380961 h 420416"/>
                <a:gd name="connsiteX18" fmla="*/ 491339 w 622096"/>
                <a:gd name="connsiteY18" fmla="*/ 333590 h 420416"/>
                <a:gd name="connsiteX19" fmla="*/ 528362 w 622096"/>
                <a:gd name="connsiteY19" fmla="*/ 108092 h 420416"/>
                <a:gd name="connsiteX20" fmla="*/ 593332 w 622096"/>
                <a:gd name="connsiteY20" fmla="*/ 24369 h 420416"/>
                <a:gd name="connsiteX21" fmla="*/ 580031 w 622096"/>
                <a:gd name="connsiteY21" fmla="*/ 39574 h 420416"/>
                <a:gd name="connsiteX22" fmla="*/ 525455 w 622096"/>
                <a:gd name="connsiteY22" fmla="*/ 215808 h 420416"/>
                <a:gd name="connsiteX23" fmla="*/ 546295 w 622096"/>
                <a:gd name="connsiteY23" fmla="*/ 207560 h 420416"/>
                <a:gd name="connsiteX24" fmla="*/ 590083 w 622096"/>
                <a:gd name="connsiteY24" fmla="*/ 171420 h 420416"/>
                <a:gd name="connsiteX25" fmla="*/ 609717 w 622096"/>
                <a:gd name="connsiteY25" fmla="*/ 190324 h 420416"/>
                <a:gd name="connsiteX26" fmla="*/ 587443 w 622096"/>
                <a:gd name="connsiteY26" fmla="*/ 352167 h 420416"/>
                <a:gd name="connsiteX27" fmla="*/ 515835 w 622096"/>
                <a:gd name="connsiteY27" fmla="*/ 418842 h 420416"/>
                <a:gd name="connsiteX28" fmla="*/ 500604 w 622096"/>
                <a:gd name="connsiteY28" fmla="*/ 417338 h 420416"/>
                <a:gd name="connsiteX29" fmla="*/ 491986 w 622096"/>
                <a:gd name="connsiteY29" fmla="*/ 356003 h 420416"/>
                <a:gd name="connsiteX30" fmla="*/ 489169 w 622096"/>
                <a:gd name="connsiteY30" fmla="*/ 354097 h 420416"/>
                <a:gd name="connsiteX31" fmla="*/ 416824 w 622096"/>
                <a:gd name="connsiteY31" fmla="*/ 419983 h 420416"/>
                <a:gd name="connsiteX32" fmla="*/ 408359 w 622096"/>
                <a:gd name="connsiteY32" fmla="*/ 418040 h 420416"/>
                <a:gd name="connsiteX33" fmla="*/ 398307 w 622096"/>
                <a:gd name="connsiteY33" fmla="*/ 380434 h 420416"/>
                <a:gd name="connsiteX34" fmla="*/ 344137 w 622096"/>
                <a:gd name="connsiteY34" fmla="*/ 420246 h 420416"/>
                <a:gd name="connsiteX35" fmla="*/ 325454 w 622096"/>
                <a:gd name="connsiteY35" fmla="*/ 400014 h 420416"/>
                <a:gd name="connsiteX36" fmla="*/ 310681 w 622096"/>
                <a:gd name="connsiteY36" fmla="*/ 359036 h 420416"/>
                <a:gd name="connsiteX37" fmla="*/ 242144 w 622096"/>
                <a:gd name="connsiteY37" fmla="*/ 419331 h 420416"/>
                <a:gd name="connsiteX38" fmla="*/ 228183 w 622096"/>
                <a:gd name="connsiteY38" fmla="*/ 408864 h 420416"/>
                <a:gd name="connsiteX39" fmla="*/ 220009 w 622096"/>
                <a:gd name="connsiteY39" fmla="*/ 358222 h 420416"/>
                <a:gd name="connsiteX40" fmla="*/ 216202 w 622096"/>
                <a:gd name="connsiteY40" fmla="*/ 359149 h 420416"/>
                <a:gd name="connsiteX41" fmla="*/ 149607 w 622096"/>
                <a:gd name="connsiteY41" fmla="*/ 419469 h 420416"/>
                <a:gd name="connsiteX42" fmla="*/ 136470 w 622096"/>
                <a:gd name="connsiteY42" fmla="*/ 410920 h 420416"/>
                <a:gd name="connsiteX43" fmla="*/ 127586 w 622096"/>
                <a:gd name="connsiteY43" fmla="*/ 346188 h 420416"/>
                <a:gd name="connsiteX44" fmla="*/ 123778 w 622096"/>
                <a:gd name="connsiteY44" fmla="*/ 346188 h 420416"/>
                <a:gd name="connsiteX45" fmla="*/ 29616 w 622096"/>
                <a:gd name="connsiteY45" fmla="*/ 420309 h 420416"/>
                <a:gd name="connsiteX46" fmla="*/ 19298 w 622096"/>
                <a:gd name="connsiteY46" fmla="*/ 412713 h 420416"/>
                <a:gd name="connsiteX47" fmla="*/ 41090 w 622096"/>
                <a:gd name="connsiteY47" fmla="*/ 197431 h 420416"/>
                <a:gd name="connsiteX48" fmla="*/ 83177 w 622096"/>
                <a:gd name="connsiteY48" fmla="*/ 178829 h 420416"/>
                <a:gd name="connsiteX49" fmla="*/ 102380 w 622096"/>
                <a:gd name="connsiteY49" fmla="*/ 208287 h 420416"/>
                <a:gd name="connsiteX50" fmla="*/ 102100 w 622096"/>
                <a:gd name="connsiteY50" fmla="*/ 239199 h 420416"/>
                <a:gd name="connsiteX51" fmla="*/ 36368 w 622096"/>
                <a:gd name="connsiteY51" fmla="*/ 299506 h 420416"/>
                <a:gd name="connsiteX52" fmla="*/ 46002 w 622096"/>
                <a:gd name="connsiteY52" fmla="*/ 383906 h 420416"/>
                <a:gd name="connsiteX53" fmla="*/ 58427 w 622096"/>
                <a:gd name="connsiteY53" fmla="*/ 385724 h 420416"/>
                <a:gd name="connsiteX54" fmla="*/ 60166 w 622096"/>
                <a:gd name="connsiteY54" fmla="*/ 384044 h 420416"/>
                <a:gd name="connsiteX55" fmla="*/ 127891 w 622096"/>
                <a:gd name="connsiteY55" fmla="*/ 320866 h 420416"/>
                <a:gd name="connsiteX56" fmla="*/ 202240 w 622096"/>
                <a:gd name="connsiteY56" fmla="*/ 37681 h 420416"/>
                <a:gd name="connsiteX57" fmla="*/ 242956 w 622096"/>
                <a:gd name="connsiteY57" fmla="*/ 0 h 420416"/>
                <a:gd name="connsiteX58" fmla="*/ 244860 w 622096"/>
                <a:gd name="connsiteY58" fmla="*/ 4049 h 420416"/>
                <a:gd name="connsiteX59" fmla="*/ 244048 w 622096"/>
                <a:gd name="connsiteY59" fmla="*/ 5277 h 420416"/>
                <a:gd name="connsiteX60" fmla="*/ 77123 w 622096"/>
                <a:gd name="connsiteY60" fmla="*/ 185523 h 420416"/>
                <a:gd name="connsiteX61" fmla="*/ 63834 w 622096"/>
                <a:gd name="connsiteY61" fmla="*/ 193833 h 420416"/>
                <a:gd name="connsiteX62" fmla="*/ 39415 w 622096"/>
                <a:gd name="connsiteY62" fmla="*/ 281681 h 420416"/>
                <a:gd name="connsiteX63" fmla="*/ 80346 w 622096"/>
                <a:gd name="connsiteY63" fmla="*/ 246444 h 420416"/>
                <a:gd name="connsiteX64" fmla="*/ 86451 w 622096"/>
                <a:gd name="connsiteY64" fmla="*/ 197795 h 420416"/>
                <a:gd name="connsiteX65" fmla="*/ 77123 w 622096"/>
                <a:gd name="connsiteY65" fmla="*/ 185523 h 420416"/>
                <a:gd name="connsiteX66" fmla="*/ 415022 w 622096"/>
                <a:gd name="connsiteY66" fmla="*/ 203548 h 420416"/>
                <a:gd name="connsiteX67" fmla="*/ 378126 w 622096"/>
                <a:gd name="connsiteY67" fmla="*/ 212574 h 420416"/>
                <a:gd name="connsiteX68" fmla="*/ 346815 w 622096"/>
                <a:gd name="connsiteY68" fmla="*/ 331283 h 420416"/>
                <a:gd name="connsiteX69" fmla="*/ 360522 w 622096"/>
                <a:gd name="connsiteY69" fmla="*/ 382001 h 420416"/>
                <a:gd name="connsiteX70" fmla="*/ 395641 w 622096"/>
                <a:gd name="connsiteY70" fmla="*/ 361706 h 420416"/>
                <a:gd name="connsiteX71" fmla="*/ 415948 w 622096"/>
                <a:gd name="connsiteY71" fmla="*/ 208237 h 420416"/>
                <a:gd name="connsiteX72" fmla="*/ 566057 w 622096"/>
                <a:gd name="connsiteY72" fmla="*/ 207710 h 420416"/>
                <a:gd name="connsiteX73" fmla="*/ 530798 w 622096"/>
                <a:gd name="connsiteY73" fmla="*/ 243009 h 420416"/>
                <a:gd name="connsiteX74" fmla="*/ 529529 w 622096"/>
                <a:gd name="connsiteY74" fmla="*/ 378817 h 420416"/>
                <a:gd name="connsiteX75" fmla="*/ 533235 w 622096"/>
                <a:gd name="connsiteY75" fmla="*/ 388244 h 420416"/>
                <a:gd name="connsiteX76" fmla="*/ 558810 w 622096"/>
                <a:gd name="connsiteY76" fmla="*/ 371020 h 420416"/>
                <a:gd name="connsiteX77" fmla="*/ 581795 w 622096"/>
                <a:gd name="connsiteY77" fmla="*/ 223743 h 420416"/>
                <a:gd name="connsiteX78" fmla="*/ 566095 w 622096"/>
                <a:gd name="connsiteY78" fmla="*/ 207710 h 42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22096" h="420416">
                  <a:moveTo>
                    <a:pt x="244048" y="5277"/>
                  </a:moveTo>
                  <a:cubicBezTo>
                    <a:pt x="206061" y="28355"/>
                    <a:pt x="203738" y="76114"/>
                    <a:pt x="190170" y="115337"/>
                  </a:cubicBezTo>
                  <a:cubicBezTo>
                    <a:pt x="169609" y="194786"/>
                    <a:pt x="154633" y="286457"/>
                    <a:pt x="166055" y="372775"/>
                  </a:cubicBezTo>
                  <a:cubicBezTo>
                    <a:pt x="167605" y="376390"/>
                    <a:pt x="170696" y="379144"/>
                    <a:pt x="174496" y="380296"/>
                  </a:cubicBezTo>
                  <a:cubicBezTo>
                    <a:pt x="191129" y="369398"/>
                    <a:pt x="206191" y="356326"/>
                    <a:pt x="219273" y="341437"/>
                  </a:cubicBezTo>
                  <a:cubicBezTo>
                    <a:pt x="227853" y="228143"/>
                    <a:pt x="248757" y="118760"/>
                    <a:pt x="302545" y="23667"/>
                  </a:cubicBezTo>
                  <a:cubicBezTo>
                    <a:pt x="309829" y="12508"/>
                    <a:pt x="320920" y="4295"/>
                    <a:pt x="333806" y="514"/>
                  </a:cubicBezTo>
                  <a:cubicBezTo>
                    <a:pt x="336636" y="514"/>
                    <a:pt x="337613" y="5227"/>
                    <a:pt x="335633" y="7095"/>
                  </a:cubicBezTo>
                  <a:cubicBezTo>
                    <a:pt x="316443" y="14027"/>
                    <a:pt x="309780" y="30361"/>
                    <a:pt x="302964" y="49013"/>
                  </a:cubicBezTo>
                  <a:cubicBezTo>
                    <a:pt x="299197" y="58759"/>
                    <a:pt x="296018" y="68717"/>
                    <a:pt x="293445" y="78835"/>
                  </a:cubicBezTo>
                  <a:cubicBezTo>
                    <a:pt x="267185" y="170443"/>
                    <a:pt x="246358" y="270462"/>
                    <a:pt x="257717" y="371772"/>
                  </a:cubicBezTo>
                  <a:cubicBezTo>
                    <a:pt x="259570" y="376473"/>
                    <a:pt x="264241" y="382139"/>
                    <a:pt x="269927" y="380296"/>
                  </a:cubicBezTo>
                  <a:cubicBezTo>
                    <a:pt x="285184" y="370066"/>
                    <a:pt x="298419" y="357169"/>
                    <a:pt x="308980" y="342239"/>
                  </a:cubicBezTo>
                  <a:cubicBezTo>
                    <a:pt x="303214" y="285938"/>
                    <a:pt x="329984" y="231218"/>
                    <a:pt x="378228" y="200690"/>
                  </a:cubicBezTo>
                  <a:cubicBezTo>
                    <a:pt x="399780" y="188792"/>
                    <a:pt x="425822" y="187895"/>
                    <a:pt x="448161" y="198284"/>
                  </a:cubicBezTo>
                  <a:cubicBezTo>
                    <a:pt x="436742" y="251544"/>
                    <a:pt x="430553" y="305768"/>
                    <a:pt x="429681" y="360202"/>
                  </a:cubicBezTo>
                  <a:cubicBezTo>
                    <a:pt x="430316" y="366708"/>
                    <a:pt x="429529" y="377990"/>
                    <a:pt x="437030" y="382766"/>
                  </a:cubicBezTo>
                  <a:lnTo>
                    <a:pt x="444645" y="380961"/>
                  </a:lnTo>
                  <a:lnTo>
                    <a:pt x="491339" y="333590"/>
                  </a:lnTo>
                  <a:cubicBezTo>
                    <a:pt x="498791" y="257720"/>
                    <a:pt x="511158" y="182400"/>
                    <a:pt x="528362" y="108092"/>
                  </a:cubicBezTo>
                  <a:cubicBezTo>
                    <a:pt x="539048" y="74472"/>
                    <a:pt x="563963" y="27979"/>
                    <a:pt x="593332" y="24369"/>
                  </a:cubicBezTo>
                  <a:cubicBezTo>
                    <a:pt x="604171" y="33845"/>
                    <a:pt x="592228" y="28129"/>
                    <a:pt x="580031" y="39574"/>
                  </a:cubicBezTo>
                  <a:cubicBezTo>
                    <a:pt x="544722" y="77982"/>
                    <a:pt x="531725" y="152154"/>
                    <a:pt x="525455" y="215808"/>
                  </a:cubicBezTo>
                  <a:cubicBezTo>
                    <a:pt x="532702" y="217763"/>
                    <a:pt x="534073" y="216949"/>
                    <a:pt x="546295" y="207560"/>
                  </a:cubicBezTo>
                  <a:lnTo>
                    <a:pt x="590083" y="171420"/>
                  </a:lnTo>
                  <a:cubicBezTo>
                    <a:pt x="600465" y="170568"/>
                    <a:pt x="606011" y="182802"/>
                    <a:pt x="609717" y="190324"/>
                  </a:cubicBezTo>
                  <a:cubicBezTo>
                    <a:pt x="632177" y="244318"/>
                    <a:pt x="623681" y="306053"/>
                    <a:pt x="587443" y="352167"/>
                  </a:cubicBezTo>
                  <a:cubicBezTo>
                    <a:pt x="569021" y="379484"/>
                    <a:pt x="544530" y="402288"/>
                    <a:pt x="515835" y="418842"/>
                  </a:cubicBezTo>
                  <a:cubicBezTo>
                    <a:pt x="504412" y="422603"/>
                    <a:pt x="501340" y="418027"/>
                    <a:pt x="500604" y="417338"/>
                  </a:cubicBezTo>
                  <a:cubicBezTo>
                    <a:pt x="492189" y="406846"/>
                    <a:pt x="493674" y="378479"/>
                    <a:pt x="491986" y="356003"/>
                  </a:cubicBezTo>
                  <a:lnTo>
                    <a:pt x="489169" y="354097"/>
                  </a:lnTo>
                  <a:lnTo>
                    <a:pt x="416824" y="419983"/>
                  </a:lnTo>
                  <a:cubicBezTo>
                    <a:pt x="414946" y="419983"/>
                    <a:pt x="410021" y="421237"/>
                    <a:pt x="408359" y="418040"/>
                  </a:cubicBezTo>
                  <a:cubicBezTo>
                    <a:pt x="402734" y="406208"/>
                    <a:pt x="399327" y="393467"/>
                    <a:pt x="398307" y="380434"/>
                  </a:cubicBezTo>
                  <a:cubicBezTo>
                    <a:pt x="379269" y="391515"/>
                    <a:pt x="363112" y="409165"/>
                    <a:pt x="344137" y="420246"/>
                  </a:cubicBezTo>
                  <a:cubicBezTo>
                    <a:pt x="333730" y="421086"/>
                    <a:pt x="329046" y="408463"/>
                    <a:pt x="325454" y="400014"/>
                  </a:cubicBezTo>
                  <a:cubicBezTo>
                    <a:pt x="317319" y="379444"/>
                    <a:pt x="316570" y="374668"/>
                    <a:pt x="310681" y="359036"/>
                  </a:cubicBezTo>
                  <a:lnTo>
                    <a:pt x="242144" y="419331"/>
                  </a:lnTo>
                  <a:cubicBezTo>
                    <a:pt x="234529" y="423017"/>
                    <a:pt x="230137" y="414869"/>
                    <a:pt x="228183" y="408864"/>
                  </a:cubicBezTo>
                  <a:cubicBezTo>
                    <a:pt x="224332" y="392180"/>
                    <a:pt x="221602" y="375262"/>
                    <a:pt x="220009" y="358222"/>
                  </a:cubicBezTo>
                  <a:lnTo>
                    <a:pt x="216202" y="359149"/>
                  </a:lnTo>
                  <a:lnTo>
                    <a:pt x="149607" y="419469"/>
                  </a:lnTo>
                  <a:cubicBezTo>
                    <a:pt x="142550" y="421575"/>
                    <a:pt x="139986" y="418817"/>
                    <a:pt x="136470" y="410920"/>
                  </a:cubicBezTo>
                  <a:cubicBezTo>
                    <a:pt x="130416" y="397332"/>
                    <a:pt x="130696" y="366946"/>
                    <a:pt x="127586" y="346188"/>
                  </a:cubicBezTo>
                  <a:lnTo>
                    <a:pt x="123778" y="346188"/>
                  </a:lnTo>
                  <a:cubicBezTo>
                    <a:pt x="92404" y="370268"/>
                    <a:pt x="64722" y="401882"/>
                    <a:pt x="29616" y="420309"/>
                  </a:cubicBezTo>
                  <a:cubicBezTo>
                    <a:pt x="24895" y="421186"/>
                    <a:pt x="21151" y="416548"/>
                    <a:pt x="19298" y="412713"/>
                  </a:cubicBezTo>
                  <a:cubicBezTo>
                    <a:pt x="-11265" y="346839"/>
                    <a:pt x="-6619" y="252261"/>
                    <a:pt x="41090" y="197431"/>
                  </a:cubicBezTo>
                  <a:cubicBezTo>
                    <a:pt x="46839" y="191364"/>
                    <a:pt x="63859" y="170656"/>
                    <a:pt x="83177" y="178829"/>
                  </a:cubicBezTo>
                  <a:cubicBezTo>
                    <a:pt x="94066" y="182589"/>
                    <a:pt x="99181" y="191226"/>
                    <a:pt x="102380" y="208287"/>
                  </a:cubicBezTo>
                  <a:cubicBezTo>
                    <a:pt x="105640" y="218355"/>
                    <a:pt x="105542" y="229191"/>
                    <a:pt x="102100" y="239199"/>
                  </a:cubicBezTo>
                  <a:lnTo>
                    <a:pt x="36368" y="299506"/>
                  </a:lnTo>
                  <a:cubicBezTo>
                    <a:pt x="31849" y="327984"/>
                    <a:pt x="35177" y="357137"/>
                    <a:pt x="46002" y="383906"/>
                  </a:cubicBezTo>
                  <a:cubicBezTo>
                    <a:pt x="48926" y="387796"/>
                    <a:pt x="54488" y="388610"/>
                    <a:pt x="58427" y="385724"/>
                  </a:cubicBezTo>
                  <a:cubicBezTo>
                    <a:pt x="59086" y="385249"/>
                    <a:pt x="59671" y="384684"/>
                    <a:pt x="60166" y="384044"/>
                  </a:cubicBezTo>
                  <a:lnTo>
                    <a:pt x="127891" y="320866"/>
                  </a:lnTo>
                  <a:cubicBezTo>
                    <a:pt x="138235" y="220734"/>
                    <a:pt x="157082" y="123460"/>
                    <a:pt x="202240" y="37681"/>
                  </a:cubicBezTo>
                  <a:cubicBezTo>
                    <a:pt x="207584" y="27791"/>
                    <a:pt x="225314" y="752"/>
                    <a:pt x="242956" y="0"/>
                  </a:cubicBezTo>
                  <a:cubicBezTo>
                    <a:pt x="244613" y="600"/>
                    <a:pt x="245466" y="2412"/>
                    <a:pt x="244860" y="4049"/>
                  </a:cubicBezTo>
                  <a:cubicBezTo>
                    <a:pt x="244685" y="4513"/>
                    <a:pt x="244408" y="4933"/>
                    <a:pt x="244048" y="5277"/>
                  </a:cubicBezTo>
                  <a:close/>
                  <a:moveTo>
                    <a:pt x="77123" y="185523"/>
                  </a:moveTo>
                  <a:cubicBezTo>
                    <a:pt x="72174" y="187387"/>
                    <a:pt x="67656" y="190212"/>
                    <a:pt x="63834" y="193833"/>
                  </a:cubicBezTo>
                  <a:cubicBezTo>
                    <a:pt x="49780" y="221191"/>
                    <a:pt x="41473" y="251072"/>
                    <a:pt x="39415" y="281681"/>
                  </a:cubicBezTo>
                  <a:cubicBezTo>
                    <a:pt x="54543" y="269772"/>
                    <a:pt x="67959" y="257588"/>
                    <a:pt x="80346" y="246444"/>
                  </a:cubicBezTo>
                  <a:lnTo>
                    <a:pt x="86451" y="197795"/>
                  </a:lnTo>
                  <a:cubicBezTo>
                    <a:pt x="89383" y="190324"/>
                    <a:pt x="84738" y="185598"/>
                    <a:pt x="77123" y="185523"/>
                  </a:cubicBezTo>
                  <a:close/>
                  <a:moveTo>
                    <a:pt x="415022" y="203548"/>
                  </a:moveTo>
                  <a:cubicBezTo>
                    <a:pt x="401860" y="195939"/>
                    <a:pt x="388623" y="202759"/>
                    <a:pt x="378126" y="212574"/>
                  </a:cubicBezTo>
                  <a:cubicBezTo>
                    <a:pt x="347665" y="241405"/>
                    <a:pt x="343414" y="289039"/>
                    <a:pt x="346815" y="331283"/>
                  </a:cubicBezTo>
                  <a:cubicBezTo>
                    <a:pt x="346815" y="335320"/>
                    <a:pt x="349036" y="369528"/>
                    <a:pt x="360522" y="382001"/>
                  </a:cubicBezTo>
                  <a:cubicBezTo>
                    <a:pt x="374826" y="383255"/>
                    <a:pt x="386122" y="370055"/>
                    <a:pt x="395641" y="361706"/>
                  </a:cubicBezTo>
                  <a:cubicBezTo>
                    <a:pt x="400832" y="310224"/>
                    <a:pt x="406950" y="258754"/>
                    <a:pt x="415948" y="208237"/>
                  </a:cubicBezTo>
                  <a:close/>
                  <a:moveTo>
                    <a:pt x="566057" y="207710"/>
                  </a:moveTo>
                  <a:cubicBezTo>
                    <a:pt x="549631" y="213798"/>
                    <a:pt x="536740" y="226705"/>
                    <a:pt x="530798" y="243009"/>
                  </a:cubicBezTo>
                  <a:cubicBezTo>
                    <a:pt x="520036" y="286006"/>
                    <a:pt x="527118" y="334781"/>
                    <a:pt x="529529" y="378817"/>
                  </a:cubicBezTo>
                  <a:lnTo>
                    <a:pt x="533235" y="388244"/>
                  </a:lnTo>
                  <a:cubicBezTo>
                    <a:pt x="542526" y="387918"/>
                    <a:pt x="553695" y="376962"/>
                    <a:pt x="558810" y="371020"/>
                  </a:cubicBezTo>
                  <a:cubicBezTo>
                    <a:pt x="596467" y="329654"/>
                    <a:pt x="589880" y="272530"/>
                    <a:pt x="581795" y="223743"/>
                  </a:cubicBezTo>
                  <a:cubicBezTo>
                    <a:pt x="581160" y="219982"/>
                    <a:pt x="579257" y="203761"/>
                    <a:pt x="566095" y="207710"/>
                  </a:cubicBezTo>
                  <a:close/>
                </a:path>
              </a:pathLst>
            </a:custGeom>
            <a:solidFill>
              <a:srgbClr val="FFFFFF"/>
            </a:solidFill>
            <a:ln w="126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68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E6105A-9C1C-8BE1-C4C9-5AAB61063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eSpy Transmitt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FD324E-416F-DBD7-7C79-FF0E466E60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59579" y="1061357"/>
            <a:ext cx="5984422" cy="4414199"/>
          </a:xfrm>
        </p:spPr>
        <p:txBody>
          <a:bodyPr/>
          <a:lstStyle/>
          <a:p>
            <a:r>
              <a:rPr lang="en-US" dirty="0"/>
              <a:t>Transmitter Range: 1,000ft</a:t>
            </a:r>
          </a:p>
          <a:p>
            <a:r>
              <a:rPr lang="en-US" dirty="0"/>
              <a:t>Radio Frequency: 915MHz</a:t>
            </a:r>
          </a:p>
          <a:p>
            <a:r>
              <a:rPr lang="en-US" dirty="0"/>
              <a:t>Radio Power: 10mW</a:t>
            </a:r>
          </a:p>
          <a:p>
            <a:r>
              <a:rPr lang="en-US" dirty="0"/>
              <a:t>Standard Sample &amp; Transmit Rat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90 seconds</a:t>
            </a:r>
          </a:p>
          <a:p>
            <a:r>
              <a:rPr lang="en-US" dirty="0"/>
              <a:t>Memory Backup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720 samples split between quantity of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5-minute backup sample rate</a:t>
            </a:r>
          </a:p>
          <a:p>
            <a:pPr marL="0" indent="0"/>
            <a:r>
              <a:rPr lang="en-US" dirty="0"/>
              <a:t>IP Rating: IP 65 (unless otherwise specified)</a:t>
            </a:r>
          </a:p>
          <a:p>
            <a:pPr marL="0" indent="0"/>
            <a:r>
              <a:rPr lang="en-US" dirty="0"/>
              <a:t>Power supply: 1.5V AA Lithium Battery</a:t>
            </a:r>
          </a:p>
          <a:p>
            <a:pPr marL="0" indent="0"/>
            <a:r>
              <a:rPr lang="en-US" dirty="0"/>
              <a:t>Single or Dual Channel units Available</a:t>
            </a:r>
          </a:p>
          <a:p>
            <a:pPr marL="0" indent="0"/>
            <a:r>
              <a:rPr lang="en-US" dirty="0"/>
              <a:t>Permanently configured to the channel type selec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204EFD-0062-D9A4-10EF-600F398E24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704" b="4704"/>
          <a:stretch/>
        </p:blipFill>
        <p:spPr>
          <a:xfrm>
            <a:off x="786414" y="1061357"/>
            <a:ext cx="2209503" cy="368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4170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97F771-EC68-7524-4EC5-4589385A0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eSpy Temperature Options</a:t>
            </a:r>
          </a:p>
        </p:txBody>
      </p:sp>
      <p:sp>
        <p:nvSpPr>
          <p:cNvPr id="5" name="object 9">
            <a:extLst>
              <a:ext uri="{FF2B5EF4-FFF2-40B4-BE49-F238E27FC236}">
                <a16:creationId xmlns:a16="http://schemas.microsoft.com/office/drawing/2014/main" id="{66F6D29B-C021-A645-95C9-E6929A1C6ED1}"/>
              </a:ext>
            </a:extLst>
          </p:cNvPr>
          <p:cNvSpPr/>
          <p:nvPr/>
        </p:nvSpPr>
        <p:spPr>
          <a:xfrm>
            <a:off x="5388428" y="23561"/>
            <a:ext cx="1564224" cy="11179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6" name="Picture 5" descr="A close up of a device&#10;&#10;Description automatically generated">
            <a:extLst>
              <a:ext uri="{FF2B5EF4-FFF2-40B4-BE49-F238E27FC236}">
                <a16:creationId xmlns:a16="http://schemas.microsoft.com/office/drawing/2014/main" id="{8717FDEF-9100-0C26-28C3-08DF6C5D8C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602" y="1030220"/>
            <a:ext cx="1131901" cy="1117957"/>
          </a:xfrm>
          <a:prstGeom prst="rect">
            <a:avLst/>
          </a:prstGeom>
        </p:spPr>
      </p:pic>
      <p:pic>
        <p:nvPicPr>
          <p:cNvPr id="7" name="Picture 6" descr="A close up of a device&#10;&#10;Description automatically generated">
            <a:extLst>
              <a:ext uri="{FF2B5EF4-FFF2-40B4-BE49-F238E27FC236}">
                <a16:creationId xmlns:a16="http://schemas.microsoft.com/office/drawing/2014/main" id="{B8D68E8F-BD0A-59BC-D0D0-70C882734C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9490" y="1853298"/>
            <a:ext cx="1383147" cy="1383147"/>
          </a:xfrm>
          <a:prstGeom prst="rect">
            <a:avLst/>
          </a:prstGeom>
        </p:spPr>
      </p:pic>
      <p:pic>
        <p:nvPicPr>
          <p:cNvPr id="9" name="Picture 8" descr="A picture containing black, white, photo, man&#10;&#10;Description automatically generated">
            <a:extLst>
              <a:ext uri="{FF2B5EF4-FFF2-40B4-BE49-F238E27FC236}">
                <a16:creationId xmlns:a16="http://schemas.microsoft.com/office/drawing/2014/main" id="{4D17F3B0-BB00-E5AC-0D85-12168236F5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163" y="3017059"/>
            <a:ext cx="1256251" cy="1256251"/>
          </a:xfrm>
          <a:prstGeom prst="rect">
            <a:avLst/>
          </a:prstGeom>
        </p:spPr>
      </p:pic>
      <p:pic>
        <p:nvPicPr>
          <p:cNvPr id="11" name="Picture 10" descr="A picture containing indoor, photo, white, dryer&#10;&#10;Description automatically generated">
            <a:extLst>
              <a:ext uri="{FF2B5EF4-FFF2-40B4-BE49-F238E27FC236}">
                <a16:creationId xmlns:a16="http://schemas.microsoft.com/office/drawing/2014/main" id="{D9E6F60B-B83F-977B-3F83-DFF420B113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7772" y="4072694"/>
            <a:ext cx="1256251" cy="1256251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124D7C6-B814-4AD0-C052-0A89345A5CFA}"/>
              </a:ext>
            </a:extLst>
          </p:cNvPr>
          <p:cNvSpPr/>
          <p:nvPr/>
        </p:nvSpPr>
        <p:spPr>
          <a:xfrm>
            <a:off x="1816639" y="1042373"/>
            <a:ext cx="7140489" cy="74225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Internal Thermistor: </a:t>
            </a:r>
            <a:r>
              <a:rPr lang="en-US" dirty="0"/>
              <a:t>-30C to 50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-20C freezers, Refrigerators, Labs, Storage Areas, Warehouses </a:t>
            </a:r>
          </a:p>
          <a:p>
            <a:pPr algn="ctr"/>
            <a:endParaRPr lang="en-US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BB83DD7-FB72-A030-B695-2262364732F8}"/>
              </a:ext>
            </a:extLst>
          </p:cNvPr>
          <p:cNvSpPr/>
          <p:nvPr/>
        </p:nvSpPr>
        <p:spPr>
          <a:xfrm>
            <a:off x="2702762" y="1836364"/>
            <a:ext cx="6365037" cy="1392077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Thermocoupl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-200C to 200C: FEP coated Type 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-200C to 300C: Metal coated Type 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N</a:t>
            </a:r>
            <a:r>
              <a:rPr lang="en-US" baseline="-25000" dirty="0"/>
              <a:t>2</a:t>
            </a:r>
            <a:r>
              <a:rPr lang="en-US" dirty="0"/>
              <a:t>, -150C, -80C, -20C, Refrigerators, Incubators, Ovens, Furnaces</a:t>
            </a:r>
          </a:p>
          <a:p>
            <a:pPr algn="ctr"/>
            <a:endParaRPr lang="en-US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A3FF70F-B643-4A54-3266-E9EDD7203B30}"/>
              </a:ext>
            </a:extLst>
          </p:cNvPr>
          <p:cNvSpPr/>
          <p:nvPr/>
        </p:nvSpPr>
        <p:spPr>
          <a:xfrm>
            <a:off x="1818952" y="3275076"/>
            <a:ext cx="7140489" cy="74225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PT100: </a:t>
            </a:r>
            <a:r>
              <a:rPr lang="en-US" dirty="0"/>
              <a:t>-100C to 200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-80C, -20C Freezers, Refrigerators, Incubators</a:t>
            </a:r>
          </a:p>
          <a:p>
            <a:pPr algn="ctr"/>
            <a:endParaRPr lang="en-US" dirty="0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F97DA25F-24E0-240E-4395-CF2C73FFA087}"/>
              </a:ext>
            </a:extLst>
          </p:cNvPr>
          <p:cNvSpPr/>
          <p:nvPr/>
        </p:nvSpPr>
        <p:spPr>
          <a:xfrm>
            <a:off x="2662637" y="4133469"/>
            <a:ext cx="6405162" cy="1170075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Thermistor: </a:t>
            </a:r>
            <a:r>
              <a:rPr lang="en-US" dirty="0"/>
              <a:t>-40C to 60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-30C, -20C Freezers, Refrigerators, Incubators</a:t>
            </a:r>
          </a:p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4071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FE3EFB-966B-7BC7-01B2-8568C25DD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eSpy Combined Temperature &amp; R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0CDE45-A7BE-1B6B-7B07-CE0C922B33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45444" y="1012535"/>
            <a:ext cx="5866047" cy="4001203"/>
          </a:xfrm>
        </p:spPr>
        <p:txBody>
          <a:bodyPr/>
          <a:lstStyle/>
          <a:p>
            <a:r>
              <a:rPr lang="en-US" dirty="0"/>
              <a:t>Single sensor for Temperature &amp; RH</a:t>
            </a:r>
          </a:p>
          <a:p>
            <a:r>
              <a:rPr lang="en-US" dirty="0"/>
              <a:t>Temperature Range: -30C to 50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mp Accuracy: ±0.4C at 23C, ±1.3C at -30, ±0.7 at 50C</a:t>
            </a:r>
          </a:p>
          <a:p>
            <a:pPr marL="0" indent="0"/>
            <a:r>
              <a:rPr lang="en-US" dirty="0"/>
              <a:t>RH Range: 0 to 100% RH (Non-condensi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H Accuracy: ±3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arehouses &amp; Lab spaces the RH sensor is directly attach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cubators and Stability Chambers the transmitter often remains outside and the RH sensor is placed inside via 1.5m extension cab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6D58F9-1270-547A-BAB6-408D1EE7C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704" b="4704"/>
          <a:stretch/>
        </p:blipFill>
        <p:spPr>
          <a:xfrm>
            <a:off x="259085" y="1093715"/>
            <a:ext cx="2115181" cy="3527570"/>
          </a:xfrm>
          <a:prstGeom prst="rect">
            <a:avLst/>
          </a:prstGeom>
        </p:spPr>
      </p:pic>
      <p:pic>
        <p:nvPicPr>
          <p:cNvPr id="6" name="Picture 5" descr="A picture containing indoor, metalware, dark, gear&#10;&#10;Description automatically generated">
            <a:extLst>
              <a:ext uri="{FF2B5EF4-FFF2-40B4-BE49-F238E27FC236}">
                <a16:creationId xmlns:a16="http://schemas.microsoft.com/office/drawing/2014/main" id="{CB9318D1-F37E-49EC-CFBA-38294779B1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9965" y="2764037"/>
            <a:ext cx="563157" cy="1170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4416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E52C05-A387-78C8-8AE4-1784E71B7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eSpy Analog and Volt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DACFBA-F953-6673-7C52-B19A79201E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31855" y="1049480"/>
            <a:ext cx="4389183" cy="4001203"/>
          </a:xfrm>
        </p:spPr>
        <p:txBody>
          <a:bodyPr/>
          <a:lstStyle/>
          <a:p>
            <a:r>
              <a:rPr lang="en-US" dirty="0"/>
              <a:t>Options Avail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4-20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0-1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0-5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0-10V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/>
              <a:t>Typical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fferential Press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rbon Dioxide (CO</a:t>
            </a:r>
            <a:r>
              <a:rPr lang="en-US" baseline="-25000" dirty="0"/>
              <a:t>2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irf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w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Temperatures</a:t>
            </a:r>
          </a:p>
        </p:txBody>
      </p:sp>
      <p:pic>
        <p:nvPicPr>
          <p:cNvPr id="5" name="Picture 4" descr="A picture containing object, black, white, sitting&#10;&#10;Description automatically generated">
            <a:extLst>
              <a:ext uri="{FF2B5EF4-FFF2-40B4-BE49-F238E27FC236}">
                <a16:creationId xmlns:a16="http://schemas.microsoft.com/office/drawing/2014/main" id="{1F36CD61-1224-F768-59E4-B8B3538D59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962" y="1303185"/>
            <a:ext cx="3908893" cy="3908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0419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FB5248-08B9-F4A6-EA75-08016B0FB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eSpy Differential Pressure Ki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DF978A-BB12-6857-9E9A-A0F49968D20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68799" y="1104899"/>
            <a:ext cx="4463075" cy="400120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ff the shelf DP sensor with 4-20mA out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cludes IceSpy 4-20mA transmit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wer supply integrated into the transmit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eanroom DP application of ±62 pasc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3E7BB5-DC2F-0BD4-D5C1-8D25E5B4F98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56077"/>
            <a:ext cx="4255130" cy="3498846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022C432-82C4-7E12-5CA3-B3A043A41C66}"/>
              </a:ext>
            </a:extLst>
          </p:cNvPr>
          <p:cNvSpPr txBox="1">
            <a:spLocks/>
          </p:cNvSpPr>
          <p:nvPr/>
        </p:nvSpPr>
        <p:spPr>
          <a:xfrm>
            <a:off x="0" y="4951472"/>
            <a:ext cx="1354667" cy="34512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1167" b="1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dirty="0"/>
              <a:t>Requires 115V AC power outlet</a:t>
            </a:r>
          </a:p>
        </p:txBody>
      </p:sp>
    </p:spTree>
    <p:extLst>
      <p:ext uri="{BB962C8B-B14F-4D97-AF65-F5344CB8AC3E}">
        <p14:creationId xmlns:p14="http://schemas.microsoft.com/office/powerpoint/2010/main" val="26007308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ECE861-3AA4-42FD-EF47-4483AF520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eSpy Differential Pressure Encase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6385D3-264C-F442-A764-30A5F5DAF9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55748" y="1061643"/>
            <a:ext cx="5917607" cy="206094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its with up to 5 IceSpy Transmitters and off-the shelf DP sensors with ±62 pascal r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ngle power supply for each encasement via 115v AC power plug or can be hard w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stomer required to run pneumatic tubing &amp; power to installation lo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10" name="Picture 9" descr="A machine with blue wires&#10;&#10;Description automatically generated">
            <a:extLst>
              <a:ext uri="{FF2B5EF4-FFF2-40B4-BE49-F238E27FC236}">
                <a16:creationId xmlns:a16="http://schemas.microsoft.com/office/drawing/2014/main" id="{45B3590F-F286-7315-7D0B-530A8C9D57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645" y="1125257"/>
            <a:ext cx="3085103" cy="399464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24B5C83-4E3E-AECD-50E0-FFD3273E83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8470" y="3122582"/>
            <a:ext cx="4149689" cy="221826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DF91B66-1BD7-C68F-80F0-88E4E47EDB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89616" y="2740681"/>
            <a:ext cx="2380433" cy="1737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6124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67C064-E9A9-9849-9947-5951716BA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eSpy Carbon Dioxide (CO</a:t>
            </a:r>
            <a:r>
              <a:rPr lang="en-US" baseline="-25000" dirty="0"/>
              <a:t>2</a:t>
            </a:r>
            <a:r>
              <a:rPr lang="en-US" dirty="0"/>
              <a:t>) K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ECC7E-89B7-386A-910A-E63146F11B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9341" y="2857499"/>
            <a:ext cx="3024914" cy="1676446"/>
          </a:xfrm>
        </p:spPr>
        <p:txBody>
          <a:bodyPr/>
          <a:lstStyle/>
          <a:p>
            <a:r>
              <a:rPr lang="en-US" sz="1600" dirty="0"/>
              <a:t>Vaisala GMP 241 CO</a:t>
            </a:r>
            <a:r>
              <a:rPr lang="en-US" sz="1600" baseline="-25000" dirty="0"/>
              <a:t>2</a:t>
            </a:r>
            <a:r>
              <a:rPr lang="en-US" sz="1600" dirty="0"/>
              <a:t> Sensor</a:t>
            </a:r>
          </a:p>
          <a:p>
            <a:r>
              <a:rPr lang="en-US" sz="1600" dirty="0"/>
              <a:t>Ranges Availab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0-5%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0-10%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0-20%</a:t>
            </a:r>
          </a:p>
          <a:p>
            <a:endParaRPr lang="en-US" sz="1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2332ED-4B32-80CB-A539-FB1C2C69B7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70584" y="1108129"/>
            <a:ext cx="4373415" cy="423048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ff the shelf CO</a:t>
            </a:r>
            <a:r>
              <a:rPr lang="en-US" baseline="-25000" dirty="0"/>
              <a:t>2</a:t>
            </a:r>
            <a:r>
              <a:rPr lang="en-US" dirty="0"/>
              <a:t> sensor with 0-5VDC output</a:t>
            </a:r>
          </a:p>
          <a:p>
            <a:pPr marL="415797" lvl="1" indent="-285750"/>
            <a:r>
              <a:rPr lang="en-US" sz="1600" dirty="0"/>
              <a:t>CO</a:t>
            </a:r>
            <a:r>
              <a:rPr lang="en-US" sz="1600" baseline="-25000" dirty="0"/>
              <a:t>2</a:t>
            </a:r>
            <a:r>
              <a:rPr lang="en-US" sz="1600" dirty="0"/>
              <a:t> sensor comes with manufacturer’s calibration certificat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use with IceSpy 0-5V transmit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nection cable includes integrated power supply with AC/DC power plug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FD3A356-1BF6-F8D4-8D1B-D108488DE3C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1316" b="32033"/>
          <a:stretch/>
        </p:blipFill>
        <p:spPr>
          <a:xfrm>
            <a:off x="189341" y="1108129"/>
            <a:ext cx="4574045" cy="1676446"/>
          </a:xfrm>
          <a:prstGeom prst="rect">
            <a:avLst/>
          </a:prstGeom>
        </p:spPr>
      </p:pic>
      <p:pic>
        <p:nvPicPr>
          <p:cNvPr id="7" name="Picture 6" descr="Inside a metal oven with holes&#10;&#10;Description automatically generated">
            <a:extLst>
              <a:ext uri="{FF2B5EF4-FFF2-40B4-BE49-F238E27FC236}">
                <a16:creationId xmlns:a16="http://schemas.microsoft.com/office/drawing/2014/main" id="{CABABDBA-0507-82B0-4129-B15D7E9A04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3795" y="3108494"/>
            <a:ext cx="2905763" cy="2179322"/>
          </a:xfrm>
          <a:prstGeom prst="rect">
            <a:avLst/>
          </a:prstGeom>
        </p:spPr>
      </p:pic>
      <p:pic>
        <p:nvPicPr>
          <p:cNvPr id="9" name="Picture 8" descr="A white rectangular object with a red and yellow sticker&#10;&#10;Description automatically generated">
            <a:extLst>
              <a:ext uri="{FF2B5EF4-FFF2-40B4-BE49-F238E27FC236}">
                <a16:creationId xmlns:a16="http://schemas.microsoft.com/office/drawing/2014/main" id="{845F0ACA-86A2-85BB-3627-AB2BD2CAE7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2554768" y="3159465"/>
            <a:ext cx="2835080" cy="1596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7081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6AEAF4-1CA7-30B7-F059-DCC32DCE62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eSpy Airflow K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B82D30-99BC-57D6-7DC3-4BFC8B8C24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3079361"/>
            <a:ext cx="2463064" cy="1577306"/>
          </a:xfrm>
        </p:spPr>
        <p:txBody>
          <a:bodyPr/>
          <a:lstStyle/>
          <a:p>
            <a:r>
              <a:rPr lang="en-US" sz="1600" dirty="0"/>
              <a:t>Airflow Sensor Op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0-5 m/sec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0-10 m/sec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0-20 m/se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B35CB9-4E6B-5162-CFF8-B08B21A5CB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68436" y="1108364"/>
            <a:ext cx="5375564" cy="422864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ff the shelf hot wire airflow sensor with 0-1VDC Out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use with IceSpy 0-1V transmit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wer supply integrated into connection c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monitoring fume hoods, evaporators, extraction systems, HVAC</a:t>
            </a: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AF301B2D-EE03-A4C6-863A-69289F78C3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336" y="984826"/>
            <a:ext cx="2583800" cy="258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9381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670B69-032D-7430-98A7-3F1A3530A8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eSpy Power Sensing K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C18BB7-74EB-DB51-CCBF-F83D8AB7AC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2169809" cy="1123185"/>
          </a:xfrm>
        </p:spPr>
        <p:txBody>
          <a:bodyPr/>
          <a:lstStyle/>
          <a:p>
            <a:r>
              <a:rPr lang="en-US" dirty="0"/>
              <a:t>Current Sensor Options</a:t>
            </a:r>
          </a:p>
          <a:p>
            <a:r>
              <a:rPr lang="en-US" dirty="0"/>
              <a:t>0-5A</a:t>
            </a:r>
          </a:p>
          <a:p>
            <a:r>
              <a:rPr lang="en-US" dirty="0"/>
              <a:t>0-50A</a:t>
            </a:r>
          </a:p>
          <a:p>
            <a:r>
              <a:rPr lang="en-US" dirty="0"/>
              <a:t>0-100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78C263-6941-7E7D-69C2-D54CAB1352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62401" y="1016000"/>
            <a:ext cx="5181600" cy="43210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ff the shelf sensor with a 0-5VDC Output</a:t>
            </a:r>
          </a:p>
          <a:p>
            <a:pPr marL="415797" lvl="1" indent="-285750"/>
            <a:r>
              <a:rPr lang="en-US" sz="1600" dirty="0"/>
              <a:t>External power supply not required as sensor self generates the 0-5VDC out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use with IceSpy 0-5V transmit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138F3E-BF3D-FC1B-8C08-B7D808E8D15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10336" y="2225964"/>
            <a:ext cx="2879834" cy="2879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0863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3C08CDD-3CA9-4CDB-8C09-2FB58A419E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614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3C08CDD-3CA9-4CDB-8C09-2FB58A419E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BEAE20-5B3F-EA48-9BA0-64CA02E42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Option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D0D87D2F-8948-724F-A2EC-EB7B168141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14C7C6D-7486-0547-B831-A20945E34F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A5D1DD7-53AB-AC4D-9DD9-7CAA359795C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EB0AB26C-A40A-48BE-882D-E441BCCE2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58629" y="287179"/>
          <a:ext cx="1430" cy="14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EB0AB26C-A40A-48BE-882D-E441BCCE2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58629" y="287179"/>
                        <a:ext cx="1430" cy="14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2075BC37-52F9-41F8-92AD-3585D1D40E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57200" y="285750"/>
            <a:ext cx="14287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b="1">
              <a:latin typeface="AvenirNext LT Pro Medium" panose="020B0504020202020204" pitchFamily="34" charset="0"/>
              <a:ea typeface="+mj-ea"/>
              <a:cs typeface="+mj-cs"/>
              <a:sym typeface="Avenir Next LT Pro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7F32A5-6751-E04D-B8E8-4B998AFDA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sz="1800"/>
              <a:t>Leading Supplier of  Validation &amp; Monitoring Solutions</a:t>
            </a:r>
            <a:endParaRPr lang="en-US" sz="1800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0E08673-03AD-4969-872E-BCCEFBE53341}"/>
              </a:ext>
            </a:extLst>
          </p:cNvPr>
          <p:cNvGrpSpPr/>
          <p:nvPr/>
        </p:nvGrpSpPr>
        <p:grpSpPr>
          <a:xfrm>
            <a:off x="-1" y="1025236"/>
            <a:ext cx="9079345" cy="4186842"/>
            <a:chOff x="510620" y="1316836"/>
            <a:chExt cx="8395666" cy="4481942"/>
          </a:xfrm>
          <a:effectLst/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FDA0D26-6D60-473F-B1BE-201B053DE70B}"/>
                </a:ext>
              </a:extLst>
            </p:cNvPr>
            <p:cNvSpPr/>
            <p:nvPr/>
          </p:nvSpPr>
          <p:spPr>
            <a:xfrm>
              <a:off x="510620" y="1648378"/>
              <a:ext cx="252000" cy="1808642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vert270" lIns="29908" rIns="29908" rtlCol="0" anchor="ctr"/>
            <a:lstStyle/>
            <a:p>
              <a:pPr algn="ctr" defTabSz="7250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>
                  <a:solidFill>
                    <a:prstClr val="white"/>
                  </a:solidFill>
                  <a:latin typeface="AvenirNext LT Pro Medium" panose="020B0504020202020204" pitchFamily="34" charset="77"/>
                </a:rPr>
                <a:t>Solution snapshot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BE457BF-95B8-4C46-A764-DF354590246E}"/>
                </a:ext>
              </a:extLst>
            </p:cNvPr>
            <p:cNvSpPr/>
            <p:nvPr/>
          </p:nvSpPr>
          <p:spPr>
            <a:xfrm>
              <a:off x="510620" y="3603446"/>
              <a:ext cx="252000" cy="1696882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vert270" lIns="29908" rIns="29908" rtlCol="0" anchor="ctr"/>
            <a:lstStyle/>
            <a:p>
              <a:pPr algn="ctr" defTabSz="7250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>
                  <a:solidFill>
                    <a:prstClr val="white"/>
                  </a:solidFill>
                  <a:latin typeface="AvenirNext LT Pro Medium" panose="020B0504020202020204" pitchFamily="34" charset="77"/>
                </a:rPr>
                <a:t>Solution description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4116592-632F-4C8B-B1D7-2872AFAD7935}"/>
                </a:ext>
              </a:extLst>
            </p:cNvPr>
            <p:cNvSpPr/>
            <p:nvPr/>
          </p:nvSpPr>
          <p:spPr>
            <a:xfrm>
              <a:off x="830867" y="1316837"/>
              <a:ext cx="4824784" cy="252000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lIns="29908" rIns="29908" rtlCol="0" anchor="ctr"/>
            <a:lstStyle/>
            <a:p>
              <a:pPr algn="ctr" defTabSz="7250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>
                  <a:solidFill>
                    <a:prstClr val="white"/>
                  </a:solidFill>
                  <a:latin typeface="AvenirNext LT Pro Medium" panose="020B0504020202020204" pitchFamily="34" charset="77"/>
                </a:rPr>
                <a:t>Equipment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7E3B8C5-4CF4-49A9-8D19-67259AB3B34B}"/>
                </a:ext>
              </a:extLst>
            </p:cNvPr>
            <p:cNvSpPr/>
            <p:nvPr/>
          </p:nvSpPr>
          <p:spPr>
            <a:xfrm>
              <a:off x="5706815" y="1316836"/>
              <a:ext cx="3198175" cy="250151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lIns="29908" rIns="29908" rtlCol="0" anchor="ctr"/>
            <a:lstStyle/>
            <a:p>
              <a:pPr algn="ctr" defTabSz="7250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>
                  <a:solidFill>
                    <a:prstClr val="white"/>
                  </a:solidFill>
                  <a:latin typeface="AvenirNext LT Pro Medium" panose="020B0504020202020204" pitchFamily="34" charset="77"/>
                </a:rPr>
                <a:t>Field Services &amp; Consulting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FBA49C2-1C3C-4262-9175-3E374BAA1A9A}"/>
                </a:ext>
              </a:extLst>
            </p:cNvPr>
            <p:cNvSpPr/>
            <p:nvPr/>
          </p:nvSpPr>
          <p:spPr>
            <a:xfrm>
              <a:off x="830867" y="1648378"/>
              <a:ext cx="1574153" cy="32021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lIns="0" tIns="0" rIns="0" bIns="0" rtlCol="0" anchor="ctr"/>
            <a:lstStyle/>
            <a:p>
              <a:pPr algn="ctr" defTabSz="7250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10" kern="0" dirty="0">
                  <a:solidFill>
                    <a:schemeClr val="tx2"/>
                  </a:solidFill>
                  <a:latin typeface="AvenirNext LT Pro Regular" panose="020B0504020202020204" pitchFamily="34" charset="77"/>
                </a:rPr>
                <a:t>Data logger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8B08E89-1B79-4B18-9612-7A9D831CCC70}"/>
                </a:ext>
              </a:extLst>
            </p:cNvPr>
            <p:cNvSpPr/>
            <p:nvPr/>
          </p:nvSpPr>
          <p:spPr>
            <a:xfrm>
              <a:off x="2456183" y="1648378"/>
              <a:ext cx="1574153" cy="32021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lIns="0" tIns="0" rIns="0" bIns="0" rtlCol="0" anchor="ctr"/>
            <a:lstStyle/>
            <a:p>
              <a:pPr algn="ctr" defTabSz="7250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10" kern="0" dirty="0">
                  <a:solidFill>
                    <a:schemeClr val="tx2"/>
                  </a:solidFill>
                  <a:latin typeface="AvenirNext LT Pro Regular" panose="020B0504020202020204" pitchFamily="34" charset="77"/>
                </a:rPr>
                <a:t>Thermocouple system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C9F0815-E93F-439F-A53B-444601CB282B}"/>
                </a:ext>
              </a:extLst>
            </p:cNvPr>
            <p:cNvSpPr/>
            <p:nvPr/>
          </p:nvSpPr>
          <p:spPr>
            <a:xfrm>
              <a:off x="830867" y="2049986"/>
              <a:ext cx="1574153" cy="1407036"/>
            </a:xfrm>
            <a:prstGeom prst="rect">
              <a:avLst/>
            </a:prstGeom>
            <a:noFill/>
            <a:ln>
              <a:solidFill>
                <a:srgbClr val="D2E7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96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20">
                <a:solidFill>
                  <a:prstClr val="white"/>
                </a:solidFill>
                <a:latin typeface="AvenirNext LT Pro Regular" panose="020B0504020202020204" pitchFamily="34" charset="77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AF1BBEB-D6B8-42BE-A29B-41889B8C6EF6}"/>
                </a:ext>
              </a:extLst>
            </p:cNvPr>
            <p:cNvSpPr/>
            <p:nvPr/>
          </p:nvSpPr>
          <p:spPr>
            <a:xfrm>
              <a:off x="830866" y="3603446"/>
              <a:ext cx="3199466" cy="169688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2E7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64307" indent="-164307" defTabSz="822960" eaLnBrk="1" fontAlgn="auto" hangingPunct="1">
                <a:spcBef>
                  <a:spcPts val="270"/>
                </a:spcBef>
                <a:spcAft>
                  <a:spcPts val="0"/>
                </a:spcAft>
                <a:buClr>
                  <a:srgbClr val="368AC9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Industry leading accuracy measurements of temperature, pressure, humidity, conductivity, CO</a:t>
              </a:r>
              <a:r>
                <a:rPr lang="en-US" sz="825" baseline="-25000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2</a:t>
              </a:r>
              <a:r>
                <a:rPr lang="en-US" sz="825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 and vacuum</a:t>
              </a:r>
            </a:p>
            <a:p>
              <a:pPr marL="164307" indent="-164307" defTabSz="822960" eaLnBrk="1" fontAlgn="auto" hangingPunct="1">
                <a:spcBef>
                  <a:spcPts val="270"/>
                </a:spcBef>
                <a:spcAft>
                  <a:spcPts val="0"/>
                </a:spcAft>
                <a:buClr>
                  <a:srgbClr val="368AC9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Wide range of applications within Life Science and Food Manufacturing</a:t>
              </a:r>
            </a:p>
            <a:p>
              <a:pPr marL="164307" indent="-164307" defTabSz="822960" eaLnBrk="1" fontAlgn="auto" hangingPunct="1">
                <a:spcBef>
                  <a:spcPts val="270"/>
                </a:spcBef>
                <a:spcAft>
                  <a:spcPts val="0"/>
                </a:spcAft>
                <a:buClr>
                  <a:srgbClr val="368AC9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Used to qualify or re-qualify laboratory or manufacturing equipment, as well as validation of product quality</a:t>
              </a:r>
            </a:p>
            <a:p>
              <a:pPr marL="164307" indent="-164307" defTabSz="822960" eaLnBrk="1" fontAlgn="auto" hangingPunct="1">
                <a:spcBef>
                  <a:spcPts val="270"/>
                </a:spcBef>
                <a:spcAft>
                  <a:spcPts val="0"/>
                </a:spcAft>
                <a:buClr>
                  <a:srgbClr val="368AC9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Rental of validation equipment is also available 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11838E28-079B-4AB1-A1FB-50FC0A27BF9B}"/>
                </a:ext>
              </a:extLst>
            </p:cNvPr>
            <p:cNvSpPr/>
            <p:nvPr/>
          </p:nvSpPr>
          <p:spPr>
            <a:xfrm>
              <a:off x="2456183" y="2049986"/>
              <a:ext cx="1574153" cy="1407036"/>
            </a:xfrm>
            <a:prstGeom prst="rect">
              <a:avLst/>
            </a:prstGeom>
            <a:noFill/>
            <a:ln>
              <a:solidFill>
                <a:srgbClr val="D2E7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96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20">
                <a:solidFill>
                  <a:prstClr val="white"/>
                </a:solidFill>
                <a:latin typeface="AvenirNext LT Pro Regular" panose="020B0504020202020204" pitchFamily="34" charset="77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6AFDD74-F83C-4E12-8FB1-04084265FC02}"/>
                </a:ext>
              </a:extLst>
            </p:cNvPr>
            <p:cNvSpPr/>
            <p:nvPr/>
          </p:nvSpPr>
          <p:spPr>
            <a:xfrm>
              <a:off x="5706815" y="2049986"/>
              <a:ext cx="1574153" cy="1407036"/>
            </a:xfrm>
            <a:prstGeom prst="rect">
              <a:avLst/>
            </a:prstGeom>
            <a:blipFill>
              <a:blip r:embed="rId6"/>
              <a:stretch>
                <a:fillRect l="-57487" t="-21424" r="-25469" b="-39660"/>
              </a:stretch>
            </a:blipFill>
            <a:ln>
              <a:solidFill>
                <a:srgbClr val="D2E7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96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20">
                <a:solidFill>
                  <a:prstClr val="white"/>
                </a:solidFill>
                <a:latin typeface="AvenirNext LT Pro Regular" panose="020B0504020202020204" pitchFamily="34" charset="77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2D8C3D-3DCC-4E14-B5CA-E35BCA0F10CC}"/>
                </a:ext>
              </a:extLst>
            </p:cNvPr>
            <p:cNvSpPr/>
            <p:nvPr/>
          </p:nvSpPr>
          <p:spPr>
            <a:xfrm>
              <a:off x="5706816" y="3603444"/>
              <a:ext cx="1574151" cy="169688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2E7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64307" indent="-164307" defTabSz="822960" eaLnBrk="1" fontAlgn="auto" hangingPunct="1">
                <a:spcBef>
                  <a:spcPts val="270"/>
                </a:spcBef>
                <a:spcAft>
                  <a:spcPts val="0"/>
                </a:spcAft>
                <a:buClr>
                  <a:srgbClr val="368AC9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Skilled validation engineers conducting thermal validation at customer’s facilities</a:t>
              </a:r>
            </a:p>
            <a:p>
              <a:pPr marL="164307" indent="-164307" defTabSz="822960" eaLnBrk="1" fontAlgn="auto" hangingPunct="1">
                <a:spcBef>
                  <a:spcPts val="270"/>
                </a:spcBef>
                <a:spcAft>
                  <a:spcPts val="0"/>
                </a:spcAft>
                <a:buClr>
                  <a:srgbClr val="368AC9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Long-term staffing assignments</a:t>
              </a:r>
            </a:p>
            <a:p>
              <a:pPr marL="164307" indent="-164307" defTabSz="822960" eaLnBrk="1" fontAlgn="auto" hangingPunct="1">
                <a:spcBef>
                  <a:spcPts val="270"/>
                </a:spcBef>
                <a:spcAft>
                  <a:spcPts val="0"/>
                </a:spcAft>
                <a:buClr>
                  <a:srgbClr val="368AC9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Field calibration of sensors in various equipment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0FE4F03-2A22-41A0-B486-83F260295DDC}"/>
                </a:ext>
              </a:extLst>
            </p:cNvPr>
            <p:cNvSpPr/>
            <p:nvPr/>
          </p:nvSpPr>
          <p:spPr>
            <a:xfrm>
              <a:off x="4081499" y="2049986"/>
              <a:ext cx="1574153" cy="1407036"/>
            </a:xfrm>
            <a:prstGeom prst="rect">
              <a:avLst/>
            </a:prstGeom>
            <a:noFill/>
            <a:ln>
              <a:solidFill>
                <a:srgbClr val="D2E7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96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20">
                <a:solidFill>
                  <a:prstClr val="white"/>
                </a:solidFill>
                <a:latin typeface="AvenirNext LT Pro Regular" panose="020B0504020202020204" pitchFamily="34" charset="77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2E39A967-EE9D-4E86-9401-907842BC0D92}"/>
                </a:ext>
              </a:extLst>
            </p:cNvPr>
            <p:cNvSpPr/>
            <p:nvPr/>
          </p:nvSpPr>
          <p:spPr>
            <a:xfrm>
              <a:off x="4081498" y="3603447"/>
              <a:ext cx="1574153" cy="1696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2E7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64307" indent="-164307" defTabSz="822960" eaLnBrk="1" fontAlgn="auto" hangingPunct="1">
                <a:spcBef>
                  <a:spcPts val="270"/>
                </a:spcBef>
                <a:spcAft>
                  <a:spcPts val="0"/>
                </a:spcAft>
                <a:buClr>
                  <a:srgbClr val="368AC9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Constantly monitors a critical process or environment wirelessly</a:t>
              </a:r>
            </a:p>
            <a:p>
              <a:pPr marL="164307" indent="-164307" defTabSz="822960" eaLnBrk="1" fontAlgn="auto" hangingPunct="1">
                <a:spcBef>
                  <a:spcPts val="270"/>
                </a:spcBef>
                <a:spcAft>
                  <a:spcPts val="0"/>
                </a:spcAft>
                <a:buClr>
                  <a:srgbClr val="368AC9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Includes extensive measurement options, such as temperature, humidity, diff. pressure, CO2, flood and leak</a:t>
              </a:r>
            </a:p>
            <a:p>
              <a:pPr marL="164307" indent="-164307" defTabSz="822960" eaLnBrk="1" fontAlgn="auto" hangingPunct="1">
                <a:spcBef>
                  <a:spcPts val="270"/>
                </a:spcBef>
                <a:spcAft>
                  <a:spcPts val="0"/>
                </a:spcAft>
                <a:buClr>
                  <a:srgbClr val="368AC9"/>
                </a:buClr>
                <a:buFont typeface="Arial" panose="020B0604020202020204" pitchFamily="34" charset="0"/>
                <a:buChar char="•"/>
                <a:defRPr/>
              </a:pPr>
              <a:endParaRPr lang="en-US" sz="825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98A3FA9-244A-458D-BA6A-B8025F2F78CC}"/>
                </a:ext>
              </a:extLst>
            </p:cNvPr>
            <p:cNvSpPr/>
            <p:nvPr/>
          </p:nvSpPr>
          <p:spPr>
            <a:xfrm>
              <a:off x="4081499" y="1648378"/>
              <a:ext cx="1574153" cy="32021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lIns="29908" rIns="29908" rtlCol="0" anchor="ctr"/>
            <a:lstStyle/>
            <a:p>
              <a:pPr algn="ctr" defTabSz="7250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10" kern="0" dirty="0">
                  <a:solidFill>
                    <a:schemeClr val="tx2"/>
                  </a:solidFill>
                  <a:latin typeface="AvenirNext LT Pro Regular" panose="020B0504020202020204" pitchFamily="34" charset="77"/>
                </a:rPr>
                <a:t>Monitoring</a:t>
              </a:r>
              <a:endParaRPr lang="en-US" sz="810" kern="0" baseline="30000" dirty="0">
                <a:solidFill>
                  <a:schemeClr val="tx2"/>
                </a:solidFill>
                <a:latin typeface="AvenirNext LT Pro Regular" panose="020B0504020202020204" pitchFamily="34" charset="77"/>
              </a:endParaRP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9C89815E-1A1A-4FD6-82B6-59B66113A3F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05395" y="2041724"/>
              <a:ext cx="1319839" cy="1385594"/>
            </a:xfrm>
            <a:prstGeom prst="rect">
              <a:avLst/>
            </a:prstGeom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3F6220CB-F8D6-4417-B9DA-ADD048CCA3A0}"/>
                </a:ext>
              </a:extLst>
            </p:cNvPr>
            <p:cNvSpPr/>
            <p:nvPr/>
          </p:nvSpPr>
          <p:spPr>
            <a:xfrm>
              <a:off x="7332132" y="1648378"/>
              <a:ext cx="1574153" cy="32021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lIns="29908" rIns="29908" rtlCol="0" anchor="ctr"/>
            <a:lstStyle/>
            <a:p>
              <a:pPr algn="ctr" defTabSz="7250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10" kern="0" dirty="0">
                  <a:solidFill>
                    <a:schemeClr val="tx2"/>
                  </a:solidFill>
                  <a:latin typeface="AvenirNext LT Pro Regular" panose="020B0504020202020204" pitchFamily="34" charset="77"/>
                </a:rPr>
                <a:t>Consulting 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D2CC0A2-3A61-40BF-8736-BB719D6AA148}"/>
                </a:ext>
              </a:extLst>
            </p:cNvPr>
            <p:cNvSpPr/>
            <p:nvPr/>
          </p:nvSpPr>
          <p:spPr>
            <a:xfrm>
              <a:off x="7332132" y="2049986"/>
              <a:ext cx="1574153" cy="1407036"/>
            </a:xfrm>
            <a:prstGeom prst="rect">
              <a:avLst/>
            </a:prstGeom>
            <a:blipFill>
              <a:blip r:embed="rId8"/>
              <a:stretch>
                <a:fillRect l="-62060" t="-44221" r="-20896" b="-13825"/>
              </a:stretch>
            </a:blipFill>
            <a:ln>
              <a:solidFill>
                <a:srgbClr val="D2E7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96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20">
                <a:solidFill>
                  <a:prstClr val="white"/>
                </a:solidFill>
                <a:latin typeface="AvenirNext LT Pro Regular" panose="020B0504020202020204" pitchFamily="34" charset="77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AA0F77F-F7FE-476A-B629-1533976F46E8}"/>
                </a:ext>
              </a:extLst>
            </p:cNvPr>
            <p:cNvSpPr/>
            <p:nvPr/>
          </p:nvSpPr>
          <p:spPr>
            <a:xfrm>
              <a:off x="7332135" y="3603444"/>
              <a:ext cx="1574151" cy="169688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2E7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64307" indent="-164307" defTabSz="822960" eaLnBrk="1" fontAlgn="auto" hangingPunct="1">
                <a:spcBef>
                  <a:spcPts val="270"/>
                </a:spcBef>
                <a:spcAft>
                  <a:spcPts val="0"/>
                </a:spcAft>
                <a:buClr>
                  <a:srgbClr val="368AC9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Compliance Consulting (GMP, FDA, IFS etc.) </a:t>
              </a:r>
            </a:p>
            <a:p>
              <a:pPr marL="164307" indent="-164307" defTabSz="822960" eaLnBrk="1" fontAlgn="auto" hangingPunct="1">
                <a:spcBef>
                  <a:spcPts val="270"/>
                </a:spcBef>
                <a:spcAft>
                  <a:spcPts val="0"/>
                </a:spcAft>
                <a:buClr>
                  <a:srgbClr val="368AC9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Pharma Process/ Equipment Engineering</a:t>
              </a:r>
            </a:p>
            <a:p>
              <a:pPr marL="164307" indent="-164307" defTabSz="822960" eaLnBrk="1" fontAlgn="auto" hangingPunct="1">
                <a:spcBef>
                  <a:spcPts val="270"/>
                </a:spcBef>
                <a:spcAft>
                  <a:spcPts val="0"/>
                </a:spcAft>
                <a:buClr>
                  <a:srgbClr val="368AC9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chemeClr val="bg2">
                      <a:lumMod val="10000"/>
                    </a:schemeClr>
                  </a:solidFill>
                  <a:latin typeface="AvenirNext LT Pro Regular" panose="020B0504020202020204" pitchFamily="34" charset="77"/>
                </a:rPr>
                <a:t>Various other consulting or project management within the V-model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1AEAD8B-A678-4B4B-8C08-6E963378F0B1}"/>
                </a:ext>
              </a:extLst>
            </p:cNvPr>
            <p:cNvSpPr/>
            <p:nvPr/>
          </p:nvSpPr>
          <p:spPr>
            <a:xfrm>
              <a:off x="5706815" y="1648378"/>
              <a:ext cx="1574153" cy="32021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lIns="29908" rIns="29908" rtlCol="0" anchor="ctr"/>
            <a:lstStyle/>
            <a:p>
              <a:pPr algn="ctr" defTabSz="7250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10" kern="0" dirty="0">
                  <a:solidFill>
                    <a:schemeClr val="tx2"/>
                  </a:solidFill>
                  <a:latin typeface="AvenirNext LT Pro Regular" panose="020B0504020202020204" pitchFamily="34" charset="77"/>
                </a:rPr>
                <a:t>Validation &amp; Calibration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A03E2C1-15B2-487E-A33E-E34D48CC1E70}"/>
                </a:ext>
              </a:extLst>
            </p:cNvPr>
            <p:cNvSpPr/>
            <p:nvPr/>
          </p:nvSpPr>
          <p:spPr>
            <a:xfrm>
              <a:off x="830866" y="5389389"/>
              <a:ext cx="8075419" cy="409389"/>
            </a:xfrm>
            <a:prstGeom prst="rect">
              <a:avLst/>
            </a:prstGeom>
            <a:solidFill>
              <a:schemeClr val="accent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lIns="29908" rIns="29908" rtlCol="0" anchor="ctr"/>
            <a:lstStyle/>
            <a:p>
              <a:pPr algn="ctr" defTabSz="7250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>
                  <a:solidFill>
                    <a:schemeClr val="bg1"/>
                  </a:solidFill>
                  <a:latin typeface="AvenirNext LT Pro Medium" panose="020B0504020202020204" pitchFamily="34" charset="77"/>
                </a:rPr>
                <a:t>In addition, Ellab has its proprietary software systems for all equipment as well as Field services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A37DF7E0-F668-8446-B7E5-B5FAB7ED282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4373"/>
          <a:stretch/>
        </p:blipFill>
        <p:spPr>
          <a:xfrm>
            <a:off x="2231991" y="2042248"/>
            <a:ext cx="1332168" cy="913370"/>
          </a:xfrm>
          <a:prstGeom prst="rect">
            <a:avLst/>
          </a:prstGeom>
        </p:spPr>
      </p:pic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A7349F76-C856-022E-D405-461ECAA6DECD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alphaModFix/>
          </a:blip>
          <a:srcRect l="3947" t="14227" r="5828" b="8224"/>
          <a:stretch/>
        </p:blipFill>
        <p:spPr>
          <a:xfrm>
            <a:off x="3934331" y="1872519"/>
            <a:ext cx="1433804" cy="915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6600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626984B-171D-56E8-BE46-F522BFD13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arm Notification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26746B-F49A-EA30-F2F9-FBDDAB2788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6957112" cy="411479"/>
          </a:xfrm>
        </p:spPr>
        <p:txBody>
          <a:bodyPr/>
          <a:lstStyle/>
          <a:p>
            <a:pPr marL="0" indent="0"/>
            <a:r>
              <a:rPr lang="en-US" dirty="0"/>
              <a:t>Reliable alarm notifications is a vital part of any continuous monitoring system. We have a variety of available options. </a:t>
            </a:r>
          </a:p>
        </p:txBody>
      </p:sp>
      <p:pic>
        <p:nvPicPr>
          <p:cNvPr id="11" name="Picture 18" descr="A close up of a logo&#10;&#10;Description generated with high confidence">
            <a:extLst>
              <a:ext uri="{FF2B5EF4-FFF2-40B4-BE49-F238E27FC236}">
                <a16:creationId xmlns:a16="http://schemas.microsoft.com/office/drawing/2014/main" id="{1951653A-7883-DD5E-491B-F3E02A0479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740" y="1422400"/>
            <a:ext cx="1738136" cy="173813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7C2421D-B52F-883A-9F67-E9D59ECCD8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55251" y="2734852"/>
            <a:ext cx="1509176" cy="804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4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2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2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xt</a:t>
            </a:r>
            <a:r>
              <a:rPr lang="en-US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erts</a:t>
            </a:r>
          </a:p>
        </p:txBody>
      </p:sp>
      <p:pic>
        <p:nvPicPr>
          <p:cNvPr id="13" name="Picture 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BC67D38E-DB53-8010-D9F6-B44E1DE861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2110" y="3345132"/>
            <a:ext cx="1909314" cy="1894936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183C21E-F70B-57E6-283E-70A8AB8609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5468" y="1601680"/>
            <a:ext cx="1721232" cy="847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4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2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2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ail</a:t>
            </a:r>
            <a:r>
              <a:rPr lang="en-US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erts</a:t>
            </a:r>
          </a:p>
        </p:txBody>
      </p:sp>
      <p:pic>
        <p:nvPicPr>
          <p:cNvPr id="15" name="Picture 8" descr="A picture containing object, clock&#10;&#10;Description generated with very high confidence">
            <a:extLst>
              <a:ext uri="{FF2B5EF4-FFF2-40B4-BE49-F238E27FC236}">
                <a16:creationId xmlns:a16="http://schemas.microsoft.com/office/drawing/2014/main" id="{4B0F8F4C-B590-0533-03E4-4ED07A3B0B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3387" y="1826389"/>
            <a:ext cx="2628182" cy="2628182"/>
          </a:xfrm>
          <a:prstGeom prst="rect">
            <a:avLst/>
          </a:prstGeom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7AF27EF-73A3-45B4-42B6-22281A1CB6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3488" y="2640291"/>
            <a:ext cx="1677887" cy="1103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4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2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2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bile App</a:t>
            </a:r>
          </a:p>
        </p:txBody>
      </p:sp>
      <p:pic>
        <p:nvPicPr>
          <p:cNvPr id="17" name="Picture 16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A20CB999-E283-9950-8E26-6460099495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6527" y="3345132"/>
            <a:ext cx="2081841" cy="2081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5698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ECF820E-CDBA-5561-B919-AA1CA7BA0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S Alarm Module – 4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63A87F-F75E-406E-4413-A1CB4AF137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994138"/>
            <a:ext cx="5571067" cy="2885211"/>
          </a:xfrm>
        </p:spPr>
        <p:txBody>
          <a:bodyPr/>
          <a:lstStyle/>
          <a:p>
            <a:pPr marL="0" indent="0"/>
            <a:r>
              <a:rPr lang="en-US" dirty="0"/>
              <a:t>Independent Module for generating text message alarms</a:t>
            </a:r>
          </a:p>
          <a:p>
            <a:pPr marL="0" indent="0"/>
            <a:r>
              <a:rPr lang="en-US" dirty="0"/>
              <a:t>SIM Card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ull size 4G SIM c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hone number with text message cap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 compatible with SIM PI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C20CBE3-1EDA-7207-42CA-6895E64253F5}"/>
              </a:ext>
            </a:extLst>
          </p:cNvPr>
          <p:cNvSpPr txBox="1">
            <a:spLocks/>
          </p:cNvSpPr>
          <p:nvPr/>
        </p:nvSpPr>
        <p:spPr>
          <a:xfrm>
            <a:off x="6804197" y="4914965"/>
            <a:ext cx="2339803" cy="403011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1167" b="1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dirty="0"/>
              <a:t>Requires Ethernet connection and 115V AC power outlet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7A934C1-F371-27CB-1615-581D7724C7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3411087"/>
            <a:ext cx="2937013" cy="1823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876D5F1D-F6CC-5A1A-9420-5B58D96ACB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7013" y="2561920"/>
            <a:ext cx="2499374" cy="2794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FFA01B5-2941-6DD1-296E-A3C062E73F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3889" y="1206350"/>
            <a:ext cx="3491269" cy="3001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9575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A47455-F79A-C8DA-9157-97CDB2E0A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B Modu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A2314B9-3626-4F96-F124-91469E4883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RB (Alarm, RFID, Bluetooth) Modu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214CCA2-6149-1041-4DD8-6D9B8C7848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" y="1474354"/>
            <a:ext cx="4894597" cy="357536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isual and audible alar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FID for data backfill for IceSpy transmit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luetooth interface for handheld thermome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udible alarm trigged through Sensor Groups with a max of 50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ultiple modules can be installed throughout a fac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n be set up with additional external beac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9B7788-3795-A611-34DF-7C1A27924A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4597" y="1602896"/>
            <a:ext cx="4020111" cy="3143689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A8133D-EEBE-2EF2-4FCF-ECDDAEACDD86}"/>
              </a:ext>
            </a:extLst>
          </p:cNvPr>
          <p:cNvSpPr txBox="1">
            <a:spLocks/>
          </p:cNvSpPr>
          <p:nvPr/>
        </p:nvSpPr>
        <p:spPr>
          <a:xfrm>
            <a:off x="504118" y="5049717"/>
            <a:ext cx="6957112" cy="23662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1167" b="1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equires Ethernet connection and 115V AC power outlet. </a:t>
            </a:r>
          </a:p>
        </p:txBody>
      </p:sp>
    </p:spTree>
    <p:extLst>
      <p:ext uri="{BB962C8B-B14F-4D97-AF65-F5344CB8AC3E}">
        <p14:creationId xmlns:p14="http://schemas.microsoft.com/office/powerpoint/2010/main" val="361004525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8C7E551-D11C-16D1-D944-A1BCCD30F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S Mobile APP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C6CF4B-9D9C-36CE-155C-A3D1E6BB40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1663" y="5086998"/>
            <a:ext cx="4141312" cy="233859"/>
          </a:xfrm>
        </p:spPr>
        <p:txBody>
          <a:bodyPr/>
          <a:lstStyle/>
          <a:p>
            <a:r>
              <a:rPr lang="en-US" dirty="0"/>
              <a:t>Annual service fee required – Based on total system siz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78257C6-6279-DF35-E75D-25B46BA057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362" y="1411544"/>
            <a:ext cx="3816530" cy="351288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tant view of overall system stat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p-up notifications of new alar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e details of individual alarm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0D5B51-67C4-6F92-85E5-DBFF9DB8CA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1825" y="1310833"/>
            <a:ext cx="2976232" cy="4101914"/>
          </a:xfrm>
          <a:prstGeom prst="rect">
            <a:avLst/>
          </a:prstGeom>
        </p:spPr>
      </p:pic>
      <p:pic>
        <p:nvPicPr>
          <p:cNvPr id="10" name="Picture 2" descr="hanwell ems alarms app">
            <a:extLst>
              <a:ext uri="{FF2B5EF4-FFF2-40B4-BE49-F238E27FC236}">
                <a16:creationId xmlns:a16="http://schemas.microsoft.com/office/drawing/2014/main" id="{40C082F8-730A-1EFB-FA4B-85009185D9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1"/>
          <a:stretch/>
        </p:blipFill>
        <p:spPr bwMode="auto">
          <a:xfrm>
            <a:off x="5627853" y="1527786"/>
            <a:ext cx="3516147" cy="3706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356923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3F38C6E-FFC9-4038-1303-5A0A9E4B7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acons and Auto Dial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E9E06F2-ADE6-FFF0-A2EF-9B6EBA11DB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8625" y="4162426"/>
            <a:ext cx="3044716" cy="704850"/>
          </a:xfrm>
        </p:spPr>
        <p:txBody>
          <a:bodyPr/>
          <a:lstStyle/>
          <a:p>
            <a:r>
              <a:rPr lang="en-US" dirty="0"/>
              <a:t>LED Light</a:t>
            </a:r>
          </a:p>
          <a:p>
            <a:r>
              <a:rPr lang="en-US" dirty="0"/>
              <a:t>LED Light &amp; Sound</a:t>
            </a: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8419898E-5560-6069-A6E9-769469B23DC4}"/>
              </a:ext>
            </a:extLst>
          </p:cNvPr>
          <p:cNvSpPr/>
          <p:nvPr/>
        </p:nvSpPr>
        <p:spPr>
          <a:xfrm>
            <a:off x="923925" y="1270000"/>
            <a:ext cx="2858010" cy="30257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F1F5603C-8927-BD7B-1D08-05525C6036AD}"/>
              </a:ext>
            </a:extLst>
          </p:cNvPr>
          <p:cNvSpPr/>
          <p:nvPr/>
        </p:nvSpPr>
        <p:spPr>
          <a:xfrm>
            <a:off x="4686300" y="1825179"/>
            <a:ext cx="3897266" cy="233724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D4FAEB7-CBC3-7282-9426-FBE1FEEA9BF3}"/>
              </a:ext>
            </a:extLst>
          </p:cNvPr>
          <p:cNvSpPr txBox="1">
            <a:spLocks/>
          </p:cNvSpPr>
          <p:nvPr/>
        </p:nvSpPr>
        <p:spPr>
          <a:xfrm>
            <a:off x="4752975" y="4162426"/>
            <a:ext cx="3044716" cy="70485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01497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Arial" panose="020B0604020202020204" pitchFamily="34" charset="0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99994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Arial" panose="020B0604020202020204" pitchFamily="34" charset="0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99991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Arial" panose="020B0604020202020204" pitchFamily="34" charset="0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99988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1F6898"/>
              </a:buClr>
              <a:buSzPct val="80000"/>
              <a:buFont typeface="Arial" panose="020B0604020202020204" pitchFamily="34" charset="0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uto Dialer</a:t>
            </a:r>
          </a:p>
        </p:txBody>
      </p:sp>
    </p:spTree>
    <p:extLst>
      <p:ext uri="{BB962C8B-B14F-4D97-AF65-F5344CB8AC3E}">
        <p14:creationId xmlns:p14="http://schemas.microsoft.com/office/powerpoint/2010/main" val="17728890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04D4396-76EF-47B8-DB57-2ECA6B019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requisit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AA72135-BE6F-6359-9550-489F64ADFB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e have a suite of supporting documents to help prepare for your install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962A2F6-2B1B-AB17-BD14-066C0D8807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331" y="1805407"/>
            <a:ext cx="2526094" cy="3419468"/>
          </a:xfrm>
          <a:prstGeom prst="rect">
            <a:avLst/>
          </a:prstGeom>
          <a:ln>
            <a:noFill/>
          </a:ln>
          <a:effectLst>
            <a:outerShdw blurRad="101600" dist="38100" dir="2700000" sx="103000" sy="103000" algn="tl" rotWithShape="0">
              <a:prstClr val="black">
                <a:alpha val="21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9F65648-9B98-9B13-551B-17853BAB91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2574" y="1805407"/>
            <a:ext cx="2454622" cy="3419467"/>
          </a:xfrm>
          <a:prstGeom prst="rect">
            <a:avLst/>
          </a:prstGeom>
          <a:ln>
            <a:noFill/>
          </a:ln>
          <a:effectLst>
            <a:outerShdw blurRad="101600" dist="38100" dir="2700000" sx="103000" sy="103000" algn="tl" rotWithShape="0">
              <a:prstClr val="black">
                <a:alpha val="21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033902E-F112-86B4-241B-077FC9B4F1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3994" y="1805407"/>
            <a:ext cx="2406907" cy="3419468"/>
          </a:xfrm>
          <a:prstGeom prst="rect">
            <a:avLst/>
          </a:prstGeom>
          <a:ln>
            <a:noFill/>
          </a:ln>
          <a:effectLst>
            <a:outerShdw blurRad="101600" dist="38100" dir="2700000" sx="103000" sy="103000" algn="tl" rotWithShape="0">
              <a:prstClr val="black">
                <a:alpha val="21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645091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15AD24D-AD43-4E95-5A48-DD0884EF2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ation and Validation Workflow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9451A14-0F88-7788-57B6-AA01176B2A8B}"/>
              </a:ext>
            </a:extLst>
          </p:cNvPr>
          <p:cNvGrpSpPr/>
          <p:nvPr/>
        </p:nvGrpSpPr>
        <p:grpSpPr>
          <a:xfrm>
            <a:off x="64654" y="1240464"/>
            <a:ext cx="9079346" cy="3971614"/>
            <a:chOff x="1215686" y="1771751"/>
            <a:chExt cx="6637492" cy="2392514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DA8B1F6-FD47-8A30-809F-CD96A386030D}"/>
                </a:ext>
              </a:extLst>
            </p:cNvPr>
            <p:cNvGrpSpPr/>
            <p:nvPr/>
          </p:nvGrpSpPr>
          <p:grpSpPr>
            <a:xfrm>
              <a:off x="6323499" y="1771752"/>
              <a:ext cx="1529679" cy="2108822"/>
              <a:chOff x="5591450" y="1307708"/>
              <a:chExt cx="2097708" cy="3353832"/>
            </a:xfrm>
            <a:solidFill>
              <a:schemeClr val="bg1">
                <a:lumMod val="95000"/>
              </a:schemeClr>
            </a:solidFill>
          </p:grpSpPr>
          <p:sp>
            <p:nvSpPr>
              <p:cNvPr id="20" name="Arrow: Chevron 19">
                <a:extLst>
                  <a:ext uri="{FF2B5EF4-FFF2-40B4-BE49-F238E27FC236}">
                    <a16:creationId xmlns:a16="http://schemas.microsoft.com/office/drawing/2014/main" id="{CD66CB3A-345D-5292-828D-E902F78251E9}"/>
                  </a:ext>
                </a:extLst>
              </p:cNvPr>
              <p:cNvSpPr/>
              <p:nvPr/>
            </p:nvSpPr>
            <p:spPr bwMode="auto">
              <a:xfrm>
                <a:off x="5591450" y="1307708"/>
                <a:ext cx="2097708" cy="781691"/>
              </a:xfrm>
              <a:prstGeom prst="chevron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00206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51435" tIns="25718" rIns="51435" bIns="2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586681">
                  <a:lnSpc>
                    <a:spcPct val="115000"/>
                  </a:lnSpc>
                </a:pPr>
                <a:r>
                  <a:rPr lang="en-GB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n-site Services</a:t>
                </a:r>
              </a:p>
            </p:txBody>
          </p:sp>
          <p:sp>
            <p:nvSpPr>
              <p:cNvPr id="21" name="Rectangle: Rounded Corners 20">
                <a:extLst>
                  <a:ext uri="{FF2B5EF4-FFF2-40B4-BE49-F238E27FC236}">
                    <a16:creationId xmlns:a16="http://schemas.microsoft.com/office/drawing/2014/main" id="{DE9650F3-0F55-1FD9-4FDC-099FA1CD9487}"/>
                  </a:ext>
                </a:extLst>
              </p:cNvPr>
              <p:cNvSpPr/>
              <p:nvPr/>
            </p:nvSpPr>
            <p:spPr bwMode="auto">
              <a:xfrm>
                <a:off x="5640061" y="2383973"/>
                <a:ext cx="1760389" cy="2277567"/>
              </a:xfrm>
              <a:prstGeom prst="roundRect">
                <a:avLst>
                  <a:gd name="adj" fmla="val 4828"/>
                </a:avLst>
              </a:prstGeom>
              <a:grpFill/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51435" tIns="25718" rIns="51435" bIns="2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586681">
                  <a:lnSpc>
                    <a:spcPct val="115000"/>
                  </a:lnSpc>
                </a:pPr>
                <a:endParaRPr lang="en-GB"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Support Contract</a:t>
                </a: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endParaRPr lang="en-GB"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Re-calibrations</a:t>
                </a: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endParaRPr lang="en-GB"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indent="-171450" defTabSz="586681"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Trainings</a:t>
                </a:r>
              </a:p>
              <a:p>
                <a:pPr marL="171450" indent="-171450" defTabSz="586681">
                  <a:buFont typeface="Arial" panose="020B0604020202020204" pitchFamily="34" charset="0"/>
                  <a:buChar char="•"/>
                </a:pPr>
                <a:endParaRPr lang="en-GB"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indent="-171450" defTabSz="586681"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Expansions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8D6FC8E-DB07-08F8-C60C-A3699D067EAB}"/>
                </a:ext>
              </a:extLst>
            </p:cNvPr>
            <p:cNvGrpSpPr/>
            <p:nvPr/>
          </p:nvGrpSpPr>
          <p:grpSpPr>
            <a:xfrm>
              <a:off x="4620894" y="1771752"/>
              <a:ext cx="1529679" cy="2274907"/>
              <a:chOff x="5591450" y="1307708"/>
              <a:chExt cx="2097708" cy="3617970"/>
            </a:xfrm>
            <a:solidFill>
              <a:schemeClr val="bg1">
                <a:lumMod val="95000"/>
              </a:schemeClr>
            </a:solidFill>
          </p:grpSpPr>
          <p:sp>
            <p:nvSpPr>
              <p:cNvPr id="18" name="Arrow: Chevron 17">
                <a:extLst>
                  <a:ext uri="{FF2B5EF4-FFF2-40B4-BE49-F238E27FC236}">
                    <a16:creationId xmlns:a16="http://schemas.microsoft.com/office/drawing/2014/main" id="{21E3E702-7AD2-7C25-281A-68725C19517B}"/>
                  </a:ext>
                </a:extLst>
              </p:cNvPr>
              <p:cNvSpPr/>
              <p:nvPr/>
            </p:nvSpPr>
            <p:spPr bwMode="auto">
              <a:xfrm>
                <a:off x="5591450" y="1307708"/>
                <a:ext cx="2097708" cy="781691"/>
              </a:xfrm>
              <a:prstGeom prst="chevron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19050" cap="flat" cmpd="sng" algn="ctr">
                <a:solidFill>
                  <a:srgbClr val="00206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51435" tIns="25718" rIns="51435" bIns="2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586681">
                  <a:lnSpc>
                    <a:spcPct val="115000"/>
                  </a:lnSpc>
                </a:pPr>
                <a:r>
                  <a:rPr lang="en-GB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ardware IQ/OQ</a:t>
                </a:r>
              </a:p>
            </p:txBody>
          </p:sp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2BDA53E0-8946-1EFE-1B2A-8CB39775FB24}"/>
                  </a:ext>
                </a:extLst>
              </p:cNvPr>
              <p:cNvSpPr/>
              <p:nvPr/>
            </p:nvSpPr>
            <p:spPr bwMode="auto">
              <a:xfrm>
                <a:off x="5640060" y="2383971"/>
                <a:ext cx="1760388" cy="2541707"/>
              </a:xfrm>
              <a:prstGeom prst="roundRect">
                <a:avLst>
                  <a:gd name="adj" fmla="val 4828"/>
                </a:avLst>
              </a:prstGeom>
              <a:grpFill/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51435" tIns="25718" rIns="51435" bIns="2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Installation on-prem (customer)</a:t>
                </a: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endParaRPr lang="en-GB"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IQ/OQ protocols</a:t>
                </a: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endParaRPr lang="en-GB"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indent="-171450" defTabSz="586681"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System report and alarm configuration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F12AAD1-066A-CA19-767D-3C04096BD24A}"/>
                </a:ext>
              </a:extLst>
            </p:cNvPr>
            <p:cNvGrpSpPr/>
            <p:nvPr/>
          </p:nvGrpSpPr>
          <p:grpSpPr>
            <a:xfrm>
              <a:off x="2918289" y="1771751"/>
              <a:ext cx="1529679" cy="2274909"/>
              <a:chOff x="5591450" y="1307708"/>
              <a:chExt cx="2097708" cy="3617974"/>
            </a:xfrm>
            <a:solidFill>
              <a:schemeClr val="bg1">
                <a:lumMod val="95000"/>
              </a:schemeClr>
            </a:solidFill>
          </p:grpSpPr>
          <p:sp>
            <p:nvSpPr>
              <p:cNvPr id="16" name="Arrow: Chevron 15">
                <a:extLst>
                  <a:ext uri="{FF2B5EF4-FFF2-40B4-BE49-F238E27FC236}">
                    <a16:creationId xmlns:a16="http://schemas.microsoft.com/office/drawing/2014/main" id="{EE937B60-E83C-94E8-E2E7-7CD83604A8E5}"/>
                  </a:ext>
                </a:extLst>
              </p:cNvPr>
              <p:cNvSpPr/>
              <p:nvPr/>
            </p:nvSpPr>
            <p:spPr bwMode="auto">
              <a:xfrm>
                <a:off x="5591450" y="1307708"/>
                <a:ext cx="2097708" cy="781690"/>
              </a:xfrm>
              <a:prstGeom prst="chevron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0206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51435" tIns="25718" rIns="51435" bIns="2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586681">
                  <a:lnSpc>
                    <a:spcPct val="115000"/>
                  </a:lnSpc>
                </a:pPr>
                <a:r>
                  <a:rPr lang="en-GB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oftware IQ/OQ</a:t>
                </a:r>
              </a:p>
            </p:txBody>
          </p:sp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E966259C-2B55-20EE-161A-D821409B50B9}"/>
                  </a:ext>
                </a:extLst>
              </p:cNvPr>
              <p:cNvSpPr/>
              <p:nvPr/>
            </p:nvSpPr>
            <p:spPr bwMode="auto">
              <a:xfrm>
                <a:off x="5640058" y="2383969"/>
                <a:ext cx="1760388" cy="2541713"/>
              </a:xfrm>
              <a:prstGeom prst="roundRect">
                <a:avLst>
                  <a:gd name="adj" fmla="val 4934"/>
                </a:avLst>
              </a:prstGeom>
              <a:solidFill>
                <a:schemeClr val="bg1">
                  <a:lumMod val="95000"/>
                </a:scheme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51435" tIns="25718" rIns="51435" bIns="2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IT Pre-Requisites</a:t>
                </a: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endParaRPr lang="en-GB"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Hosted Server</a:t>
                </a: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endParaRPr lang="en-GB"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Remote installation</a:t>
                </a: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endParaRPr lang="en-GB"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IQ/OQ protocols</a:t>
                </a: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3CCFD7E-E8AF-D4B4-8A54-FBCF1C8B7502}"/>
                </a:ext>
              </a:extLst>
            </p:cNvPr>
            <p:cNvGrpSpPr/>
            <p:nvPr/>
          </p:nvGrpSpPr>
          <p:grpSpPr>
            <a:xfrm>
              <a:off x="1215686" y="1771752"/>
              <a:ext cx="1529679" cy="2392513"/>
              <a:chOff x="5591450" y="1307708"/>
              <a:chExt cx="2097707" cy="3805010"/>
            </a:xfrm>
            <a:solidFill>
              <a:schemeClr val="bg1">
                <a:lumMod val="95000"/>
              </a:schemeClr>
            </a:solidFill>
          </p:grpSpPr>
          <p:sp>
            <p:nvSpPr>
              <p:cNvPr id="14" name="Arrow: Chevron 13">
                <a:extLst>
                  <a:ext uri="{FF2B5EF4-FFF2-40B4-BE49-F238E27FC236}">
                    <a16:creationId xmlns:a16="http://schemas.microsoft.com/office/drawing/2014/main" id="{643793E8-0E7C-7484-FD20-E8AA7917A4E1}"/>
                  </a:ext>
                </a:extLst>
              </p:cNvPr>
              <p:cNvSpPr/>
              <p:nvPr/>
            </p:nvSpPr>
            <p:spPr bwMode="auto">
              <a:xfrm>
                <a:off x="5591450" y="1307708"/>
                <a:ext cx="2097707" cy="781691"/>
              </a:xfrm>
              <a:prstGeom prst="chevron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19050" cap="flat" cmpd="sng" algn="ctr">
                <a:solidFill>
                  <a:srgbClr val="00206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51435" tIns="25718" rIns="51435" bIns="2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586681">
                  <a:lnSpc>
                    <a:spcPct val="115000"/>
                  </a:lnSpc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EMS System Configuration</a:t>
                </a:r>
              </a:p>
            </p:txBody>
          </p:sp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400DA4FD-E67A-779E-4617-D2F21CD24C81}"/>
                  </a:ext>
                </a:extLst>
              </p:cNvPr>
              <p:cNvSpPr/>
              <p:nvPr/>
            </p:nvSpPr>
            <p:spPr bwMode="auto">
              <a:xfrm>
                <a:off x="5640061" y="2383969"/>
                <a:ext cx="1760382" cy="2728749"/>
              </a:xfrm>
              <a:prstGeom prst="roundRect">
                <a:avLst>
                  <a:gd name="adj" fmla="val 5089"/>
                </a:avLst>
              </a:prstGeom>
              <a:grpFill/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51435" tIns="25718" rIns="51435" bIns="2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71450" indent="-171450" defTabSz="586681"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Project Management</a:t>
                </a:r>
              </a:p>
              <a:p>
                <a:pPr marL="171450" indent="-171450" defTabSz="586681">
                  <a:buFont typeface="Arial" panose="020B0604020202020204" pitchFamily="34" charset="0"/>
                  <a:buChar char="•"/>
                </a:pPr>
                <a:endParaRPr lang="en-GB"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Hardware and IT specs</a:t>
                </a: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endParaRPr lang="en-GB"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RF site survey</a:t>
                </a: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endParaRPr lang="en-GB"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indent="-171450" defTabSz="586681">
                  <a:lnSpc>
                    <a:spcPct val="115000"/>
                  </a:lnSpc>
                  <a:buFont typeface="Arial" panose="020B0604020202020204" pitchFamily="34" charset="0"/>
                  <a:buChar char="•"/>
                </a:pPr>
                <a:r>
                  <a:rPr lang="en-GB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Project Timelin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164078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80EE90B-1CF8-A878-3EAC-F29D2AB6A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ing validation documenta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1E2D97-820F-932A-F879-3113E5364F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3902" y="2978807"/>
            <a:ext cx="1641250" cy="215707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12499B3-2DA7-55F7-244B-D1CB0A09C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6692" y="2978807"/>
            <a:ext cx="1613723" cy="215707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9FE0913-A2E3-0B9C-BA2E-0E1827BE4D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3819" y="2978807"/>
            <a:ext cx="1613793" cy="215707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CFA7D73-C10D-607F-E4D8-F1E2D6BA45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501" y="1009652"/>
            <a:ext cx="1930352" cy="2560784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526F891-1D45-733C-8D72-64AEA53D4F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80026" y="1009653"/>
            <a:ext cx="1936403" cy="256078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D0EC213-C5EB-A8FD-6C0F-AA9FA43284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6077" y="1060524"/>
            <a:ext cx="1930353" cy="2568256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4B78BB2-60F8-A44D-74EB-4823E460D9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1927" y="1098623"/>
            <a:ext cx="1930661" cy="256825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E1A6C4-97AF-961A-F2B4-52D2B3FD6D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3356" y="2883556"/>
            <a:ext cx="1930350" cy="253703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0BC5455-B4C9-1FE2-7D9B-7A43B913AA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7167" y="2883556"/>
            <a:ext cx="1897974" cy="253703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A959022-C5A7-AB27-D08E-E23DD74422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4294" y="2883556"/>
            <a:ext cx="1898056" cy="2537031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80831121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FF8ED5E0-CD28-49AF-B2B1-C2E3463836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9628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FF8ED5E0-CD28-49AF-B2B1-C2E3463836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2BE049B-B01C-E547-A2C7-B6FE94509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913" y="1077912"/>
            <a:ext cx="3427412" cy="746126"/>
          </a:xfrm>
        </p:spPr>
        <p:txBody>
          <a:bodyPr vert="horz"/>
          <a:lstStyle/>
          <a:p>
            <a:pPr fontAlgn="auto">
              <a:defRPr/>
            </a:pPr>
            <a:r>
              <a:rPr lang="en-US"/>
              <a:t>Thank you!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7D0F79-72D8-1A46-9A19-939B533E03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9913" y="2108200"/>
            <a:ext cx="2921000" cy="1112838"/>
          </a:xfrm>
        </p:spPr>
        <p:txBody>
          <a:bodyPr/>
          <a:lstStyle/>
          <a:p>
            <a:pPr fontAlgn="auto">
              <a:defRPr/>
            </a:pPr>
            <a:r>
              <a:rPr lang="en-US" dirty="0"/>
              <a:t>Do you have any questions?</a:t>
            </a:r>
          </a:p>
          <a:p>
            <a:pPr fontAlgn="auto">
              <a:defRPr/>
            </a:pPr>
            <a:endParaRPr lang="en-US" dirty="0"/>
          </a:p>
          <a:p>
            <a:pPr fontAlgn="auto">
              <a:defRPr/>
            </a:pPr>
            <a:r>
              <a:rPr lang="en-US" sz="1330" b="1" dirty="0"/>
              <a:t>Email us: </a:t>
            </a:r>
            <a:r>
              <a:rPr lang="en-US" sz="1330" u="sng" dirty="0"/>
              <a:t>usa@ellab.com</a:t>
            </a:r>
          </a:p>
          <a:p>
            <a:pPr fontAlgn="auto">
              <a:defRPr/>
            </a:pPr>
            <a:endParaRPr lang="en-US" sz="1330" dirty="0"/>
          </a:p>
          <a:p>
            <a:pPr fontAlgn="auto">
              <a:defRPr/>
            </a:pPr>
            <a:r>
              <a:rPr lang="en-US" sz="1330" b="1" dirty="0"/>
              <a:t>Call us: </a:t>
            </a:r>
            <a:r>
              <a:rPr lang="en-US" sz="1330" dirty="0"/>
              <a:t>+1-303-425-3370</a:t>
            </a:r>
          </a:p>
          <a:p>
            <a:pPr fontAlgn="auto">
              <a:defRPr/>
            </a:pPr>
            <a:endParaRPr lang="en-US" dirty="0"/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EF13CA52-1BB8-5D43-9DBE-31FDF6CA5DB7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" r="562"/>
          <a:stretch>
            <a:fillRect/>
          </a:stretch>
        </p:blipFill>
        <p:spPr bwMode="auto">
          <a:xfrm>
            <a:off x="4357688" y="1527175"/>
            <a:ext cx="4438650" cy="2784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E82F9B3-12F8-C24A-8DB9-C61B9AF462F5}"/>
              </a:ext>
            </a:extLst>
          </p:cNvPr>
          <p:cNvCxnSpPr>
            <a:cxnSpLocks/>
          </p:cNvCxnSpPr>
          <p:nvPr/>
        </p:nvCxnSpPr>
        <p:spPr>
          <a:xfrm>
            <a:off x="668338" y="3349625"/>
            <a:ext cx="1006475" cy="0"/>
          </a:xfrm>
          <a:prstGeom prst="line">
            <a:avLst/>
          </a:prstGeom>
          <a:ln w="12700">
            <a:solidFill>
              <a:srgbClr val="9EC9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aphic 56">
            <a:extLst>
              <a:ext uri="{FF2B5EF4-FFF2-40B4-BE49-F238E27FC236}">
                <a16:creationId xmlns:a16="http://schemas.microsoft.com/office/drawing/2014/main" id="{9D117A7E-8C03-524B-B961-AF867FB50A77}"/>
              </a:ext>
            </a:extLst>
          </p:cNvPr>
          <p:cNvGrpSpPr/>
          <p:nvPr/>
        </p:nvGrpSpPr>
        <p:grpSpPr>
          <a:xfrm>
            <a:off x="668481" y="4133239"/>
            <a:ext cx="188073" cy="159739"/>
            <a:chOff x="5341096" y="5478279"/>
            <a:chExt cx="308452" cy="261981"/>
          </a:xfrm>
          <a:solidFill>
            <a:schemeClr val="bg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B818DCB-8679-D14E-AF2E-593A80BC95B3}"/>
                </a:ext>
              </a:extLst>
            </p:cNvPr>
            <p:cNvSpPr/>
            <p:nvPr/>
          </p:nvSpPr>
          <p:spPr>
            <a:xfrm>
              <a:off x="5341106" y="5478279"/>
              <a:ext cx="308442" cy="261981"/>
            </a:xfrm>
            <a:custGeom>
              <a:avLst/>
              <a:gdLst>
                <a:gd name="connsiteX0" fmla="*/ 307284 w 308442"/>
                <a:gd name="connsiteY0" fmla="*/ 31435 h 261981"/>
                <a:gd name="connsiteX1" fmla="*/ 276130 w 308442"/>
                <a:gd name="connsiteY1" fmla="*/ 40617 h 261981"/>
                <a:gd name="connsiteX2" fmla="*/ 291499 w 308442"/>
                <a:gd name="connsiteY2" fmla="*/ 26577 h 261981"/>
                <a:gd name="connsiteX3" fmla="*/ 301880 w 308442"/>
                <a:gd name="connsiteY3" fmla="*/ 7070 h 261981"/>
                <a:gd name="connsiteX4" fmla="*/ 301816 w 308442"/>
                <a:gd name="connsiteY4" fmla="*/ 5393 h 261981"/>
                <a:gd name="connsiteX5" fmla="*/ 300172 w 308442"/>
                <a:gd name="connsiteY5" fmla="*/ 5536 h 261981"/>
                <a:gd name="connsiteX6" fmla="*/ 263162 w 308442"/>
                <a:gd name="connsiteY6" fmla="*/ 20138 h 261981"/>
                <a:gd name="connsiteX7" fmla="*/ 260612 w 308442"/>
                <a:gd name="connsiteY7" fmla="*/ 19443 h 261981"/>
                <a:gd name="connsiteX8" fmla="*/ 257380 w 308442"/>
                <a:gd name="connsiteY8" fmla="*/ 16033 h 261981"/>
                <a:gd name="connsiteX9" fmla="*/ 239443 w 308442"/>
                <a:gd name="connsiteY9" fmla="*/ 4707 h 261981"/>
                <a:gd name="connsiteX10" fmla="*/ 211946 w 308442"/>
                <a:gd name="connsiteY10" fmla="*/ 135 h 261981"/>
                <a:gd name="connsiteX11" fmla="*/ 185853 w 308442"/>
                <a:gd name="connsiteY11" fmla="*/ 7755 h 261981"/>
                <a:gd name="connsiteX12" fmla="*/ 164813 w 308442"/>
                <a:gd name="connsiteY12" fmla="*/ 25481 h 261981"/>
                <a:gd name="connsiteX13" fmla="*/ 152242 w 308442"/>
                <a:gd name="connsiteY13" fmla="*/ 51437 h 261981"/>
                <a:gd name="connsiteX14" fmla="*/ 151577 w 308442"/>
                <a:gd name="connsiteY14" fmla="*/ 78850 h 261981"/>
                <a:gd name="connsiteX15" fmla="*/ 150303 w 308442"/>
                <a:gd name="connsiteY15" fmla="*/ 80384 h 261981"/>
                <a:gd name="connsiteX16" fmla="*/ 23081 w 308442"/>
                <a:gd name="connsiteY16" fmla="*/ 13604 h 261981"/>
                <a:gd name="connsiteX17" fmla="*/ 19580 w 308442"/>
                <a:gd name="connsiteY17" fmla="*/ 13737 h 261981"/>
                <a:gd name="connsiteX18" fmla="*/ 30608 w 308442"/>
                <a:gd name="connsiteY18" fmla="*/ 92318 h 261981"/>
                <a:gd name="connsiteX19" fmla="*/ 38422 w 308442"/>
                <a:gd name="connsiteY19" fmla="*/ 99405 h 261981"/>
                <a:gd name="connsiteX20" fmla="*/ 13844 w 308442"/>
                <a:gd name="connsiteY20" fmla="*/ 92318 h 261981"/>
                <a:gd name="connsiteX21" fmla="*/ 11480 w 308442"/>
                <a:gd name="connsiteY21" fmla="*/ 93642 h 261981"/>
                <a:gd name="connsiteX22" fmla="*/ 11886 w 308442"/>
                <a:gd name="connsiteY22" fmla="*/ 101158 h 261981"/>
                <a:gd name="connsiteX23" fmla="*/ 52074 w 308442"/>
                <a:gd name="connsiteY23" fmla="*/ 154764 h 261981"/>
                <a:gd name="connsiteX24" fmla="*/ 60229 w 308442"/>
                <a:gd name="connsiteY24" fmla="*/ 157336 h 261981"/>
                <a:gd name="connsiteX25" fmla="*/ 36196 w 308442"/>
                <a:gd name="connsiteY25" fmla="*/ 158117 h 261981"/>
                <a:gd name="connsiteX26" fmla="*/ 34442 w 308442"/>
                <a:gd name="connsiteY26" fmla="*/ 160413 h 261981"/>
                <a:gd name="connsiteX27" fmla="*/ 85020 w 308442"/>
                <a:gd name="connsiteY27" fmla="*/ 204075 h 261981"/>
                <a:gd name="connsiteX28" fmla="*/ 91901 w 308442"/>
                <a:gd name="connsiteY28" fmla="*/ 205028 h 261981"/>
                <a:gd name="connsiteX29" fmla="*/ 91495 w 308442"/>
                <a:gd name="connsiteY29" fmla="*/ 205447 h 261981"/>
                <a:gd name="connsiteX30" fmla="*/ 56960 w 308442"/>
                <a:gd name="connsiteY30" fmla="*/ 224325 h 261981"/>
                <a:gd name="connsiteX31" fmla="*/ 4506 w 308442"/>
                <a:gd name="connsiteY31" fmla="*/ 231250 h 261981"/>
                <a:gd name="connsiteX32" fmla="*/ 332 w 308442"/>
                <a:gd name="connsiteY32" fmla="*/ 231250 h 261981"/>
                <a:gd name="connsiteX33" fmla="*/ 1135 w 308442"/>
                <a:gd name="connsiteY33" fmla="*/ 233155 h 261981"/>
                <a:gd name="connsiteX34" fmla="*/ 12062 w 308442"/>
                <a:gd name="connsiteY34" fmla="*/ 239823 h 261981"/>
                <a:gd name="connsiteX35" fmla="*/ 47095 w 308442"/>
                <a:gd name="connsiteY35" fmla="*/ 254320 h 261981"/>
                <a:gd name="connsiteX36" fmla="*/ 228396 w 308442"/>
                <a:gd name="connsiteY36" fmla="*/ 210609 h 261981"/>
                <a:gd name="connsiteX37" fmla="*/ 278577 w 308442"/>
                <a:gd name="connsiteY37" fmla="*/ 67477 h 261981"/>
                <a:gd name="connsiteX38" fmla="*/ 282327 w 308442"/>
                <a:gd name="connsiteY38" fmla="*/ 63200 h 261981"/>
                <a:gd name="connsiteX39" fmla="*/ 306896 w 308442"/>
                <a:gd name="connsiteY39" fmla="*/ 36730 h 261981"/>
                <a:gd name="connsiteX40" fmla="*/ 308411 w 308442"/>
                <a:gd name="connsiteY40" fmla="*/ 31663 h 261981"/>
                <a:gd name="connsiteX41" fmla="*/ 308411 w 308442"/>
                <a:gd name="connsiteY41" fmla="*/ 31435 h 261981"/>
                <a:gd name="connsiteX42" fmla="*/ 307284 w 308442"/>
                <a:gd name="connsiteY42" fmla="*/ 31435 h 261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08442" h="261981">
                  <a:moveTo>
                    <a:pt x="307284" y="31435"/>
                  </a:moveTo>
                  <a:cubicBezTo>
                    <a:pt x="297321" y="35852"/>
                    <a:pt x="286851" y="38938"/>
                    <a:pt x="276130" y="40617"/>
                  </a:cubicBezTo>
                  <a:cubicBezTo>
                    <a:pt x="281145" y="39740"/>
                    <a:pt x="288543" y="30368"/>
                    <a:pt x="291499" y="26577"/>
                  </a:cubicBezTo>
                  <a:cubicBezTo>
                    <a:pt x="296127" y="20812"/>
                    <a:pt x="299650" y="14192"/>
                    <a:pt x="301880" y="7070"/>
                  </a:cubicBezTo>
                  <a:cubicBezTo>
                    <a:pt x="302148" y="6517"/>
                    <a:pt x="302352" y="5812"/>
                    <a:pt x="301816" y="5393"/>
                  </a:cubicBezTo>
                  <a:cubicBezTo>
                    <a:pt x="301278" y="5161"/>
                    <a:pt x="300664" y="5214"/>
                    <a:pt x="300172" y="5536"/>
                  </a:cubicBezTo>
                  <a:cubicBezTo>
                    <a:pt x="288474" y="11977"/>
                    <a:pt x="276041" y="16883"/>
                    <a:pt x="263162" y="20138"/>
                  </a:cubicBezTo>
                  <a:cubicBezTo>
                    <a:pt x="262253" y="20436"/>
                    <a:pt x="261259" y="20165"/>
                    <a:pt x="260612" y="19443"/>
                  </a:cubicBezTo>
                  <a:cubicBezTo>
                    <a:pt x="259622" y="18221"/>
                    <a:pt x="258541" y="17081"/>
                    <a:pt x="257380" y="16033"/>
                  </a:cubicBezTo>
                  <a:cubicBezTo>
                    <a:pt x="252031" y="11286"/>
                    <a:pt x="245974" y="7462"/>
                    <a:pt x="239443" y="4707"/>
                  </a:cubicBezTo>
                  <a:cubicBezTo>
                    <a:pt x="230727" y="1070"/>
                    <a:pt x="221328" y="-493"/>
                    <a:pt x="211946" y="135"/>
                  </a:cubicBezTo>
                  <a:cubicBezTo>
                    <a:pt x="202830" y="780"/>
                    <a:pt x="193944" y="3375"/>
                    <a:pt x="185853" y="7755"/>
                  </a:cubicBezTo>
                  <a:cubicBezTo>
                    <a:pt x="177744" y="12127"/>
                    <a:pt x="170584" y="18158"/>
                    <a:pt x="164813" y="25481"/>
                  </a:cubicBezTo>
                  <a:cubicBezTo>
                    <a:pt x="158824" y="33076"/>
                    <a:pt x="154532" y="41938"/>
                    <a:pt x="152242" y="51437"/>
                  </a:cubicBezTo>
                  <a:cubicBezTo>
                    <a:pt x="150277" y="60441"/>
                    <a:pt x="150051" y="69756"/>
                    <a:pt x="151577" y="78850"/>
                  </a:cubicBezTo>
                  <a:cubicBezTo>
                    <a:pt x="151771" y="80384"/>
                    <a:pt x="151642" y="80584"/>
                    <a:pt x="150303" y="80384"/>
                  </a:cubicBezTo>
                  <a:cubicBezTo>
                    <a:pt x="99466" y="72564"/>
                    <a:pt x="57329" y="53799"/>
                    <a:pt x="23081" y="13604"/>
                  </a:cubicBezTo>
                  <a:cubicBezTo>
                    <a:pt x="21603" y="11861"/>
                    <a:pt x="20790" y="11861"/>
                    <a:pt x="19580" y="13737"/>
                  </a:cubicBezTo>
                  <a:cubicBezTo>
                    <a:pt x="4608" y="36873"/>
                    <a:pt x="11905" y="74049"/>
                    <a:pt x="30608" y="92318"/>
                  </a:cubicBezTo>
                  <a:cubicBezTo>
                    <a:pt x="33102" y="94757"/>
                    <a:pt x="35661" y="97186"/>
                    <a:pt x="38422" y="99405"/>
                  </a:cubicBezTo>
                  <a:cubicBezTo>
                    <a:pt x="29855" y="98750"/>
                    <a:pt x="21499" y="96341"/>
                    <a:pt x="13844" y="92318"/>
                  </a:cubicBezTo>
                  <a:cubicBezTo>
                    <a:pt x="12357" y="91366"/>
                    <a:pt x="11618" y="91909"/>
                    <a:pt x="11480" y="93642"/>
                  </a:cubicBezTo>
                  <a:cubicBezTo>
                    <a:pt x="11391" y="96155"/>
                    <a:pt x="11527" y="98671"/>
                    <a:pt x="11886" y="101158"/>
                  </a:cubicBezTo>
                  <a:cubicBezTo>
                    <a:pt x="14936" y="125189"/>
                    <a:pt x="30289" y="145669"/>
                    <a:pt x="52074" y="154764"/>
                  </a:cubicBezTo>
                  <a:cubicBezTo>
                    <a:pt x="54690" y="155934"/>
                    <a:pt x="57426" y="156797"/>
                    <a:pt x="60229" y="157336"/>
                  </a:cubicBezTo>
                  <a:cubicBezTo>
                    <a:pt x="52316" y="158971"/>
                    <a:pt x="44194" y="159235"/>
                    <a:pt x="36196" y="158117"/>
                  </a:cubicBezTo>
                  <a:cubicBezTo>
                    <a:pt x="34442" y="157765"/>
                    <a:pt x="33777" y="158670"/>
                    <a:pt x="34442" y="160413"/>
                  </a:cubicBezTo>
                  <a:cubicBezTo>
                    <a:pt x="45036" y="190178"/>
                    <a:pt x="67896" y="199036"/>
                    <a:pt x="85020" y="204075"/>
                  </a:cubicBezTo>
                  <a:cubicBezTo>
                    <a:pt x="87310" y="204494"/>
                    <a:pt x="89638" y="204494"/>
                    <a:pt x="91901" y="205028"/>
                  </a:cubicBezTo>
                  <a:cubicBezTo>
                    <a:pt x="91762" y="205247"/>
                    <a:pt x="91624" y="205247"/>
                    <a:pt x="91495" y="205447"/>
                  </a:cubicBezTo>
                  <a:cubicBezTo>
                    <a:pt x="85814" y="214381"/>
                    <a:pt x="66122" y="221020"/>
                    <a:pt x="56960" y="224325"/>
                  </a:cubicBezTo>
                  <a:cubicBezTo>
                    <a:pt x="40164" y="230506"/>
                    <a:pt x="22271" y="232868"/>
                    <a:pt x="4506" y="231250"/>
                  </a:cubicBezTo>
                  <a:cubicBezTo>
                    <a:pt x="1736" y="230821"/>
                    <a:pt x="1089" y="230850"/>
                    <a:pt x="332" y="231250"/>
                  </a:cubicBezTo>
                  <a:cubicBezTo>
                    <a:pt x="-426" y="231650"/>
                    <a:pt x="230" y="232431"/>
                    <a:pt x="1135" y="233155"/>
                  </a:cubicBezTo>
                  <a:cubicBezTo>
                    <a:pt x="4710" y="235584"/>
                    <a:pt x="8349" y="237746"/>
                    <a:pt x="12062" y="239823"/>
                  </a:cubicBezTo>
                  <a:cubicBezTo>
                    <a:pt x="23191" y="245959"/>
                    <a:pt x="34939" y="250821"/>
                    <a:pt x="47095" y="254320"/>
                  </a:cubicBezTo>
                  <a:cubicBezTo>
                    <a:pt x="110106" y="272265"/>
                    <a:pt x="181087" y="259082"/>
                    <a:pt x="228396" y="210609"/>
                  </a:cubicBezTo>
                  <a:cubicBezTo>
                    <a:pt x="265554" y="172509"/>
                    <a:pt x="278577" y="120036"/>
                    <a:pt x="278577" y="67477"/>
                  </a:cubicBezTo>
                  <a:cubicBezTo>
                    <a:pt x="278577" y="65420"/>
                    <a:pt x="280932" y="64277"/>
                    <a:pt x="282327" y="63200"/>
                  </a:cubicBezTo>
                  <a:cubicBezTo>
                    <a:pt x="291723" y="55658"/>
                    <a:pt x="300000" y="46741"/>
                    <a:pt x="306896" y="36730"/>
                  </a:cubicBezTo>
                  <a:cubicBezTo>
                    <a:pt x="307967" y="35280"/>
                    <a:pt x="308504" y="33484"/>
                    <a:pt x="308411" y="31663"/>
                  </a:cubicBezTo>
                  <a:lnTo>
                    <a:pt x="308411" y="31435"/>
                  </a:lnTo>
                  <a:cubicBezTo>
                    <a:pt x="308484" y="30568"/>
                    <a:pt x="308540" y="30815"/>
                    <a:pt x="307284" y="31435"/>
                  </a:cubicBezTo>
                  <a:close/>
                </a:path>
              </a:pathLst>
            </a:custGeom>
            <a:grpFill/>
            <a:ln w="923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26">
                <a:latin typeface="AvenirNext LT Pro Regular" panose="020B0504020202020204" pitchFamily="34" charset="77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30776789-090E-CD45-A51F-010BB89DDC74}"/>
                </a:ext>
              </a:extLst>
            </p:cNvPr>
            <p:cNvSpPr/>
            <p:nvPr/>
          </p:nvSpPr>
          <p:spPr>
            <a:xfrm>
              <a:off x="5341096" y="5478282"/>
              <a:ext cx="9236" cy="9525"/>
            </a:xfrm>
            <a:custGeom>
              <a:avLst/>
              <a:gdLst/>
              <a:ahLst/>
              <a:cxnLst/>
              <a:rect l="l" t="t" r="r" b="b"/>
              <a:pathLst>
                <a:path w="9236" h="9525"/>
              </a:pathLst>
            </a:custGeom>
            <a:grpFill/>
            <a:ln w="923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26">
                <a:latin typeface="AvenirNext LT Pro Regular" panose="020B0504020202020204" pitchFamily="34" charset="77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EE79142-8F01-2A41-8E85-AFEA925A6877}"/>
                </a:ext>
              </a:extLst>
            </p:cNvPr>
            <p:cNvSpPr/>
            <p:nvPr/>
          </p:nvSpPr>
          <p:spPr>
            <a:xfrm>
              <a:off x="5430347" y="5739162"/>
              <a:ext cx="2354" cy="9525"/>
            </a:xfrm>
            <a:custGeom>
              <a:avLst/>
              <a:gdLst>
                <a:gd name="connsiteX0" fmla="*/ 2355 w 2354"/>
                <a:gd name="connsiteY0" fmla="*/ 0 h 9525"/>
                <a:gd name="connsiteX1" fmla="*/ 2355 w 235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4" h="9525">
                  <a:moveTo>
                    <a:pt x="2355" y="0"/>
                  </a:moveTo>
                  <a:cubicBezTo>
                    <a:pt x="1949" y="0"/>
                    <a:pt x="-2734" y="0"/>
                    <a:pt x="2355" y="0"/>
                  </a:cubicBezTo>
                  <a:close/>
                </a:path>
              </a:pathLst>
            </a:custGeom>
            <a:grpFill/>
            <a:ln w="923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26">
                <a:latin typeface="AvenirNext LT Pro Regular" panose="020B0504020202020204" pitchFamily="34" charset="77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7E896A6B-BD2A-B349-B745-3234D02D5773}"/>
                </a:ext>
              </a:extLst>
            </p:cNvPr>
            <p:cNvSpPr/>
            <p:nvPr/>
          </p:nvSpPr>
          <p:spPr>
            <a:xfrm>
              <a:off x="5443083" y="5739201"/>
              <a:ext cx="2430" cy="237"/>
            </a:xfrm>
            <a:custGeom>
              <a:avLst/>
              <a:gdLst>
                <a:gd name="connsiteX0" fmla="*/ 0 w 2430"/>
                <a:gd name="connsiteY0" fmla="*/ 237 h 237"/>
                <a:gd name="connsiteX1" fmla="*/ 0 w 2430"/>
                <a:gd name="connsiteY1" fmla="*/ 237 h 237"/>
                <a:gd name="connsiteX2" fmla="*/ 0 w 2430"/>
                <a:gd name="connsiteY2" fmla="*/ 237 h 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0" h="237">
                  <a:moveTo>
                    <a:pt x="0" y="237"/>
                  </a:moveTo>
                  <a:cubicBezTo>
                    <a:pt x="0" y="-296"/>
                    <a:pt x="5468" y="237"/>
                    <a:pt x="0" y="237"/>
                  </a:cubicBezTo>
                  <a:cubicBezTo>
                    <a:pt x="0" y="-39"/>
                    <a:pt x="674" y="237"/>
                    <a:pt x="0" y="237"/>
                  </a:cubicBezTo>
                  <a:close/>
                </a:path>
              </a:pathLst>
            </a:custGeom>
            <a:grpFill/>
            <a:ln w="923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26">
                <a:latin typeface="AvenirNext LT Pro Regular" panose="020B0504020202020204" pitchFamily="34" charset="77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B9C7D6A3-D20F-0E49-B92C-7AE07A819041}"/>
                </a:ext>
              </a:extLst>
            </p:cNvPr>
            <p:cNvSpPr/>
            <p:nvPr/>
          </p:nvSpPr>
          <p:spPr>
            <a:xfrm>
              <a:off x="5550909" y="5478672"/>
              <a:ext cx="1274" cy="207"/>
            </a:xfrm>
            <a:custGeom>
              <a:avLst/>
              <a:gdLst>
                <a:gd name="connsiteX0" fmla="*/ 1275 w 1274"/>
                <a:gd name="connsiteY0" fmla="*/ 0 h 207"/>
                <a:gd name="connsiteX1" fmla="*/ 0 w 1274"/>
                <a:gd name="connsiteY1" fmla="*/ 0 h 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4" h="207">
                  <a:moveTo>
                    <a:pt x="1275" y="0"/>
                  </a:moveTo>
                  <a:cubicBezTo>
                    <a:pt x="892" y="277"/>
                    <a:pt x="382" y="277"/>
                    <a:pt x="0" y="0"/>
                  </a:cubicBezTo>
                  <a:close/>
                </a:path>
              </a:pathLst>
            </a:custGeom>
            <a:grpFill/>
            <a:ln w="923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26">
                <a:latin typeface="AvenirNext LT Pro Regular" panose="020B0504020202020204" pitchFamily="34" charset="77"/>
              </a:endParaRPr>
            </a:p>
          </p:txBody>
        </p:sp>
      </p:grpSp>
      <p:grpSp>
        <p:nvGrpSpPr>
          <p:cNvPr id="12" name="Graphic 58">
            <a:extLst>
              <a:ext uri="{FF2B5EF4-FFF2-40B4-BE49-F238E27FC236}">
                <a16:creationId xmlns:a16="http://schemas.microsoft.com/office/drawing/2014/main" id="{EC3265CE-0DF6-4B4D-AB4D-FD96B9F848EC}"/>
              </a:ext>
            </a:extLst>
          </p:cNvPr>
          <p:cNvGrpSpPr/>
          <p:nvPr/>
        </p:nvGrpSpPr>
        <p:grpSpPr>
          <a:xfrm>
            <a:off x="675534" y="3556652"/>
            <a:ext cx="171574" cy="161813"/>
            <a:chOff x="7329020" y="5440182"/>
            <a:chExt cx="281393" cy="265384"/>
          </a:xfrm>
          <a:solidFill>
            <a:schemeClr val="bg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287ED9F4-4002-3B4E-A13F-92239D003446}"/>
                </a:ext>
              </a:extLst>
            </p:cNvPr>
            <p:cNvSpPr/>
            <p:nvPr/>
          </p:nvSpPr>
          <p:spPr>
            <a:xfrm>
              <a:off x="7332950" y="5522386"/>
              <a:ext cx="277462" cy="183180"/>
            </a:xfrm>
            <a:custGeom>
              <a:avLst/>
              <a:gdLst>
                <a:gd name="connsiteX0" fmla="*/ 277463 w 277462"/>
                <a:gd name="connsiteY0" fmla="*/ 80575 h 183180"/>
                <a:gd name="connsiteX1" fmla="*/ 277463 w 277462"/>
                <a:gd name="connsiteY1" fmla="*/ 178794 h 183180"/>
                <a:gd name="connsiteX2" fmla="*/ 273011 w 277462"/>
                <a:gd name="connsiteY2" fmla="*/ 183181 h 183180"/>
                <a:gd name="connsiteX3" fmla="*/ 221667 w 277462"/>
                <a:gd name="connsiteY3" fmla="*/ 183181 h 183180"/>
                <a:gd name="connsiteX4" fmla="*/ 217215 w 277462"/>
                <a:gd name="connsiteY4" fmla="*/ 178794 h 183180"/>
                <a:gd name="connsiteX5" fmla="*/ 217215 w 277462"/>
                <a:gd name="connsiteY5" fmla="*/ 87445 h 183180"/>
                <a:gd name="connsiteX6" fmla="*/ 186704 w 277462"/>
                <a:gd name="connsiteY6" fmla="*/ 46980 h 183180"/>
                <a:gd name="connsiteX7" fmla="*/ 155803 w 277462"/>
                <a:gd name="connsiteY7" fmla="*/ 68739 h 183180"/>
                <a:gd name="connsiteX8" fmla="*/ 153800 w 277462"/>
                <a:gd name="connsiteY8" fmla="*/ 83233 h 183180"/>
                <a:gd name="connsiteX9" fmla="*/ 153800 w 277462"/>
                <a:gd name="connsiteY9" fmla="*/ 178785 h 183180"/>
                <a:gd name="connsiteX10" fmla="*/ 149358 w 277462"/>
                <a:gd name="connsiteY10" fmla="*/ 183181 h 183180"/>
                <a:gd name="connsiteX11" fmla="*/ 98023 w 277462"/>
                <a:gd name="connsiteY11" fmla="*/ 183181 h 183180"/>
                <a:gd name="connsiteX12" fmla="*/ 93571 w 277462"/>
                <a:gd name="connsiteY12" fmla="*/ 178822 h 183180"/>
                <a:gd name="connsiteX13" fmla="*/ 93571 w 277462"/>
                <a:gd name="connsiteY13" fmla="*/ 178785 h 183180"/>
                <a:gd name="connsiteX14" fmla="*/ 93683 w 277462"/>
                <a:gd name="connsiteY14" fmla="*/ 8694 h 183180"/>
                <a:gd name="connsiteX15" fmla="*/ 98022 w 277462"/>
                <a:gd name="connsiteY15" fmla="*/ 4244 h 183180"/>
                <a:gd name="connsiteX16" fmla="*/ 98125 w 277462"/>
                <a:gd name="connsiteY16" fmla="*/ 4243 h 183180"/>
                <a:gd name="connsiteX17" fmla="*/ 149349 w 277462"/>
                <a:gd name="connsiteY17" fmla="*/ 4243 h 183180"/>
                <a:gd name="connsiteX18" fmla="*/ 153800 w 277462"/>
                <a:gd name="connsiteY18" fmla="*/ 8639 h 183180"/>
                <a:gd name="connsiteX19" fmla="*/ 153800 w 277462"/>
                <a:gd name="connsiteY19" fmla="*/ 29607 h 183180"/>
                <a:gd name="connsiteX20" fmla="*/ 153400 w 277462"/>
                <a:gd name="connsiteY20" fmla="*/ 30187 h 183180"/>
                <a:gd name="connsiteX21" fmla="*/ 153800 w 277462"/>
                <a:gd name="connsiteY21" fmla="*/ 30187 h 183180"/>
                <a:gd name="connsiteX22" fmla="*/ 153800 w 277462"/>
                <a:gd name="connsiteY22" fmla="*/ 29607 h 183180"/>
                <a:gd name="connsiteX23" fmla="*/ 208097 w 277462"/>
                <a:gd name="connsiteY23" fmla="*/ 50 h 183180"/>
                <a:gd name="connsiteX24" fmla="*/ 277454 w 277462"/>
                <a:gd name="connsiteY24" fmla="*/ 80566 h 183180"/>
                <a:gd name="connsiteX25" fmla="*/ 4452 w 277462"/>
                <a:gd name="connsiteY25" fmla="*/ 183181 h 183180"/>
                <a:gd name="connsiteX26" fmla="*/ 55787 w 277462"/>
                <a:gd name="connsiteY26" fmla="*/ 183181 h 183180"/>
                <a:gd name="connsiteX27" fmla="*/ 60239 w 277462"/>
                <a:gd name="connsiteY27" fmla="*/ 178794 h 183180"/>
                <a:gd name="connsiteX28" fmla="*/ 60239 w 277462"/>
                <a:gd name="connsiteY28" fmla="*/ 8639 h 183180"/>
                <a:gd name="connsiteX29" fmla="*/ 55787 w 277462"/>
                <a:gd name="connsiteY29" fmla="*/ 4243 h 183180"/>
                <a:gd name="connsiteX30" fmla="*/ 4452 w 277462"/>
                <a:gd name="connsiteY30" fmla="*/ 4243 h 183180"/>
                <a:gd name="connsiteX31" fmla="*/ 0 w 277462"/>
                <a:gd name="connsiteY31" fmla="*/ 8639 h 183180"/>
                <a:gd name="connsiteX32" fmla="*/ 0 w 277462"/>
                <a:gd name="connsiteY32" fmla="*/ 178776 h 183180"/>
                <a:gd name="connsiteX33" fmla="*/ 4442 w 277462"/>
                <a:gd name="connsiteY33" fmla="*/ 183181 h 183180"/>
                <a:gd name="connsiteX34" fmla="*/ 4452 w 277462"/>
                <a:gd name="connsiteY34" fmla="*/ 183181 h 18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77462" h="183180">
                  <a:moveTo>
                    <a:pt x="277463" y="80575"/>
                  </a:moveTo>
                  <a:lnTo>
                    <a:pt x="277463" y="178794"/>
                  </a:lnTo>
                  <a:cubicBezTo>
                    <a:pt x="277458" y="181218"/>
                    <a:pt x="275466" y="183181"/>
                    <a:pt x="273011" y="183181"/>
                  </a:cubicBezTo>
                  <a:lnTo>
                    <a:pt x="221667" y="183181"/>
                  </a:lnTo>
                  <a:cubicBezTo>
                    <a:pt x="219212" y="183181"/>
                    <a:pt x="217220" y="181218"/>
                    <a:pt x="217215" y="178794"/>
                  </a:cubicBezTo>
                  <a:lnTo>
                    <a:pt x="217215" y="87445"/>
                  </a:lnTo>
                  <a:cubicBezTo>
                    <a:pt x="217215" y="63405"/>
                    <a:pt x="208516" y="46980"/>
                    <a:pt x="186704" y="46980"/>
                  </a:cubicBezTo>
                  <a:cubicBezTo>
                    <a:pt x="172783" y="47058"/>
                    <a:pt x="160414" y="55768"/>
                    <a:pt x="155803" y="68739"/>
                  </a:cubicBezTo>
                  <a:cubicBezTo>
                    <a:pt x="154251" y="73410"/>
                    <a:pt x="153573" y="78321"/>
                    <a:pt x="153800" y="83233"/>
                  </a:cubicBezTo>
                  <a:lnTo>
                    <a:pt x="153800" y="178785"/>
                  </a:lnTo>
                  <a:cubicBezTo>
                    <a:pt x="153800" y="181209"/>
                    <a:pt x="151813" y="183176"/>
                    <a:pt x="149358" y="183181"/>
                  </a:cubicBezTo>
                  <a:lnTo>
                    <a:pt x="98023" y="183181"/>
                  </a:lnTo>
                  <a:cubicBezTo>
                    <a:pt x="95575" y="183191"/>
                    <a:pt x="93581" y="181239"/>
                    <a:pt x="93571" y="178822"/>
                  </a:cubicBezTo>
                  <a:cubicBezTo>
                    <a:pt x="93571" y="178809"/>
                    <a:pt x="93571" y="178797"/>
                    <a:pt x="93571" y="178785"/>
                  </a:cubicBezTo>
                  <a:cubicBezTo>
                    <a:pt x="93683" y="154460"/>
                    <a:pt x="94204" y="36431"/>
                    <a:pt x="93683" y="8694"/>
                  </a:cubicBezTo>
                  <a:cubicBezTo>
                    <a:pt x="93637" y="6282"/>
                    <a:pt x="95579" y="4290"/>
                    <a:pt x="98022" y="4244"/>
                  </a:cubicBezTo>
                  <a:cubicBezTo>
                    <a:pt x="98056" y="4243"/>
                    <a:pt x="98091" y="4243"/>
                    <a:pt x="98125" y="4243"/>
                  </a:cubicBezTo>
                  <a:lnTo>
                    <a:pt x="149349" y="4243"/>
                  </a:lnTo>
                  <a:cubicBezTo>
                    <a:pt x="151807" y="4243"/>
                    <a:pt x="153800" y="6211"/>
                    <a:pt x="153800" y="8639"/>
                  </a:cubicBezTo>
                  <a:lnTo>
                    <a:pt x="153800" y="29607"/>
                  </a:lnTo>
                  <a:cubicBezTo>
                    <a:pt x="153679" y="29801"/>
                    <a:pt x="153512" y="29994"/>
                    <a:pt x="153400" y="30187"/>
                  </a:cubicBezTo>
                  <a:lnTo>
                    <a:pt x="153800" y="30187"/>
                  </a:lnTo>
                  <a:lnTo>
                    <a:pt x="153800" y="29607"/>
                  </a:lnTo>
                  <a:cubicBezTo>
                    <a:pt x="164913" y="10539"/>
                    <a:pt x="185836" y="-851"/>
                    <a:pt x="208097" y="50"/>
                  </a:cubicBezTo>
                  <a:cubicBezTo>
                    <a:pt x="247735" y="50"/>
                    <a:pt x="277454" y="25616"/>
                    <a:pt x="277454" y="80566"/>
                  </a:cubicBezTo>
                  <a:close/>
                  <a:moveTo>
                    <a:pt x="4452" y="183181"/>
                  </a:moveTo>
                  <a:lnTo>
                    <a:pt x="55787" y="183181"/>
                  </a:lnTo>
                  <a:cubicBezTo>
                    <a:pt x="58242" y="183181"/>
                    <a:pt x="60234" y="181218"/>
                    <a:pt x="60239" y="178794"/>
                  </a:cubicBezTo>
                  <a:lnTo>
                    <a:pt x="60239" y="8639"/>
                  </a:lnTo>
                  <a:cubicBezTo>
                    <a:pt x="60239" y="6211"/>
                    <a:pt x="58246" y="4243"/>
                    <a:pt x="55787" y="4243"/>
                  </a:cubicBezTo>
                  <a:lnTo>
                    <a:pt x="4452" y="4243"/>
                  </a:lnTo>
                  <a:cubicBezTo>
                    <a:pt x="1993" y="4243"/>
                    <a:pt x="0" y="6211"/>
                    <a:pt x="0" y="8639"/>
                  </a:cubicBezTo>
                  <a:lnTo>
                    <a:pt x="0" y="178776"/>
                  </a:lnTo>
                  <a:cubicBezTo>
                    <a:pt x="-5" y="181203"/>
                    <a:pt x="1984" y="183176"/>
                    <a:pt x="4442" y="183181"/>
                  </a:cubicBezTo>
                  <a:cubicBezTo>
                    <a:pt x="4446" y="183181"/>
                    <a:pt x="4449" y="183181"/>
                    <a:pt x="4452" y="183181"/>
                  </a:cubicBezTo>
                  <a:close/>
                </a:path>
              </a:pathLst>
            </a:custGeom>
            <a:grpFill/>
            <a:ln w="920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26">
                <a:latin typeface="AvenirNext LT Pro Regular" panose="020B0504020202020204" pitchFamily="34" charset="77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536C2085-3059-D347-8C15-2AD3D8FEE8DE}"/>
                </a:ext>
              </a:extLst>
            </p:cNvPr>
            <p:cNvSpPr/>
            <p:nvPr/>
          </p:nvSpPr>
          <p:spPr>
            <a:xfrm>
              <a:off x="7329020" y="5440182"/>
              <a:ext cx="64504" cy="63695"/>
            </a:xfrm>
            <a:custGeom>
              <a:avLst/>
              <a:gdLst>
                <a:gd name="connsiteX0" fmla="*/ 64504 w 64504"/>
                <a:gd name="connsiteY0" fmla="*/ 31848 h 63695"/>
                <a:gd name="connsiteX1" fmla="*/ 32252 w 64504"/>
                <a:gd name="connsiteY1" fmla="*/ 63695 h 63695"/>
                <a:gd name="connsiteX2" fmla="*/ 0 w 64504"/>
                <a:gd name="connsiteY2" fmla="*/ 31848 h 63695"/>
                <a:gd name="connsiteX3" fmla="*/ 32252 w 64504"/>
                <a:gd name="connsiteY3" fmla="*/ 0 h 63695"/>
                <a:gd name="connsiteX4" fmla="*/ 64504 w 64504"/>
                <a:gd name="connsiteY4" fmla="*/ 31848 h 63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504" h="63695">
                  <a:moveTo>
                    <a:pt x="64504" y="31848"/>
                  </a:moveTo>
                  <a:cubicBezTo>
                    <a:pt x="64504" y="49437"/>
                    <a:pt x="50064" y="63695"/>
                    <a:pt x="32252" y="63695"/>
                  </a:cubicBezTo>
                  <a:cubicBezTo>
                    <a:pt x="14440" y="63695"/>
                    <a:pt x="0" y="49437"/>
                    <a:pt x="0" y="31848"/>
                  </a:cubicBezTo>
                  <a:cubicBezTo>
                    <a:pt x="0" y="14259"/>
                    <a:pt x="14440" y="0"/>
                    <a:pt x="32252" y="0"/>
                  </a:cubicBezTo>
                  <a:cubicBezTo>
                    <a:pt x="50062" y="5"/>
                    <a:pt x="64499" y="14261"/>
                    <a:pt x="64504" y="31848"/>
                  </a:cubicBezTo>
                  <a:close/>
                </a:path>
              </a:pathLst>
            </a:custGeom>
            <a:grpFill/>
            <a:ln w="920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26">
                <a:latin typeface="AvenirNext LT Pro Regular" panose="020B0504020202020204" pitchFamily="34" charset="77"/>
              </a:endParaRPr>
            </a:p>
          </p:txBody>
        </p:sp>
      </p:grpSp>
      <p:sp>
        <p:nvSpPr>
          <p:cNvPr id="15" name="Graphic 60">
            <a:extLst>
              <a:ext uri="{FF2B5EF4-FFF2-40B4-BE49-F238E27FC236}">
                <a16:creationId xmlns:a16="http://schemas.microsoft.com/office/drawing/2014/main" id="{92142D65-F03C-CB48-AE93-151AE8B85CE9}"/>
              </a:ext>
            </a:extLst>
          </p:cNvPr>
          <p:cNvSpPr/>
          <p:nvPr/>
        </p:nvSpPr>
        <p:spPr>
          <a:xfrm>
            <a:off x="669177" y="3860800"/>
            <a:ext cx="192088" cy="138113"/>
          </a:xfrm>
          <a:custGeom>
            <a:avLst/>
            <a:gdLst>
              <a:gd name="connsiteX0" fmla="*/ 315632 w 315632"/>
              <a:gd name="connsiteY0" fmla="*/ 70085 h 225361"/>
              <a:gd name="connsiteX1" fmla="*/ 246922 w 315632"/>
              <a:gd name="connsiteY1" fmla="*/ 0 h 225361"/>
              <a:gd name="connsiteX2" fmla="*/ 68711 w 315632"/>
              <a:gd name="connsiteY2" fmla="*/ 0 h 225361"/>
              <a:gd name="connsiteX3" fmla="*/ 0 w 315632"/>
              <a:gd name="connsiteY3" fmla="*/ 70085 h 225361"/>
              <a:gd name="connsiteX4" fmla="*/ 0 w 315632"/>
              <a:gd name="connsiteY4" fmla="*/ 155258 h 225361"/>
              <a:gd name="connsiteX5" fmla="*/ 68692 w 315632"/>
              <a:gd name="connsiteY5" fmla="*/ 225362 h 225361"/>
              <a:gd name="connsiteX6" fmla="*/ 68711 w 315632"/>
              <a:gd name="connsiteY6" fmla="*/ 225362 h 225361"/>
              <a:gd name="connsiteX7" fmla="*/ 246922 w 315632"/>
              <a:gd name="connsiteY7" fmla="*/ 225362 h 225361"/>
              <a:gd name="connsiteX8" fmla="*/ 315632 w 315632"/>
              <a:gd name="connsiteY8" fmla="*/ 155277 h 225361"/>
              <a:gd name="connsiteX9" fmla="*/ 315632 w 315632"/>
              <a:gd name="connsiteY9" fmla="*/ 155258 h 225361"/>
              <a:gd name="connsiteX10" fmla="*/ 203191 w 315632"/>
              <a:gd name="connsiteY10" fmla="*/ 116977 h 225361"/>
              <a:gd name="connsiteX11" fmla="*/ 132117 w 315632"/>
              <a:gd name="connsiteY11" fmla="*/ 156734 h 225361"/>
              <a:gd name="connsiteX12" fmla="*/ 126253 w 315632"/>
              <a:gd name="connsiteY12" fmla="*/ 152571 h 225361"/>
              <a:gd name="connsiteX13" fmla="*/ 126253 w 315632"/>
              <a:gd name="connsiteY13" fmla="*/ 70961 h 225361"/>
              <a:gd name="connsiteX14" fmla="*/ 132211 w 315632"/>
              <a:gd name="connsiteY14" fmla="*/ 66846 h 225361"/>
              <a:gd name="connsiteX15" fmla="*/ 203770 w 315632"/>
              <a:gd name="connsiteY15" fmla="*/ 108699 h 225361"/>
              <a:gd name="connsiteX16" fmla="*/ 205088 w 315632"/>
              <a:gd name="connsiteY16" fmla="*/ 115299 h 225361"/>
              <a:gd name="connsiteX17" fmla="*/ 203191 w 315632"/>
              <a:gd name="connsiteY17" fmla="*/ 116977 h 22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15632" h="225361">
                <a:moveTo>
                  <a:pt x="315632" y="70085"/>
                </a:moveTo>
                <a:cubicBezTo>
                  <a:pt x="315632" y="31378"/>
                  <a:pt x="284870" y="0"/>
                  <a:pt x="246922" y="0"/>
                </a:cubicBezTo>
                <a:lnTo>
                  <a:pt x="68711" y="0"/>
                </a:lnTo>
                <a:cubicBezTo>
                  <a:pt x="30763" y="0"/>
                  <a:pt x="0" y="31378"/>
                  <a:pt x="0" y="70085"/>
                </a:cubicBezTo>
                <a:lnTo>
                  <a:pt x="0" y="155258"/>
                </a:lnTo>
                <a:cubicBezTo>
                  <a:pt x="-10" y="193964"/>
                  <a:pt x="30744" y="225351"/>
                  <a:pt x="68692" y="225362"/>
                </a:cubicBezTo>
                <a:cubicBezTo>
                  <a:pt x="68698" y="225362"/>
                  <a:pt x="68705" y="225362"/>
                  <a:pt x="68711" y="225362"/>
                </a:cubicBezTo>
                <a:lnTo>
                  <a:pt x="246922" y="225362"/>
                </a:lnTo>
                <a:cubicBezTo>
                  <a:pt x="284870" y="225362"/>
                  <a:pt x="315632" y="193983"/>
                  <a:pt x="315632" y="155277"/>
                </a:cubicBezTo>
                <a:cubicBezTo>
                  <a:pt x="315632" y="155270"/>
                  <a:pt x="315632" y="155264"/>
                  <a:pt x="315632" y="155258"/>
                </a:cubicBezTo>
                <a:close/>
                <a:moveTo>
                  <a:pt x="203191" y="116977"/>
                </a:moveTo>
                <a:lnTo>
                  <a:pt x="132117" y="156734"/>
                </a:lnTo>
                <a:cubicBezTo>
                  <a:pt x="129036" y="158439"/>
                  <a:pt x="126253" y="156153"/>
                  <a:pt x="126253" y="152571"/>
                </a:cubicBezTo>
                <a:lnTo>
                  <a:pt x="126253" y="70961"/>
                </a:lnTo>
                <a:cubicBezTo>
                  <a:pt x="126253" y="67332"/>
                  <a:pt x="129120" y="65056"/>
                  <a:pt x="132211" y="66846"/>
                </a:cubicBezTo>
                <a:lnTo>
                  <a:pt x="203770" y="108699"/>
                </a:lnTo>
                <a:cubicBezTo>
                  <a:pt x="205920" y="110150"/>
                  <a:pt x="206511" y="113105"/>
                  <a:pt x="205088" y="115299"/>
                </a:cubicBezTo>
                <a:cubicBezTo>
                  <a:pt x="204618" y="116024"/>
                  <a:pt x="203961" y="116605"/>
                  <a:pt x="203191" y="116977"/>
                </a:cubicBezTo>
                <a:close/>
              </a:path>
            </a:pathLst>
          </a:custGeom>
          <a:solidFill>
            <a:schemeClr val="bg1"/>
          </a:solidFill>
          <a:ln w="9245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26">
              <a:latin typeface="AvenirNext LT Pro Regular" panose="020B0504020202020204" pitchFamily="34" charset="77"/>
            </a:endParaRPr>
          </a:p>
        </p:txBody>
      </p:sp>
      <p:sp>
        <p:nvSpPr>
          <p:cNvPr id="16" name="Subtitle 6">
            <a:extLst>
              <a:ext uri="{FF2B5EF4-FFF2-40B4-BE49-F238E27FC236}">
                <a16:creationId xmlns:a16="http://schemas.microsoft.com/office/drawing/2014/main" id="{67BB9B40-A322-BA42-BC65-571F894DD7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4440" y="3525838"/>
            <a:ext cx="3244850" cy="111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188" tIns="76188" rIns="76188" bIns="76188"/>
          <a:lstStyle>
            <a:lvl1pPr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400" eaLnBrk="1" hangingPunct="1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en-US" sz="1000" err="1">
                <a:solidFill>
                  <a:schemeClr val="bg1"/>
                </a:solidFill>
                <a:latin typeface="AvenirNext LT Pro Regular" panose="020B0504020202020204" pitchFamily="34" charset="77"/>
              </a:rPr>
              <a:t>linkedin.com</a:t>
            </a:r>
            <a:r>
              <a:rPr lang="en-US" altLang="en-US" sz="1000">
                <a:solidFill>
                  <a:schemeClr val="bg1"/>
                </a:solidFill>
                <a:latin typeface="AvenirNext LT Pro Regular" panose="020B0504020202020204" pitchFamily="34" charset="77"/>
              </a:rPr>
              <a:t>/company/</a:t>
            </a:r>
            <a:r>
              <a:rPr lang="en-US" altLang="en-US" sz="1000" err="1">
                <a:solidFill>
                  <a:schemeClr val="bg1"/>
                </a:solidFill>
                <a:latin typeface="AvenirNext LT Pro Regular" panose="020B0504020202020204" pitchFamily="34" charset="77"/>
              </a:rPr>
              <a:t>ellab</a:t>
            </a:r>
            <a:r>
              <a:rPr lang="en-US" altLang="en-US" sz="1000">
                <a:solidFill>
                  <a:schemeClr val="bg1"/>
                </a:solidFill>
                <a:latin typeface="AvenirNext LT Pro Regular" panose="020B0504020202020204" pitchFamily="34" charset="77"/>
              </a:rPr>
              <a:t>/</a:t>
            </a:r>
          </a:p>
          <a:p>
            <a:pPr defTabSz="914400" eaLnBrk="1" hangingPunct="1">
              <a:lnSpc>
                <a:spcPct val="90000"/>
              </a:lnSpc>
              <a:buFont typeface="Arial" panose="020B0604020202020204" pitchFamily="34" charset="0"/>
              <a:buNone/>
            </a:pPr>
            <a:endParaRPr lang="en-US" altLang="en-US" sz="1000">
              <a:solidFill>
                <a:schemeClr val="bg1"/>
              </a:solidFill>
              <a:latin typeface="AvenirNext LT Pro Regular" panose="020B0504020202020204" pitchFamily="34" charset="77"/>
            </a:endParaRPr>
          </a:p>
          <a:p>
            <a:pPr defTabSz="914400" eaLnBrk="1" hangingPunct="1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en-US" sz="1000" err="1">
                <a:solidFill>
                  <a:schemeClr val="bg1"/>
                </a:solidFill>
                <a:latin typeface="AvenirNext LT Pro Regular" panose="020B0504020202020204" pitchFamily="34" charset="77"/>
              </a:rPr>
              <a:t>youtube.com</a:t>
            </a:r>
            <a:r>
              <a:rPr lang="en-US" altLang="en-US" sz="1000">
                <a:solidFill>
                  <a:schemeClr val="bg1"/>
                </a:solidFill>
                <a:latin typeface="AvenirNext LT Pro Regular" panose="020B0504020202020204" pitchFamily="34" charset="77"/>
              </a:rPr>
              <a:t>/c/</a:t>
            </a:r>
            <a:r>
              <a:rPr lang="en-US" altLang="en-US" sz="1000" err="1">
                <a:solidFill>
                  <a:schemeClr val="bg1"/>
                </a:solidFill>
                <a:latin typeface="AvenirNext LT Pro Regular" panose="020B0504020202020204" pitchFamily="34" charset="77"/>
              </a:rPr>
              <a:t>EllabValidationMonitoringSolutions</a:t>
            </a:r>
            <a:endParaRPr lang="en-US" altLang="en-US" sz="1000" u="sng">
              <a:solidFill>
                <a:schemeClr val="bg1"/>
              </a:solidFill>
              <a:latin typeface="AvenirNext LT Pro Regular" panose="020B0504020202020204" pitchFamily="34" charset="77"/>
            </a:endParaRPr>
          </a:p>
          <a:p>
            <a:pPr defTabSz="914400" eaLnBrk="1" hangingPunct="1">
              <a:lnSpc>
                <a:spcPct val="90000"/>
              </a:lnSpc>
              <a:buFont typeface="Arial" panose="020B0604020202020204" pitchFamily="34" charset="0"/>
              <a:buNone/>
            </a:pPr>
            <a:endParaRPr lang="en-US" altLang="en-US" sz="1000">
              <a:solidFill>
                <a:schemeClr val="bg1"/>
              </a:solidFill>
              <a:latin typeface="AvenirNext LT Pro Regular" panose="020B0504020202020204" pitchFamily="34" charset="77"/>
            </a:endParaRPr>
          </a:p>
          <a:p>
            <a:pPr defTabSz="914400" eaLnBrk="1" hangingPunct="1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en-US" sz="1000" err="1">
                <a:solidFill>
                  <a:schemeClr val="bg1"/>
                </a:solidFill>
                <a:latin typeface="AvenirNext LT Pro Regular" panose="020B0504020202020204" pitchFamily="34" charset="77"/>
              </a:rPr>
              <a:t>twitter.com</a:t>
            </a:r>
            <a:r>
              <a:rPr lang="en-US" altLang="en-US" sz="1000">
                <a:solidFill>
                  <a:schemeClr val="bg1"/>
                </a:solidFill>
                <a:latin typeface="AvenirNext LT Pro Regular" panose="020B0504020202020204" pitchFamily="34" charset="77"/>
              </a:rPr>
              <a:t>/</a:t>
            </a:r>
            <a:r>
              <a:rPr lang="en-US" altLang="en-US" sz="1000" err="1">
                <a:solidFill>
                  <a:schemeClr val="bg1"/>
                </a:solidFill>
                <a:latin typeface="AvenirNext LT Pro Regular" panose="020B0504020202020204" pitchFamily="34" charset="77"/>
              </a:rPr>
              <a:t>ellabsolutions</a:t>
            </a:r>
            <a:endParaRPr lang="en-US" altLang="en-US" sz="1000">
              <a:solidFill>
                <a:schemeClr val="bg1"/>
              </a:solidFill>
              <a:latin typeface="AvenirNext LT Pro Regular" panose="020B0504020202020204" pitchFamily="34" charset="77"/>
            </a:endParaRPr>
          </a:p>
        </p:txBody>
      </p:sp>
      <p:sp>
        <p:nvSpPr>
          <p:cNvPr id="18" name="Graphic 2">
            <a:extLst>
              <a:ext uri="{FF2B5EF4-FFF2-40B4-BE49-F238E27FC236}">
                <a16:creationId xmlns:a16="http://schemas.microsoft.com/office/drawing/2014/main" id="{C8E90FFF-798C-944B-A603-6342E7598F3A}"/>
              </a:ext>
            </a:extLst>
          </p:cNvPr>
          <p:cNvSpPr/>
          <p:nvPr/>
        </p:nvSpPr>
        <p:spPr>
          <a:xfrm>
            <a:off x="-2987" y="4941888"/>
            <a:ext cx="1803026" cy="319142"/>
          </a:xfrm>
          <a:custGeom>
            <a:avLst/>
            <a:gdLst>
              <a:gd name="connsiteX0" fmla="*/ 1704137 w 1943442"/>
              <a:gd name="connsiteY0" fmla="*/ 382972 h 383495"/>
              <a:gd name="connsiteX1" fmla="*/ 0 w 1943442"/>
              <a:gd name="connsiteY1" fmla="*/ 383496 h 383495"/>
              <a:gd name="connsiteX2" fmla="*/ 0 w 1943442"/>
              <a:gd name="connsiteY2" fmla="*/ 524 h 383495"/>
              <a:gd name="connsiteX3" fmla="*/ 1943443 w 1943442"/>
              <a:gd name="connsiteY3" fmla="*/ 0 h 383495"/>
              <a:gd name="connsiteX4" fmla="*/ 1704137 w 1943442"/>
              <a:gd name="connsiteY4" fmla="*/ 382972 h 383495"/>
              <a:gd name="connsiteX0" fmla="*/ 2733497 w 2972803"/>
              <a:gd name="connsiteY0" fmla="*/ 382972 h 387630"/>
              <a:gd name="connsiteX1" fmla="*/ 0 w 2972803"/>
              <a:gd name="connsiteY1" fmla="*/ 387630 h 387630"/>
              <a:gd name="connsiteX2" fmla="*/ 1029360 w 2972803"/>
              <a:gd name="connsiteY2" fmla="*/ 524 h 387630"/>
              <a:gd name="connsiteX3" fmla="*/ 2972803 w 2972803"/>
              <a:gd name="connsiteY3" fmla="*/ 0 h 387630"/>
              <a:gd name="connsiteX4" fmla="*/ 2733497 w 2972803"/>
              <a:gd name="connsiteY4" fmla="*/ 382972 h 387630"/>
              <a:gd name="connsiteX0" fmla="*/ 2733497 w 2972803"/>
              <a:gd name="connsiteY0" fmla="*/ 382972 h 387630"/>
              <a:gd name="connsiteX1" fmla="*/ 0 w 2972803"/>
              <a:gd name="connsiteY1" fmla="*/ 387630 h 387630"/>
              <a:gd name="connsiteX2" fmla="*/ 0 w 2972803"/>
              <a:gd name="connsiteY2" fmla="*/ 523 h 387630"/>
              <a:gd name="connsiteX3" fmla="*/ 2972803 w 2972803"/>
              <a:gd name="connsiteY3" fmla="*/ 0 h 387630"/>
              <a:gd name="connsiteX4" fmla="*/ 2733497 w 2972803"/>
              <a:gd name="connsiteY4" fmla="*/ 382972 h 387630"/>
              <a:gd name="connsiteX0" fmla="*/ 2733497 w 2972803"/>
              <a:gd name="connsiteY0" fmla="*/ 382972 h 387630"/>
              <a:gd name="connsiteX1" fmla="*/ 0 w 2972803"/>
              <a:gd name="connsiteY1" fmla="*/ 387630 h 387630"/>
              <a:gd name="connsiteX2" fmla="*/ 782842 w 2972803"/>
              <a:gd name="connsiteY2" fmla="*/ 523 h 387630"/>
              <a:gd name="connsiteX3" fmla="*/ 2972803 w 2972803"/>
              <a:gd name="connsiteY3" fmla="*/ 0 h 387630"/>
              <a:gd name="connsiteX4" fmla="*/ 2733497 w 2972803"/>
              <a:gd name="connsiteY4" fmla="*/ 382972 h 387630"/>
              <a:gd name="connsiteX0" fmla="*/ 1950655 w 2189961"/>
              <a:gd name="connsiteY0" fmla="*/ 382972 h 387630"/>
              <a:gd name="connsiteX1" fmla="*/ 0 w 2189961"/>
              <a:gd name="connsiteY1" fmla="*/ 387630 h 387630"/>
              <a:gd name="connsiteX2" fmla="*/ 0 w 2189961"/>
              <a:gd name="connsiteY2" fmla="*/ 523 h 387630"/>
              <a:gd name="connsiteX3" fmla="*/ 2189961 w 2189961"/>
              <a:gd name="connsiteY3" fmla="*/ 0 h 387630"/>
              <a:gd name="connsiteX4" fmla="*/ 1950655 w 2189961"/>
              <a:gd name="connsiteY4" fmla="*/ 382972 h 387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9961" h="387630">
                <a:moveTo>
                  <a:pt x="1950655" y="382972"/>
                </a:moveTo>
                <a:lnTo>
                  <a:pt x="0" y="387630"/>
                </a:lnTo>
                <a:lnTo>
                  <a:pt x="0" y="523"/>
                </a:lnTo>
                <a:lnTo>
                  <a:pt x="2189961" y="0"/>
                </a:lnTo>
                <a:lnTo>
                  <a:pt x="1950655" y="382972"/>
                </a:lnTo>
                <a:close/>
              </a:path>
            </a:pathLst>
          </a:custGeom>
          <a:solidFill>
            <a:srgbClr val="BB283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685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30" b="1">
                <a:solidFill>
                  <a:schemeClr val="bg1"/>
                </a:solidFill>
                <a:latin typeface="AvenirNext LT Pro Medium" panose="020B0504020202020204" pitchFamily="34" charset="77"/>
              </a:rPr>
              <a:t>                ellab.com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D18ECB-274F-4E6C-92EC-03B462C598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6414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D18ECB-274F-4E6C-92EC-03B462C598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81B60C-9581-9E46-BA2A-B96C1A32A4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5311775" cy="411162"/>
          </a:xfrm>
          <a:prstGeom prst="rect">
            <a:avLst/>
          </a:prstGeom>
        </p:spPr>
        <p:txBody>
          <a:bodyPr/>
          <a:lstStyle/>
          <a:p>
            <a:pPr fontAlgn="auto">
              <a:defRPr/>
            </a:pPr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B1E99A5-9448-E644-8DA4-B8B2BD3F59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5848330"/>
              </p:ext>
            </p:extLst>
          </p:nvPr>
        </p:nvGraphicFramePr>
        <p:xfrm>
          <a:off x="713854" y="1373732"/>
          <a:ext cx="4266006" cy="2037294"/>
        </p:xfrm>
        <a:graphic>
          <a:graphicData uri="http://schemas.openxmlformats.org/drawingml/2006/table">
            <a:tbl>
              <a:tblPr>
                <a:solidFill>
                  <a:schemeClr val="bg1"/>
                </a:solidFill>
              </a:tblPr>
              <a:tblGrid>
                <a:gridCol w="2140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59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Medium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itle</a:t>
                      </a: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DK" sz="700" b="1" i="0" u="none" strike="noStrike" cap="none" normalizeH="0" baseline="0">
                        <a:ln>
                          <a:noFill/>
                        </a:ln>
                        <a:solidFill>
                          <a:srgbClr val="58595B"/>
                        </a:solidFill>
                        <a:effectLst/>
                        <a:latin typeface="AvenirNext LT Pro Medium" panose="020B0504020202020204" pitchFamily="34" charset="77"/>
                        <a:cs typeface="Times New Roman" panose="02020603050405020304" pitchFamily="18" charset="0"/>
                      </a:endParaRP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1511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511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1511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1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Medium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itle</a:t>
                      </a: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DK" sz="700" b="1" i="0" u="none" strike="noStrike" cap="none" normalizeH="0" baseline="0">
                        <a:ln>
                          <a:noFill/>
                        </a:ln>
                        <a:solidFill>
                          <a:srgbClr val="58595B"/>
                        </a:solidFill>
                        <a:effectLst/>
                        <a:latin typeface="AvenirNext LT Pro Medium" panose="020B0504020202020204" pitchFamily="34" charset="77"/>
                        <a:cs typeface="Times New Roman" panose="02020603050405020304" pitchFamily="18" charset="0"/>
                      </a:endParaRP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1511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sng" strike="noStrike" cap="none" normalizeH="0" baseline="0" dirty="0">
                          <a:ln>
                            <a:noFill/>
                          </a:ln>
                          <a:solidFill>
                            <a:srgbClr val="1F6898"/>
                          </a:solidFill>
                          <a:effectLst/>
                          <a:latin typeface="AvenirNext LT Pro Regular" panose="020B0504020202020204" pitchFamily="34" charset="77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nk</a:t>
                      </a:r>
                      <a:endParaRPr kumimoji="0" lang="en-US" altLang="en-DK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1F6898"/>
                        </a:solidFill>
                        <a:effectLst/>
                        <a:latin typeface="AvenirNext LT Pro Regular" panose="020B0504020202020204" pitchFamily="34" charset="77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D83333B-E9CE-C3FA-5976-789139A03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S software and IceSpy Hardwa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C05D6A-5052-870E-A1EA-63EC7CA938C2}"/>
              </a:ext>
            </a:extLst>
          </p:cNvPr>
          <p:cNvSpPr txBox="1"/>
          <p:nvPr/>
        </p:nvSpPr>
        <p:spPr>
          <a:xfrm rot="16200000" flipH="1">
            <a:off x="3786829" y="-1439459"/>
            <a:ext cx="1570341" cy="6470291"/>
          </a:xfrm>
          <a:prstGeom prst="roundRect">
            <a:avLst/>
          </a:prstGeom>
          <a:gradFill flip="none" rotWithShape="1">
            <a:gsLst>
              <a:gs pos="0">
                <a:srgbClr val="04213B"/>
              </a:gs>
              <a:gs pos="48000">
                <a:srgbClr val="073560"/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000" b="0">
              <a:solidFill>
                <a:schemeClr val="bg1"/>
              </a:solidFill>
              <a:latin typeface="AvenirNext LT Pro Regular" panose="020B0504020202020204" pitchFamily="34" charset="77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3E16E5-248C-C7F5-380A-C6747044DEED}"/>
              </a:ext>
            </a:extLst>
          </p:cNvPr>
          <p:cNvSpPr/>
          <p:nvPr/>
        </p:nvSpPr>
        <p:spPr>
          <a:xfrm>
            <a:off x="5554462" y="1320481"/>
            <a:ext cx="801843" cy="4966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00" b="1"/>
              <a:t>Serv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A8C252-8043-4115-452E-44EC96AD71F7}"/>
              </a:ext>
            </a:extLst>
          </p:cNvPr>
          <p:cNvSpPr/>
          <p:nvPr/>
        </p:nvSpPr>
        <p:spPr>
          <a:xfrm>
            <a:off x="1451938" y="1319234"/>
            <a:ext cx="804418" cy="49914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00" b="1" dirty="0"/>
              <a:t>Sensor Prob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B7172B-DEC1-A178-92B9-D32A45D72715}"/>
              </a:ext>
            </a:extLst>
          </p:cNvPr>
          <p:cNvSpPr/>
          <p:nvPr/>
        </p:nvSpPr>
        <p:spPr>
          <a:xfrm>
            <a:off x="2396928" y="1319234"/>
            <a:ext cx="1161976" cy="49914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00" b="1"/>
              <a:t>Transmitt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0D5754B-B391-4D96-F76F-46595DA48D94}"/>
              </a:ext>
            </a:extLst>
          </p:cNvPr>
          <p:cNvSpPr/>
          <p:nvPr/>
        </p:nvSpPr>
        <p:spPr>
          <a:xfrm>
            <a:off x="4262265" y="1319234"/>
            <a:ext cx="1161976" cy="49914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00" b="1"/>
              <a:t>Receive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C7272E2-4F37-598D-CA76-B1DACF91A7F2}"/>
              </a:ext>
            </a:extLst>
          </p:cNvPr>
          <p:cNvSpPr/>
          <p:nvPr/>
        </p:nvSpPr>
        <p:spPr>
          <a:xfrm>
            <a:off x="6488403" y="1319234"/>
            <a:ext cx="1066161" cy="49914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/>
              <a:t>Software &amp; Databas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DD125AC-32BE-1C15-8584-A3AA309E6B69}"/>
              </a:ext>
            </a:extLst>
          </p:cNvPr>
          <p:cNvSpPr>
            <a:spLocks noChangeAspect="1"/>
          </p:cNvSpPr>
          <p:nvPr/>
        </p:nvSpPr>
        <p:spPr>
          <a:xfrm>
            <a:off x="4037288" y="1430313"/>
            <a:ext cx="74502" cy="276987"/>
          </a:xfrm>
          <a:custGeom>
            <a:avLst/>
            <a:gdLst>
              <a:gd name="connsiteX0" fmla="*/ 56102 w 95305"/>
              <a:gd name="connsiteY0" fmla="*/ 191453 h 354329"/>
              <a:gd name="connsiteX1" fmla="*/ 0 w 95305"/>
              <a:gd name="connsiteY1" fmla="*/ 325755 h 354329"/>
              <a:gd name="connsiteX2" fmla="*/ 24956 w 95305"/>
              <a:gd name="connsiteY2" fmla="*/ 354330 h 354329"/>
              <a:gd name="connsiteX3" fmla="*/ 30861 w 95305"/>
              <a:gd name="connsiteY3" fmla="*/ 0 h 354329"/>
              <a:gd name="connsiteX4" fmla="*/ 2286 w 95305"/>
              <a:gd name="connsiteY4" fmla="*/ 24575 h 354329"/>
              <a:gd name="connsiteX5" fmla="*/ 56102 w 95305"/>
              <a:gd name="connsiteY5" fmla="*/ 191453 h 35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305" h="354329">
                <a:moveTo>
                  <a:pt x="56102" y="191453"/>
                </a:moveTo>
                <a:cubicBezTo>
                  <a:pt x="52582" y="241148"/>
                  <a:pt x="32876" y="288322"/>
                  <a:pt x="0" y="325755"/>
                </a:cubicBezTo>
                <a:lnTo>
                  <a:pt x="24956" y="354330"/>
                </a:lnTo>
                <a:cubicBezTo>
                  <a:pt x="116453" y="254791"/>
                  <a:pt x="118990" y="102533"/>
                  <a:pt x="30861" y="0"/>
                </a:cubicBezTo>
                <a:lnTo>
                  <a:pt x="2286" y="24575"/>
                </a:lnTo>
                <a:cubicBezTo>
                  <a:pt x="41693" y="70836"/>
                  <a:pt x="61058" y="130885"/>
                  <a:pt x="56102" y="191453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FE5CD2B-D5CF-D30F-F4BE-097713203F78}"/>
              </a:ext>
            </a:extLst>
          </p:cNvPr>
          <p:cNvSpPr>
            <a:spLocks noChangeAspect="1"/>
          </p:cNvSpPr>
          <p:nvPr/>
        </p:nvSpPr>
        <p:spPr>
          <a:xfrm>
            <a:off x="4005684" y="1483580"/>
            <a:ext cx="52051" cy="170454"/>
          </a:xfrm>
          <a:custGeom>
            <a:avLst/>
            <a:gdLst>
              <a:gd name="connsiteX0" fmla="*/ 36481 w 75014"/>
              <a:gd name="connsiteY0" fmla="*/ 135255 h 245649"/>
              <a:gd name="connsiteX1" fmla="*/ 5334 w 75014"/>
              <a:gd name="connsiteY1" fmla="*/ 216408 h 245649"/>
              <a:gd name="connsiteX2" fmla="*/ 30480 w 75014"/>
              <a:gd name="connsiteY2" fmla="*/ 245650 h 245649"/>
              <a:gd name="connsiteX3" fmla="*/ 28575 w 75014"/>
              <a:gd name="connsiteY3" fmla="*/ 0 h 245649"/>
              <a:gd name="connsiteX4" fmla="*/ 0 w 75014"/>
              <a:gd name="connsiteY4" fmla="*/ 24575 h 245649"/>
              <a:gd name="connsiteX5" fmla="*/ 36481 w 75014"/>
              <a:gd name="connsiteY5" fmla="*/ 135255 h 24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014" h="245649">
                <a:moveTo>
                  <a:pt x="36481" y="135255"/>
                </a:moveTo>
                <a:cubicBezTo>
                  <a:pt x="34274" y="164773"/>
                  <a:pt x="23443" y="192993"/>
                  <a:pt x="5334" y="216408"/>
                </a:cubicBezTo>
                <a:lnTo>
                  <a:pt x="30480" y="245650"/>
                </a:lnTo>
                <a:cubicBezTo>
                  <a:pt x="90573" y="174524"/>
                  <a:pt x="89765" y="70186"/>
                  <a:pt x="28575" y="0"/>
                </a:cubicBezTo>
                <a:lnTo>
                  <a:pt x="0" y="24575"/>
                </a:lnTo>
                <a:cubicBezTo>
                  <a:pt x="26418" y="55135"/>
                  <a:pt x="39549" y="94975"/>
                  <a:pt x="36481" y="13525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54A2A3E-A5DE-23AE-3B97-23E045162260}"/>
              </a:ext>
            </a:extLst>
          </p:cNvPr>
          <p:cNvSpPr>
            <a:spLocks noChangeAspect="1"/>
          </p:cNvSpPr>
          <p:nvPr/>
        </p:nvSpPr>
        <p:spPr>
          <a:xfrm>
            <a:off x="3883168" y="1542173"/>
            <a:ext cx="53267" cy="53267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98E0070-2736-C2F3-F95C-524AD31C2940}"/>
              </a:ext>
            </a:extLst>
          </p:cNvPr>
          <p:cNvSpPr>
            <a:spLocks noChangeAspect="1"/>
          </p:cNvSpPr>
          <p:nvPr/>
        </p:nvSpPr>
        <p:spPr>
          <a:xfrm>
            <a:off x="3960117" y="1519091"/>
            <a:ext cx="39249" cy="99431"/>
          </a:xfrm>
          <a:custGeom>
            <a:avLst/>
            <a:gdLst>
              <a:gd name="connsiteX0" fmla="*/ 36481 w 75014"/>
              <a:gd name="connsiteY0" fmla="*/ 135255 h 245649"/>
              <a:gd name="connsiteX1" fmla="*/ 5334 w 75014"/>
              <a:gd name="connsiteY1" fmla="*/ 216408 h 245649"/>
              <a:gd name="connsiteX2" fmla="*/ 30480 w 75014"/>
              <a:gd name="connsiteY2" fmla="*/ 245650 h 245649"/>
              <a:gd name="connsiteX3" fmla="*/ 28575 w 75014"/>
              <a:gd name="connsiteY3" fmla="*/ 0 h 245649"/>
              <a:gd name="connsiteX4" fmla="*/ 0 w 75014"/>
              <a:gd name="connsiteY4" fmla="*/ 24575 h 245649"/>
              <a:gd name="connsiteX5" fmla="*/ 36481 w 75014"/>
              <a:gd name="connsiteY5" fmla="*/ 135255 h 24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014" h="245649">
                <a:moveTo>
                  <a:pt x="36481" y="135255"/>
                </a:moveTo>
                <a:cubicBezTo>
                  <a:pt x="34274" y="164773"/>
                  <a:pt x="23443" y="192993"/>
                  <a:pt x="5334" y="216408"/>
                </a:cubicBezTo>
                <a:lnTo>
                  <a:pt x="30480" y="245650"/>
                </a:lnTo>
                <a:cubicBezTo>
                  <a:pt x="90573" y="174524"/>
                  <a:pt x="89765" y="70186"/>
                  <a:pt x="28575" y="0"/>
                </a:cubicBezTo>
                <a:lnTo>
                  <a:pt x="0" y="24575"/>
                </a:lnTo>
                <a:cubicBezTo>
                  <a:pt x="26418" y="55135"/>
                  <a:pt x="39549" y="94975"/>
                  <a:pt x="36481" y="13525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CE18892-7A10-53FF-8AF2-400A83F07DAA}"/>
              </a:ext>
            </a:extLst>
          </p:cNvPr>
          <p:cNvSpPr>
            <a:spLocks noChangeAspect="1"/>
          </p:cNvSpPr>
          <p:nvPr/>
        </p:nvSpPr>
        <p:spPr>
          <a:xfrm flipH="1">
            <a:off x="3703433" y="1430313"/>
            <a:ext cx="74502" cy="276987"/>
          </a:xfrm>
          <a:custGeom>
            <a:avLst/>
            <a:gdLst>
              <a:gd name="connsiteX0" fmla="*/ 56102 w 95305"/>
              <a:gd name="connsiteY0" fmla="*/ 191453 h 354329"/>
              <a:gd name="connsiteX1" fmla="*/ 0 w 95305"/>
              <a:gd name="connsiteY1" fmla="*/ 325755 h 354329"/>
              <a:gd name="connsiteX2" fmla="*/ 24956 w 95305"/>
              <a:gd name="connsiteY2" fmla="*/ 354330 h 354329"/>
              <a:gd name="connsiteX3" fmla="*/ 30861 w 95305"/>
              <a:gd name="connsiteY3" fmla="*/ 0 h 354329"/>
              <a:gd name="connsiteX4" fmla="*/ 2286 w 95305"/>
              <a:gd name="connsiteY4" fmla="*/ 24575 h 354329"/>
              <a:gd name="connsiteX5" fmla="*/ 56102 w 95305"/>
              <a:gd name="connsiteY5" fmla="*/ 191453 h 35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305" h="354329">
                <a:moveTo>
                  <a:pt x="56102" y="191453"/>
                </a:moveTo>
                <a:cubicBezTo>
                  <a:pt x="52582" y="241148"/>
                  <a:pt x="32876" y="288322"/>
                  <a:pt x="0" y="325755"/>
                </a:cubicBezTo>
                <a:lnTo>
                  <a:pt x="24956" y="354330"/>
                </a:lnTo>
                <a:cubicBezTo>
                  <a:pt x="116453" y="254791"/>
                  <a:pt x="118990" y="102533"/>
                  <a:pt x="30861" y="0"/>
                </a:cubicBezTo>
                <a:lnTo>
                  <a:pt x="2286" y="24575"/>
                </a:lnTo>
                <a:cubicBezTo>
                  <a:pt x="41693" y="70836"/>
                  <a:pt x="61058" y="130885"/>
                  <a:pt x="56102" y="191453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98D6DFF-B3A0-5693-6964-35E36C7F9D70}"/>
              </a:ext>
            </a:extLst>
          </p:cNvPr>
          <p:cNvSpPr>
            <a:spLocks noChangeAspect="1"/>
          </p:cNvSpPr>
          <p:nvPr/>
        </p:nvSpPr>
        <p:spPr>
          <a:xfrm flipH="1">
            <a:off x="3755619" y="1483581"/>
            <a:ext cx="52051" cy="170454"/>
          </a:xfrm>
          <a:custGeom>
            <a:avLst/>
            <a:gdLst>
              <a:gd name="connsiteX0" fmla="*/ 36481 w 75014"/>
              <a:gd name="connsiteY0" fmla="*/ 135255 h 245649"/>
              <a:gd name="connsiteX1" fmla="*/ 5334 w 75014"/>
              <a:gd name="connsiteY1" fmla="*/ 216408 h 245649"/>
              <a:gd name="connsiteX2" fmla="*/ 30480 w 75014"/>
              <a:gd name="connsiteY2" fmla="*/ 245650 h 245649"/>
              <a:gd name="connsiteX3" fmla="*/ 28575 w 75014"/>
              <a:gd name="connsiteY3" fmla="*/ 0 h 245649"/>
              <a:gd name="connsiteX4" fmla="*/ 0 w 75014"/>
              <a:gd name="connsiteY4" fmla="*/ 24575 h 245649"/>
              <a:gd name="connsiteX5" fmla="*/ 36481 w 75014"/>
              <a:gd name="connsiteY5" fmla="*/ 135255 h 24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014" h="245649">
                <a:moveTo>
                  <a:pt x="36481" y="135255"/>
                </a:moveTo>
                <a:cubicBezTo>
                  <a:pt x="34274" y="164773"/>
                  <a:pt x="23443" y="192993"/>
                  <a:pt x="5334" y="216408"/>
                </a:cubicBezTo>
                <a:lnTo>
                  <a:pt x="30480" y="245650"/>
                </a:lnTo>
                <a:cubicBezTo>
                  <a:pt x="90573" y="174524"/>
                  <a:pt x="89765" y="70186"/>
                  <a:pt x="28575" y="0"/>
                </a:cubicBezTo>
                <a:lnTo>
                  <a:pt x="0" y="24575"/>
                </a:lnTo>
                <a:cubicBezTo>
                  <a:pt x="26418" y="55135"/>
                  <a:pt x="39549" y="94975"/>
                  <a:pt x="36481" y="13525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F186FE39-F7B8-CEC7-BC6D-5181E20FE3D2}"/>
              </a:ext>
            </a:extLst>
          </p:cNvPr>
          <p:cNvSpPr>
            <a:spLocks noChangeAspect="1"/>
          </p:cNvSpPr>
          <p:nvPr/>
        </p:nvSpPr>
        <p:spPr>
          <a:xfrm flipH="1">
            <a:off x="3814430" y="1519091"/>
            <a:ext cx="39249" cy="99431"/>
          </a:xfrm>
          <a:custGeom>
            <a:avLst/>
            <a:gdLst>
              <a:gd name="connsiteX0" fmla="*/ 36481 w 75014"/>
              <a:gd name="connsiteY0" fmla="*/ 135255 h 245649"/>
              <a:gd name="connsiteX1" fmla="*/ 5334 w 75014"/>
              <a:gd name="connsiteY1" fmla="*/ 216408 h 245649"/>
              <a:gd name="connsiteX2" fmla="*/ 30480 w 75014"/>
              <a:gd name="connsiteY2" fmla="*/ 245650 h 245649"/>
              <a:gd name="connsiteX3" fmla="*/ 28575 w 75014"/>
              <a:gd name="connsiteY3" fmla="*/ 0 h 245649"/>
              <a:gd name="connsiteX4" fmla="*/ 0 w 75014"/>
              <a:gd name="connsiteY4" fmla="*/ 24575 h 245649"/>
              <a:gd name="connsiteX5" fmla="*/ 36481 w 75014"/>
              <a:gd name="connsiteY5" fmla="*/ 135255 h 24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014" h="245649">
                <a:moveTo>
                  <a:pt x="36481" y="135255"/>
                </a:moveTo>
                <a:cubicBezTo>
                  <a:pt x="34274" y="164773"/>
                  <a:pt x="23443" y="192993"/>
                  <a:pt x="5334" y="216408"/>
                </a:cubicBezTo>
                <a:lnTo>
                  <a:pt x="30480" y="245650"/>
                </a:lnTo>
                <a:cubicBezTo>
                  <a:pt x="90573" y="174524"/>
                  <a:pt x="89765" y="70186"/>
                  <a:pt x="28575" y="0"/>
                </a:cubicBezTo>
                <a:lnTo>
                  <a:pt x="0" y="24575"/>
                </a:lnTo>
                <a:cubicBezTo>
                  <a:pt x="26418" y="55135"/>
                  <a:pt x="39549" y="94975"/>
                  <a:pt x="36481" y="13525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78CDED2-AE52-A905-B7AB-7E59F7EF65EC}"/>
              </a:ext>
            </a:extLst>
          </p:cNvPr>
          <p:cNvGrpSpPr>
            <a:grpSpLocks noChangeAspect="1"/>
          </p:cNvGrpSpPr>
          <p:nvPr/>
        </p:nvGrpSpPr>
        <p:grpSpPr>
          <a:xfrm>
            <a:off x="1559483" y="1964494"/>
            <a:ext cx="240389" cy="416677"/>
            <a:chOff x="8831750" y="2593920"/>
            <a:chExt cx="172924" cy="299737"/>
          </a:xfrm>
        </p:grpSpPr>
        <p:sp>
          <p:nvSpPr>
            <p:cNvPr id="25" name="Freeform 117">
              <a:extLst>
                <a:ext uri="{FF2B5EF4-FFF2-40B4-BE49-F238E27FC236}">
                  <a16:creationId xmlns:a16="http://schemas.microsoft.com/office/drawing/2014/main" id="{FFAEC710-45BE-4EF1-FDCC-1DFC4785D148}"/>
                </a:ext>
              </a:extLst>
            </p:cNvPr>
            <p:cNvSpPr/>
            <p:nvPr/>
          </p:nvSpPr>
          <p:spPr>
            <a:xfrm>
              <a:off x="8831750" y="2593920"/>
              <a:ext cx="146420" cy="299737"/>
            </a:xfrm>
            <a:custGeom>
              <a:avLst/>
              <a:gdLst>
                <a:gd name="connsiteX0" fmla="*/ 112731 w 146420"/>
                <a:gd name="connsiteY0" fmla="*/ 164857 h 299737"/>
                <a:gd name="connsiteX1" fmla="*/ 112731 w 146420"/>
                <a:gd name="connsiteY1" fmla="*/ 38594 h 299737"/>
                <a:gd name="connsiteX2" fmla="*/ 72431 w 146420"/>
                <a:gd name="connsiteY2" fmla="*/ 10 h 299737"/>
                <a:gd name="connsiteX3" fmla="*/ 33847 w 146420"/>
                <a:gd name="connsiteY3" fmla="*/ 38594 h 299737"/>
                <a:gd name="connsiteX4" fmla="*/ 33847 w 146420"/>
                <a:gd name="connsiteY4" fmla="*/ 164801 h 299737"/>
                <a:gd name="connsiteX5" fmla="*/ 11499 w 146420"/>
                <a:gd name="connsiteY5" fmla="*/ 265900 h 299737"/>
                <a:gd name="connsiteX6" fmla="*/ 73019 w 146420"/>
                <a:gd name="connsiteY6" fmla="*/ 299738 h 299737"/>
                <a:gd name="connsiteX7" fmla="*/ 73410 w 146420"/>
                <a:gd name="connsiteY7" fmla="*/ 299738 h 299737"/>
                <a:gd name="connsiteX8" fmla="*/ 146420 w 146420"/>
                <a:gd name="connsiteY8" fmla="*/ 226320 h 299737"/>
                <a:gd name="connsiteX9" fmla="*/ 112582 w 146420"/>
                <a:gd name="connsiteY9" fmla="*/ 164801 h 299737"/>
                <a:gd name="connsiteX10" fmla="*/ 42428 w 146420"/>
                <a:gd name="connsiteY10" fmla="*/ 280301 h 299737"/>
                <a:gd name="connsiteX11" fmla="*/ 19701 w 146420"/>
                <a:gd name="connsiteY11" fmla="*/ 195530 h 299737"/>
                <a:gd name="connsiteX12" fmla="*/ 42428 w 146420"/>
                <a:gd name="connsiteY12" fmla="*/ 172803 h 299737"/>
                <a:gd name="connsiteX13" fmla="*/ 45226 w 146420"/>
                <a:gd name="connsiteY13" fmla="*/ 167935 h 299737"/>
                <a:gd name="connsiteX14" fmla="*/ 45226 w 146420"/>
                <a:gd name="connsiteY14" fmla="*/ 38594 h 299737"/>
                <a:gd name="connsiteX15" fmla="*/ 74183 w 146420"/>
                <a:gd name="connsiteY15" fmla="*/ 11088 h 299737"/>
                <a:gd name="connsiteX16" fmla="*/ 101689 w 146420"/>
                <a:gd name="connsiteY16" fmla="*/ 38594 h 299737"/>
                <a:gd name="connsiteX17" fmla="*/ 101689 w 146420"/>
                <a:gd name="connsiteY17" fmla="*/ 167935 h 299737"/>
                <a:gd name="connsiteX18" fmla="*/ 104487 w 146420"/>
                <a:gd name="connsiteY18" fmla="*/ 172803 h 299737"/>
                <a:gd name="connsiteX19" fmla="*/ 127206 w 146420"/>
                <a:gd name="connsiteY19" fmla="*/ 257581 h 299737"/>
                <a:gd name="connsiteX20" fmla="*/ 42428 w 146420"/>
                <a:gd name="connsiteY20" fmla="*/ 280301 h 29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6420" h="299737">
                  <a:moveTo>
                    <a:pt x="112731" y="164857"/>
                  </a:moveTo>
                  <a:lnTo>
                    <a:pt x="112731" y="38594"/>
                  </a:lnTo>
                  <a:cubicBezTo>
                    <a:pt x="112257" y="16811"/>
                    <a:pt x="94215" y="-464"/>
                    <a:pt x="72431" y="10"/>
                  </a:cubicBezTo>
                  <a:cubicBezTo>
                    <a:pt x="51315" y="469"/>
                    <a:pt x="34306" y="17477"/>
                    <a:pt x="33847" y="38594"/>
                  </a:cubicBezTo>
                  <a:lnTo>
                    <a:pt x="33847" y="164801"/>
                  </a:lnTo>
                  <a:cubicBezTo>
                    <a:pt x="-242" y="186547"/>
                    <a:pt x="-10247" y="231811"/>
                    <a:pt x="11499" y="265900"/>
                  </a:cubicBezTo>
                  <a:cubicBezTo>
                    <a:pt x="24907" y="286918"/>
                    <a:pt x="48089" y="299668"/>
                    <a:pt x="73019" y="299738"/>
                  </a:cubicBezTo>
                  <a:lnTo>
                    <a:pt x="73410" y="299738"/>
                  </a:lnTo>
                  <a:cubicBezTo>
                    <a:pt x="113845" y="299625"/>
                    <a:pt x="146532" y="266755"/>
                    <a:pt x="146420" y="226320"/>
                  </a:cubicBezTo>
                  <a:cubicBezTo>
                    <a:pt x="146350" y="201390"/>
                    <a:pt x="133600" y="178209"/>
                    <a:pt x="112582" y="164801"/>
                  </a:cubicBezTo>
                  <a:close/>
                  <a:moveTo>
                    <a:pt x="42428" y="280301"/>
                  </a:moveTo>
                  <a:cubicBezTo>
                    <a:pt x="12743" y="263168"/>
                    <a:pt x="2568" y="225215"/>
                    <a:pt x="19701" y="195530"/>
                  </a:cubicBezTo>
                  <a:cubicBezTo>
                    <a:pt x="25149" y="186090"/>
                    <a:pt x="32988" y="178251"/>
                    <a:pt x="42428" y="172803"/>
                  </a:cubicBezTo>
                  <a:cubicBezTo>
                    <a:pt x="44166" y="171799"/>
                    <a:pt x="45234" y="169942"/>
                    <a:pt x="45226" y="167935"/>
                  </a:cubicBezTo>
                  <a:lnTo>
                    <a:pt x="45226" y="38594"/>
                  </a:lnTo>
                  <a:cubicBezTo>
                    <a:pt x="45626" y="23002"/>
                    <a:pt x="58591" y="10687"/>
                    <a:pt x="74183" y="11088"/>
                  </a:cubicBezTo>
                  <a:cubicBezTo>
                    <a:pt x="89211" y="11474"/>
                    <a:pt x="101302" y="23566"/>
                    <a:pt x="101689" y="38594"/>
                  </a:cubicBezTo>
                  <a:lnTo>
                    <a:pt x="101689" y="167935"/>
                  </a:lnTo>
                  <a:cubicBezTo>
                    <a:pt x="101681" y="169942"/>
                    <a:pt x="102748" y="171799"/>
                    <a:pt x="104487" y="172803"/>
                  </a:cubicBezTo>
                  <a:cubicBezTo>
                    <a:pt x="134171" y="189940"/>
                    <a:pt x="144343" y="227897"/>
                    <a:pt x="127206" y="257581"/>
                  </a:cubicBezTo>
                  <a:cubicBezTo>
                    <a:pt x="110069" y="287266"/>
                    <a:pt x="72112" y="297438"/>
                    <a:pt x="42428" y="280301"/>
                  </a:cubicBezTo>
                  <a:close/>
                </a:path>
              </a:pathLst>
            </a:custGeom>
            <a:solidFill>
              <a:schemeClr val="bg1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6" name="Freeform 118">
              <a:extLst>
                <a:ext uri="{FF2B5EF4-FFF2-40B4-BE49-F238E27FC236}">
                  <a16:creationId xmlns:a16="http://schemas.microsoft.com/office/drawing/2014/main" id="{9C362B13-5C11-F1F3-E164-D39A7238B84B}"/>
                </a:ext>
              </a:extLst>
            </p:cNvPr>
            <p:cNvSpPr/>
            <p:nvPr/>
          </p:nvSpPr>
          <p:spPr>
            <a:xfrm>
              <a:off x="8866338" y="2689537"/>
              <a:ext cx="77719" cy="167963"/>
            </a:xfrm>
            <a:custGeom>
              <a:avLst/>
              <a:gdLst>
                <a:gd name="connsiteX0" fmla="*/ 44455 w 77719"/>
                <a:gd name="connsiteY0" fmla="*/ 90654 h 167963"/>
                <a:gd name="connsiteX1" fmla="*/ 44455 w 77719"/>
                <a:gd name="connsiteY1" fmla="*/ 5596 h 167963"/>
                <a:gd name="connsiteX2" fmla="*/ 38860 w 77719"/>
                <a:gd name="connsiteY2" fmla="*/ 0 h 167963"/>
                <a:gd name="connsiteX3" fmla="*/ 33264 w 77719"/>
                <a:gd name="connsiteY3" fmla="*/ 5596 h 167963"/>
                <a:gd name="connsiteX4" fmla="*/ 33264 w 77719"/>
                <a:gd name="connsiteY4" fmla="*/ 90654 h 167963"/>
                <a:gd name="connsiteX5" fmla="*/ 410 w 77719"/>
                <a:gd name="connsiteY5" fmla="*/ 134700 h 167963"/>
                <a:gd name="connsiteX6" fmla="*/ 44455 w 77719"/>
                <a:gd name="connsiteY6" fmla="*/ 167553 h 167963"/>
                <a:gd name="connsiteX7" fmla="*/ 77309 w 77719"/>
                <a:gd name="connsiteY7" fmla="*/ 123508 h 167963"/>
                <a:gd name="connsiteX8" fmla="*/ 44455 w 77719"/>
                <a:gd name="connsiteY8" fmla="*/ 90654 h 167963"/>
                <a:gd name="connsiteX9" fmla="*/ 38860 w 77719"/>
                <a:gd name="connsiteY9" fmla="*/ 156462 h 167963"/>
                <a:gd name="connsiteX10" fmla="*/ 10620 w 77719"/>
                <a:gd name="connsiteY10" fmla="*/ 129656 h 167963"/>
                <a:gd name="connsiteX11" fmla="*/ 37426 w 77719"/>
                <a:gd name="connsiteY11" fmla="*/ 101417 h 167963"/>
                <a:gd name="connsiteX12" fmla="*/ 38860 w 77719"/>
                <a:gd name="connsiteY12" fmla="*/ 101417 h 167963"/>
                <a:gd name="connsiteX13" fmla="*/ 38860 w 77719"/>
                <a:gd name="connsiteY13" fmla="*/ 101417 h 167963"/>
                <a:gd name="connsiteX14" fmla="*/ 67099 w 77719"/>
                <a:gd name="connsiteY14" fmla="*/ 128223 h 167963"/>
                <a:gd name="connsiteX15" fmla="*/ 40293 w 77719"/>
                <a:gd name="connsiteY15" fmla="*/ 156462 h 167963"/>
                <a:gd name="connsiteX16" fmla="*/ 38860 w 77719"/>
                <a:gd name="connsiteY16" fmla="*/ 156462 h 167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719" h="167963">
                  <a:moveTo>
                    <a:pt x="44455" y="90654"/>
                  </a:moveTo>
                  <a:lnTo>
                    <a:pt x="44455" y="5596"/>
                  </a:lnTo>
                  <a:cubicBezTo>
                    <a:pt x="44455" y="2505"/>
                    <a:pt x="41950" y="0"/>
                    <a:pt x="38860" y="0"/>
                  </a:cubicBezTo>
                  <a:cubicBezTo>
                    <a:pt x="35769" y="0"/>
                    <a:pt x="33264" y="2505"/>
                    <a:pt x="33264" y="5596"/>
                  </a:cubicBezTo>
                  <a:lnTo>
                    <a:pt x="33264" y="90654"/>
                  </a:lnTo>
                  <a:cubicBezTo>
                    <a:pt x="12029" y="93745"/>
                    <a:pt x="-2680" y="113464"/>
                    <a:pt x="410" y="134700"/>
                  </a:cubicBezTo>
                  <a:cubicBezTo>
                    <a:pt x="3501" y="155935"/>
                    <a:pt x="23220" y="170643"/>
                    <a:pt x="44455" y="167553"/>
                  </a:cubicBezTo>
                  <a:cubicBezTo>
                    <a:pt x="65690" y="164462"/>
                    <a:pt x="80399" y="144743"/>
                    <a:pt x="77309" y="123508"/>
                  </a:cubicBezTo>
                  <a:cubicBezTo>
                    <a:pt x="74833" y="106494"/>
                    <a:pt x="61469" y="93130"/>
                    <a:pt x="44455" y="90654"/>
                  </a:cubicBezTo>
                  <a:close/>
                  <a:moveTo>
                    <a:pt x="38860" y="156462"/>
                  </a:moveTo>
                  <a:cubicBezTo>
                    <a:pt x="23659" y="156858"/>
                    <a:pt x="11016" y="144857"/>
                    <a:pt x="10620" y="129656"/>
                  </a:cubicBezTo>
                  <a:cubicBezTo>
                    <a:pt x="10225" y="114456"/>
                    <a:pt x="22226" y="101813"/>
                    <a:pt x="37426" y="101417"/>
                  </a:cubicBezTo>
                  <a:cubicBezTo>
                    <a:pt x="37904" y="101405"/>
                    <a:pt x="38382" y="101405"/>
                    <a:pt x="38860" y="101417"/>
                  </a:cubicBezTo>
                  <a:lnTo>
                    <a:pt x="38860" y="101417"/>
                  </a:lnTo>
                  <a:cubicBezTo>
                    <a:pt x="54060" y="101021"/>
                    <a:pt x="66703" y="113023"/>
                    <a:pt x="67099" y="128223"/>
                  </a:cubicBezTo>
                  <a:cubicBezTo>
                    <a:pt x="67495" y="143424"/>
                    <a:pt x="55493" y="156067"/>
                    <a:pt x="40293" y="156462"/>
                  </a:cubicBezTo>
                  <a:cubicBezTo>
                    <a:pt x="39815" y="156475"/>
                    <a:pt x="39337" y="156475"/>
                    <a:pt x="38860" y="156462"/>
                  </a:cubicBezTo>
                  <a:close/>
                </a:path>
              </a:pathLst>
            </a:custGeom>
            <a:solidFill>
              <a:schemeClr val="bg1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7" name="Freeform 119">
              <a:extLst>
                <a:ext uri="{FF2B5EF4-FFF2-40B4-BE49-F238E27FC236}">
                  <a16:creationId xmlns:a16="http://schemas.microsoft.com/office/drawing/2014/main" id="{35C0AF7A-7CD1-ACB2-C4C8-4817A7795BDA}"/>
                </a:ext>
              </a:extLst>
            </p:cNvPr>
            <p:cNvSpPr/>
            <p:nvPr/>
          </p:nvSpPr>
          <p:spPr>
            <a:xfrm>
              <a:off x="8958452" y="2631619"/>
              <a:ext cx="46222" cy="11191"/>
            </a:xfrm>
            <a:custGeom>
              <a:avLst/>
              <a:gdLst>
                <a:gd name="connsiteX0" fmla="*/ 40627 w 46222"/>
                <a:gd name="connsiteY0" fmla="*/ 0 h 11191"/>
                <a:gd name="connsiteX1" fmla="*/ 5596 w 46222"/>
                <a:gd name="connsiteY1" fmla="*/ 0 h 11191"/>
                <a:gd name="connsiteX2" fmla="*/ 0 w 46222"/>
                <a:gd name="connsiteY2" fmla="*/ 5596 h 11191"/>
                <a:gd name="connsiteX3" fmla="*/ 5596 w 46222"/>
                <a:gd name="connsiteY3" fmla="*/ 11192 h 11191"/>
                <a:gd name="connsiteX4" fmla="*/ 40627 w 46222"/>
                <a:gd name="connsiteY4" fmla="*/ 11192 h 11191"/>
                <a:gd name="connsiteX5" fmla="*/ 46222 w 46222"/>
                <a:gd name="connsiteY5" fmla="*/ 5596 h 11191"/>
                <a:gd name="connsiteX6" fmla="*/ 40627 w 46222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22" h="11191">
                  <a:moveTo>
                    <a:pt x="40627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40627" y="11192"/>
                  </a:lnTo>
                  <a:cubicBezTo>
                    <a:pt x="43717" y="11192"/>
                    <a:pt x="46222" y="8686"/>
                    <a:pt x="46222" y="5596"/>
                  </a:cubicBezTo>
                  <a:cubicBezTo>
                    <a:pt x="46222" y="2505"/>
                    <a:pt x="43717" y="0"/>
                    <a:pt x="40627" y="0"/>
                  </a:cubicBezTo>
                  <a:close/>
                </a:path>
              </a:pathLst>
            </a:custGeom>
            <a:solidFill>
              <a:schemeClr val="bg1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8" name="Freeform 120">
              <a:extLst>
                <a:ext uri="{FF2B5EF4-FFF2-40B4-BE49-F238E27FC236}">
                  <a16:creationId xmlns:a16="http://schemas.microsoft.com/office/drawing/2014/main" id="{89B3026C-D2DB-3A04-A88F-A4B6AA9E4ABC}"/>
                </a:ext>
              </a:extLst>
            </p:cNvPr>
            <p:cNvSpPr/>
            <p:nvPr/>
          </p:nvSpPr>
          <p:spPr>
            <a:xfrm>
              <a:off x="8965503" y="2659654"/>
              <a:ext cx="31710" cy="11191"/>
            </a:xfrm>
            <a:custGeom>
              <a:avLst/>
              <a:gdLst>
                <a:gd name="connsiteX0" fmla="*/ 26114 w 31710"/>
                <a:gd name="connsiteY0" fmla="*/ 0 h 11191"/>
                <a:gd name="connsiteX1" fmla="*/ 5596 w 31710"/>
                <a:gd name="connsiteY1" fmla="*/ 0 h 11191"/>
                <a:gd name="connsiteX2" fmla="*/ 0 w 31710"/>
                <a:gd name="connsiteY2" fmla="*/ 5596 h 11191"/>
                <a:gd name="connsiteX3" fmla="*/ 5596 w 31710"/>
                <a:gd name="connsiteY3" fmla="*/ 11192 h 11191"/>
                <a:gd name="connsiteX4" fmla="*/ 26114 w 31710"/>
                <a:gd name="connsiteY4" fmla="*/ 11192 h 11191"/>
                <a:gd name="connsiteX5" fmla="*/ 31710 w 31710"/>
                <a:gd name="connsiteY5" fmla="*/ 5596 h 11191"/>
                <a:gd name="connsiteX6" fmla="*/ 26114 w 31710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10" h="11191">
                  <a:moveTo>
                    <a:pt x="26114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26114" y="11192"/>
                  </a:lnTo>
                  <a:cubicBezTo>
                    <a:pt x="29205" y="11192"/>
                    <a:pt x="31710" y="8686"/>
                    <a:pt x="31710" y="5596"/>
                  </a:cubicBezTo>
                  <a:cubicBezTo>
                    <a:pt x="31710" y="2505"/>
                    <a:pt x="29205" y="0"/>
                    <a:pt x="26114" y="0"/>
                  </a:cubicBezTo>
                  <a:close/>
                </a:path>
              </a:pathLst>
            </a:custGeom>
            <a:solidFill>
              <a:schemeClr val="bg1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Freeform 121">
              <a:extLst>
                <a:ext uri="{FF2B5EF4-FFF2-40B4-BE49-F238E27FC236}">
                  <a16:creationId xmlns:a16="http://schemas.microsoft.com/office/drawing/2014/main" id="{B1B1D980-D796-CFC3-77A2-06118D5D9C16}"/>
                </a:ext>
              </a:extLst>
            </p:cNvPr>
            <p:cNvSpPr/>
            <p:nvPr/>
          </p:nvSpPr>
          <p:spPr>
            <a:xfrm>
              <a:off x="8958452" y="2687690"/>
              <a:ext cx="46222" cy="11191"/>
            </a:xfrm>
            <a:custGeom>
              <a:avLst/>
              <a:gdLst>
                <a:gd name="connsiteX0" fmla="*/ 40627 w 46222"/>
                <a:gd name="connsiteY0" fmla="*/ 0 h 11191"/>
                <a:gd name="connsiteX1" fmla="*/ 5596 w 46222"/>
                <a:gd name="connsiteY1" fmla="*/ 0 h 11191"/>
                <a:gd name="connsiteX2" fmla="*/ 0 w 46222"/>
                <a:gd name="connsiteY2" fmla="*/ 5596 h 11191"/>
                <a:gd name="connsiteX3" fmla="*/ 5596 w 46222"/>
                <a:gd name="connsiteY3" fmla="*/ 11192 h 11191"/>
                <a:gd name="connsiteX4" fmla="*/ 40627 w 46222"/>
                <a:gd name="connsiteY4" fmla="*/ 11192 h 11191"/>
                <a:gd name="connsiteX5" fmla="*/ 46222 w 46222"/>
                <a:gd name="connsiteY5" fmla="*/ 5596 h 11191"/>
                <a:gd name="connsiteX6" fmla="*/ 40627 w 46222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22" h="11191">
                  <a:moveTo>
                    <a:pt x="40627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7"/>
                    <a:pt x="2505" y="11192"/>
                    <a:pt x="5596" y="11192"/>
                  </a:cubicBezTo>
                  <a:lnTo>
                    <a:pt x="40627" y="11192"/>
                  </a:lnTo>
                  <a:cubicBezTo>
                    <a:pt x="43717" y="11192"/>
                    <a:pt x="46222" y="8686"/>
                    <a:pt x="46222" y="5596"/>
                  </a:cubicBezTo>
                  <a:cubicBezTo>
                    <a:pt x="46222" y="2505"/>
                    <a:pt x="43717" y="0"/>
                    <a:pt x="40627" y="0"/>
                  </a:cubicBezTo>
                  <a:close/>
                </a:path>
              </a:pathLst>
            </a:custGeom>
            <a:solidFill>
              <a:schemeClr val="bg1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0" name="Freeform 122">
              <a:extLst>
                <a:ext uri="{FF2B5EF4-FFF2-40B4-BE49-F238E27FC236}">
                  <a16:creationId xmlns:a16="http://schemas.microsoft.com/office/drawing/2014/main" id="{CAE6612C-4598-97DA-25EC-B0686A5C055C}"/>
                </a:ext>
              </a:extLst>
            </p:cNvPr>
            <p:cNvSpPr/>
            <p:nvPr/>
          </p:nvSpPr>
          <p:spPr>
            <a:xfrm>
              <a:off x="8965503" y="2715707"/>
              <a:ext cx="31710" cy="11191"/>
            </a:xfrm>
            <a:custGeom>
              <a:avLst/>
              <a:gdLst>
                <a:gd name="connsiteX0" fmla="*/ 26114 w 31710"/>
                <a:gd name="connsiteY0" fmla="*/ 0 h 11191"/>
                <a:gd name="connsiteX1" fmla="*/ 5596 w 31710"/>
                <a:gd name="connsiteY1" fmla="*/ 0 h 11191"/>
                <a:gd name="connsiteX2" fmla="*/ 0 w 31710"/>
                <a:gd name="connsiteY2" fmla="*/ 5596 h 11191"/>
                <a:gd name="connsiteX3" fmla="*/ 5596 w 31710"/>
                <a:gd name="connsiteY3" fmla="*/ 11192 h 11191"/>
                <a:gd name="connsiteX4" fmla="*/ 26114 w 31710"/>
                <a:gd name="connsiteY4" fmla="*/ 11192 h 11191"/>
                <a:gd name="connsiteX5" fmla="*/ 31710 w 31710"/>
                <a:gd name="connsiteY5" fmla="*/ 5596 h 11191"/>
                <a:gd name="connsiteX6" fmla="*/ 26114 w 31710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10" h="11191">
                  <a:moveTo>
                    <a:pt x="26114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26114" y="11192"/>
                  </a:lnTo>
                  <a:cubicBezTo>
                    <a:pt x="29205" y="11192"/>
                    <a:pt x="31710" y="8686"/>
                    <a:pt x="31710" y="5596"/>
                  </a:cubicBezTo>
                  <a:cubicBezTo>
                    <a:pt x="31710" y="2505"/>
                    <a:pt x="29205" y="0"/>
                    <a:pt x="26114" y="0"/>
                  </a:cubicBezTo>
                  <a:close/>
                </a:path>
              </a:pathLst>
            </a:custGeom>
            <a:solidFill>
              <a:schemeClr val="bg1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1" name="Freeform 123">
              <a:extLst>
                <a:ext uri="{FF2B5EF4-FFF2-40B4-BE49-F238E27FC236}">
                  <a16:creationId xmlns:a16="http://schemas.microsoft.com/office/drawing/2014/main" id="{515A8802-9ACA-67DB-CF72-3E0E36964419}"/>
                </a:ext>
              </a:extLst>
            </p:cNvPr>
            <p:cNvSpPr/>
            <p:nvPr/>
          </p:nvSpPr>
          <p:spPr>
            <a:xfrm>
              <a:off x="8958452" y="2743743"/>
              <a:ext cx="46222" cy="11191"/>
            </a:xfrm>
            <a:custGeom>
              <a:avLst/>
              <a:gdLst>
                <a:gd name="connsiteX0" fmla="*/ 40627 w 46222"/>
                <a:gd name="connsiteY0" fmla="*/ 0 h 11191"/>
                <a:gd name="connsiteX1" fmla="*/ 5596 w 46222"/>
                <a:gd name="connsiteY1" fmla="*/ 0 h 11191"/>
                <a:gd name="connsiteX2" fmla="*/ 0 w 46222"/>
                <a:gd name="connsiteY2" fmla="*/ 5596 h 11191"/>
                <a:gd name="connsiteX3" fmla="*/ 5596 w 46222"/>
                <a:gd name="connsiteY3" fmla="*/ 11192 h 11191"/>
                <a:gd name="connsiteX4" fmla="*/ 40627 w 46222"/>
                <a:gd name="connsiteY4" fmla="*/ 11192 h 11191"/>
                <a:gd name="connsiteX5" fmla="*/ 46222 w 46222"/>
                <a:gd name="connsiteY5" fmla="*/ 5596 h 11191"/>
                <a:gd name="connsiteX6" fmla="*/ 40627 w 46222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22" h="11191">
                  <a:moveTo>
                    <a:pt x="40627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40627" y="11192"/>
                  </a:lnTo>
                  <a:cubicBezTo>
                    <a:pt x="43717" y="11192"/>
                    <a:pt x="46222" y="8686"/>
                    <a:pt x="46222" y="5596"/>
                  </a:cubicBezTo>
                  <a:cubicBezTo>
                    <a:pt x="46222" y="2505"/>
                    <a:pt x="43717" y="0"/>
                    <a:pt x="40627" y="0"/>
                  </a:cubicBezTo>
                  <a:close/>
                </a:path>
              </a:pathLst>
            </a:custGeom>
            <a:solidFill>
              <a:schemeClr val="bg1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F808BAD-D3AE-F648-5C29-709533ED7141}"/>
              </a:ext>
            </a:extLst>
          </p:cNvPr>
          <p:cNvGrpSpPr/>
          <p:nvPr/>
        </p:nvGrpSpPr>
        <p:grpSpPr>
          <a:xfrm>
            <a:off x="1896178" y="1985490"/>
            <a:ext cx="260362" cy="417231"/>
            <a:chOff x="8791097" y="1405750"/>
            <a:chExt cx="166461" cy="266755"/>
          </a:xfrm>
        </p:grpSpPr>
        <p:sp>
          <p:nvSpPr>
            <p:cNvPr id="33" name="Freeform 57">
              <a:extLst>
                <a:ext uri="{FF2B5EF4-FFF2-40B4-BE49-F238E27FC236}">
                  <a16:creationId xmlns:a16="http://schemas.microsoft.com/office/drawing/2014/main" id="{F68C1C33-AB90-30BA-B52A-23EBB73DDC9C}"/>
                </a:ext>
              </a:extLst>
            </p:cNvPr>
            <p:cNvSpPr/>
            <p:nvPr/>
          </p:nvSpPr>
          <p:spPr>
            <a:xfrm>
              <a:off x="8791097" y="1405750"/>
              <a:ext cx="166461" cy="266755"/>
            </a:xfrm>
            <a:custGeom>
              <a:avLst/>
              <a:gdLst>
                <a:gd name="connsiteX0" fmla="*/ 92367 w 185497"/>
                <a:gd name="connsiteY0" fmla="*/ 6 h 297260"/>
                <a:gd name="connsiteX1" fmla="*/ 97711 w 185497"/>
                <a:gd name="connsiteY1" fmla="*/ 3131 h 297260"/>
                <a:gd name="connsiteX2" fmla="*/ 185497 w 185497"/>
                <a:gd name="connsiteY2" fmla="*/ 202342 h 297260"/>
                <a:gd name="connsiteX3" fmla="*/ 92749 w 185497"/>
                <a:gd name="connsiteY3" fmla="*/ 297260 h 297260"/>
                <a:gd name="connsiteX4" fmla="*/ 0 w 185497"/>
                <a:gd name="connsiteY4" fmla="*/ 202342 h 297260"/>
                <a:gd name="connsiteX5" fmla="*/ 87787 w 185497"/>
                <a:gd name="connsiteY5" fmla="*/ 3131 h 297260"/>
                <a:gd name="connsiteX6" fmla="*/ 92367 w 185497"/>
                <a:gd name="connsiteY6" fmla="*/ 6 h 297260"/>
                <a:gd name="connsiteX7" fmla="*/ 92367 w 185497"/>
                <a:gd name="connsiteY7" fmla="*/ 285151 h 297260"/>
                <a:gd name="connsiteX8" fmla="*/ 173284 w 185497"/>
                <a:gd name="connsiteY8" fmla="*/ 202342 h 297260"/>
                <a:gd name="connsiteX9" fmla="*/ 92367 w 185497"/>
                <a:gd name="connsiteY9" fmla="*/ 17974 h 297260"/>
                <a:gd name="connsiteX10" fmla="*/ 11450 w 185497"/>
                <a:gd name="connsiteY10" fmla="*/ 202342 h 297260"/>
                <a:gd name="connsiteX11" fmla="*/ 92367 w 185497"/>
                <a:gd name="connsiteY11" fmla="*/ 285151 h 2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497" h="297260">
                  <a:moveTo>
                    <a:pt x="92367" y="6"/>
                  </a:moveTo>
                  <a:cubicBezTo>
                    <a:pt x="94588" y="-95"/>
                    <a:pt x="96667" y="1121"/>
                    <a:pt x="97711" y="3131"/>
                  </a:cubicBezTo>
                  <a:cubicBezTo>
                    <a:pt x="101527" y="9380"/>
                    <a:pt x="185497" y="152344"/>
                    <a:pt x="185497" y="202342"/>
                  </a:cubicBezTo>
                  <a:cubicBezTo>
                    <a:pt x="185497" y="254764"/>
                    <a:pt x="143972" y="297260"/>
                    <a:pt x="92749" y="297260"/>
                  </a:cubicBezTo>
                  <a:cubicBezTo>
                    <a:pt x="41525" y="297260"/>
                    <a:pt x="0" y="254764"/>
                    <a:pt x="0" y="202342"/>
                  </a:cubicBezTo>
                  <a:cubicBezTo>
                    <a:pt x="0" y="152344"/>
                    <a:pt x="83970" y="9380"/>
                    <a:pt x="87787" y="3131"/>
                  </a:cubicBezTo>
                  <a:cubicBezTo>
                    <a:pt x="88762" y="1423"/>
                    <a:pt x="90452" y="270"/>
                    <a:pt x="92367" y="6"/>
                  </a:cubicBezTo>
                  <a:close/>
                  <a:moveTo>
                    <a:pt x="92367" y="285151"/>
                  </a:moveTo>
                  <a:cubicBezTo>
                    <a:pt x="137047" y="285130"/>
                    <a:pt x="173263" y="248067"/>
                    <a:pt x="173284" y="202342"/>
                  </a:cubicBezTo>
                  <a:cubicBezTo>
                    <a:pt x="173284" y="161719"/>
                    <a:pt x="110688" y="50004"/>
                    <a:pt x="92367" y="17974"/>
                  </a:cubicBezTo>
                  <a:cubicBezTo>
                    <a:pt x="74046" y="50004"/>
                    <a:pt x="11450" y="161719"/>
                    <a:pt x="11450" y="202342"/>
                  </a:cubicBezTo>
                  <a:cubicBezTo>
                    <a:pt x="11472" y="248067"/>
                    <a:pt x="47687" y="285130"/>
                    <a:pt x="92367" y="285151"/>
                  </a:cubicBezTo>
                  <a:close/>
                </a:path>
              </a:pathLst>
            </a:custGeom>
            <a:solidFill>
              <a:schemeClr val="bg1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4" name="Freeform 58">
              <a:extLst>
                <a:ext uri="{FF2B5EF4-FFF2-40B4-BE49-F238E27FC236}">
                  <a16:creationId xmlns:a16="http://schemas.microsoft.com/office/drawing/2014/main" id="{670CC185-369C-E91E-1A49-1B46F8371975}"/>
                </a:ext>
              </a:extLst>
            </p:cNvPr>
            <p:cNvSpPr/>
            <p:nvPr/>
          </p:nvSpPr>
          <p:spPr>
            <a:xfrm>
              <a:off x="8813700" y="1581018"/>
              <a:ext cx="64395" cy="66600"/>
            </a:xfrm>
            <a:custGeom>
              <a:avLst/>
              <a:gdLst>
                <a:gd name="connsiteX0" fmla="*/ 71759 w 71759"/>
                <a:gd name="connsiteY0" fmla="*/ 67966 h 74216"/>
                <a:gd name="connsiteX1" fmla="*/ 65821 w 71759"/>
                <a:gd name="connsiteY1" fmla="*/ 74216 h 74216"/>
                <a:gd name="connsiteX2" fmla="*/ 65652 w 71759"/>
                <a:gd name="connsiteY2" fmla="*/ 74216 h 74216"/>
                <a:gd name="connsiteX3" fmla="*/ 0 w 71759"/>
                <a:gd name="connsiteY3" fmla="*/ 6706 h 74216"/>
                <a:gd name="connsiteX4" fmla="*/ 3 w 71759"/>
                <a:gd name="connsiteY4" fmla="*/ 6250 h 74216"/>
                <a:gd name="connsiteX5" fmla="*/ 6110 w 71759"/>
                <a:gd name="connsiteY5" fmla="*/ 0 h 74216"/>
                <a:gd name="connsiteX6" fmla="*/ 12217 w 71759"/>
                <a:gd name="connsiteY6" fmla="*/ 6250 h 74216"/>
                <a:gd name="connsiteX7" fmla="*/ 66415 w 71759"/>
                <a:gd name="connsiteY7" fmla="*/ 62498 h 74216"/>
                <a:gd name="connsiteX8" fmla="*/ 71759 w 71759"/>
                <a:gd name="connsiteY8" fmla="*/ 67966 h 74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759" h="74216">
                  <a:moveTo>
                    <a:pt x="71759" y="67966"/>
                  </a:moveTo>
                  <a:cubicBezTo>
                    <a:pt x="71806" y="71370"/>
                    <a:pt x="69147" y="74168"/>
                    <a:pt x="65821" y="74216"/>
                  </a:cubicBezTo>
                  <a:cubicBezTo>
                    <a:pt x="65765" y="74217"/>
                    <a:pt x="65708" y="74217"/>
                    <a:pt x="65652" y="74216"/>
                  </a:cubicBezTo>
                  <a:cubicBezTo>
                    <a:pt x="29307" y="74127"/>
                    <a:pt x="-87" y="43902"/>
                    <a:pt x="0" y="6706"/>
                  </a:cubicBezTo>
                  <a:cubicBezTo>
                    <a:pt x="1" y="6554"/>
                    <a:pt x="1" y="6402"/>
                    <a:pt x="3" y="6250"/>
                  </a:cubicBezTo>
                  <a:cubicBezTo>
                    <a:pt x="3" y="2798"/>
                    <a:pt x="2737" y="0"/>
                    <a:pt x="6110" y="0"/>
                  </a:cubicBezTo>
                  <a:cubicBezTo>
                    <a:pt x="9482" y="0"/>
                    <a:pt x="12217" y="2798"/>
                    <a:pt x="12217" y="6250"/>
                  </a:cubicBezTo>
                  <a:cubicBezTo>
                    <a:pt x="12271" y="36988"/>
                    <a:pt x="36384" y="62012"/>
                    <a:pt x="66415" y="62498"/>
                  </a:cubicBezTo>
                  <a:cubicBezTo>
                    <a:pt x="69285" y="62691"/>
                    <a:pt x="71570" y="65030"/>
                    <a:pt x="71759" y="67966"/>
                  </a:cubicBezTo>
                  <a:close/>
                </a:path>
              </a:pathLst>
            </a:custGeom>
            <a:solidFill>
              <a:schemeClr val="bg1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5" name="Freeform 59">
              <a:extLst>
                <a:ext uri="{FF2B5EF4-FFF2-40B4-BE49-F238E27FC236}">
                  <a16:creationId xmlns:a16="http://schemas.microsoft.com/office/drawing/2014/main" id="{DDC8A85E-B471-ECBB-E076-044F52BE23AB}"/>
                </a:ext>
              </a:extLst>
            </p:cNvPr>
            <p:cNvSpPr/>
            <p:nvPr/>
          </p:nvSpPr>
          <p:spPr>
            <a:xfrm>
              <a:off x="8828756" y="1534047"/>
              <a:ext cx="29439" cy="35053"/>
            </a:xfrm>
            <a:custGeom>
              <a:avLst/>
              <a:gdLst>
                <a:gd name="connsiteX0" fmla="*/ 19 w 32806"/>
                <a:gd name="connsiteY0" fmla="*/ 8593 h 39061"/>
                <a:gd name="connsiteX1" fmla="*/ 8378 w 32806"/>
                <a:gd name="connsiteY1" fmla="*/ 1602 h 39061"/>
                <a:gd name="connsiteX2" fmla="*/ 15210 w 32806"/>
                <a:gd name="connsiteY2" fmla="*/ 10156 h 39061"/>
                <a:gd name="connsiteX3" fmla="*/ 7653 w 32806"/>
                <a:gd name="connsiteY3" fmla="*/ 17187 h 39061"/>
                <a:gd name="connsiteX4" fmla="*/ 2 w 32806"/>
                <a:gd name="connsiteY4" fmla="*/ 8960 h 39061"/>
                <a:gd name="connsiteX5" fmla="*/ 19 w 32806"/>
                <a:gd name="connsiteY5" fmla="*/ 8593 h 39061"/>
                <a:gd name="connsiteX6" fmla="*/ 10707 w 32806"/>
                <a:gd name="connsiteY6" fmla="*/ 8593 h 39061"/>
                <a:gd name="connsiteX7" fmla="*/ 8416 w 32806"/>
                <a:gd name="connsiteY7" fmla="*/ 5469 h 39061"/>
                <a:gd name="connsiteX8" fmla="*/ 6126 w 32806"/>
                <a:gd name="connsiteY8" fmla="*/ 8593 h 39061"/>
                <a:gd name="connsiteX9" fmla="*/ 8416 w 32806"/>
                <a:gd name="connsiteY9" fmla="*/ 11718 h 39061"/>
                <a:gd name="connsiteX10" fmla="*/ 10707 w 32806"/>
                <a:gd name="connsiteY10" fmla="*/ 8593 h 39061"/>
                <a:gd name="connsiteX11" fmla="*/ 22920 w 32806"/>
                <a:gd name="connsiteY11" fmla="*/ 1562 h 39061"/>
                <a:gd name="connsiteX12" fmla="*/ 25210 w 32806"/>
                <a:gd name="connsiteY12" fmla="*/ 0 h 39061"/>
                <a:gd name="connsiteX13" fmla="*/ 28264 w 32806"/>
                <a:gd name="connsiteY13" fmla="*/ 3125 h 39061"/>
                <a:gd name="connsiteX14" fmla="*/ 27501 w 32806"/>
                <a:gd name="connsiteY14" fmla="*/ 4687 h 39061"/>
                <a:gd name="connsiteX15" fmla="*/ 10707 w 32806"/>
                <a:gd name="connsiteY15" fmla="*/ 37499 h 39061"/>
                <a:gd name="connsiteX16" fmla="*/ 8416 w 32806"/>
                <a:gd name="connsiteY16" fmla="*/ 39061 h 39061"/>
                <a:gd name="connsiteX17" fmla="*/ 5363 w 32806"/>
                <a:gd name="connsiteY17" fmla="*/ 35936 h 39061"/>
                <a:gd name="connsiteX18" fmla="*/ 6126 w 32806"/>
                <a:gd name="connsiteY18" fmla="*/ 34374 h 39061"/>
                <a:gd name="connsiteX19" fmla="*/ 17577 w 32806"/>
                <a:gd name="connsiteY19" fmla="*/ 30468 h 39061"/>
                <a:gd name="connsiteX20" fmla="*/ 25936 w 32806"/>
                <a:gd name="connsiteY20" fmla="*/ 23476 h 39061"/>
                <a:gd name="connsiteX21" fmla="*/ 32768 w 32806"/>
                <a:gd name="connsiteY21" fmla="*/ 32030 h 39061"/>
                <a:gd name="connsiteX22" fmla="*/ 25210 w 32806"/>
                <a:gd name="connsiteY22" fmla="*/ 39061 h 39061"/>
                <a:gd name="connsiteX23" fmla="*/ 17577 w 32806"/>
                <a:gd name="connsiteY23" fmla="*/ 30468 h 39061"/>
                <a:gd name="connsiteX24" fmla="*/ 28264 w 32806"/>
                <a:gd name="connsiteY24" fmla="*/ 30468 h 39061"/>
                <a:gd name="connsiteX25" fmla="*/ 25974 w 32806"/>
                <a:gd name="connsiteY25" fmla="*/ 27343 h 39061"/>
                <a:gd name="connsiteX26" fmla="*/ 23684 w 32806"/>
                <a:gd name="connsiteY26" fmla="*/ 30468 h 39061"/>
                <a:gd name="connsiteX27" fmla="*/ 25974 w 32806"/>
                <a:gd name="connsiteY27" fmla="*/ 33593 h 39061"/>
                <a:gd name="connsiteX28" fmla="*/ 28264 w 32806"/>
                <a:gd name="connsiteY28" fmla="*/ 30468 h 3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806" h="39061">
                  <a:moveTo>
                    <a:pt x="19" y="8593"/>
                  </a:moveTo>
                  <a:cubicBezTo>
                    <a:pt x="441" y="4301"/>
                    <a:pt x="4184" y="1170"/>
                    <a:pt x="8378" y="1602"/>
                  </a:cubicBezTo>
                  <a:cubicBezTo>
                    <a:pt x="12573" y="2033"/>
                    <a:pt x="15632" y="5863"/>
                    <a:pt x="15210" y="10156"/>
                  </a:cubicBezTo>
                  <a:cubicBezTo>
                    <a:pt x="14820" y="14133"/>
                    <a:pt x="11559" y="17167"/>
                    <a:pt x="7653" y="17187"/>
                  </a:cubicBezTo>
                  <a:cubicBezTo>
                    <a:pt x="3320" y="17077"/>
                    <a:pt x="-105" y="13394"/>
                    <a:pt x="2" y="8960"/>
                  </a:cubicBezTo>
                  <a:cubicBezTo>
                    <a:pt x="5" y="8837"/>
                    <a:pt x="11" y="8715"/>
                    <a:pt x="19" y="8593"/>
                  </a:cubicBezTo>
                  <a:close/>
                  <a:moveTo>
                    <a:pt x="10707" y="8593"/>
                  </a:moveTo>
                  <a:cubicBezTo>
                    <a:pt x="10707" y="7031"/>
                    <a:pt x="9943" y="5469"/>
                    <a:pt x="8416" y="5469"/>
                  </a:cubicBezTo>
                  <a:cubicBezTo>
                    <a:pt x="6890" y="5469"/>
                    <a:pt x="6126" y="7031"/>
                    <a:pt x="6126" y="8593"/>
                  </a:cubicBezTo>
                  <a:cubicBezTo>
                    <a:pt x="6126" y="10156"/>
                    <a:pt x="6890" y="11718"/>
                    <a:pt x="8416" y="11718"/>
                  </a:cubicBezTo>
                  <a:cubicBezTo>
                    <a:pt x="9180" y="11718"/>
                    <a:pt x="10707" y="10937"/>
                    <a:pt x="10707" y="8593"/>
                  </a:cubicBezTo>
                  <a:close/>
                  <a:moveTo>
                    <a:pt x="22920" y="1562"/>
                  </a:moveTo>
                  <a:cubicBezTo>
                    <a:pt x="23684" y="0"/>
                    <a:pt x="24447" y="0"/>
                    <a:pt x="25210" y="0"/>
                  </a:cubicBezTo>
                  <a:cubicBezTo>
                    <a:pt x="26849" y="113"/>
                    <a:pt x="28153" y="1448"/>
                    <a:pt x="28264" y="3125"/>
                  </a:cubicBezTo>
                  <a:cubicBezTo>
                    <a:pt x="28264" y="3906"/>
                    <a:pt x="28264" y="3906"/>
                    <a:pt x="27501" y="4687"/>
                  </a:cubicBezTo>
                  <a:lnTo>
                    <a:pt x="10707" y="37499"/>
                  </a:lnTo>
                  <a:cubicBezTo>
                    <a:pt x="9943" y="38280"/>
                    <a:pt x="9943" y="39061"/>
                    <a:pt x="8416" y="39061"/>
                  </a:cubicBezTo>
                  <a:cubicBezTo>
                    <a:pt x="6778" y="38948"/>
                    <a:pt x="5474" y="37613"/>
                    <a:pt x="5363" y="35936"/>
                  </a:cubicBezTo>
                  <a:cubicBezTo>
                    <a:pt x="5363" y="35155"/>
                    <a:pt x="5363" y="34374"/>
                    <a:pt x="6126" y="34374"/>
                  </a:cubicBezTo>
                  <a:close/>
                  <a:moveTo>
                    <a:pt x="17577" y="30468"/>
                  </a:moveTo>
                  <a:cubicBezTo>
                    <a:pt x="17999" y="26175"/>
                    <a:pt x="21741" y="23044"/>
                    <a:pt x="25936" y="23476"/>
                  </a:cubicBezTo>
                  <a:cubicBezTo>
                    <a:pt x="30130" y="23907"/>
                    <a:pt x="33189" y="27737"/>
                    <a:pt x="32768" y="32030"/>
                  </a:cubicBezTo>
                  <a:cubicBezTo>
                    <a:pt x="32377" y="36007"/>
                    <a:pt x="29116" y="39041"/>
                    <a:pt x="25210" y="39061"/>
                  </a:cubicBezTo>
                  <a:cubicBezTo>
                    <a:pt x="20873" y="38656"/>
                    <a:pt x="17559" y="34925"/>
                    <a:pt x="17577" y="30468"/>
                  </a:cubicBezTo>
                  <a:close/>
                  <a:moveTo>
                    <a:pt x="28264" y="30468"/>
                  </a:moveTo>
                  <a:cubicBezTo>
                    <a:pt x="28264" y="28905"/>
                    <a:pt x="27501" y="27343"/>
                    <a:pt x="25974" y="27343"/>
                  </a:cubicBezTo>
                  <a:cubicBezTo>
                    <a:pt x="24447" y="27343"/>
                    <a:pt x="23684" y="28905"/>
                    <a:pt x="23684" y="30468"/>
                  </a:cubicBezTo>
                  <a:cubicBezTo>
                    <a:pt x="23684" y="32030"/>
                    <a:pt x="24447" y="33593"/>
                    <a:pt x="25974" y="33593"/>
                  </a:cubicBezTo>
                  <a:cubicBezTo>
                    <a:pt x="27501" y="33593"/>
                    <a:pt x="28264" y="32030"/>
                    <a:pt x="28264" y="30468"/>
                  </a:cubicBezTo>
                  <a:close/>
                </a:path>
              </a:pathLst>
            </a:custGeom>
            <a:solidFill>
              <a:schemeClr val="bg1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6" name="Freeform 60">
              <a:extLst>
                <a:ext uri="{FF2B5EF4-FFF2-40B4-BE49-F238E27FC236}">
                  <a16:creationId xmlns:a16="http://schemas.microsoft.com/office/drawing/2014/main" id="{73D0F589-7B7B-9431-0514-D347029C3B0D}"/>
                </a:ext>
              </a:extLst>
            </p:cNvPr>
            <p:cNvSpPr/>
            <p:nvPr/>
          </p:nvSpPr>
          <p:spPr>
            <a:xfrm>
              <a:off x="8862334" y="1535443"/>
              <a:ext cx="23316" cy="33680"/>
            </a:xfrm>
            <a:custGeom>
              <a:avLst/>
              <a:gdLst>
                <a:gd name="connsiteX0" fmla="*/ 7 w 25982"/>
                <a:gd name="connsiteY0" fmla="*/ 3913 h 37531"/>
                <a:gd name="connsiteX1" fmla="*/ 3383 w 25982"/>
                <a:gd name="connsiteY1" fmla="*/ 7 h 37531"/>
                <a:gd name="connsiteX2" fmla="*/ 3824 w 25982"/>
                <a:gd name="connsiteY2" fmla="*/ 7 h 37531"/>
                <a:gd name="connsiteX3" fmla="*/ 12984 w 25982"/>
                <a:gd name="connsiteY3" fmla="*/ 7 h 37531"/>
                <a:gd name="connsiteX4" fmla="*/ 25961 w 25982"/>
                <a:gd name="connsiteY4" fmla="*/ 11725 h 37531"/>
                <a:gd name="connsiteX5" fmla="*/ 16801 w 25982"/>
                <a:gd name="connsiteY5" fmla="*/ 21881 h 37531"/>
                <a:gd name="connsiteX6" fmla="*/ 25198 w 25982"/>
                <a:gd name="connsiteY6" fmla="*/ 31256 h 37531"/>
                <a:gd name="connsiteX7" fmla="*/ 25961 w 25982"/>
                <a:gd name="connsiteY7" fmla="*/ 33599 h 37531"/>
                <a:gd name="connsiteX8" fmla="*/ 22585 w 25982"/>
                <a:gd name="connsiteY8" fmla="*/ 37506 h 37531"/>
                <a:gd name="connsiteX9" fmla="*/ 22144 w 25982"/>
                <a:gd name="connsiteY9" fmla="*/ 37506 h 37531"/>
                <a:gd name="connsiteX10" fmla="*/ 19091 w 25982"/>
                <a:gd name="connsiteY10" fmla="*/ 35943 h 37531"/>
                <a:gd name="connsiteX11" fmla="*/ 7641 w 25982"/>
                <a:gd name="connsiteY11" fmla="*/ 21881 h 37531"/>
                <a:gd name="connsiteX12" fmla="*/ 7641 w 25982"/>
                <a:gd name="connsiteY12" fmla="*/ 21881 h 37531"/>
                <a:gd name="connsiteX13" fmla="*/ 7641 w 25982"/>
                <a:gd name="connsiteY13" fmla="*/ 32818 h 37531"/>
                <a:gd name="connsiteX14" fmla="*/ 3824 w 25982"/>
                <a:gd name="connsiteY14" fmla="*/ 36724 h 37531"/>
                <a:gd name="connsiteX15" fmla="*/ 7 w 25982"/>
                <a:gd name="connsiteY15" fmla="*/ 32818 h 37531"/>
                <a:gd name="connsiteX16" fmla="*/ 7641 w 25982"/>
                <a:gd name="connsiteY16" fmla="*/ 15631 h 37531"/>
                <a:gd name="connsiteX17" fmla="*/ 12984 w 25982"/>
                <a:gd name="connsiteY17" fmla="*/ 15631 h 37531"/>
                <a:gd name="connsiteX18" fmla="*/ 17564 w 25982"/>
                <a:gd name="connsiteY18" fmla="*/ 12122 h 37531"/>
                <a:gd name="connsiteX19" fmla="*/ 17564 w 25982"/>
                <a:gd name="connsiteY19" fmla="*/ 10944 h 37531"/>
                <a:gd name="connsiteX20" fmla="*/ 13358 w 25982"/>
                <a:gd name="connsiteY20" fmla="*/ 6257 h 37531"/>
                <a:gd name="connsiteX21" fmla="*/ 12984 w 25982"/>
                <a:gd name="connsiteY21" fmla="*/ 6257 h 37531"/>
                <a:gd name="connsiteX22" fmla="*/ 7641 w 25982"/>
                <a:gd name="connsiteY22" fmla="*/ 6257 h 3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982" h="37531">
                  <a:moveTo>
                    <a:pt x="7" y="3913"/>
                  </a:moveTo>
                  <a:cubicBezTo>
                    <a:pt x="-115" y="1880"/>
                    <a:pt x="1397" y="132"/>
                    <a:pt x="3383" y="7"/>
                  </a:cubicBezTo>
                  <a:cubicBezTo>
                    <a:pt x="3530" y="-2"/>
                    <a:pt x="3677" y="-2"/>
                    <a:pt x="3824" y="7"/>
                  </a:cubicBezTo>
                  <a:lnTo>
                    <a:pt x="12984" y="7"/>
                  </a:lnTo>
                  <a:cubicBezTo>
                    <a:pt x="20618" y="7"/>
                    <a:pt x="25961" y="3913"/>
                    <a:pt x="25961" y="11725"/>
                  </a:cubicBezTo>
                  <a:cubicBezTo>
                    <a:pt x="25682" y="16920"/>
                    <a:pt x="21839" y="21181"/>
                    <a:pt x="16801" y="21881"/>
                  </a:cubicBezTo>
                  <a:lnTo>
                    <a:pt x="25198" y="31256"/>
                  </a:lnTo>
                  <a:cubicBezTo>
                    <a:pt x="25785" y="31879"/>
                    <a:pt x="26066" y="32740"/>
                    <a:pt x="25961" y="33599"/>
                  </a:cubicBezTo>
                  <a:cubicBezTo>
                    <a:pt x="26083" y="35632"/>
                    <a:pt x="24572" y="37381"/>
                    <a:pt x="22585" y="37506"/>
                  </a:cubicBezTo>
                  <a:cubicBezTo>
                    <a:pt x="22439" y="37515"/>
                    <a:pt x="22291" y="37515"/>
                    <a:pt x="22144" y="37506"/>
                  </a:cubicBezTo>
                  <a:cubicBezTo>
                    <a:pt x="20911" y="37670"/>
                    <a:pt x="19703" y="37052"/>
                    <a:pt x="19091" y="35943"/>
                  </a:cubicBezTo>
                  <a:lnTo>
                    <a:pt x="7641" y="21881"/>
                  </a:lnTo>
                  <a:lnTo>
                    <a:pt x="7641" y="21881"/>
                  </a:lnTo>
                  <a:lnTo>
                    <a:pt x="7641" y="32818"/>
                  </a:lnTo>
                  <a:cubicBezTo>
                    <a:pt x="7641" y="34975"/>
                    <a:pt x="5932" y="36724"/>
                    <a:pt x="3824" y="36724"/>
                  </a:cubicBezTo>
                  <a:cubicBezTo>
                    <a:pt x="1716" y="36724"/>
                    <a:pt x="7" y="34975"/>
                    <a:pt x="7" y="32818"/>
                  </a:cubicBezTo>
                  <a:close/>
                  <a:moveTo>
                    <a:pt x="7641" y="15631"/>
                  </a:moveTo>
                  <a:lnTo>
                    <a:pt x="12984" y="15631"/>
                  </a:lnTo>
                  <a:cubicBezTo>
                    <a:pt x="15196" y="15957"/>
                    <a:pt x="17246" y="14385"/>
                    <a:pt x="17564" y="12122"/>
                  </a:cubicBezTo>
                  <a:cubicBezTo>
                    <a:pt x="17619" y="11731"/>
                    <a:pt x="17619" y="11335"/>
                    <a:pt x="17564" y="10944"/>
                  </a:cubicBezTo>
                  <a:cubicBezTo>
                    <a:pt x="17668" y="8461"/>
                    <a:pt x="15785" y="6362"/>
                    <a:pt x="13358" y="6257"/>
                  </a:cubicBezTo>
                  <a:cubicBezTo>
                    <a:pt x="13234" y="6251"/>
                    <a:pt x="13109" y="6251"/>
                    <a:pt x="12984" y="6257"/>
                  </a:cubicBezTo>
                  <a:lnTo>
                    <a:pt x="7641" y="6257"/>
                  </a:lnTo>
                  <a:close/>
                </a:path>
              </a:pathLst>
            </a:custGeom>
            <a:solidFill>
              <a:schemeClr val="bg1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7" name="Freeform 61">
              <a:extLst>
                <a:ext uri="{FF2B5EF4-FFF2-40B4-BE49-F238E27FC236}">
                  <a16:creationId xmlns:a16="http://schemas.microsoft.com/office/drawing/2014/main" id="{7574A57E-7698-3712-E9EA-0D32C945AA43}"/>
                </a:ext>
              </a:extLst>
            </p:cNvPr>
            <p:cNvSpPr/>
            <p:nvPr/>
          </p:nvSpPr>
          <p:spPr>
            <a:xfrm>
              <a:off x="8887686" y="1534748"/>
              <a:ext cx="28085" cy="33650"/>
            </a:xfrm>
            <a:custGeom>
              <a:avLst/>
              <a:gdLst>
                <a:gd name="connsiteX0" fmla="*/ 0 w 31297"/>
                <a:gd name="connsiteY0" fmla="*/ 3906 h 37498"/>
                <a:gd name="connsiteX1" fmla="*/ 3817 w 31297"/>
                <a:gd name="connsiteY1" fmla="*/ 0 h 37498"/>
                <a:gd name="connsiteX2" fmla="*/ 7634 w 31297"/>
                <a:gd name="connsiteY2" fmla="*/ 3906 h 37498"/>
                <a:gd name="connsiteX3" fmla="*/ 7634 w 31297"/>
                <a:gd name="connsiteY3" fmla="*/ 14843 h 37498"/>
                <a:gd name="connsiteX4" fmla="*/ 23664 w 31297"/>
                <a:gd name="connsiteY4" fmla="*/ 14843 h 37498"/>
                <a:gd name="connsiteX5" fmla="*/ 23664 w 31297"/>
                <a:gd name="connsiteY5" fmla="*/ 3906 h 37498"/>
                <a:gd name="connsiteX6" fmla="*/ 27481 w 31297"/>
                <a:gd name="connsiteY6" fmla="*/ 0 h 37498"/>
                <a:gd name="connsiteX7" fmla="*/ 31298 w 31297"/>
                <a:gd name="connsiteY7" fmla="*/ 3906 h 37498"/>
                <a:gd name="connsiteX8" fmla="*/ 31298 w 31297"/>
                <a:gd name="connsiteY8" fmla="*/ 33593 h 37498"/>
                <a:gd name="connsiteX9" fmla="*/ 27481 w 31297"/>
                <a:gd name="connsiteY9" fmla="*/ 37499 h 37498"/>
                <a:gd name="connsiteX10" fmla="*/ 23664 w 31297"/>
                <a:gd name="connsiteY10" fmla="*/ 33593 h 37498"/>
                <a:gd name="connsiteX11" fmla="*/ 23664 w 31297"/>
                <a:gd name="connsiteY11" fmla="*/ 21874 h 37498"/>
                <a:gd name="connsiteX12" fmla="*/ 7634 w 31297"/>
                <a:gd name="connsiteY12" fmla="*/ 21874 h 37498"/>
                <a:gd name="connsiteX13" fmla="*/ 7634 w 31297"/>
                <a:gd name="connsiteY13" fmla="*/ 33593 h 37498"/>
                <a:gd name="connsiteX14" fmla="*/ 3817 w 31297"/>
                <a:gd name="connsiteY14" fmla="*/ 37499 h 37498"/>
                <a:gd name="connsiteX15" fmla="*/ 0 w 31297"/>
                <a:gd name="connsiteY15" fmla="*/ 33593 h 37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297" h="37498">
                  <a:moveTo>
                    <a:pt x="0" y="3906"/>
                  </a:moveTo>
                  <a:cubicBezTo>
                    <a:pt x="0" y="1749"/>
                    <a:pt x="1709" y="0"/>
                    <a:pt x="3817" y="0"/>
                  </a:cubicBezTo>
                  <a:cubicBezTo>
                    <a:pt x="5925" y="0"/>
                    <a:pt x="7634" y="1749"/>
                    <a:pt x="7634" y="3906"/>
                  </a:cubicBezTo>
                  <a:lnTo>
                    <a:pt x="7634" y="14843"/>
                  </a:lnTo>
                  <a:lnTo>
                    <a:pt x="23664" y="14843"/>
                  </a:lnTo>
                  <a:lnTo>
                    <a:pt x="23664" y="3906"/>
                  </a:lnTo>
                  <a:cubicBezTo>
                    <a:pt x="23664" y="1749"/>
                    <a:pt x="25373" y="0"/>
                    <a:pt x="27481" y="0"/>
                  </a:cubicBezTo>
                  <a:cubicBezTo>
                    <a:pt x="29589" y="0"/>
                    <a:pt x="31298" y="1749"/>
                    <a:pt x="31298" y="3906"/>
                  </a:cubicBezTo>
                  <a:lnTo>
                    <a:pt x="31298" y="33593"/>
                  </a:lnTo>
                  <a:cubicBezTo>
                    <a:pt x="31298" y="35750"/>
                    <a:pt x="29589" y="37499"/>
                    <a:pt x="27481" y="37499"/>
                  </a:cubicBezTo>
                  <a:cubicBezTo>
                    <a:pt x="25373" y="37499"/>
                    <a:pt x="23664" y="35750"/>
                    <a:pt x="23664" y="33593"/>
                  </a:cubicBezTo>
                  <a:lnTo>
                    <a:pt x="23664" y="21874"/>
                  </a:lnTo>
                  <a:lnTo>
                    <a:pt x="7634" y="21874"/>
                  </a:lnTo>
                  <a:lnTo>
                    <a:pt x="7634" y="33593"/>
                  </a:lnTo>
                  <a:cubicBezTo>
                    <a:pt x="7634" y="35750"/>
                    <a:pt x="5925" y="37499"/>
                    <a:pt x="3817" y="37499"/>
                  </a:cubicBezTo>
                  <a:cubicBezTo>
                    <a:pt x="1709" y="37499"/>
                    <a:pt x="0" y="35750"/>
                    <a:pt x="0" y="33593"/>
                  </a:cubicBezTo>
                  <a:close/>
                </a:path>
              </a:pathLst>
            </a:custGeom>
            <a:solidFill>
              <a:schemeClr val="bg1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7460CCC-BFE4-3DF7-F906-553B46D05A30}"/>
              </a:ext>
            </a:extLst>
          </p:cNvPr>
          <p:cNvCxnSpPr>
            <a:cxnSpLocks/>
          </p:cNvCxnSpPr>
          <p:nvPr/>
        </p:nvCxnSpPr>
        <p:spPr>
          <a:xfrm flipV="1">
            <a:off x="2264537" y="1568806"/>
            <a:ext cx="126306" cy="1"/>
          </a:xfrm>
          <a:prstGeom prst="lin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D567900-A13F-25E3-4230-629F33C0B6A4}"/>
              </a:ext>
            </a:extLst>
          </p:cNvPr>
          <p:cNvCxnSpPr>
            <a:cxnSpLocks/>
          </p:cNvCxnSpPr>
          <p:nvPr/>
        </p:nvCxnSpPr>
        <p:spPr>
          <a:xfrm flipV="1">
            <a:off x="6360174" y="1568806"/>
            <a:ext cx="126306" cy="1"/>
          </a:xfrm>
          <a:prstGeom prst="lin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F1A3EBE-E5EC-1984-6343-08AD85B6EBE9}"/>
              </a:ext>
            </a:extLst>
          </p:cNvPr>
          <p:cNvCxnSpPr>
            <a:cxnSpLocks/>
          </p:cNvCxnSpPr>
          <p:nvPr/>
        </p:nvCxnSpPr>
        <p:spPr>
          <a:xfrm flipV="1">
            <a:off x="5429512" y="1568806"/>
            <a:ext cx="126306" cy="1"/>
          </a:xfrm>
          <a:prstGeom prst="lin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41" name="Picture 40" descr="Icon&#10;&#10;Description automatically generated">
            <a:extLst>
              <a:ext uri="{FF2B5EF4-FFF2-40B4-BE49-F238E27FC236}">
                <a16:creationId xmlns:a16="http://schemas.microsoft.com/office/drawing/2014/main" id="{FC683B27-77C6-F3CD-F198-D4E6E35FAE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4787744" y="2076969"/>
            <a:ext cx="416059" cy="416059"/>
          </a:xfrm>
          <a:prstGeom prst="rect">
            <a:avLst/>
          </a:prstGeom>
        </p:spPr>
      </p:pic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DDC53FA0-FCE5-A367-E665-C3B2863F5411}"/>
              </a:ext>
            </a:extLst>
          </p:cNvPr>
          <p:cNvSpPr/>
          <p:nvPr/>
        </p:nvSpPr>
        <p:spPr>
          <a:xfrm>
            <a:off x="2719840" y="2143753"/>
            <a:ext cx="195027" cy="295878"/>
          </a:xfrm>
          <a:custGeom>
            <a:avLst/>
            <a:gdLst>
              <a:gd name="connsiteX0" fmla="*/ 195028 w 195027"/>
              <a:gd name="connsiteY0" fmla="*/ 295879 h 295878"/>
              <a:gd name="connsiteX1" fmla="*/ 195028 w 195027"/>
              <a:gd name="connsiteY1" fmla="*/ 0 h 295878"/>
              <a:gd name="connsiteX2" fmla="*/ 85110 w 195027"/>
              <a:gd name="connsiteY2" fmla="*/ 91598 h 295878"/>
              <a:gd name="connsiteX3" fmla="*/ 0 w 195027"/>
              <a:gd name="connsiteY3" fmla="*/ 91598 h 295878"/>
              <a:gd name="connsiteX4" fmla="*/ 0 w 195027"/>
              <a:gd name="connsiteY4" fmla="*/ 204281 h 295878"/>
              <a:gd name="connsiteX5" fmla="*/ 85110 w 195027"/>
              <a:gd name="connsiteY5" fmla="*/ 204281 h 295878"/>
              <a:gd name="connsiteX6" fmla="*/ 8668 w 195027"/>
              <a:gd name="connsiteY6" fmla="*/ 100266 h 295878"/>
              <a:gd name="connsiteX7" fmla="*/ 88248 w 195027"/>
              <a:gd name="connsiteY7" fmla="*/ 100266 h 295878"/>
              <a:gd name="connsiteX8" fmla="*/ 186360 w 195027"/>
              <a:gd name="connsiteY8" fmla="*/ 18506 h 295878"/>
              <a:gd name="connsiteX9" fmla="*/ 186360 w 195027"/>
              <a:gd name="connsiteY9" fmla="*/ 277373 h 295878"/>
              <a:gd name="connsiteX10" fmla="*/ 88248 w 195027"/>
              <a:gd name="connsiteY10" fmla="*/ 195613 h 295878"/>
              <a:gd name="connsiteX11" fmla="*/ 8668 w 195027"/>
              <a:gd name="connsiteY11" fmla="*/ 195613 h 295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5027" h="295878">
                <a:moveTo>
                  <a:pt x="195028" y="295879"/>
                </a:moveTo>
                <a:lnTo>
                  <a:pt x="195028" y="0"/>
                </a:lnTo>
                <a:lnTo>
                  <a:pt x="85110" y="91598"/>
                </a:lnTo>
                <a:lnTo>
                  <a:pt x="0" y="91598"/>
                </a:lnTo>
                <a:lnTo>
                  <a:pt x="0" y="204281"/>
                </a:lnTo>
                <a:lnTo>
                  <a:pt x="85110" y="204281"/>
                </a:lnTo>
                <a:close/>
                <a:moveTo>
                  <a:pt x="8668" y="100266"/>
                </a:moveTo>
                <a:lnTo>
                  <a:pt x="88248" y="100266"/>
                </a:lnTo>
                <a:lnTo>
                  <a:pt x="186360" y="18506"/>
                </a:lnTo>
                <a:lnTo>
                  <a:pt x="186360" y="277373"/>
                </a:lnTo>
                <a:lnTo>
                  <a:pt x="88248" y="195613"/>
                </a:lnTo>
                <a:lnTo>
                  <a:pt x="8668" y="195613"/>
                </a:lnTo>
                <a:close/>
              </a:path>
            </a:pathLst>
          </a:custGeom>
          <a:solidFill>
            <a:schemeClr val="bg1"/>
          </a:solidFill>
          <a:ln w="426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F9F8DE3E-BC93-E63F-B9EF-BA38011A3161}"/>
              </a:ext>
            </a:extLst>
          </p:cNvPr>
          <p:cNvSpPr/>
          <p:nvPr/>
        </p:nvSpPr>
        <p:spPr>
          <a:xfrm>
            <a:off x="3083208" y="2175561"/>
            <a:ext cx="52714" cy="218873"/>
          </a:xfrm>
          <a:custGeom>
            <a:avLst/>
            <a:gdLst>
              <a:gd name="connsiteX0" fmla="*/ 52714 w 52714"/>
              <a:gd name="connsiteY0" fmla="*/ 109437 h 218873"/>
              <a:gd name="connsiteX1" fmla="*/ 6003 w 52714"/>
              <a:gd name="connsiteY1" fmla="*/ 0 h 218873"/>
              <a:gd name="connsiteX2" fmla="*/ 0 w 52714"/>
              <a:gd name="connsiteY2" fmla="*/ 6254 h 218873"/>
              <a:gd name="connsiteX3" fmla="*/ 4347 w 52714"/>
              <a:gd name="connsiteY3" fmla="*/ 208272 h 218873"/>
              <a:gd name="connsiteX4" fmla="*/ 0 w 52714"/>
              <a:gd name="connsiteY4" fmla="*/ 212619 h 218873"/>
              <a:gd name="connsiteX5" fmla="*/ 6003 w 52714"/>
              <a:gd name="connsiteY5" fmla="*/ 218873 h 218873"/>
              <a:gd name="connsiteX6" fmla="*/ 52714 w 52714"/>
              <a:gd name="connsiteY6" fmla="*/ 109437 h 218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14" h="218873">
                <a:moveTo>
                  <a:pt x="52714" y="109437"/>
                </a:moveTo>
                <a:cubicBezTo>
                  <a:pt x="52850" y="68087"/>
                  <a:pt x="35956" y="28506"/>
                  <a:pt x="6003" y="0"/>
                </a:cubicBezTo>
                <a:lnTo>
                  <a:pt x="0" y="6254"/>
                </a:lnTo>
                <a:cubicBezTo>
                  <a:pt x="56986" y="60840"/>
                  <a:pt x="58933" y="151286"/>
                  <a:pt x="4347" y="208272"/>
                </a:cubicBezTo>
                <a:cubicBezTo>
                  <a:pt x="2929" y="209752"/>
                  <a:pt x="1480" y="211202"/>
                  <a:pt x="0" y="212619"/>
                </a:cubicBezTo>
                <a:lnTo>
                  <a:pt x="6003" y="218873"/>
                </a:lnTo>
                <a:cubicBezTo>
                  <a:pt x="35956" y="190367"/>
                  <a:pt x="52850" y="150786"/>
                  <a:pt x="52714" y="109437"/>
                </a:cubicBezTo>
                <a:close/>
              </a:path>
            </a:pathLst>
          </a:custGeom>
          <a:solidFill>
            <a:schemeClr val="bg1"/>
          </a:solidFill>
          <a:ln w="426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7840942-325A-C15F-5CF1-5A734383FFD2}"/>
              </a:ext>
            </a:extLst>
          </p:cNvPr>
          <p:cNvSpPr/>
          <p:nvPr/>
        </p:nvSpPr>
        <p:spPr>
          <a:xfrm>
            <a:off x="3018923" y="2214680"/>
            <a:ext cx="38719" cy="151514"/>
          </a:xfrm>
          <a:custGeom>
            <a:avLst/>
            <a:gdLst>
              <a:gd name="connsiteX0" fmla="*/ 0 w 38719"/>
              <a:gd name="connsiteY0" fmla="*/ 145200 h 151514"/>
              <a:gd name="connsiteX1" fmla="*/ 5942 w 38719"/>
              <a:gd name="connsiteY1" fmla="*/ 151515 h 151514"/>
              <a:gd name="connsiteX2" fmla="*/ 10540 w 38719"/>
              <a:gd name="connsiteY2" fmla="*/ 4598 h 151514"/>
              <a:gd name="connsiteX3" fmla="*/ 5942 w 38719"/>
              <a:gd name="connsiteY3" fmla="*/ 0 h 151514"/>
              <a:gd name="connsiteX4" fmla="*/ 0 w 38719"/>
              <a:gd name="connsiteY4" fmla="*/ 6315 h 151514"/>
              <a:gd name="connsiteX5" fmla="*/ 4234 w 38719"/>
              <a:gd name="connsiteY5" fmla="*/ 140966 h 151514"/>
              <a:gd name="connsiteX6" fmla="*/ 0 w 38719"/>
              <a:gd name="connsiteY6" fmla="*/ 145200 h 15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719" h="151514">
                <a:moveTo>
                  <a:pt x="0" y="145200"/>
                </a:moveTo>
                <a:lnTo>
                  <a:pt x="5942" y="151515"/>
                </a:lnTo>
                <a:cubicBezTo>
                  <a:pt x="47781" y="112215"/>
                  <a:pt x="49840" y="46438"/>
                  <a:pt x="10540" y="4598"/>
                </a:cubicBezTo>
                <a:cubicBezTo>
                  <a:pt x="9055" y="3018"/>
                  <a:pt x="7522" y="1484"/>
                  <a:pt x="5942" y="0"/>
                </a:cubicBezTo>
                <a:lnTo>
                  <a:pt x="0" y="6315"/>
                </a:lnTo>
                <a:cubicBezTo>
                  <a:pt x="38352" y="42328"/>
                  <a:pt x="40248" y="102614"/>
                  <a:pt x="4234" y="140966"/>
                </a:cubicBezTo>
                <a:cubicBezTo>
                  <a:pt x="2867" y="142422"/>
                  <a:pt x="1455" y="143834"/>
                  <a:pt x="0" y="145200"/>
                </a:cubicBezTo>
                <a:close/>
              </a:path>
            </a:pathLst>
          </a:custGeom>
          <a:solidFill>
            <a:schemeClr val="bg1"/>
          </a:solidFill>
          <a:ln w="426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3CDC694F-D992-BB73-DB56-2013007C8D38}"/>
              </a:ext>
            </a:extLst>
          </p:cNvPr>
          <p:cNvSpPr/>
          <p:nvPr/>
        </p:nvSpPr>
        <p:spPr>
          <a:xfrm>
            <a:off x="2968945" y="2248589"/>
            <a:ext cx="24716" cy="84199"/>
          </a:xfrm>
          <a:custGeom>
            <a:avLst/>
            <a:gdLst>
              <a:gd name="connsiteX0" fmla="*/ 24717 w 24716"/>
              <a:gd name="connsiteY0" fmla="*/ 42078 h 84199"/>
              <a:gd name="connsiteX1" fmla="*/ 5755 w 24716"/>
              <a:gd name="connsiteY1" fmla="*/ 0 h 84199"/>
              <a:gd name="connsiteX2" fmla="*/ 0 w 24716"/>
              <a:gd name="connsiteY2" fmla="*/ 6501 h 84199"/>
              <a:gd name="connsiteX3" fmla="*/ 4138 w 24716"/>
              <a:gd name="connsiteY3" fmla="*/ 73561 h 84199"/>
              <a:gd name="connsiteX4" fmla="*/ 0 w 24716"/>
              <a:gd name="connsiteY4" fmla="*/ 77699 h 84199"/>
              <a:gd name="connsiteX5" fmla="*/ 5755 w 24716"/>
              <a:gd name="connsiteY5" fmla="*/ 84200 h 84199"/>
              <a:gd name="connsiteX6" fmla="*/ 24717 w 24716"/>
              <a:gd name="connsiteY6" fmla="*/ 42078 h 84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716" h="84199">
                <a:moveTo>
                  <a:pt x="24717" y="42078"/>
                </a:moveTo>
                <a:cubicBezTo>
                  <a:pt x="24690" y="25989"/>
                  <a:pt x="17790" y="10678"/>
                  <a:pt x="5755" y="0"/>
                </a:cubicBezTo>
                <a:lnTo>
                  <a:pt x="0" y="6501"/>
                </a:lnTo>
                <a:cubicBezTo>
                  <a:pt x="19661" y="23876"/>
                  <a:pt x="21514" y="53900"/>
                  <a:pt x="4138" y="73561"/>
                </a:cubicBezTo>
                <a:cubicBezTo>
                  <a:pt x="2845" y="75024"/>
                  <a:pt x="1463" y="76406"/>
                  <a:pt x="0" y="77699"/>
                </a:cubicBezTo>
                <a:lnTo>
                  <a:pt x="5755" y="84200"/>
                </a:lnTo>
                <a:cubicBezTo>
                  <a:pt x="17800" y="73511"/>
                  <a:pt x="24700" y="58182"/>
                  <a:pt x="24717" y="42078"/>
                </a:cubicBezTo>
                <a:close/>
              </a:path>
            </a:pathLst>
          </a:custGeom>
          <a:solidFill>
            <a:schemeClr val="bg1"/>
          </a:solidFill>
          <a:ln w="426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46" name="Graphic 45" descr="Server outline">
            <a:extLst>
              <a:ext uri="{FF2B5EF4-FFF2-40B4-BE49-F238E27FC236}">
                <a16:creationId xmlns:a16="http://schemas.microsoft.com/office/drawing/2014/main" id="{9C3C7314-FA56-D6F2-4C8C-9B048911E0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80343" y="2013495"/>
            <a:ext cx="550080" cy="550080"/>
          </a:xfrm>
          <a:prstGeom prst="rect">
            <a:avLst/>
          </a:prstGeom>
        </p:spPr>
      </p:pic>
      <p:pic>
        <p:nvPicPr>
          <p:cNvPr id="47" name="Graphic 46" descr="Cmd Terminal with solid fill">
            <a:extLst>
              <a:ext uri="{FF2B5EF4-FFF2-40B4-BE49-F238E27FC236}">
                <a16:creationId xmlns:a16="http://schemas.microsoft.com/office/drawing/2014/main" id="{45235683-490D-FA90-CD25-413AB182C6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27397" y="2009414"/>
            <a:ext cx="445100" cy="445100"/>
          </a:xfrm>
          <a:prstGeom prst="rect">
            <a:avLst/>
          </a:prstGeom>
        </p:spPr>
      </p:pic>
      <p:pic>
        <p:nvPicPr>
          <p:cNvPr id="48" name="Graphic 47" descr="Database outline">
            <a:extLst>
              <a:ext uri="{FF2B5EF4-FFF2-40B4-BE49-F238E27FC236}">
                <a16:creationId xmlns:a16="http://schemas.microsoft.com/office/drawing/2014/main" id="{D8AC1FD7-4319-7DDF-8B32-9B1BB896FE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24376" y="2164800"/>
            <a:ext cx="416058" cy="416058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C3A2893E-65EF-8992-0BB8-9C78F39E54CA}"/>
              </a:ext>
            </a:extLst>
          </p:cNvPr>
          <p:cNvSpPr/>
          <p:nvPr/>
        </p:nvSpPr>
        <p:spPr>
          <a:xfrm>
            <a:off x="4471194" y="2156105"/>
            <a:ext cx="391978" cy="257787"/>
          </a:xfrm>
          <a:custGeom>
            <a:avLst/>
            <a:gdLst>
              <a:gd name="connsiteX0" fmla="*/ 0 w 419100"/>
              <a:gd name="connsiteY0" fmla="*/ 52388 h 138113"/>
              <a:gd name="connsiteX1" fmla="*/ 80963 w 419100"/>
              <a:gd name="connsiteY1" fmla="*/ 61913 h 138113"/>
              <a:gd name="connsiteX2" fmla="*/ 171450 w 419100"/>
              <a:gd name="connsiteY2" fmla="*/ 0 h 138113"/>
              <a:gd name="connsiteX3" fmla="*/ 290513 w 419100"/>
              <a:gd name="connsiteY3" fmla="*/ 138113 h 138113"/>
              <a:gd name="connsiteX4" fmla="*/ 352425 w 419100"/>
              <a:gd name="connsiteY4" fmla="*/ 61913 h 138113"/>
              <a:gd name="connsiteX5" fmla="*/ 419100 w 419100"/>
              <a:gd name="connsiteY5" fmla="*/ 57150 h 138113"/>
              <a:gd name="connsiteX0" fmla="*/ 0 w 416719"/>
              <a:gd name="connsiteY0" fmla="*/ 61913 h 138113"/>
              <a:gd name="connsiteX1" fmla="*/ 78582 w 416719"/>
              <a:gd name="connsiteY1" fmla="*/ 61913 h 138113"/>
              <a:gd name="connsiteX2" fmla="*/ 169069 w 416719"/>
              <a:gd name="connsiteY2" fmla="*/ 0 h 138113"/>
              <a:gd name="connsiteX3" fmla="*/ 288132 w 416719"/>
              <a:gd name="connsiteY3" fmla="*/ 138113 h 138113"/>
              <a:gd name="connsiteX4" fmla="*/ 350044 w 416719"/>
              <a:gd name="connsiteY4" fmla="*/ 61913 h 138113"/>
              <a:gd name="connsiteX5" fmla="*/ 416719 w 416719"/>
              <a:gd name="connsiteY5" fmla="*/ 57150 h 138113"/>
              <a:gd name="connsiteX0" fmla="*/ 0 w 414338"/>
              <a:gd name="connsiteY0" fmla="*/ 61913 h 138113"/>
              <a:gd name="connsiteX1" fmla="*/ 78582 w 414338"/>
              <a:gd name="connsiteY1" fmla="*/ 61913 h 138113"/>
              <a:gd name="connsiteX2" fmla="*/ 169069 w 414338"/>
              <a:gd name="connsiteY2" fmla="*/ 0 h 138113"/>
              <a:gd name="connsiteX3" fmla="*/ 288132 w 414338"/>
              <a:gd name="connsiteY3" fmla="*/ 138113 h 138113"/>
              <a:gd name="connsiteX4" fmla="*/ 350044 w 414338"/>
              <a:gd name="connsiteY4" fmla="*/ 61913 h 138113"/>
              <a:gd name="connsiteX5" fmla="*/ 414338 w 414338"/>
              <a:gd name="connsiteY5" fmla="*/ 64294 h 138113"/>
              <a:gd name="connsiteX0" fmla="*/ 0 w 414338"/>
              <a:gd name="connsiteY0" fmla="*/ 76201 h 152401"/>
              <a:gd name="connsiteX1" fmla="*/ 78582 w 414338"/>
              <a:gd name="connsiteY1" fmla="*/ 76201 h 152401"/>
              <a:gd name="connsiteX2" fmla="*/ 169069 w 414338"/>
              <a:gd name="connsiteY2" fmla="*/ 0 h 152401"/>
              <a:gd name="connsiteX3" fmla="*/ 288132 w 414338"/>
              <a:gd name="connsiteY3" fmla="*/ 152401 h 152401"/>
              <a:gd name="connsiteX4" fmla="*/ 350044 w 414338"/>
              <a:gd name="connsiteY4" fmla="*/ 76201 h 152401"/>
              <a:gd name="connsiteX5" fmla="*/ 414338 w 414338"/>
              <a:gd name="connsiteY5" fmla="*/ 78582 h 152401"/>
              <a:gd name="connsiteX0" fmla="*/ 0 w 414338"/>
              <a:gd name="connsiteY0" fmla="*/ 76201 h 152401"/>
              <a:gd name="connsiteX1" fmla="*/ 90488 w 414338"/>
              <a:gd name="connsiteY1" fmla="*/ 73820 h 152401"/>
              <a:gd name="connsiteX2" fmla="*/ 169069 w 414338"/>
              <a:gd name="connsiteY2" fmla="*/ 0 h 152401"/>
              <a:gd name="connsiteX3" fmla="*/ 288132 w 414338"/>
              <a:gd name="connsiteY3" fmla="*/ 152401 h 152401"/>
              <a:gd name="connsiteX4" fmla="*/ 350044 w 414338"/>
              <a:gd name="connsiteY4" fmla="*/ 76201 h 152401"/>
              <a:gd name="connsiteX5" fmla="*/ 414338 w 414338"/>
              <a:gd name="connsiteY5" fmla="*/ 78582 h 152401"/>
              <a:gd name="connsiteX0" fmla="*/ 0 w 414338"/>
              <a:gd name="connsiteY0" fmla="*/ 76201 h 152401"/>
              <a:gd name="connsiteX1" fmla="*/ 90488 w 414338"/>
              <a:gd name="connsiteY1" fmla="*/ 73820 h 152401"/>
              <a:gd name="connsiteX2" fmla="*/ 169069 w 414338"/>
              <a:gd name="connsiteY2" fmla="*/ 0 h 152401"/>
              <a:gd name="connsiteX3" fmla="*/ 288132 w 414338"/>
              <a:gd name="connsiteY3" fmla="*/ 152401 h 152401"/>
              <a:gd name="connsiteX4" fmla="*/ 350044 w 414338"/>
              <a:gd name="connsiteY4" fmla="*/ 76201 h 152401"/>
              <a:gd name="connsiteX5" fmla="*/ 414338 w 414338"/>
              <a:gd name="connsiteY5" fmla="*/ 73820 h 152401"/>
              <a:gd name="connsiteX0" fmla="*/ 0 w 414338"/>
              <a:gd name="connsiteY0" fmla="*/ 76201 h 152401"/>
              <a:gd name="connsiteX1" fmla="*/ 90488 w 414338"/>
              <a:gd name="connsiteY1" fmla="*/ 73820 h 152401"/>
              <a:gd name="connsiteX2" fmla="*/ 169069 w 414338"/>
              <a:gd name="connsiteY2" fmla="*/ 0 h 152401"/>
              <a:gd name="connsiteX3" fmla="*/ 224734 w 414338"/>
              <a:gd name="connsiteY3" fmla="*/ 67500 h 152401"/>
              <a:gd name="connsiteX4" fmla="*/ 288132 w 414338"/>
              <a:gd name="connsiteY4" fmla="*/ 152401 h 152401"/>
              <a:gd name="connsiteX5" fmla="*/ 350044 w 414338"/>
              <a:gd name="connsiteY5" fmla="*/ 76201 h 152401"/>
              <a:gd name="connsiteX6" fmla="*/ 414338 w 414338"/>
              <a:gd name="connsiteY6" fmla="*/ 73820 h 152401"/>
              <a:gd name="connsiteX0" fmla="*/ 0 w 414338"/>
              <a:gd name="connsiteY0" fmla="*/ 76201 h 200064"/>
              <a:gd name="connsiteX1" fmla="*/ 90488 w 414338"/>
              <a:gd name="connsiteY1" fmla="*/ 73820 h 200064"/>
              <a:gd name="connsiteX2" fmla="*/ 169069 w 414338"/>
              <a:gd name="connsiteY2" fmla="*/ 0 h 200064"/>
              <a:gd name="connsiteX3" fmla="*/ 195275 w 414338"/>
              <a:gd name="connsiteY3" fmla="*/ 200064 h 200064"/>
              <a:gd name="connsiteX4" fmla="*/ 288132 w 414338"/>
              <a:gd name="connsiteY4" fmla="*/ 152401 h 200064"/>
              <a:gd name="connsiteX5" fmla="*/ 350044 w 414338"/>
              <a:gd name="connsiteY5" fmla="*/ 76201 h 200064"/>
              <a:gd name="connsiteX6" fmla="*/ 414338 w 414338"/>
              <a:gd name="connsiteY6" fmla="*/ 73820 h 200064"/>
              <a:gd name="connsiteX0" fmla="*/ 0 w 414338"/>
              <a:gd name="connsiteY0" fmla="*/ 79883 h 203746"/>
              <a:gd name="connsiteX1" fmla="*/ 90488 w 414338"/>
              <a:gd name="connsiteY1" fmla="*/ 77502 h 203746"/>
              <a:gd name="connsiteX2" fmla="*/ 158021 w 414338"/>
              <a:gd name="connsiteY2" fmla="*/ 0 h 203746"/>
              <a:gd name="connsiteX3" fmla="*/ 195275 w 414338"/>
              <a:gd name="connsiteY3" fmla="*/ 203746 h 203746"/>
              <a:gd name="connsiteX4" fmla="*/ 288132 w 414338"/>
              <a:gd name="connsiteY4" fmla="*/ 156083 h 203746"/>
              <a:gd name="connsiteX5" fmla="*/ 350044 w 414338"/>
              <a:gd name="connsiteY5" fmla="*/ 79883 h 203746"/>
              <a:gd name="connsiteX6" fmla="*/ 414338 w 414338"/>
              <a:gd name="connsiteY6" fmla="*/ 77502 h 203746"/>
              <a:gd name="connsiteX0" fmla="*/ 0 w 414338"/>
              <a:gd name="connsiteY0" fmla="*/ 79883 h 203746"/>
              <a:gd name="connsiteX1" fmla="*/ 90488 w 414338"/>
              <a:gd name="connsiteY1" fmla="*/ 77502 h 203746"/>
              <a:gd name="connsiteX2" fmla="*/ 110581 w 414338"/>
              <a:gd name="connsiteY2" fmla="*/ 56452 h 203746"/>
              <a:gd name="connsiteX3" fmla="*/ 158021 w 414338"/>
              <a:gd name="connsiteY3" fmla="*/ 0 h 203746"/>
              <a:gd name="connsiteX4" fmla="*/ 195275 w 414338"/>
              <a:gd name="connsiteY4" fmla="*/ 203746 h 203746"/>
              <a:gd name="connsiteX5" fmla="*/ 288132 w 414338"/>
              <a:gd name="connsiteY5" fmla="*/ 156083 h 203746"/>
              <a:gd name="connsiteX6" fmla="*/ 350044 w 414338"/>
              <a:gd name="connsiteY6" fmla="*/ 79883 h 203746"/>
              <a:gd name="connsiteX7" fmla="*/ 414338 w 414338"/>
              <a:gd name="connsiteY7" fmla="*/ 77502 h 203746"/>
              <a:gd name="connsiteX0" fmla="*/ 0 w 414338"/>
              <a:gd name="connsiteY0" fmla="*/ 79883 h 203746"/>
              <a:gd name="connsiteX1" fmla="*/ 90488 w 414338"/>
              <a:gd name="connsiteY1" fmla="*/ 77502 h 203746"/>
              <a:gd name="connsiteX2" fmla="*/ 117945 w 414338"/>
              <a:gd name="connsiteY2" fmla="*/ 108006 h 203746"/>
              <a:gd name="connsiteX3" fmla="*/ 158021 w 414338"/>
              <a:gd name="connsiteY3" fmla="*/ 0 h 203746"/>
              <a:gd name="connsiteX4" fmla="*/ 195275 w 414338"/>
              <a:gd name="connsiteY4" fmla="*/ 203746 h 203746"/>
              <a:gd name="connsiteX5" fmla="*/ 288132 w 414338"/>
              <a:gd name="connsiteY5" fmla="*/ 156083 h 203746"/>
              <a:gd name="connsiteX6" fmla="*/ 350044 w 414338"/>
              <a:gd name="connsiteY6" fmla="*/ 79883 h 203746"/>
              <a:gd name="connsiteX7" fmla="*/ 414338 w 414338"/>
              <a:gd name="connsiteY7" fmla="*/ 77502 h 203746"/>
              <a:gd name="connsiteX0" fmla="*/ 0 w 414338"/>
              <a:gd name="connsiteY0" fmla="*/ 79883 h 203746"/>
              <a:gd name="connsiteX1" fmla="*/ 90489 w 414338"/>
              <a:gd name="connsiteY1" fmla="*/ 77502 h 203746"/>
              <a:gd name="connsiteX2" fmla="*/ 117945 w 414338"/>
              <a:gd name="connsiteY2" fmla="*/ 108006 h 203746"/>
              <a:gd name="connsiteX3" fmla="*/ 158021 w 414338"/>
              <a:gd name="connsiteY3" fmla="*/ 0 h 203746"/>
              <a:gd name="connsiteX4" fmla="*/ 195275 w 414338"/>
              <a:gd name="connsiteY4" fmla="*/ 203746 h 203746"/>
              <a:gd name="connsiteX5" fmla="*/ 288132 w 414338"/>
              <a:gd name="connsiteY5" fmla="*/ 156083 h 203746"/>
              <a:gd name="connsiteX6" fmla="*/ 350044 w 414338"/>
              <a:gd name="connsiteY6" fmla="*/ 79883 h 203746"/>
              <a:gd name="connsiteX7" fmla="*/ 414338 w 414338"/>
              <a:gd name="connsiteY7" fmla="*/ 77502 h 203746"/>
              <a:gd name="connsiteX0" fmla="*/ 0 w 414338"/>
              <a:gd name="connsiteY0" fmla="*/ 79883 h 203746"/>
              <a:gd name="connsiteX1" fmla="*/ 90489 w 414338"/>
              <a:gd name="connsiteY1" fmla="*/ 77502 h 203746"/>
              <a:gd name="connsiteX2" fmla="*/ 117945 w 414338"/>
              <a:gd name="connsiteY2" fmla="*/ 108006 h 203746"/>
              <a:gd name="connsiteX3" fmla="*/ 158021 w 414338"/>
              <a:gd name="connsiteY3" fmla="*/ 0 h 203746"/>
              <a:gd name="connsiteX4" fmla="*/ 195275 w 414338"/>
              <a:gd name="connsiteY4" fmla="*/ 203746 h 203746"/>
              <a:gd name="connsiteX5" fmla="*/ 239463 w 414338"/>
              <a:gd name="connsiteY5" fmla="*/ 189017 h 203746"/>
              <a:gd name="connsiteX6" fmla="*/ 288132 w 414338"/>
              <a:gd name="connsiteY6" fmla="*/ 156083 h 203746"/>
              <a:gd name="connsiteX7" fmla="*/ 350044 w 414338"/>
              <a:gd name="connsiteY7" fmla="*/ 79883 h 203746"/>
              <a:gd name="connsiteX8" fmla="*/ 414338 w 414338"/>
              <a:gd name="connsiteY8" fmla="*/ 77502 h 203746"/>
              <a:gd name="connsiteX0" fmla="*/ 0 w 414338"/>
              <a:gd name="connsiteY0" fmla="*/ 148629 h 272492"/>
              <a:gd name="connsiteX1" fmla="*/ 90489 w 414338"/>
              <a:gd name="connsiteY1" fmla="*/ 146248 h 272492"/>
              <a:gd name="connsiteX2" fmla="*/ 117945 w 414338"/>
              <a:gd name="connsiteY2" fmla="*/ 176752 h 272492"/>
              <a:gd name="connsiteX3" fmla="*/ 158021 w 414338"/>
              <a:gd name="connsiteY3" fmla="*/ 68746 h 272492"/>
              <a:gd name="connsiteX4" fmla="*/ 195275 w 414338"/>
              <a:gd name="connsiteY4" fmla="*/ 272492 h 272492"/>
              <a:gd name="connsiteX5" fmla="*/ 217368 w 414338"/>
              <a:gd name="connsiteY5" fmla="*/ 0 h 272492"/>
              <a:gd name="connsiteX6" fmla="*/ 288132 w 414338"/>
              <a:gd name="connsiteY6" fmla="*/ 224829 h 272492"/>
              <a:gd name="connsiteX7" fmla="*/ 350044 w 414338"/>
              <a:gd name="connsiteY7" fmla="*/ 148629 h 272492"/>
              <a:gd name="connsiteX8" fmla="*/ 414338 w 414338"/>
              <a:gd name="connsiteY8" fmla="*/ 146248 h 272492"/>
              <a:gd name="connsiteX0" fmla="*/ 0 w 414338"/>
              <a:gd name="connsiteY0" fmla="*/ 148629 h 272492"/>
              <a:gd name="connsiteX1" fmla="*/ 90489 w 414338"/>
              <a:gd name="connsiteY1" fmla="*/ 146248 h 272492"/>
              <a:gd name="connsiteX2" fmla="*/ 117945 w 414338"/>
              <a:gd name="connsiteY2" fmla="*/ 176752 h 272492"/>
              <a:gd name="connsiteX3" fmla="*/ 158021 w 414338"/>
              <a:gd name="connsiteY3" fmla="*/ 68746 h 272492"/>
              <a:gd name="connsiteX4" fmla="*/ 195275 w 414338"/>
              <a:gd name="connsiteY4" fmla="*/ 272492 h 272492"/>
              <a:gd name="connsiteX5" fmla="*/ 217368 w 414338"/>
              <a:gd name="connsiteY5" fmla="*/ 0 h 272492"/>
              <a:gd name="connsiteX6" fmla="*/ 262356 w 414338"/>
              <a:gd name="connsiteY6" fmla="*/ 195371 h 272492"/>
              <a:gd name="connsiteX7" fmla="*/ 350044 w 414338"/>
              <a:gd name="connsiteY7" fmla="*/ 148629 h 272492"/>
              <a:gd name="connsiteX8" fmla="*/ 414338 w 414338"/>
              <a:gd name="connsiteY8" fmla="*/ 146248 h 272492"/>
              <a:gd name="connsiteX0" fmla="*/ 0 w 414338"/>
              <a:gd name="connsiteY0" fmla="*/ 148629 h 272492"/>
              <a:gd name="connsiteX1" fmla="*/ 90489 w 414338"/>
              <a:gd name="connsiteY1" fmla="*/ 146248 h 272492"/>
              <a:gd name="connsiteX2" fmla="*/ 117945 w 414338"/>
              <a:gd name="connsiteY2" fmla="*/ 176752 h 272492"/>
              <a:gd name="connsiteX3" fmla="*/ 158021 w 414338"/>
              <a:gd name="connsiteY3" fmla="*/ 68746 h 272492"/>
              <a:gd name="connsiteX4" fmla="*/ 195275 w 414338"/>
              <a:gd name="connsiteY4" fmla="*/ 272492 h 272492"/>
              <a:gd name="connsiteX5" fmla="*/ 217368 w 414338"/>
              <a:gd name="connsiteY5" fmla="*/ 0 h 272492"/>
              <a:gd name="connsiteX6" fmla="*/ 262356 w 414338"/>
              <a:gd name="connsiteY6" fmla="*/ 195371 h 272492"/>
              <a:gd name="connsiteX7" fmla="*/ 302062 w 414338"/>
              <a:gd name="connsiteY7" fmla="*/ 169387 h 272492"/>
              <a:gd name="connsiteX8" fmla="*/ 350044 w 414338"/>
              <a:gd name="connsiteY8" fmla="*/ 148629 h 272492"/>
              <a:gd name="connsiteX9" fmla="*/ 414338 w 414338"/>
              <a:gd name="connsiteY9" fmla="*/ 146248 h 272492"/>
              <a:gd name="connsiteX0" fmla="*/ 0 w 414338"/>
              <a:gd name="connsiteY0" fmla="*/ 148629 h 272492"/>
              <a:gd name="connsiteX1" fmla="*/ 90489 w 414338"/>
              <a:gd name="connsiteY1" fmla="*/ 146248 h 272492"/>
              <a:gd name="connsiteX2" fmla="*/ 117945 w 414338"/>
              <a:gd name="connsiteY2" fmla="*/ 176752 h 272492"/>
              <a:gd name="connsiteX3" fmla="*/ 158021 w 414338"/>
              <a:gd name="connsiteY3" fmla="*/ 68746 h 272492"/>
              <a:gd name="connsiteX4" fmla="*/ 195275 w 414338"/>
              <a:gd name="connsiteY4" fmla="*/ 272492 h 272492"/>
              <a:gd name="connsiteX5" fmla="*/ 217368 w 414338"/>
              <a:gd name="connsiteY5" fmla="*/ 0 h 272492"/>
              <a:gd name="connsiteX6" fmla="*/ 262356 w 414338"/>
              <a:gd name="connsiteY6" fmla="*/ 195371 h 272492"/>
              <a:gd name="connsiteX7" fmla="*/ 291015 w 414338"/>
              <a:gd name="connsiteY7" fmla="*/ 103105 h 272492"/>
              <a:gd name="connsiteX8" fmla="*/ 350044 w 414338"/>
              <a:gd name="connsiteY8" fmla="*/ 148629 h 272492"/>
              <a:gd name="connsiteX9" fmla="*/ 414338 w 414338"/>
              <a:gd name="connsiteY9" fmla="*/ 146248 h 272492"/>
              <a:gd name="connsiteX0" fmla="*/ 0 w 414338"/>
              <a:gd name="connsiteY0" fmla="*/ 148629 h 272492"/>
              <a:gd name="connsiteX1" fmla="*/ 90489 w 414338"/>
              <a:gd name="connsiteY1" fmla="*/ 146248 h 272492"/>
              <a:gd name="connsiteX2" fmla="*/ 117945 w 414338"/>
              <a:gd name="connsiteY2" fmla="*/ 176752 h 272492"/>
              <a:gd name="connsiteX3" fmla="*/ 158021 w 414338"/>
              <a:gd name="connsiteY3" fmla="*/ 68746 h 272492"/>
              <a:gd name="connsiteX4" fmla="*/ 195275 w 414338"/>
              <a:gd name="connsiteY4" fmla="*/ 272492 h 272492"/>
              <a:gd name="connsiteX5" fmla="*/ 217368 w 414338"/>
              <a:gd name="connsiteY5" fmla="*/ 0 h 272492"/>
              <a:gd name="connsiteX6" fmla="*/ 262356 w 414338"/>
              <a:gd name="connsiteY6" fmla="*/ 195371 h 272492"/>
              <a:gd name="connsiteX7" fmla="*/ 291015 w 414338"/>
              <a:gd name="connsiteY7" fmla="*/ 103105 h 272492"/>
              <a:gd name="connsiteX8" fmla="*/ 338998 w 414338"/>
              <a:gd name="connsiteY8" fmla="*/ 185452 h 272492"/>
              <a:gd name="connsiteX9" fmla="*/ 414338 w 414338"/>
              <a:gd name="connsiteY9" fmla="*/ 146248 h 272492"/>
              <a:gd name="connsiteX0" fmla="*/ 0 w 414338"/>
              <a:gd name="connsiteY0" fmla="*/ 148629 h 272492"/>
              <a:gd name="connsiteX1" fmla="*/ 90489 w 414338"/>
              <a:gd name="connsiteY1" fmla="*/ 146248 h 272492"/>
              <a:gd name="connsiteX2" fmla="*/ 117945 w 414338"/>
              <a:gd name="connsiteY2" fmla="*/ 176752 h 272492"/>
              <a:gd name="connsiteX3" fmla="*/ 158021 w 414338"/>
              <a:gd name="connsiteY3" fmla="*/ 68746 h 272492"/>
              <a:gd name="connsiteX4" fmla="*/ 195275 w 414338"/>
              <a:gd name="connsiteY4" fmla="*/ 272492 h 272492"/>
              <a:gd name="connsiteX5" fmla="*/ 217368 w 414338"/>
              <a:gd name="connsiteY5" fmla="*/ 0 h 272492"/>
              <a:gd name="connsiteX6" fmla="*/ 262356 w 414338"/>
              <a:gd name="connsiteY6" fmla="*/ 195371 h 272492"/>
              <a:gd name="connsiteX7" fmla="*/ 291015 w 414338"/>
              <a:gd name="connsiteY7" fmla="*/ 103105 h 272492"/>
              <a:gd name="connsiteX8" fmla="*/ 338998 w 414338"/>
              <a:gd name="connsiteY8" fmla="*/ 185452 h 272492"/>
              <a:gd name="connsiteX9" fmla="*/ 364662 w 414338"/>
              <a:gd name="connsiteY9" fmla="*/ 165705 h 272492"/>
              <a:gd name="connsiteX10" fmla="*/ 414338 w 414338"/>
              <a:gd name="connsiteY10" fmla="*/ 146248 h 272492"/>
              <a:gd name="connsiteX0" fmla="*/ 0 w 414338"/>
              <a:gd name="connsiteY0" fmla="*/ 148629 h 272492"/>
              <a:gd name="connsiteX1" fmla="*/ 90489 w 414338"/>
              <a:gd name="connsiteY1" fmla="*/ 146248 h 272492"/>
              <a:gd name="connsiteX2" fmla="*/ 117945 w 414338"/>
              <a:gd name="connsiteY2" fmla="*/ 176752 h 272492"/>
              <a:gd name="connsiteX3" fmla="*/ 158021 w 414338"/>
              <a:gd name="connsiteY3" fmla="*/ 68746 h 272492"/>
              <a:gd name="connsiteX4" fmla="*/ 195275 w 414338"/>
              <a:gd name="connsiteY4" fmla="*/ 272492 h 272492"/>
              <a:gd name="connsiteX5" fmla="*/ 217368 w 414338"/>
              <a:gd name="connsiteY5" fmla="*/ 0 h 272492"/>
              <a:gd name="connsiteX6" fmla="*/ 262356 w 414338"/>
              <a:gd name="connsiteY6" fmla="*/ 195371 h 272492"/>
              <a:gd name="connsiteX7" fmla="*/ 291015 w 414338"/>
              <a:gd name="connsiteY7" fmla="*/ 103105 h 272492"/>
              <a:gd name="connsiteX8" fmla="*/ 338998 w 414338"/>
              <a:gd name="connsiteY8" fmla="*/ 185452 h 272492"/>
              <a:gd name="connsiteX9" fmla="*/ 364662 w 414338"/>
              <a:gd name="connsiteY9" fmla="*/ 154657 h 272492"/>
              <a:gd name="connsiteX10" fmla="*/ 414338 w 414338"/>
              <a:gd name="connsiteY10" fmla="*/ 146248 h 272492"/>
              <a:gd name="connsiteX0" fmla="*/ 0 w 414338"/>
              <a:gd name="connsiteY0" fmla="*/ 148629 h 272492"/>
              <a:gd name="connsiteX1" fmla="*/ 55345 w 414338"/>
              <a:gd name="connsiteY1" fmla="*/ 143611 h 272492"/>
              <a:gd name="connsiteX2" fmla="*/ 90489 w 414338"/>
              <a:gd name="connsiteY2" fmla="*/ 146248 h 272492"/>
              <a:gd name="connsiteX3" fmla="*/ 117945 w 414338"/>
              <a:gd name="connsiteY3" fmla="*/ 176752 h 272492"/>
              <a:gd name="connsiteX4" fmla="*/ 158021 w 414338"/>
              <a:gd name="connsiteY4" fmla="*/ 68746 h 272492"/>
              <a:gd name="connsiteX5" fmla="*/ 195275 w 414338"/>
              <a:gd name="connsiteY5" fmla="*/ 272492 h 272492"/>
              <a:gd name="connsiteX6" fmla="*/ 217368 w 414338"/>
              <a:gd name="connsiteY6" fmla="*/ 0 h 272492"/>
              <a:gd name="connsiteX7" fmla="*/ 262356 w 414338"/>
              <a:gd name="connsiteY7" fmla="*/ 195371 h 272492"/>
              <a:gd name="connsiteX8" fmla="*/ 291015 w 414338"/>
              <a:gd name="connsiteY8" fmla="*/ 103105 h 272492"/>
              <a:gd name="connsiteX9" fmla="*/ 338998 w 414338"/>
              <a:gd name="connsiteY9" fmla="*/ 185452 h 272492"/>
              <a:gd name="connsiteX10" fmla="*/ 364662 w 414338"/>
              <a:gd name="connsiteY10" fmla="*/ 154657 h 272492"/>
              <a:gd name="connsiteX11" fmla="*/ 414338 w 414338"/>
              <a:gd name="connsiteY11" fmla="*/ 146248 h 272492"/>
              <a:gd name="connsiteX0" fmla="*/ 0 w 414338"/>
              <a:gd name="connsiteY0" fmla="*/ 148629 h 272492"/>
              <a:gd name="connsiteX1" fmla="*/ 55345 w 414338"/>
              <a:gd name="connsiteY1" fmla="*/ 143611 h 272492"/>
              <a:gd name="connsiteX2" fmla="*/ 90489 w 414338"/>
              <a:gd name="connsiteY2" fmla="*/ 91013 h 272492"/>
              <a:gd name="connsiteX3" fmla="*/ 117945 w 414338"/>
              <a:gd name="connsiteY3" fmla="*/ 176752 h 272492"/>
              <a:gd name="connsiteX4" fmla="*/ 158021 w 414338"/>
              <a:gd name="connsiteY4" fmla="*/ 68746 h 272492"/>
              <a:gd name="connsiteX5" fmla="*/ 195275 w 414338"/>
              <a:gd name="connsiteY5" fmla="*/ 272492 h 272492"/>
              <a:gd name="connsiteX6" fmla="*/ 217368 w 414338"/>
              <a:gd name="connsiteY6" fmla="*/ 0 h 272492"/>
              <a:gd name="connsiteX7" fmla="*/ 262356 w 414338"/>
              <a:gd name="connsiteY7" fmla="*/ 195371 h 272492"/>
              <a:gd name="connsiteX8" fmla="*/ 291015 w 414338"/>
              <a:gd name="connsiteY8" fmla="*/ 103105 h 272492"/>
              <a:gd name="connsiteX9" fmla="*/ 338998 w 414338"/>
              <a:gd name="connsiteY9" fmla="*/ 185452 h 272492"/>
              <a:gd name="connsiteX10" fmla="*/ 364662 w 414338"/>
              <a:gd name="connsiteY10" fmla="*/ 154657 h 272492"/>
              <a:gd name="connsiteX11" fmla="*/ 414338 w 414338"/>
              <a:gd name="connsiteY11" fmla="*/ 146248 h 272492"/>
              <a:gd name="connsiteX0" fmla="*/ 0 w 414338"/>
              <a:gd name="connsiteY0" fmla="*/ 148629 h 272492"/>
              <a:gd name="connsiteX1" fmla="*/ 55345 w 414338"/>
              <a:gd name="connsiteY1" fmla="*/ 143611 h 272492"/>
              <a:gd name="connsiteX2" fmla="*/ 90489 w 414338"/>
              <a:gd name="connsiteY2" fmla="*/ 91013 h 272492"/>
              <a:gd name="connsiteX3" fmla="*/ 117945 w 414338"/>
              <a:gd name="connsiteY3" fmla="*/ 176752 h 272492"/>
              <a:gd name="connsiteX4" fmla="*/ 158021 w 414338"/>
              <a:gd name="connsiteY4" fmla="*/ 68746 h 272492"/>
              <a:gd name="connsiteX5" fmla="*/ 195275 w 414338"/>
              <a:gd name="connsiteY5" fmla="*/ 272492 h 272492"/>
              <a:gd name="connsiteX6" fmla="*/ 217368 w 414338"/>
              <a:gd name="connsiteY6" fmla="*/ 0 h 272492"/>
              <a:gd name="connsiteX7" fmla="*/ 262356 w 414338"/>
              <a:gd name="connsiteY7" fmla="*/ 195371 h 272492"/>
              <a:gd name="connsiteX8" fmla="*/ 291015 w 414338"/>
              <a:gd name="connsiteY8" fmla="*/ 103105 h 272492"/>
              <a:gd name="connsiteX9" fmla="*/ 338998 w 414338"/>
              <a:gd name="connsiteY9" fmla="*/ 185452 h 272492"/>
              <a:gd name="connsiteX10" fmla="*/ 360980 w 414338"/>
              <a:gd name="connsiteY10" fmla="*/ 136246 h 272492"/>
              <a:gd name="connsiteX11" fmla="*/ 414338 w 414338"/>
              <a:gd name="connsiteY11" fmla="*/ 146248 h 272492"/>
              <a:gd name="connsiteX0" fmla="*/ 0 w 414338"/>
              <a:gd name="connsiteY0" fmla="*/ 148629 h 272492"/>
              <a:gd name="connsiteX1" fmla="*/ 55345 w 414338"/>
              <a:gd name="connsiteY1" fmla="*/ 143611 h 272492"/>
              <a:gd name="connsiteX2" fmla="*/ 90489 w 414338"/>
              <a:gd name="connsiteY2" fmla="*/ 91013 h 272492"/>
              <a:gd name="connsiteX3" fmla="*/ 117945 w 414338"/>
              <a:gd name="connsiteY3" fmla="*/ 176752 h 272492"/>
              <a:gd name="connsiteX4" fmla="*/ 158021 w 414338"/>
              <a:gd name="connsiteY4" fmla="*/ 68746 h 272492"/>
              <a:gd name="connsiteX5" fmla="*/ 195275 w 414338"/>
              <a:gd name="connsiteY5" fmla="*/ 272492 h 272492"/>
              <a:gd name="connsiteX6" fmla="*/ 217368 w 414338"/>
              <a:gd name="connsiteY6" fmla="*/ 0 h 272492"/>
              <a:gd name="connsiteX7" fmla="*/ 262356 w 414338"/>
              <a:gd name="connsiteY7" fmla="*/ 195371 h 272492"/>
              <a:gd name="connsiteX8" fmla="*/ 291015 w 414338"/>
              <a:gd name="connsiteY8" fmla="*/ 103105 h 272492"/>
              <a:gd name="connsiteX9" fmla="*/ 338998 w 414338"/>
              <a:gd name="connsiteY9" fmla="*/ 185452 h 272492"/>
              <a:gd name="connsiteX10" fmla="*/ 375709 w 414338"/>
              <a:gd name="connsiteY10" fmla="*/ 139928 h 272492"/>
              <a:gd name="connsiteX11" fmla="*/ 414338 w 414338"/>
              <a:gd name="connsiteY11" fmla="*/ 146248 h 272492"/>
              <a:gd name="connsiteX0" fmla="*/ 0 w 414338"/>
              <a:gd name="connsiteY0" fmla="*/ 148629 h 272492"/>
              <a:gd name="connsiteX1" fmla="*/ 55345 w 414338"/>
              <a:gd name="connsiteY1" fmla="*/ 143611 h 272492"/>
              <a:gd name="connsiteX2" fmla="*/ 90489 w 414338"/>
              <a:gd name="connsiteY2" fmla="*/ 91013 h 272492"/>
              <a:gd name="connsiteX3" fmla="*/ 117945 w 414338"/>
              <a:gd name="connsiteY3" fmla="*/ 176752 h 272492"/>
              <a:gd name="connsiteX4" fmla="*/ 158021 w 414338"/>
              <a:gd name="connsiteY4" fmla="*/ 68746 h 272492"/>
              <a:gd name="connsiteX5" fmla="*/ 195275 w 414338"/>
              <a:gd name="connsiteY5" fmla="*/ 272492 h 272492"/>
              <a:gd name="connsiteX6" fmla="*/ 217368 w 414338"/>
              <a:gd name="connsiteY6" fmla="*/ 0 h 272492"/>
              <a:gd name="connsiteX7" fmla="*/ 262356 w 414338"/>
              <a:gd name="connsiteY7" fmla="*/ 195371 h 272492"/>
              <a:gd name="connsiteX8" fmla="*/ 291015 w 414338"/>
              <a:gd name="connsiteY8" fmla="*/ 103105 h 272492"/>
              <a:gd name="connsiteX9" fmla="*/ 338998 w 414338"/>
              <a:gd name="connsiteY9" fmla="*/ 185452 h 272492"/>
              <a:gd name="connsiteX10" fmla="*/ 364662 w 414338"/>
              <a:gd name="connsiteY10" fmla="*/ 154657 h 272492"/>
              <a:gd name="connsiteX11" fmla="*/ 414338 w 414338"/>
              <a:gd name="connsiteY11" fmla="*/ 146248 h 272492"/>
              <a:gd name="connsiteX0" fmla="*/ 0 w 414338"/>
              <a:gd name="connsiteY0" fmla="*/ 148629 h 272492"/>
              <a:gd name="connsiteX1" fmla="*/ 55345 w 414338"/>
              <a:gd name="connsiteY1" fmla="*/ 143611 h 272492"/>
              <a:gd name="connsiteX2" fmla="*/ 90489 w 414338"/>
              <a:gd name="connsiteY2" fmla="*/ 91013 h 272492"/>
              <a:gd name="connsiteX3" fmla="*/ 117945 w 414338"/>
              <a:gd name="connsiteY3" fmla="*/ 176752 h 272492"/>
              <a:gd name="connsiteX4" fmla="*/ 158021 w 414338"/>
              <a:gd name="connsiteY4" fmla="*/ 68746 h 272492"/>
              <a:gd name="connsiteX5" fmla="*/ 195275 w 414338"/>
              <a:gd name="connsiteY5" fmla="*/ 272492 h 272492"/>
              <a:gd name="connsiteX6" fmla="*/ 217368 w 414338"/>
              <a:gd name="connsiteY6" fmla="*/ 0 h 272492"/>
              <a:gd name="connsiteX7" fmla="*/ 262356 w 414338"/>
              <a:gd name="connsiteY7" fmla="*/ 195371 h 272492"/>
              <a:gd name="connsiteX8" fmla="*/ 291015 w 414338"/>
              <a:gd name="connsiteY8" fmla="*/ 103105 h 272492"/>
              <a:gd name="connsiteX9" fmla="*/ 338998 w 414338"/>
              <a:gd name="connsiteY9" fmla="*/ 185452 h 272492"/>
              <a:gd name="connsiteX10" fmla="*/ 364662 w 414338"/>
              <a:gd name="connsiteY10" fmla="*/ 147292 h 272492"/>
              <a:gd name="connsiteX11" fmla="*/ 414338 w 414338"/>
              <a:gd name="connsiteY11" fmla="*/ 146248 h 272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4338" h="272492">
                <a:moveTo>
                  <a:pt x="0" y="148629"/>
                </a:moveTo>
                <a:lnTo>
                  <a:pt x="55345" y="143611"/>
                </a:lnTo>
                <a:lnTo>
                  <a:pt x="90489" y="91013"/>
                </a:lnTo>
                <a:lnTo>
                  <a:pt x="117945" y="176752"/>
                </a:lnTo>
                <a:lnTo>
                  <a:pt x="158021" y="68746"/>
                </a:lnTo>
                <a:lnTo>
                  <a:pt x="195275" y="272492"/>
                </a:lnTo>
                <a:lnTo>
                  <a:pt x="217368" y="0"/>
                </a:lnTo>
                <a:lnTo>
                  <a:pt x="262356" y="195371"/>
                </a:lnTo>
                <a:lnTo>
                  <a:pt x="291015" y="103105"/>
                </a:lnTo>
                <a:lnTo>
                  <a:pt x="338998" y="185452"/>
                </a:lnTo>
                <a:lnTo>
                  <a:pt x="364662" y="147292"/>
                </a:lnTo>
                <a:lnTo>
                  <a:pt x="414338" y="146248"/>
                </a:lnTo>
              </a:path>
            </a:pathLst>
          </a:custGeom>
          <a:noFill/>
          <a:ln w="11557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5D0B7A91-F335-AD0E-BC87-A61C5271083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296" y="3038035"/>
            <a:ext cx="3671202" cy="228554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EC2810-3C8C-8938-C170-AA0B7C5C8A8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640" y="2792241"/>
            <a:ext cx="5539427" cy="14934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6937204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aphic 3" descr="Chemicals">
            <a:extLst>
              <a:ext uri="{FF2B5EF4-FFF2-40B4-BE49-F238E27FC236}">
                <a16:creationId xmlns:a16="http://schemas.microsoft.com/office/drawing/2014/main" id="{14D68F3B-DF75-76B8-1151-B82374EF8C3C}"/>
              </a:ext>
            </a:extLst>
          </p:cNvPr>
          <p:cNvSpPr/>
          <p:nvPr/>
        </p:nvSpPr>
        <p:spPr>
          <a:xfrm>
            <a:off x="510087" y="4462781"/>
            <a:ext cx="360363" cy="468312"/>
          </a:xfrm>
          <a:custGeom>
            <a:avLst/>
            <a:gdLst>
              <a:gd name="connsiteX0" fmla="*/ 483994 w 560984"/>
              <a:gd name="connsiteY0" fmla="*/ 385820 h 762057"/>
              <a:gd name="connsiteX1" fmla="*/ 560984 w 560984"/>
              <a:gd name="connsiteY1" fmla="*/ 252470 h 762057"/>
              <a:gd name="connsiteX2" fmla="*/ 478488 w 560984"/>
              <a:gd name="connsiteY2" fmla="*/ 109595 h 762057"/>
              <a:gd name="connsiteX3" fmla="*/ 324002 w 560984"/>
              <a:gd name="connsiteY3" fmla="*/ 109595 h 762057"/>
              <a:gd name="connsiteX4" fmla="*/ 260728 w 560984"/>
              <a:gd name="connsiteY4" fmla="*/ 0 h 762057"/>
              <a:gd name="connsiteX5" fmla="*/ 244221 w 560984"/>
              <a:gd name="connsiteY5" fmla="*/ 9525 h 762057"/>
              <a:gd name="connsiteX6" fmla="*/ 307762 w 560984"/>
              <a:gd name="connsiteY6" fmla="*/ 119567 h 762057"/>
              <a:gd name="connsiteX7" fmla="*/ 236525 w 560984"/>
              <a:gd name="connsiteY7" fmla="*/ 242945 h 762057"/>
              <a:gd name="connsiteX8" fmla="*/ 93412 w 560984"/>
              <a:gd name="connsiteY8" fmla="*/ 242945 h 762057"/>
              <a:gd name="connsiteX9" fmla="*/ 30175 w 560984"/>
              <a:gd name="connsiteY9" fmla="*/ 133407 h 762057"/>
              <a:gd name="connsiteX10" fmla="*/ 13668 w 560984"/>
              <a:gd name="connsiteY10" fmla="*/ 142932 h 762057"/>
              <a:gd name="connsiteX11" fmla="*/ 76952 w 560984"/>
              <a:gd name="connsiteY11" fmla="*/ 252546 h 762057"/>
              <a:gd name="connsiteX12" fmla="*/ 0 w 560984"/>
              <a:gd name="connsiteY12" fmla="*/ 385820 h 762057"/>
              <a:gd name="connsiteX13" fmla="*/ 82496 w 560984"/>
              <a:gd name="connsiteY13" fmla="*/ 528695 h 762057"/>
              <a:gd name="connsiteX14" fmla="*/ 236525 w 560984"/>
              <a:gd name="connsiteY14" fmla="*/ 528695 h 762057"/>
              <a:gd name="connsiteX15" fmla="*/ 313515 w 560984"/>
              <a:gd name="connsiteY15" fmla="*/ 662045 h 762057"/>
              <a:gd name="connsiteX16" fmla="*/ 467354 w 560984"/>
              <a:gd name="connsiteY16" fmla="*/ 662045 h 762057"/>
              <a:gd name="connsiteX17" fmla="*/ 525094 w 560984"/>
              <a:gd name="connsiteY17" fmla="*/ 762057 h 762057"/>
              <a:gd name="connsiteX18" fmla="*/ 541601 w 560984"/>
              <a:gd name="connsiteY18" fmla="*/ 752532 h 762057"/>
              <a:gd name="connsiteX19" fmla="*/ 483927 w 560984"/>
              <a:gd name="connsiteY19" fmla="*/ 652634 h 762057"/>
              <a:gd name="connsiteX20" fmla="*/ 560984 w 560984"/>
              <a:gd name="connsiteY20" fmla="*/ 519170 h 762057"/>
              <a:gd name="connsiteX21" fmla="*/ 324517 w 560984"/>
              <a:gd name="connsiteY21" fmla="*/ 128645 h 762057"/>
              <a:gd name="connsiteX22" fmla="*/ 467496 w 560984"/>
              <a:gd name="connsiteY22" fmla="*/ 128645 h 762057"/>
              <a:gd name="connsiteX23" fmla="*/ 538934 w 560984"/>
              <a:gd name="connsiteY23" fmla="*/ 252470 h 762057"/>
              <a:gd name="connsiteX24" fmla="*/ 467496 w 560984"/>
              <a:gd name="connsiteY24" fmla="*/ 376295 h 762057"/>
              <a:gd name="connsiteX25" fmla="*/ 324517 w 560984"/>
              <a:gd name="connsiteY25" fmla="*/ 376295 h 762057"/>
              <a:gd name="connsiteX26" fmla="*/ 253022 w 560984"/>
              <a:gd name="connsiteY26" fmla="*/ 252470 h 762057"/>
              <a:gd name="connsiteX27" fmla="*/ 22003 w 560984"/>
              <a:gd name="connsiteY27" fmla="*/ 385820 h 762057"/>
              <a:gd name="connsiteX28" fmla="*/ 93488 w 560984"/>
              <a:gd name="connsiteY28" fmla="*/ 261995 h 762057"/>
              <a:gd name="connsiteX29" fmla="*/ 236468 w 560984"/>
              <a:gd name="connsiteY29" fmla="*/ 261995 h 762057"/>
              <a:gd name="connsiteX30" fmla="*/ 307962 w 560984"/>
              <a:gd name="connsiteY30" fmla="*/ 385820 h 762057"/>
              <a:gd name="connsiteX31" fmla="*/ 236468 w 560984"/>
              <a:gd name="connsiteY31" fmla="*/ 509645 h 762057"/>
              <a:gd name="connsiteX32" fmla="*/ 93488 w 560984"/>
              <a:gd name="connsiteY32" fmla="*/ 509645 h 762057"/>
              <a:gd name="connsiteX33" fmla="*/ 253022 w 560984"/>
              <a:gd name="connsiteY33" fmla="*/ 519170 h 762057"/>
              <a:gd name="connsiteX34" fmla="*/ 324517 w 560984"/>
              <a:gd name="connsiteY34" fmla="*/ 395345 h 762057"/>
              <a:gd name="connsiteX35" fmla="*/ 467496 w 560984"/>
              <a:gd name="connsiteY35" fmla="*/ 395345 h 762057"/>
              <a:gd name="connsiteX36" fmla="*/ 538934 w 560984"/>
              <a:gd name="connsiteY36" fmla="*/ 519170 h 762057"/>
              <a:gd name="connsiteX37" fmla="*/ 467496 w 560984"/>
              <a:gd name="connsiteY37" fmla="*/ 642995 h 762057"/>
              <a:gd name="connsiteX38" fmla="*/ 324517 w 560984"/>
              <a:gd name="connsiteY38" fmla="*/ 642995 h 762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560984" h="762057">
                <a:moveTo>
                  <a:pt x="483994" y="385820"/>
                </a:moveTo>
                <a:lnTo>
                  <a:pt x="560984" y="252470"/>
                </a:lnTo>
                <a:lnTo>
                  <a:pt x="478488" y="109595"/>
                </a:lnTo>
                <a:lnTo>
                  <a:pt x="324002" y="109595"/>
                </a:lnTo>
                <a:lnTo>
                  <a:pt x="260728" y="0"/>
                </a:lnTo>
                <a:lnTo>
                  <a:pt x="244221" y="9525"/>
                </a:lnTo>
                <a:lnTo>
                  <a:pt x="307762" y="119567"/>
                </a:lnTo>
                <a:lnTo>
                  <a:pt x="236525" y="242945"/>
                </a:lnTo>
                <a:lnTo>
                  <a:pt x="93412" y="242945"/>
                </a:lnTo>
                <a:lnTo>
                  <a:pt x="30175" y="133407"/>
                </a:lnTo>
                <a:lnTo>
                  <a:pt x="13668" y="142932"/>
                </a:lnTo>
                <a:lnTo>
                  <a:pt x="76952" y="252546"/>
                </a:lnTo>
                <a:lnTo>
                  <a:pt x="0" y="385820"/>
                </a:lnTo>
                <a:lnTo>
                  <a:pt x="82496" y="528695"/>
                </a:lnTo>
                <a:lnTo>
                  <a:pt x="236525" y="528695"/>
                </a:lnTo>
                <a:lnTo>
                  <a:pt x="313515" y="662045"/>
                </a:lnTo>
                <a:lnTo>
                  <a:pt x="467354" y="662045"/>
                </a:lnTo>
                <a:lnTo>
                  <a:pt x="525094" y="762057"/>
                </a:lnTo>
                <a:lnTo>
                  <a:pt x="541601" y="752532"/>
                </a:lnTo>
                <a:lnTo>
                  <a:pt x="483927" y="652634"/>
                </a:lnTo>
                <a:lnTo>
                  <a:pt x="560984" y="519170"/>
                </a:lnTo>
                <a:close/>
                <a:moveTo>
                  <a:pt x="324517" y="128645"/>
                </a:moveTo>
                <a:lnTo>
                  <a:pt x="467496" y="128645"/>
                </a:lnTo>
                <a:lnTo>
                  <a:pt x="538934" y="252470"/>
                </a:lnTo>
                <a:lnTo>
                  <a:pt x="467496" y="376295"/>
                </a:lnTo>
                <a:lnTo>
                  <a:pt x="324517" y="376295"/>
                </a:lnTo>
                <a:lnTo>
                  <a:pt x="253022" y="252470"/>
                </a:lnTo>
                <a:close/>
                <a:moveTo>
                  <a:pt x="22003" y="385820"/>
                </a:moveTo>
                <a:lnTo>
                  <a:pt x="93488" y="261995"/>
                </a:lnTo>
                <a:lnTo>
                  <a:pt x="236468" y="261995"/>
                </a:lnTo>
                <a:lnTo>
                  <a:pt x="307962" y="385820"/>
                </a:lnTo>
                <a:lnTo>
                  <a:pt x="236468" y="509645"/>
                </a:lnTo>
                <a:lnTo>
                  <a:pt x="93488" y="509645"/>
                </a:lnTo>
                <a:close/>
                <a:moveTo>
                  <a:pt x="253022" y="519170"/>
                </a:moveTo>
                <a:lnTo>
                  <a:pt x="324517" y="395345"/>
                </a:lnTo>
                <a:lnTo>
                  <a:pt x="467496" y="395345"/>
                </a:lnTo>
                <a:lnTo>
                  <a:pt x="538934" y="519170"/>
                </a:lnTo>
                <a:lnTo>
                  <a:pt x="467496" y="642995"/>
                </a:lnTo>
                <a:lnTo>
                  <a:pt x="324517" y="642995"/>
                </a:lnTo>
                <a:close/>
              </a:path>
            </a:pathLst>
          </a:custGeom>
          <a:solidFill>
            <a:srgbClr val="1F6898"/>
          </a:solidFill>
          <a:ln w="9525" cap="flat">
            <a:solidFill>
              <a:srgbClr val="1F6898"/>
            </a:solidFill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>
              <a:latin typeface="Avenir Next" panose="020B0503020202020204" pitchFamily="34" charset="0"/>
            </a:endParaRPr>
          </a:p>
        </p:txBody>
      </p:sp>
      <p:grpSp>
        <p:nvGrpSpPr>
          <p:cNvPr id="5" name="Graphic 2" descr="Cell Tower">
            <a:extLst>
              <a:ext uri="{FF2B5EF4-FFF2-40B4-BE49-F238E27FC236}">
                <a16:creationId xmlns:a16="http://schemas.microsoft.com/office/drawing/2014/main" id="{5FBB5578-27B3-9441-6BDC-04CEB7121E19}"/>
              </a:ext>
            </a:extLst>
          </p:cNvPr>
          <p:cNvGrpSpPr>
            <a:grpSpLocks/>
          </p:cNvGrpSpPr>
          <p:nvPr/>
        </p:nvGrpSpPr>
        <p:grpSpPr bwMode="auto">
          <a:xfrm>
            <a:off x="1027612" y="4440556"/>
            <a:ext cx="482600" cy="512762"/>
            <a:chOff x="2516569" y="4040506"/>
            <a:chExt cx="914400" cy="9144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B38B7B0-15AA-9875-34FB-0D2AA3A12790}"/>
                </a:ext>
              </a:extLst>
            </p:cNvPr>
            <p:cNvSpPr/>
            <p:nvPr/>
          </p:nvSpPr>
          <p:spPr>
            <a:xfrm>
              <a:off x="2865485" y="4213194"/>
              <a:ext cx="60158" cy="161366"/>
            </a:xfrm>
            <a:custGeom>
              <a:avLst/>
              <a:gdLst>
                <a:gd name="connsiteX0" fmla="*/ 33343 w 60012"/>
                <a:gd name="connsiteY0" fmla="*/ 161925 h 161925"/>
                <a:gd name="connsiteX1" fmla="*/ 60013 w 60012"/>
                <a:gd name="connsiteY1" fmla="*/ 135255 h 161925"/>
                <a:gd name="connsiteX2" fmla="*/ 60013 w 60012"/>
                <a:gd name="connsiteY2" fmla="*/ 26670 h 161925"/>
                <a:gd name="connsiteX3" fmla="*/ 33343 w 60012"/>
                <a:gd name="connsiteY3" fmla="*/ 0 h 161925"/>
                <a:gd name="connsiteX4" fmla="*/ 33343 w 60012"/>
                <a:gd name="connsiteY4" fmla="*/ 1619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2" h="161925">
                  <a:moveTo>
                    <a:pt x="33343" y="161925"/>
                  </a:moveTo>
                  <a:lnTo>
                    <a:pt x="60013" y="135255"/>
                  </a:lnTo>
                  <a:cubicBezTo>
                    <a:pt x="30788" y="104960"/>
                    <a:pt x="30788" y="56965"/>
                    <a:pt x="60013" y="26670"/>
                  </a:cubicBezTo>
                  <a:lnTo>
                    <a:pt x="33343" y="0"/>
                  </a:lnTo>
                  <a:cubicBezTo>
                    <a:pt x="-11114" y="44821"/>
                    <a:pt x="-11114" y="117104"/>
                    <a:pt x="33343" y="161925"/>
                  </a:cubicBezTo>
                  <a:close/>
                </a:path>
              </a:pathLst>
            </a:custGeom>
            <a:solidFill>
              <a:srgbClr val="A9003C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8AEE9A8-B059-F9EC-4115-E5F00E57843E}"/>
                </a:ext>
              </a:extLst>
            </p:cNvPr>
            <p:cNvSpPr/>
            <p:nvPr/>
          </p:nvSpPr>
          <p:spPr>
            <a:xfrm>
              <a:off x="2787280" y="4159406"/>
              <a:ext cx="84221" cy="268941"/>
            </a:xfrm>
            <a:custGeom>
              <a:avLst/>
              <a:gdLst>
                <a:gd name="connsiteX0" fmla="*/ 56191 w 82860"/>
                <a:gd name="connsiteY0" fmla="*/ 268605 h 268604"/>
                <a:gd name="connsiteX1" fmla="*/ 82861 w 82860"/>
                <a:gd name="connsiteY1" fmla="*/ 241935 h 268604"/>
                <a:gd name="connsiteX2" fmla="*/ 82178 w 82860"/>
                <a:gd name="connsiteY2" fmla="*/ 27353 h 268604"/>
                <a:gd name="connsiteX3" fmla="*/ 82861 w 82860"/>
                <a:gd name="connsiteY3" fmla="*/ 26670 h 268604"/>
                <a:gd name="connsiteX4" fmla="*/ 56191 w 82860"/>
                <a:gd name="connsiteY4" fmla="*/ 0 h 268604"/>
                <a:gd name="connsiteX5" fmla="*/ 54292 w 82860"/>
                <a:gd name="connsiteY5" fmla="*/ 266707 h 268604"/>
                <a:gd name="connsiteX6" fmla="*/ 56191 w 82860"/>
                <a:gd name="connsiteY6" fmla="*/ 268605 h 26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860" h="268604">
                  <a:moveTo>
                    <a:pt x="56191" y="268605"/>
                  </a:moveTo>
                  <a:lnTo>
                    <a:pt x="82861" y="241935"/>
                  </a:lnTo>
                  <a:cubicBezTo>
                    <a:pt x="23417" y="182869"/>
                    <a:pt x="23111" y="86797"/>
                    <a:pt x="82178" y="27353"/>
                  </a:cubicBezTo>
                  <a:cubicBezTo>
                    <a:pt x="82404" y="27124"/>
                    <a:pt x="82632" y="26897"/>
                    <a:pt x="82861" y="26670"/>
                  </a:cubicBezTo>
                  <a:lnTo>
                    <a:pt x="56191" y="0"/>
                  </a:lnTo>
                  <a:cubicBezTo>
                    <a:pt x="-17983" y="73125"/>
                    <a:pt x="-18832" y="192534"/>
                    <a:pt x="54292" y="266707"/>
                  </a:cubicBezTo>
                  <a:cubicBezTo>
                    <a:pt x="54921" y="267344"/>
                    <a:pt x="55553" y="267976"/>
                    <a:pt x="56191" y="268605"/>
                  </a:cubicBezTo>
                  <a:close/>
                </a:path>
              </a:pathLst>
            </a:custGeom>
            <a:solidFill>
              <a:srgbClr val="A9003C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69E2397-0493-A131-AD2E-7E0C4887D8B6}"/>
                </a:ext>
              </a:extLst>
            </p:cNvPr>
            <p:cNvSpPr/>
            <p:nvPr/>
          </p:nvSpPr>
          <p:spPr>
            <a:xfrm>
              <a:off x="2712083" y="4105617"/>
              <a:ext cx="105275" cy="376519"/>
            </a:xfrm>
            <a:custGeom>
              <a:avLst/>
              <a:gdLst>
                <a:gd name="connsiteX0" fmla="*/ 104794 w 104793"/>
                <a:gd name="connsiteY0" fmla="*/ 350520 h 377189"/>
                <a:gd name="connsiteX1" fmla="*/ 104794 w 104793"/>
                <a:gd name="connsiteY1" fmla="*/ 26670 h 377189"/>
                <a:gd name="connsiteX2" fmla="*/ 78124 w 104793"/>
                <a:gd name="connsiteY2" fmla="*/ 0 h 377189"/>
                <a:gd name="connsiteX3" fmla="*/ 78105 w 104793"/>
                <a:gd name="connsiteY3" fmla="*/ 377171 h 377189"/>
                <a:gd name="connsiteX4" fmla="*/ 78124 w 104793"/>
                <a:gd name="connsiteY4" fmla="*/ 377190 h 37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93" h="377189">
                  <a:moveTo>
                    <a:pt x="104794" y="350520"/>
                  </a:moveTo>
                  <a:cubicBezTo>
                    <a:pt x="15879" y="260879"/>
                    <a:pt x="15879" y="116311"/>
                    <a:pt x="104794" y="26670"/>
                  </a:cubicBezTo>
                  <a:lnTo>
                    <a:pt x="78124" y="0"/>
                  </a:lnTo>
                  <a:cubicBezTo>
                    <a:pt x="-26034" y="104147"/>
                    <a:pt x="-26042" y="273012"/>
                    <a:pt x="78105" y="377171"/>
                  </a:cubicBezTo>
                  <a:cubicBezTo>
                    <a:pt x="78112" y="377178"/>
                    <a:pt x="78117" y="377183"/>
                    <a:pt x="78124" y="377190"/>
                  </a:cubicBezTo>
                  <a:close/>
                </a:path>
              </a:pathLst>
            </a:custGeom>
            <a:solidFill>
              <a:srgbClr val="A9003C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C5FA95B-E9AC-F4C1-5AEE-8CFF326C38C0}"/>
                </a:ext>
              </a:extLst>
            </p:cNvPr>
            <p:cNvSpPr/>
            <p:nvPr/>
          </p:nvSpPr>
          <p:spPr>
            <a:xfrm>
              <a:off x="3033927" y="4213194"/>
              <a:ext cx="60158" cy="161366"/>
            </a:xfrm>
            <a:custGeom>
              <a:avLst/>
              <a:gdLst>
                <a:gd name="connsiteX0" fmla="*/ 26670 w 60012"/>
                <a:gd name="connsiteY0" fmla="*/ 161925 h 161925"/>
                <a:gd name="connsiteX1" fmla="*/ 26670 w 60012"/>
                <a:gd name="connsiteY1" fmla="*/ 0 h 161925"/>
                <a:gd name="connsiteX2" fmla="*/ 0 w 60012"/>
                <a:gd name="connsiteY2" fmla="*/ 26670 h 161925"/>
                <a:gd name="connsiteX3" fmla="*/ 21907 w 60012"/>
                <a:gd name="connsiteY3" fmla="*/ 80963 h 161925"/>
                <a:gd name="connsiteX4" fmla="*/ 0 w 60012"/>
                <a:gd name="connsiteY4" fmla="*/ 13525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2" h="161925">
                  <a:moveTo>
                    <a:pt x="26670" y="161925"/>
                  </a:moveTo>
                  <a:cubicBezTo>
                    <a:pt x="71127" y="117104"/>
                    <a:pt x="71127" y="44821"/>
                    <a:pt x="26670" y="0"/>
                  </a:cubicBezTo>
                  <a:lnTo>
                    <a:pt x="0" y="26670"/>
                  </a:lnTo>
                  <a:cubicBezTo>
                    <a:pt x="14241" y="41128"/>
                    <a:pt x="22126" y="60669"/>
                    <a:pt x="21907" y="80963"/>
                  </a:cubicBezTo>
                  <a:cubicBezTo>
                    <a:pt x="21941" y="101219"/>
                    <a:pt x="14083" y="120693"/>
                    <a:pt x="0" y="135255"/>
                  </a:cubicBezTo>
                  <a:close/>
                </a:path>
              </a:pathLst>
            </a:custGeom>
            <a:solidFill>
              <a:srgbClr val="A9003C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923CF02-B43B-4415-3E4A-34B9EF7A79E2}"/>
                </a:ext>
              </a:extLst>
            </p:cNvPr>
            <p:cNvSpPr/>
            <p:nvPr/>
          </p:nvSpPr>
          <p:spPr>
            <a:xfrm>
              <a:off x="3085062" y="4159406"/>
              <a:ext cx="84221" cy="268941"/>
            </a:xfrm>
            <a:custGeom>
              <a:avLst/>
              <a:gdLst>
                <a:gd name="connsiteX0" fmla="*/ 0 w 82860"/>
                <a:gd name="connsiteY0" fmla="*/ 241935 h 268604"/>
                <a:gd name="connsiteX1" fmla="*/ 26670 w 82860"/>
                <a:gd name="connsiteY1" fmla="*/ 268605 h 268604"/>
                <a:gd name="connsiteX2" fmla="*/ 28568 w 82860"/>
                <a:gd name="connsiteY2" fmla="*/ 1898 h 268604"/>
                <a:gd name="connsiteX3" fmla="*/ 26670 w 82860"/>
                <a:gd name="connsiteY3" fmla="*/ 0 h 268604"/>
                <a:gd name="connsiteX4" fmla="*/ 0 w 82860"/>
                <a:gd name="connsiteY4" fmla="*/ 26670 h 268604"/>
                <a:gd name="connsiteX5" fmla="*/ 683 w 82860"/>
                <a:gd name="connsiteY5" fmla="*/ 241252 h 268604"/>
                <a:gd name="connsiteX6" fmla="*/ 0 w 82860"/>
                <a:gd name="connsiteY6" fmla="*/ 241935 h 26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860" h="268604">
                  <a:moveTo>
                    <a:pt x="0" y="241935"/>
                  </a:moveTo>
                  <a:lnTo>
                    <a:pt x="26670" y="268605"/>
                  </a:lnTo>
                  <a:cubicBezTo>
                    <a:pt x="100843" y="195480"/>
                    <a:pt x="101693" y="76071"/>
                    <a:pt x="28568" y="1898"/>
                  </a:cubicBezTo>
                  <a:cubicBezTo>
                    <a:pt x="27940" y="1261"/>
                    <a:pt x="27307" y="629"/>
                    <a:pt x="26670" y="0"/>
                  </a:cubicBezTo>
                  <a:lnTo>
                    <a:pt x="0" y="26670"/>
                  </a:lnTo>
                  <a:cubicBezTo>
                    <a:pt x="59444" y="85736"/>
                    <a:pt x="59749" y="181808"/>
                    <a:pt x="683" y="241252"/>
                  </a:cubicBezTo>
                  <a:cubicBezTo>
                    <a:pt x="456" y="241481"/>
                    <a:pt x="229" y="241708"/>
                    <a:pt x="0" y="241935"/>
                  </a:cubicBezTo>
                  <a:close/>
                </a:path>
              </a:pathLst>
            </a:custGeom>
            <a:solidFill>
              <a:srgbClr val="A9003C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1453E60A-4280-FF9C-F11D-371AE189C5CE}"/>
                </a:ext>
              </a:extLst>
            </p:cNvPr>
            <p:cNvSpPr/>
            <p:nvPr/>
          </p:nvSpPr>
          <p:spPr>
            <a:xfrm>
              <a:off x="3139204" y="4105617"/>
              <a:ext cx="105275" cy="376519"/>
            </a:xfrm>
            <a:custGeom>
              <a:avLst/>
              <a:gdLst>
                <a:gd name="connsiteX0" fmla="*/ 0 w 104793"/>
                <a:gd name="connsiteY0" fmla="*/ 350520 h 377189"/>
                <a:gd name="connsiteX1" fmla="*/ 26670 w 104793"/>
                <a:gd name="connsiteY1" fmla="*/ 377190 h 377189"/>
                <a:gd name="connsiteX2" fmla="*/ 26689 w 104793"/>
                <a:gd name="connsiteY2" fmla="*/ 19 h 377189"/>
                <a:gd name="connsiteX3" fmla="*/ 26670 w 104793"/>
                <a:gd name="connsiteY3" fmla="*/ 0 h 377189"/>
                <a:gd name="connsiteX4" fmla="*/ 0 w 104793"/>
                <a:gd name="connsiteY4" fmla="*/ 26670 h 377189"/>
                <a:gd name="connsiteX5" fmla="*/ 0 w 104793"/>
                <a:gd name="connsiteY5" fmla="*/ 350520 h 37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93" h="377189">
                  <a:moveTo>
                    <a:pt x="0" y="350520"/>
                  </a:moveTo>
                  <a:lnTo>
                    <a:pt x="26670" y="377190"/>
                  </a:lnTo>
                  <a:cubicBezTo>
                    <a:pt x="130828" y="273043"/>
                    <a:pt x="130836" y="104178"/>
                    <a:pt x="26689" y="19"/>
                  </a:cubicBezTo>
                  <a:cubicBezTo>
                    <a:pt x="26683" y="13"/>
                    <a:pt x="26677" y="6"/>
                    <a:pt x="26670" y="0"/>
                  </a:cubicBezTo>
                  <a:lnTo>
                    <a:pt x="0" y="26670"/>
                  </a:lnTo>
                  <a:cubicBezTo>
                    <a:pt x="88915" y="116311"/>
                    <a:pt x="88915" y="260879"/>
                    <a:pt x="0" y="350520"/>
                  </a:cubicBezTo>
                  <a:close/>
                </a:path>
              </a:pathLst>
            </a:custGeom>
            <a:solidFill>
              <a:srgbClr val="A9003C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FC255F2F-24E0-E01A-1181-909A9313CFCA}"/>
                </a:ext>
              </a:extLst>
            </p:cNvPr>
            <p:cNvSpPr/>
            <p:nvPr/>
          </p:nvSpPr>
          <p:spPr>
            <a:xfrm>
              <a:off x="2688020" y="4255659"/>
              <a:ext cx="580523" cy="631304"/>
            </a:xfrm>
            <a:custGeom>
              <a:avLst/>
              <a:gdLst>
                <a:gd name="connsiteX0" fmla="*/ 580631 w 580650"/>
                <a:gd name="connsiteY0" fmla="*/ 611687 h 633500"/>
                <a:gd name="connsiteX1" fmla="*/ 580631 w 580650"/>
                <a:gd name="connsiteY1" fmla="*/ 611687 h 633500"/>
                <a:gd name="connsiteX2" fmla="*/ 579012 w 580650"/>
                <a:gd name="connsiteY2" fmla="*/ 606830 h 633500"/>
                <a:gd name="connsiteX3" fmla="*/ 579012 w 580650"/>
                <a:gd name="connsiteY3" fmla="*/ 606258 h 633500"/>
                <a:gd name="connsiteX4" fmla="*/ 307550 w 580650"/>
                <a:gd name="connsiteY4" fmla="*/ 77621 h 633500"/>
                <a:gd name="connsiteX5" fmla="*/ 304406 w 580650"/>
                <a:gd name="connsiteY5" fmla="*/ 73430 h 633500"/>
                <a:gd name="connsiteX6" fmla="*/ 325439 w 580650"/>
                <a:gd name="connsiteY6" fmla="*/ 23822 h 633500"/>
                <a:gd name="connsiteX7" fmla="*/ 275831 w 580650"/>
                <a:gd name="connsiteY7" fmla="*/ 2790 h 633500"/>
                <a:gd name="connsiteX8" fmla="*/ 254799 w 580650"/>
                <a:gd name="connsiteY8" fmla="*/ 52397 h 633500"/>
                <a:gd name="connsiteX9" fmla="*/ 275831 w 580650"/>
                <a:gd name="connsiteY9" fmla="*/ 73430 h 633500"/>
                <a:gd name="connsiteX10" fmla="*/ 273260 w 580650"/>
                <a:gd name="connsiteY10" fmla="*/ 77144 h 633500"/>
                <a:gd name="connsiteX11" fmla="*/ 1797 w 580650"/>
                <a:gd name="connsiteY11" fmla="*/ 605782 h 633500"/>
                <a:gd name="connsiteX12" fmla="*/ 1797 w 580650"/>
                <a:gd name="connsiteY12" fmla="*/ 606353 h 633500"/>
                <a:gd name="connsiteX13" fmla="*/ 178 w 580650"/>
                <a:gd name="connsiteY13" fmla="*/ 611211 h 633500"/>
                <a:gd name="connsiteX14" fmla="*/ 178 w 580650"/>
                <a:gd name="connsiteY14" fmla="*/ 611211 h 633500"/>
                <a:gd name="connsiteX15" fmla="*/ 178 w 580650"/>
                <a:gd name="connsiteY15" fmla="*/ 615974 h 633500"/>
                <a:gd name="connsiteX16" fmla="*/ 178 w 580650"/>
                <a:gd name="connsiteY16" fmla="*/ 617117 h 633500"/>
                <a:gd name="connsiteX17" fmla="*/ 1511 w 580650"/>
                <a:gd name="connsiteY17" fmla="*/ 621593 h 633500"/>
                <a:gd name="connsiteX18" fmla="*/ 1511 w 580650"/>
                <a:gd name="connsiteY18" fmla="*/ 621593 h 633500"/>
                <a:gd name="connsiteX19" fmla="*/ 2845 w 580650"/>
                <a:gd name="connsiteY19" fmla="*/ 623689 h 633500"/>
                <a:gd name="connsiteX20" fmla="*/ 4750 w 580650"/>
                <a:gd name="connsiteY20" fmla="*/ 626451 h 633500"/>
                <a:gd name="connsiteX21" fmla="*/ 4750 w 580650"/>
                <a:gd name="connsiteY21" fmla="*/ 626451 h 633500"/>
                <a:gd name="connsiteX22" fmla="*/ 6274 w 580650"/>
                <a:gd name="connsiteY22" fmla="*/ 627594 h 633500"/>
                <a:gd name="connsiteX23" fmla="*/ 8941 w 580650"/>
                <a:gd name="connsiteY23" fmla="*/ 629690 h 633500"/>
                <a:gd name="connsiteX24" fmla="*/ 11227 w 580650"/>
                <a:gd name="connsiteY24" fmla="*/ 630737 h 633500"/>
                <a:gd name="connsiteX25" fmla="*/ 14084 w 580650"/>
                <a:gd name="connsiteY25" fmla="*/ 631785 h 633500"/>
                <a:gd name="connsiteX26" fmla="*/ 16561 w 580650"/>
                <a:gd name="connsiteY26" fmla="*/ 631785 h 633500"/>
                <a:gd name="connsiteX27" fmla="*/ 18656 w 580650"/>
                <a:gd name="connsiteY27" fmla="*/ 633500 h 633500"/>
                <a:gd name="connsiteX28" fmla="*/ 19990 w 580650"/>
                <a:gd name="connsiteY28" fmla="*/ 633500 h 633500"/>
                <a:gd name="connsiteX29" fmla="*/ 21228 w 580650"/>
                <a:gd name="connsiteY29" fmla="*/ 633500 h 633500"/>
                <a:gd name="connsiteX30" fmla="*/ 26276 w 580650"/>
                <a:gd name="connsiteY30" fmla="*/ 632166 h 633500"/>
                <a:gd name="connsiteX31" fmla="*/ 290309 w 580650"/>
                <a:gd name="connsiteY31" fmla="*/ 516056 h 633500"/>
                <a:gd name="connsiteX32" fmla="*/ 553961 w 580650"/>
                <a:gd name="connsiteY32" fmla="*/ 631880 h 633500"/>
                <a:gd name="connsiteX33" fmla="*/ 561581 w 580650"/>
                <a:gd name="connsiteY33" fmla="*/ 633500 h 633500"/>
                <a:gd name="connsiteX34" fmla="*/ 561581 w 580650"/>
                <a:gd name="connsiteY34" fmla="*/ 633500 h 633500"/>
                <a:gd name="connsiteX35" fmla="*/ 566249 w 580650"/>
                <a:gd name="connsiteY35" fmla="*/ 632833 h 633500"/>
                <a:gd name="connsiteX36" fmla="*/ 567582 w 580650"/>
                <a:gd name="connsiteY36" fmla="*/ 632833 h 633500"/>
                <a:gd name="connsiteX37" fmla="*/ 571106 w 580650"/>
                <a:gd name="connsiteY37" fmla="*/ 631214 h 633500"/>
                <a:gd name="connsiteX38" fmla="*/ 571964 w 580650"/>
                <a:gd name="connsiteY38" fmla="*/ 630642 h 633500"/>
                <a:gd name="connsiteX39" fmla="*/ 575393 w 580650"/>
                <a:gd name="connsiteY39" fmla="*/ 627880 h 633500"/>
                <a:gd name="connsiteX40" fmla="*/ 575393 w 580650"/>
                <a:gd name="connsiteY40" fmla="*/ 627880 h 633500"/>
                <a:gd name="connsiteX41" fmla="*/ 577393 w 580650"/>
                <a:gd name="connsiteY41" fmla="*/ 624927 h 633500"/>
                <a:gd name="connsiteX42" fmla="*/ 578536 w 580650"/>
                <a:gd name="connsiteY42" fmla="*/ 623022 h 633500"/>
                <a:gd name="connsiteX43" fmla="*/ 578536 w 580650"/>
                <a:gd name="connsiteY43" fmla="*/ 623022 h 633500"/>
                <a:gd name="connsiteX44" fmla="*/ 579869 w 580650"/>
                <a:gd name="connsiteY44" fmla="*/ 618450 h 633500"/>
                <a:gd name="connsiteX45" fmla="*/ 579869 w 580650"/>
                <a:gd name="connsiteY45" fmla="*/ 617402 h 633500"/>
                <a:gd name="connsiteX46" fmla="*/ 580631 w 580650"/>
                <a:gd name="connsiteY46" fmla="*/ 611687 h 633500"/>
                <a:gd name="connsiteX47" fmla="*/ 418706 w 580650"/>
                <a:gd name="connsiteY47" fmla="*/ 377849 h 633500"/>
                <a:gd name="connsiteX48" fmla="*/ 322504 w 580650"/>
                <a:gd name="connsiteY48" fmla="*/ 312793 h 633500"/>
                <a:gd name="connsiteX49" fmla="*/ 368891 w 580650"/>
                <a:gd name="connsiteY49" fmla="*/ 281075 h 633500"/>
                <a:gd name="connsiteX50" fmla="*/ 290119 w 580650"/>
                <a:gd name="connsiteY50" fmla="*/ 127532 h 633500"/>
                <a:gd name="connsiteX51" fmla="*/ 351365 w 580650"/>
                <a:gd name="connsiteY51" fmla="*/ 246689 h 633500"/>
                <a:gd name="connsiteX52" fmla="*/ 288690 w 580650"/>
                <a:gd name="connsiteY52" fmla="*/ 289838 h 633500"/>
                <a:gd name="connsiteX53" fmla="*/ 231540 w 580650"/>
                <a:gd name="connsiteY53" fmla="*/ 251738 h 633500"/>
                <a:gd name="connsiteX54" fmla="*/ 227540 w 580650"/>
                <a:gd name="connsiteY54" fmla="*/ 249642 h 633500"/>
                <a:gd name="connsiteX55" fmla="*/ 210299 w 580650"/>
                <a:gd name="connsiteY55" fmla="*/ 282884 h 633500"/>
                <a:gd name="connsiteX56" fmla="*/ 254972 w 580650"/>
                <a:gd name="connsiteY56" fmla="*/ 313079 h 633500"/>
                <a:gd name="connsiteX57" fmla="*/ 161531 w 580650"/>
                <a:gd name="connsiteY57" fmla="*/ 377182 h 633500"/>
                <a:gd name="connsiteX58" fmla="*/ 60090 w 580650"/>
                <a:gd name="connsiteY58" fmla="*/ 575492 h 633500"/>
                <a:gd name="connsiteX59" fmla="*/ 127337 w 580650"/>
                <a:gd name="connsiteY59" fmla="*/ 444428 h 633500"/>
                <a:gd name="connsiteX60" fmla="*/ 242875 w 580650"/>
                <a:gd name="connsiteY60" fmla="*/ 495197 h 633500"/>
                <a:gd name="connsiteX61" fmla="*/ 166675 w 580650"/>
                <a:gd name="connsiteY61" fmla="*/ 420140 h 633500"/>
                <a:gd name="connsiteX62" fmla="*/ 288881 w 580650"/>
                <a:gd name="connsiteY62" fmla="*/ 336034 h 633500"/>
                <a:gd name="connsiteX63" fmla="*/ 413468 w 580650"/>
                <a:gd name="connsiteY63" fmla="*/ 420330 h 633500"/>
                <a:gd name="connsiteX64" fmla="*/ 290309 w 580650"/>
                <a:gd name="connsiteY64" fmla="*/ 474432 h 633500"/>
                <a:gd name="connsiteX65" fmla="*/ 490525 w 580650"/>
                <a:gd name="connsiteY65" fmla="*/ 562443 h 633500"/>
                <a:gd name="connsiteX66" fmla="*/ 337649 w 580650"/>
                <a:gd name="connsiteY66" fmla="*/ 495292 h 633500"/>
                <a:gd name="connsiteX67" fmla="*/ 452996 w 580650"/>
                <a:gd name="connsiteY67" fmla="*/ 444619 h 633500"/>
                <a:gd name="connsiteX68" fmla="*/ 520148 w 580650"/>
                <a:gd name="connsiteY68" fmla="*/ 575397 h 6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580650" h="633500">
                  <a:moveTo>
                    <a:pt x="580631" y="611687"/>
                  </a:moveTo>
                  <a:lnTo>
                    <a:pt x="580631" y="611687"/>
                  </a:lnTo>
                  <a:cubicBezTo>
                    <a:pt x="580338" y="609996"/>
                    <a:pt x="579792" y="608358"/>
                    <a:pt x="579012" y="606830"/>
                  </a:cubicBezTo>
                  <a:cubicBezTo>
                    <a:pt x="579012" y="606830"/>
                    <a:pt x="579012" y="606830"/>
                    <a:pt x="579012" y="606258"/>
                  </a:cubicBezTo>
                  <a:lnTo>
                    <a:pt x="307550" y="77621"/>
                  </a:lnTo>
                  <a:cubicBezTo>
                    <a:pt x="306723" y="76071"/>
                    <a:pt x="305663" y="74657"/>
                    <a:pt x="304406" y="73430"/>
                  </a:cubicBezTo>
                  <a:cubicBezTo>
                    <a:pt x="323913" y="65539"/>
                    <a:pt x="333329" y="43329"/>
                    <a:pt x="325439" y="23822"/>
                  </a:cubicBezTo>
                  <a:cubicBezTo>
                    <a:pt x="317548" y="4316"/>
                    <a:pt x="295338" y="-5100"/>
                    <a:pt x="275831" y="2790"/>
                  </a:cubicBezTo>
                  <a:cubicBezTo>
                    <a:pt x="256325" y="10681"/>
                    <a:pt x="246909" y="32891"/>
                    <a:pt x="254799" y="52397"/>
                  </a:cubicBezTo>
                  <a:cubicBezTo>
                    <a:pt x="258671" y="61968"/>
                    <a:pt x="266261" y="69558"/>
                    <a:pt x="275831" y="73430"/>
                  </a:cubicBezTo>
                  <a:cubicBezTo>
                    <a:pt x="274814" y="74549"/>
                    <a:pt x="273949" y="75798"/>
                    <a:pt x="273260" y="77144"/>
                  </a:cubicBezTo>
                  <a:lnTo>
                    <a:pt x="1797" y="605782"/>
                  </a:lnTo>
                  <a:cubicBezTo>
                    <a:pt x="1797" y="605782"/>
                    <a:pt x="1797" y="605782"/>
                    <a:pt x="1797" y="606353"/>
                  </a:cubicBezTo>
                  <a:cubicBezTo>
                    <a:pt x="1017" y="607882"/>
                    <a:pt x="471" y="609520"/>
                    <a:pt x="178" y="611211"/>
                  </a:cubicBezTo>
                  <a:lnTo>
                    <a:pt x="178" y="611211"/>
                  </a:lnTo>
                  <a:cubicBezTo>
                    <a:pt x="-59" y="612789"/>
                    <a:pt x="-59" y="614395"/>
                    <a:pt x="178" y="615974"/>
                  </a:cubicBezTo>
                  <a:cubicBezTo>
                    <a:pt x="178" y="615974"/>
                    <a:pt x="178" y="616736"/>
                    <a:pt x="178" y="617117"/>
                  </a:cubicBezTo>
                  <a:cubicBezTo>
                    <a:pt x="437" y="618658"/>
                    <a:pt x="885" y="620162"/>
                    <a:pt x="1511" y="621593"/>
                  </a:cubicBezTo>
                  <a:cubicBezTo>
                    <a:pt x="1511" y="621593"/>
                    <a:pt x="1511" y="621593"/>
                    <a:pt x="1511" y="621593"/>
                  </a:cubicBezTo>
                  <a:cubicBezTo>
                    <a:pt x="1511" y="621593"/>
                    <a:pt x="2464" y="622927"/>
                    <a:pt x="2845" y="623689"/>
                  </a:cubicBezTo>
                  <a:cubicBezTo>
                    <a:pt x="3425" y="624646"/>
                    <a:pt x="4061" y="625568"/>
                    <a:pt x="4750" y="626451"/>
                  </a:cubicBezTo>
                  <a:lnTo>
                    <a:pt x="4750" y="626451"/>
                  </a:lnTo>
                  <a:cubicBezTo>
                    <a:pt x="5235" y="626863"/>
                    <a:pt x="5743" y="627244"/>
                    <a:pt x="6274" y="627594"/>
                  </a:cubicBezTo>
                  <a:cubicBezTo>
                    <a:pt x="7097" y="628373"/>
                    <a:pt x="7989" y="629075"/>
                    <a:pt x="8941" y="629690"/>
                  </a:cubicBezTo>
                  <a:cubicBezTo>
                    <a:pt x="9685" y="630078"/>
                    <a:pt x="10448" y="630428"/>
                    <a:pt x="11227" y="630737"/>
                  </a:cubicBezTo>
                  <a:lnTo>
                    <a:pt x="14084" y="631785"/>
                  </a:lnTo>
                  <a:lnTo>
                    <a:pt x="16561" y="631785"/>
                  </a:lnTo>
                  <a:lnTo>
                    <a:pt x="18656" y="633500"/>
                  </a:lnTo>
                  <a:lnTo>
                    <a:pt x="19990" y="633500"/>
                  </a:lnTo>
                  <a:lnTo>
                    <a:pt x="21228" y="633500"/>
                  </a:lnTo>
                  <a:cubicBezTo>
                    <a:pt x="22973" y="633336"/>
                    <a:pt x="24679" y="632885"/>
                    <a:pt x="26276" y="632166"/>
                  </a:cubicBezTo>
                  <a:lnTo>
                    <a:pt x="290309" y="516056"/>
                  </a:lnTo>
                  <a:lnTo>
                    <a:pt x="553961" y="631880"/>
                  </a:lnTo>
                  <a:cubicBezTo>
                    <a:pt x="556353" y="632970"/>
                    <a:pt x="558953" y="633523"/>
                    <a:pt x="561581" y="633500"/>
                  </a:cubicBezTo>
                  <a:lnTo>
                    <a:pt x="561581" y="633500"/>
                  </a:lnTo>
                  <a:cubicBezTo>
                    <a:pt x="563159" y="633471"/>
                    <a:pt x="564727" y="633247"/>
                    <a:pt x="566249" y="632833"/>
                  </a:cubicBezTo>
                  <a:lnTo>
                    <a:pt x="567582" y="632833"/>
                  </a:lnTo>
                  <a:cubicBezTo>
                    <a:pt x="568792" y="632374"/>
                    <a:pt x="569970" y="631833"/>
                    <a:pt x="571106" y="631214"/>
                  </a:cubicBezTo>
                  <a:lnTo>
                    <a:pt x="571964" y="630642"/>
                  </a:lnTo>
                  <a:cubicBezTo>
                    <a:pt x="573210" y="629857"/>
                    <a:pt x="574360" y="628931"/>
                    <a:pt x="575393" y="627880"/>
                  </a:cubicBezTo>
                  <a:lnTo>
                    <a:pt x="575393" y="627880"/>
                  </a:lnTo>
                  <a:cubicBezTo>
                    <a:pt x="576136" y="626949"/>
                    <a:pt x="576804" y="625962"/>
                    <a:pt x="577393" y="624927"/>
                  </a:cubicBezTo>
                  <a:cubicBezTo>
                    <a:pt x="577808" y="624314"/>
                    <a:pt x="578190" y="623677"/>
                    <a:pt x="578536" y="623022"/>
                  </a:cubicBezTo>
                  <a:cubicBezTo>
                    <a:pt x="578536" y="623022"/>
                    <a:pt x="578536" y="623022"/>
                    <a:pt x="578536" y="623022"/>
                  </a:cubicBezTo>
                  <a:cubicBezTo>
                    <a:pt x="579180" y="621564"/>
                    <a:pt x="579628" y="620027"/>
                    <a:pt x="579869" y="618450"/>
                  </a:cubicBezTo>
                  <a:cubicBezTo>
                    <a:pt x="579869" y="618450"/>
                    <a:pt x="579869" y="617783"/>
                    <a:pt x="579869" y="617402"/>
                  </a:cubicBezTo>
                  <a:cubicBezTo>
                    <a:pt x="580468" y="615559"/>
                    <a:pt x="580726" y="613623"/>
                    <a:pt x="580631" y="611687"/>
                  </a:cubicBezTo>
                  <a:close/>
                  <a:moveTo>
                    <a:pt x="418706" y="377849"/>
                  </a:moveTo>
                  <a:lnTo>
                    <a:pt x="322504" y="312793"/>
                  </a:lnTo>
                  <a:lnTo>
                    <a:pt x="368891" y="281075"/>
                  </a:lnTo>
                  <a:close/>
                  <a:moveTo>
                    <a:pt x="290119" y="127532"/>
                  </a:moveTo>
                  <a:lnTo>
                    <a:pt x="351365" y="246689"/>
                  </a:lnTo>
                  <a:lnTo>
                    <a:pt x="288690" y="289838"/>
                  </a:lnTo>
                  <a:lnTo>
                    <a:pt x="231540" y="251738"/>
                  </a:lnTo>
                  <a:cubicBezTo>
                    <a:pt x="230300" y="250873"/>
                    <a:pt x="228956" y="250169"/>
                    <a:pt x="227540" y="249642"/>
                  </a:cubicBezTo>
                  <a:close/>
                  <a:moveTo>
                    <a:pt x="210299" y="282884"/>
                  </a:moveTo>
                  <a:lnTo>
                    <a:pt x="254972" y="313079"/>
                  </a:lnTo>
                  <a:lnTo>
                    <a:pt x="161531" y="377182"/>
                  </a:lnTo>
                  <a:close/>
                  <a:moveTo>
                    <a:pt x="60090" y="575492"/>
                  </a:moveTo>
                  <a:lnTo>
                    <a:pt x="127337" y="444428"/>
                  </a:lnTo>
                  <a:lnTo>
                    <a:pt x="242875" y="495197"/>
                  </a:lnTo>
                  <a:close/>
                  <a:moveTo>
                    <a:pt x="166675" y="420140"/>
                  </a:moveTo>
                  <a:lnTo>
                    <a:pt x="288881" y="336034"/>
                  </a:lnTo>
                  <a:lnTo>
                    <a:pt x="413468" y="420330"/>
                  </a:lnTo>
                  <a:lnTo>
                    <a:pt x="290309" y="474432"/>
                  </a:lnTo>
                  <a:close/>
                  <a:moveTo>
                    <a:pt x="490525" y="562443"/>
                  </a:moveTo>
                  <a:lnTo>
                    <a:pt x="337649" y="495292"/>
                  </a:lnTo>
                  <a:lnTo>
                    <a:pt x="452996" y="444619"/>
                  </a:lnTo>
                  <a:lnTo>
                    <a:pt x="520148" y="575397"/>
                  </a:lnTo>
                  <a:close/>
                </a:path>
              </a:pathLst>
            </a:custGeom>
            <a:solidFill>
              <a:srgbClr val="1F6898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4F17C2A5-CEB3-02B4-0FBB-8AAA5F08FFD8}"/>
              </a:ext>
            </a:extLst>
          </p:cNvPr>
          <p:cNvSpPr txBox="1"/>
          <p:nvPr/>
        </p:nvSpPr>
        <p:spPr>
          <a:xfrm>
            <a:off x="418530" y="3646942"/>
            <a:ext cx="2303202" cy="6311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67" b="1" dirty="0">
                <a:latin typeface="AvenirNext LT Pro Regular" panose="020B0504020202020204" pitchFamily="34" charset="77"/>
              </a:rPr>
              <a:t>Note: </a:t>
            </a:r>
            <a:r>
              <a:rPr lang="en-US" sz="1167" dirty="0">
                <a:latin typeface="+mn-lt"/>
              </a:rPr>
              <a:t>PowerPoint’s</a:t>
            </a:r>
            <a:r>
              <a:rPr lang="en-US" sz="1167" dirty="0">
                <a:latin typeface="AvenirNext LT Pro Regular" panose="020B0504020202020204" pitchFamily="34" charset="77"/>
              </a:rPr>
              <a:t> stock icons can be used in Ellab brand colors:</a:t>
            </a:r>
          </a:p>
        </p:txBody>
      </p:sp>
      <p:grpSp>
        <p:nvGrpSpPr>
          <p:cNvPr id="14" name="Graphic 51">
            <a:extLst>
              <a:ext uri="{FF2B5EF4-FFF2-40B4-BE49-F238E27FC236}">
                <a16:creationId xmlns:a16="http://schemas.microsoft.com/office/drawing/2014/main" id="{4EF673E2-6692-CFB1-050A-79BAE770B230}"/>
              </a:ext>
            </a:extLst>
          </p:cNvPr>
          <p:cNvGrpSpPr/>
          <p:nvPr/>
        </p:nvGrpSpPr>
        <p:grpSpPr>
          <a:xfrm>
            <a:off x="4001341" y="1157287"/>
            <a:ext cx="285750" cy="285750"/>
            <a:chOff x="3938588" y="404813"/>
            <a:chExt cx="285750" cy="285750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BBCBF7C-1FCB-3E34-CC7E-632C77310DDF}"/>
                </a:ext>
              </a:extLst>
            </p:cNvPr>
            <p:cNvSpPr/>
            <p:nvPr/>
          </p:nvSpPr>
          <p:spPr>
            <a:xfrm>
              <a:off x="4081597" y="542040"/>
              <a:ext cx="147110" cy="147077"/>
            </a:xfrm>
            <a:custGeom>
              <a:avLst/>
              <a:gdLst>
                <a:gd name="connsiteX0" fmla="*/ 147077 w 147110"/>
                <a:gd name="connsiteY0" fmla="*/ 73539 h 147077"/>
                <a:gd name="connsiteX1" fmla="*/ 73539 w 147110"/>
                <a:gd name="connsiteY1" fmla="*/ 147077 h 147077"/>
                <a:gd name="connsiteX2" fmla="*/ 0 w 147110"/>
                <a:gd name="connsiteY2" fmla="*/ 73539 h 147077"/>
                <a:gd name="connsiteX3" fmla="*/ 5749 w 147110"/>
                <a:gd name="connsiteY3" fmla="*/ 67790 h 147077"/>
                <a:gd name="connsiteX4" fmla="*/ 11497 w 147110"/>
                <a:gd name="connsiteY4" fmla="*/ 73539 h 147077"/>
                <a:gd name="connsiteX5" fmla="*/ 73539 w 147110"/>
                <a:gd name="connsiteY5" fmla="*/ 135614 h 147077"/>
                <a:gd name="connsiteX6" fmla="*/ 135614 w 147110"/>
                <a:gd name="connsiteY6" fmla="*/ 73572 h 147077"/>
                <a:gd name="connsiteX7" fmla="*/ 73572 w 147110"/>
                <a:gd name="connsiteY7" fmla="*/ 11497 h 147077"/>
                <a:gd name="connsiteX8" fmla="*/ 73572 w 147110"/>
                <a:gd name="connsiteY8" fmla="*/ 11497 h 147077"/>
                <a:gd name="connsiteX9" fmla="*/ 67824 w 147110"/>
                <a:gd name="connsiteY9" fmla="*/ 5749 h 147077"/>
                <a:gd name="connsiteX10" fmla="*/ 73572 w 147110"/>
                <a:gd name="connsiteY10" fmla="*/ 0 h 147077"/>
                <a:gd name="connsiteX11" fmla="*/ 73572 w 147110"/>
                <a:gd name="connsiteY11" fmla="*/ 0 h 147077"/>
                <a:gd name="connsiteX12" fmla="*/ 147111 w 147110"/>
                <a:gd name="connsiteY12" fmla="*/ 73404 h 147077"/>
                <a:gd name="connsiteX13" fmla="*/ 147111 w 147110"/>
                <a:gd name="connsiteY13" fmla="*/ 73438 h 147077"/>
                <a:gd name="connsiteX14" fmla="*/ 46090 w 147110"/>
                <a:gd name="connsiteY14" fmla="*/ 17750 h 147077"/>
                <a:gd name="connsiteX15" fmla="*/ 53519 w 147110"/>
                <a:gd name="connsiteY15" fmla="*/ 14674 h 147077"/>
                <a:gd name="connsiteX16" fmla="*/ 57233 w 147110"/>
                <a:gd name="connsiteY16" fmla="*/ 7442 h 147077"/>
                <a:gd name="connsiteX17" fmla="*/ 50001 w 147110"/>
                <a:gd name="connsiteY17" fmla="*/ 3728 h 147077"/>
                <a:gd name="connsiteX18" fmla="*/ 49620 w 147110"/>
                <a:gd name="connsiteY18" fmla="*/ 3866 h 147077"/>
                <a:gd name="connsiteX19" fmla="*/ 49115 w 147110"/>
                <a:gd name="connsiteY19" fmla="*/ 4068 h 147077"/>
                <a:gd name="connsiteX20" fmla="*/ 41686 w 147110"/>
                <a:gd name="connsiteY20" fmla="*/ 7144 h 147077"/>
                <a:gd name="connsiteX21" fmla="*/ 37972 w 147110"/>
                <a:gd name="connsiteY21" fmla="*/ 14376 h 147077"/>
                <a:gd name="connsiteX22" fmla="*/ 45204 w 147110"/>
                <a:gd name="connsiteY22" fmla="*/ 18090 h 147077"/>
                <a:gd name="connsiteX23" fmla="*/ 45586 w 147110"/>
                <a:gd name="connsiteY23" fmla="*/ 17952 h 147077"/>
                <a:gd name="connsiteX24" fmla="*/ 26760 w 147110"/>
                <a:gd name="connsiteY24" fmla="*/ 32542 h 147077"/>
                <a:gd name="connsiteX25" fmla="*/ 32441 w 147110"/>
                <a:gd name="connsiteY25" fmla="*/ 26861 h 147077"/>
                <a:gd name="connsiteX26" fmla="*/ 32685 w 147110"/>
                <a:gd name="connsiteY26" fmla="*/ 18700 h 147077"/>
                <a:gd name="connsiteX27" fmla="*/ 24524 w 147110"/>
                <a:gd name="connsiteY27" fmla="*/ 18456 h 147077"/>
                <a:gd name="connsiteX28" fmla="*/ 24322 w 147110"/>
                <a:gd name="connsiteY28" fmla="*/ 18658 h 147077"/>
                <a:gd name="connsiteX29" fmla="*/ 18641 w 147110"/>
                <a:gd name="connsiteY29" fmla="*/ 24356 h 147077"/>
                <a:gd name="connsiteX30" fmla="*/ 18158 w 147110"/>
                <a:gd name="connsiteY30" fmla="*/ 32471 h 147077"/>
                <a:gd name="connsiteX31" fmla="*/ 26273 w 147110"/>
                <a:gd name="connsiteY31" fmla="*/ 32954 h 147077"/>
                <a:gd name="connsiteX32" fmla="*/ 26339 w 147110"/>
                <a:gd name="connsiteY32" fmla="*/ 32895 h 147077"/>
                <a:gd name="connsiteX33" fmla="*/ 7177 w 147110"/>
                <a:gd name="connsiteY33" fmla="*/ 56629 h 147077"/>
                <a:gd name="connsiteX34" fmla="*/ 14674 w 147110"/>
                <a:gd name="connsiteY34" fmla="*/ 53519 h 147077"/>
                <a:gd name="connsiteX35" fmla="*/ 17750 w 147110"/>
                <a:gd name="connsiteY35" fmla="*/ 46073 h 147077"/>
                <a:gd name="connsiteX36" fmla="*/ 14640 w 147110"/>
                <a:gd name="connsiteY36" fmla="*/ 38576 h 147077"/>
                <a:gd name="connsiteX37" fmla="*/ 7144 w 147110"/>
                <a:gd name="connsiteY37" fmla="*/ 41686 h 147077"/>
                <a:gd name="connsiteX38" fmla="*/ 4068 w 147110"/>
                <a:gd name="connsiteY38" fmla="*/ 49115 h 147077"/>
                <a:gd name="connsiteX39" fmla="*/ 7175 w 147110"/>
                <a:gd name="connsiteY39" fmla="*/ 56628 h 147077"/>
                <a:gd name="connsiteX40" fmla="*/ 7177 w 147110"/>
                <a:gd name="connsiteY40" fmla="*/ 56629 h 147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47110" h="147077">
                  <a:moveTo>
                    <a:pt x="147077" y="73539"/>
                  </a:moveTo>
                  <a:cubicBezTo>
                    <a:pt x="147077" y="114153"/>
                    <a:pt x="114153" y="147077"/>
                    <a:pt x="73539" y="147077"/>
                  </a:cubicBezTo>
                  <a:cubicBezTo>
                    <a:pt x="32924" y="147077"/>
                    <a:pt x="0" y="114153"/>
                    <a:pt x="0" y="73539"/>
                  </a:cubicBezTo>
                  <a:cubicBezTo>
                    <a:pt x="0" y="70364"/>
                    <a:pt x="2574" y="67790"/>
                    <a:pt x="5749" y="67790"/>
                  </a:cubicBezTo>
                  <a:cubicBezTo>
                    <a:pt x="8923" y="67790"/>
                    <a:pt x="11497" y="70364"/>
                    <a:pt x="11497" y="73539"/>
                  </a:cubicBezTo>
                  <a:cubicBezTo>
                    <a:pt x="11488" y="107812"/>
                    <a:pt x="39265" y="135604"/>
                    <a:pt x="73539" y="135614"/>
                  </a:cubicBezTo>
                  <a:cubicBezTo>
                    <a:pt x="107812" y="135623"/>
                    <a:pt x="135604" y="107846"/>
                    <a:pt x="135614" y="73572"/>
                  </a:cubicBezTo>
                  <a:cubicBezTo>
                    <a:pt x="135623" y="39298"/>
                    <a:pt x="107846" y="11507"/>
                    <a:pt x="73572" y="11497"/>
                  </a:cubicBezTo>
                  <a:lnTo>
                    <a:pt x="73572" y="11497"/>
                  </a:lnTo>
                  <a:cubicBezTo>
                    <a:pt x="70397" y="11497"/>
                    <a:pt x="67824" y="8924"/>
                    <a:pt x="67824" y="5749"/>
                  </a:cubicBezTo>
                  <a:cubicBezTo>
                    <a:pt x="67824" y="2574"/>
                    <a:pt x="70397" y="0"/>
                    <a:pt x="73572" y="0"/>
                  </a:cubicBezTo>
                  <a:lnTo>
                    <a:pt x="73572" y="0"/>
                  </a:lnTo>
                  <a:cubicBezTo>
                    <a:pt x="114149" y="-37"/>
                    <a:pt x="147074" y="32827"/>
                    <a:pt x="147111" y="73404"/>
                  </a:cubicBezTo>
                  <a:cubicBezTo>
                    <a:pt x="147111" y="73415"/>
                    <a:pt x="147111" y="73427"/>
                    <a:pt x="147111" y="73438"/>
                  </a:cubicBezTo>
                  <a:close/>
                  <a:moveTo>
                    <a:pt x="46090" y="17750"/>
                  </a:moveTo>
                  <a:lnTo>
                    <a:pt x="53519" y="14674"/>
                  </a:lnTo>
                  <a:cubicBezTo>
                    <a:pt x="56542" y="13703"/>
                    <a:pt x="58205" y="10465"/>
                    <a:pt x="57233" y="7442"/>
                  </a:cubicBezTo>
                  <a:cubicBezTo>
                    <a:pt x="56262" y="4420"/>
                    <a:pt x="53024" y="2757"/>
                    <a:pt x="50001" y="3728"/>
                  </a:cubicBezTo>
                  <a:cubicBezTo>
                    <a:pt x="49873" y="3770"/>
                    <a:pt x="49745" y="3816"/>
                    <a:pt x="49620" y="3866"/>
                  </a:cubicBezTo>
                  <a:lnTo>
                    <a:pt x="49115" y="4068"/>
                  </a:lnTo>
                  <a:lnTo>
                    <a:pt x="41686" y="7144"/>
                  </a:lnTo>
                  <a:cubicBezTo>
                    <a:pt x="38663" y="8115"/>
                    <a:pt x="37000" y="11353"/>
                    <a:pt x="37972" y="14376"/>
                  </a:cubicBezTo>
                  <a:cubicBezTo>
                    <a:pt x="38943" y="17398"/>
                    <a:pt x="42181" y="19061"/>
                    <a:pt x="45204" y="18090"/>
                  </a:cubicBezTo>
                  <a:cubicBezTo>
                    <a:pt x="45333" y="18048"/>
                    <a:pt x="45460" y="18002"/>
                    <a:pt x="45586" y="17952"/>
                  </a:cubicBezTo>
                  <a:close/>
                  <a:moveTo>
                    <a:pt x="26760" y="32542"/>
                  </a:moveTo>
                  <a:lnTo>
                    <a:pt x="32441" y="26861"/>
                  </a:lnTo>
                  <a:cubicBezTo>
                    <a:pt x="34762" y="24674"/>
                    <a:pt x="34871" y="21021"/>
                    <a:pt x="32685" y="18700"/>
                  </a:cubicBezTo>
                  <a:cubicBezTo>
                    <a:pt x="30499" y="16379"/>
                    <a:pt x="26845" y="16270"/>
                    <a:pt x="24524" y="18456"/>
                  </a:cubicBezTo>
                  <a:lnTo>
                    <a:pt x="24322" y="18658"/>
                  </a:lnTo>
                  <a:lnTo>
                    <a:pt x="18641" y="24356"/>
                  </a:lnTo>
                  <a:cubicBezTo>
                    <a:pt x="16267" y="26464"/>
                    <a:pt x="16050" y="30097"/>
                    <a:pt x="18158" y="32471"/>
                  </a:cubicBezTo>
                  <a:cubicBezTo>
                    <a:pt x="20266" y="34846"/>
                    <a:pt x="23899" y="35062"/>
                    <a:pt x="26273" y="32954"/>
                  </a:cubicBezTo>
                  <a:cubicBezTo>
                    <a:pt x="26296" y="32935"/>
                    <a:pt x="26318" y="32915"/>
                    <a:pt x="26339" y="32895"/>
                  </a:cubicBezTo>
                  <a:close/>
                  <a:moveTo>
                    <a:pt x="7177" y="56629"/>
                  </a:moveTo>
                  <a:cubicBezTo>
                    <a:pt x="10106" y="57835"/>
                    <a:pt x="13459" y="56444"/>
                    <a:pt x="14674" y="53519"/>
                  </a:cubicBezTo>
                  <a:lnTo>
                    <a:pt x="17750" y="46073"/>
                  </a:lnTo>
                  <a:cubicBezTo>
                    <a:pt x="18962" y="43144"/>
                    <a:pt x="17569" y="39788"/>
                    <a:pt x="14640" y="38576"/>
                  </a:cubicBezTo>
                  <a:cubicBezTo>
                    <a:pt x="11712" y="37365"/>
                    <a:pt x="8355" y="38757"/>
                    <a:pt x="7144" y="41686"/>
                  </a:cubicBezTo>
                  <a:lnTo>
                    <a:pt x="4068" y="49115"/>
                  </a:lnTo>
                  <a:cubicBezTo>
                    <a:pt x="2851" y="52048"/>
                    <a:pt x="4242" y="55411"/>
                    <a:pt x="7175" y="56628"/>
                  </a:cubicBezTo>
                  <a:cubicBezTo>
                    <a:pt x="7176" y="56628"/>
                    <a:pt x="7177" y="56629"/>
                    <a:pt x="7177" y="56629"/>
                  </a:cubicBezTo>
                  <a:close/>
                </a:path>
              </a:pathLst>
            </a:custGeom>
            <a:solidFill>
              <a:srgbClr val="1F6898"/>
            </a:solidFill>
            <a:ln w="16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D4E50118-B643-ACCC-4920-307668EB7AE0}"/>
                </a:ext>
              </a:extLst>
            </p:cNvPr>
            <p:cNvSpPr/>
            <p:nvPr/>
          </p:nvSpPr>
          <p:spPr>
            <a:xfrm>
              <a:off x="4079025" y="404812"/>
              <a:ext cx="122385" cy="122401"/>
            </a:xfrm>
            <a:custGeom>
              <a:avLst/>
              <a:gdLst>
                <a:gd name="connsiteX0" fmla="*/ 115309 w 122385"/>
                <a:gd name="connsiteY0" fmla="*/ 122402 h 122401"/>
                <a:gd name="connsiteX1" fmla="*/ 7077 w 122385"/>
                <a:gd name="connsiteY1" fmla="*/ 122402 h 122401"/>
                <a:gd name="connsiteX2" fmla="*/ 0 w 122385"/>
                <a:gd name="connsiteY2" fmla="*/ 115359 h 122401"/>
                <a:gd name="connsiteX3" fmla="*/ 0 w 122385"/>
                <a:gd name="connsiteY3" fmla="*/ 115325 h 122401"/>
                <a:gd name="connsiteX4" fmla="*/ 0 w 122385"/>
                <a:gd name="connsiteY4" fmla="*/ 115325 h 122401"/>
                <a:gd name="connsiteX5" fmla="*/ 0 w 122385"/>
                <a:gd name="connsiteY5" fmla="*/ 7077 h 122401"/>
                <a:gd name="connsiteX6" fmla="*/ 7043 w 122385"/>
                <a:gd name="connsiteY6" fmla="*/ 0 h 122401"/>
                <a:gd name="connsiteX7" fmla="*/ 115309 w 122385"/>
                <a:gd name="connsiteY7" fmla="*/ 0 h 122401"/>
                <a:gd name="connsiteX8" fmla="*/ 122385 w 122385"/>
                <a:gd name="connsiteY8" fmla="*/ 7043 h 122401"/>
                <a:gd name="connsiteX9" fmla="*/ 122385 w 122385"/>
                <a:gd name="connsiteY9" fmla="*/ 7077 h 122401"/>
                <a:gd name="connsiteX10" fmla="*/ 122385 w 122385"/>
                <a:gd name="connsiteY10" fmla="*/ 115258 h 122401"/>
                <a:gd name="connsiteX11" fmla="*/ 115309 w 122385"/>
                <a:gd name="connsiteY11" fmla="*/ 122351 h 122401"/>
                <a:gd name="connsiteX12" fmla="*/ 14203 w 122385"/>
                <a:gd name="connsiteY12" fmla="*/ 108232 h 122401"/>
                <a:gd name="connsiteX13" fmla="*/ 108333 w 122385"/>
                <a:gd name="connsiteY13" fmla="*/ 108232 h 122401"/>
                <a:gd name="connsiteX14" fmla="*/ 108333 w 122385"/>
                <a:gd name="connsiteY14" fmla="*/ 14103 h 122401"/>
                <a:gd name="connsiteX15" fmla="*/ 14203 w 122385"/>
                <a:gd name="connsiteY15" fmla="*/ 14103 h 12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85" h="122401">
                  <a:moveTo>
                    <a:pt x="115309" y="122402"/>
                  </a:moveTo>
                  <a:lnTo>
                    <a:pt x="7077" y="122402"/>
                  </a:lnTo>
                  <a:cubicBezTo>
                    <a:pt x="3178" y="122411"/>
                    <a:pt x="9" y="119258"/>
                    <a:pt x="0" y="115359"/>
                  </a:cubicBezTo>
                  <a:cubicBezTo>
                    <a:pt x="0" y="115348"/>
                    <a:pt x="0" y="115337"/>
                    <a:pt x="0" y="115325"/>
                  </a:cubicBezTo>
                  <a:lnTo>
                    <a:pt x="0" y="115325"/>
                  </a:lnTo>
                  <a:lnTo>
                    <a:pt x="0" y="7077"/>
                  </a:lnTo>
                  <a:cubicBezTo>
                    <a:pt x="-9" y="3178"/>
                    <a:pt x="3144" y="9"/>
                    <a:pt x="7043" y="0"/>
                  </a:cubicBezTo>
                  <a:lnTo>
                    <a:pt x="115309" y="0"/>
                  </a:lnTo>
                  <a:cubicBezTo>
                    <a:pt x="119208" y="-9"/>
                    <a:pt x="122376" y="3144"/>
                    <a:pt x="122385" y="7043"/>
                  </a:cubicBezTo>
                  <a:cubicBezTo>
                    <a:pt x="122385" y="7054"/>
                    <a:pt x="122385" y="7065"/>
                    <a:pt x="122385" y="7077"/>
                  </a:cubicBezTo>
                  <a:lnTo>
                    <a:pt x="122385" y="115258"/>
                  </a:lnTo>
                  <a:cubicBezTo>
                    <a:pt x="122385" y="119169"/>
                    <a:pt x="119220" y="122342"/>
                    <a:pt x="115309" y="122351"/>
                  </a:cubicBezTo>
                  <a:close/>
                  <a:moveTo>
                    <a:pt x="14203" y="108232"/>
                  </a:moveTo>
                  <a:lnTo>
                    <a:pt x="108333" y="108232"/>
                  </a:lnTo>
                  <a:lnTo>
                    <a:pt x="108333" y="14103"/>
                  </a:lnTo>
                  <a:lnTo>
                    <a:pt x="14203" y="14103"/>
                  </a:lnTo>
                  <a:close/>
                </a:path>
              </a:pathLst>
            </a:custGeom>
            <a:solidFill>
              <a:srgbClr val="1F6898"/>
            </a:solidFill>
            <a:ln w="16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4E2757BB-5FBB-E19C-E75C-0C17B0B6825F}"/>
                </a:ext>
              </a:extLst>
            </p:cNvPr>
            <p:cNvSpPr/>
            <p:nvPr/>
          </p:nvSpPr>
          <p:spPr>
            <a:xfrm>
              <a:off x="3938587" y="404812"/>
              <a:ext cx="122385" cy="122401"/>
            </a:xfrm>
            <a:custGeom>
              <a:avLst/>
              <a:gdLst>
                <a:gd name="connsiteX0" fmla="*/ 115309 w 122385"/>
                <a:gd name="connsiteY0" fmla="*/ 122402 h 122401"/>
                <a:gd name="connsiteX1" fmla="*/ 7077 w 122385"/>
                <a:gd name="connsiteY1" fmla="*/ 122402 h 122401"/>
                <a:gd name="connsiteX2" fmla="*/ 0 w 122385"/>
                <a:gd name="connsiteY2" fmla="*/ 115359 h 122401"/>
                <a:gd name="connsiteX3" fmla="*/ 0 w 122385"/>
                <a:gd name="connsiteY3" fmla="*/ 115325 h 122401"/>
                <a:gd name="connsiteX4" fmla="*/ 0 w 122385"/>
                <a:gd name="connsiteY4" fmla="*/ 115325 h 122401"/>
                <a:gd name="connsiteX5" fmla="*/ 0 w 122385"/>
                <a:gd name="connsiteY5" fmla="*/ 7077 h 122401"/>
                <a:gd name="connsiteX6" fmla="*/ 7043 w 122385"/>
                <a:gd name="connsiteY6" fmla="*/ 0 h 122401"/>
                <a:gd name="connsiteX7" fmla="*/ 115309 w 122385"/>
                <a:gd name="connsiteY7" fmla="*/ 0 h 122401"/>
                <a:gd name="connsiteX8" fmla="*/ 122385 w 122385"/>
                <a:gd name="connsiteY8" fmla="*/ 7043 h 122401"/>
                <a:gd name="connsiteX9" fmla="*/ 122385 w 122385"/>
                <a:gd name="connsiteY9" fmla="*/ 7077 h 122401"/>
                <a:gd name="connsiteX10" fmla="*/ 122385 w 122385"/>
                <a:gd name="connsiteY10" fmla="*/ 7077 h 122401"/>
                <a:gd name="connsiteX11" fmla="*/ 122385 w 122385"/>
                <a:gd name="connsiteY11" fmla="*/ 115258 h 122401"/>
                <a:gd name="connsiteX12" fmla="*/ 115309 w 122385"/>
                <a:gd name="connsiteY12" fmla="*/ 122351 h 122401"/>
                <a:gd name="connsiteX13" fmla="*/ 14170 w 122385"/>
                <a:gd name="connsiteY13" fmla="*/ 108232 h 122401"/>
                <a:gd name="connsiteX14" fmla="*/ 108299 w 122385"/>
                <a:gd name="connsiteY14" fmla="*/ 108232 h 122401"/>
                <a:gd name="connsiteX15" fmla="*/ 108299 w 122385"/>
                <a:gd name="connsiteY15" fmla="*/ 14103 h 122401"/>
                <a:gd name="connsiteX16" fmla="*/ 14170 w 122385"/>
                <a:gd name="connsiteY16" fmla="*/ 14103 h 12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2385" h="122401">
                  <a:moveTo>
                    <a:pt x="115309" y="122402"/>
                  </a:moveTo>
                  <a:lnTo>
                    <a:pt x="7077" y="122402"/>
                  </a:lnTo>
                  <a:cubicBezTo>
                    <a:pt x="3178" y="122411"/>
                    <a:pt x="9" y="119258"/>
                    <a:pt x="0" y="115359"/>
                  </a:cubicBezTo>
                  <a:cubicBezTo>
                    <a:pt x="0" y="115348"/>
                    <a:pt x="0" y="115337"/>
                    <a:pt x="0" y="115325"/>
                  </a:cubicBezTo>
                  <a:lnTo>
                    <a:pt x="0" y="115325"/>
                  </a:lnTo>
                  <a:lnTo>
                    <a:pt x="0" y="7077"/>
                  </a:lnTo>
                  <a:cubicBezTo>
                    <a:pt x="-9" y="3178"/>
                    <a:pt x="3144" y="9"/>
                    <a:pt x="7043" y="0"/>
                  </a:cubicBezTo>
                  <a:lnTo>
                    <a:pt x="115309" y="0"/>
                  </a:lnTo>
                  <a:cubicBezTo>
                    <a:pt x="119208" y="-9"/>
                    <a:pt x="122376" y="3144"/>
                    <a:pt x="122385" y="7043"/>
                  </a:cubicBezTo>
                  <a:cubicBezTo>
                    <a:pt x="122385" y="7054"/>
                    <a:pt x="122385" y="7065"/>
                    <a:pt x="122385" y="7077"/>
                  </a:cubicBezTo>
                  <a:lnTo>
                    <a:pt x="122385" y="7077"/>
                  </a:lnTo>
                  <a:lnTo>
                    <a:pt x="122385" y="115258"/>
                  </a:lnTo>
                  <a:cubicBezTo>
                    <a:pt x="122385" y="119169"/>
                    <a:pt x="119220" y="122342"/>
                    <a:pt x="115309" y="122351"/>
                  </a:cubicBezTo>
                  <a:close/>
                  <a:moveTo>
                    <a:pt x="14170" y="108232"/>
                  </a:moveTo>
                  <a:lnTo>
                    <a:pt x="108299" y="108232"/>
                  </a:lnTo>
                  <a:lnTo>
                    <a:pt x="108299" y="14103"/>
                  </a:lnTo>
                  <a:lnTo>
                    <a:pt x="14170" y="14103"/>
                  </a:lnTo>
                  <a:close/>
                </a:path>
              </a:pathLst>
            </a:custGeom>
            <a:solidFill>
              <a:srgbClr val="1F6898"/>
            </a:solidFill>
            <a:ln w="16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157B89B8-2B58-1196-B80F-79AA7E318C49}"/>
                </a:ext>
              </a:extLst>
            </p:cNvPr>
            <p:cNvSpPr/>
            <p:nvPr/>
          </p:nvSpPr>
          <p:spPr>
            <a:xfrm>
              <a:off x="3938587" y="541384"/>
              <a:ext cx="122401" cy="122401"/>
            </a:xfrm>
            <a:custGeom>
              <a:avLst/>
              <a:gdLst>
                <a:gd name="connsiteX0" fmla="*/ 115309 w 122401"/>
                <a:gd name="connsiteY0" fmla="*/ 122402 h 122401"/>
                <a:gd name="connsiteX1" fmla="*/ 7077 w 122401"/>
                <a:gd name="connsiteY1" fmla="*/ 122402 h 122401"/>
                <a:gd name="connsiteX2" fmla="*/ 0 w 122401"/>
                <a:gd name="connsiteY2" fmla="*/ 115359 h 122401"/>
                <a:gd name="connsiteX3" fmla="*/ 0 w 122401"/>
                <a:gd name="connsiteY3" fmla="*/ 115325 h 122401"/>
                <a:gd name="connsiteX4" fmla="*/ 0 w 122401"/>
                <a:gd name="connsiteY4" fmla="*/ 115325 h 122401"/>
                <a:gd name="connsiteX5" fmla="*/ 0 w 122401"/>
                <a:gd name="connsiteY5" fmla="*/ 7077 h 122401"/>
                <a:gd name="connsiteX6" fmla="*/ 7043 w 122401"/>
                <a:gd name="connsiteY6" fmla="*/ 0 h 122401"/>
                <a:gd name="connsiteX7" fmla="*/ 115309 w 122401"/>
                <a:gd name="connsiteY7" fmla="*/ 0 h 122401"/>
                <a:gd name="connsiteX8" fmla="*/ 122402 w 122401"/>
                <a:gd name="connsiteY8" fmla="*/ 7093 h 122401"/>
                <a:gd name="connsiteX9" fmla="*/ 122402 w 122401"/>
                <a:gd name="connsiteY9" fmla="*/ 115309 h 122401"/>
                <a:gd name="connsiteX10" fmla="*/ 115309 w 122401"/>
                <a:gd name="connsiteY10" fmla="*/ 122402 h 122401"/>
                <a:gd name="connsiteX11" fmla="*/ 14170 w 122401"/>
                <a:gd name="connsiteY11" fmla="*/ 108232 h 122401"/>
                <a:gd name="connsiteX12" fmla="*/ 108299 w 122401"/>
                <a:gd name="connsiteY12" fmla="*/ 108232 h 122401"/>
                <a:gd name="connsiteX13" fmla="*/ 108299 w 122401"/>
                <a:gd name="connsiteY13" fmla="*/ 14103 h 122401"/>
                <a:gd name="connsiteX14" fmla="*/ 14170 w 122401"/>
                <a:gd name="connsiteY14" fmla="*/ 14103 h 12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401" h="122401">
                  <a:moveTo>
                    <a:pt x="115309" y="122402"/>
                  </a:moveTo>
                  <a:lnTo>
                    <a:pt x="7077" y="122402"/>
                  </a:lnTo>
                  <a:cubicBezTo>
                    <a:pt x="3178" y="122411"/>
                    <a:pt x="9" y="119258"/>
                    <a:pt x="0" y="115359"/>
                  </a:cubicBezTo>
                  <a:cubicBezTo>
                    <a:pt x="0" y="115348"/>
                    <a:pt x="0" y="115337"/>
                    <a:pt x="0" y="115325"/>
                  </a:cubicBezTo>
                  <a:lnTo>
                    <a:pt x="0" y="115325"/>
                  </a:lnTo>
                  <a:lnTo>
                    <a:pt x="0" y="7077"/>
                  </a:lnTo>
                  <a:cubicBezTo>
                    <a:pt x="-9" y="3178"/>
                    <a:pt x="3144" y="9"/>
                    <a:pt x="7043" y="0"/>
                  </a:cubicBezTo>
                  <a:lnTo>
                    <a:pt x="115309" y="0"/>
                  </a:lnTo>
                  <a:cubicBezTo>
                    <a:pt x="119226" y="0"/>
                    <a:pt x="122402" y="3176"/>
                    <a:pt x="122402" y="7093"/>
                  </a:cubicBezTo>
                  <a:lnTo>
                    <a:pt x="122402" y="115309"/>
                  </a:lnTo>
                  <a:cubicBezTo>
                    <a:pt x="122393" y="119222"/>
                    <a:pt x="119222" y="122393"/>
                    <a:pt x="115309" y="122402"/>
                  </a:cubicBezTo>
                  <a:close/>
                  <a:moveTo>
                    <a:pt x="14170" y="108232"/>
                  </a:moveTo>
                  <a:lnTo>
                    <a:pt x="108299" y="108232"/>
                  </a:lnTo>
                  <a:lnTo>
                    <a:pt x="108299" y="14103"/>
                  </a:lnTo>
                  <a:lnTo>
                    <a:pt x="14170" y="14103"/>
                  </a:lnTo>
                  <a:close/>
                </a:path>
              </a:pathLst>
            </a:custGeom>
            <a:solidFill>
              <a:srgbClr val="1F6898"/>
            </a:solidFill>
            <a:ln w="16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415493A-1211-B481-DE11-D95BC313440E}"/>
                </a:ext>
              </a:extLst>
            </p:cNvPr>
            <p:cNvSpPr/>
            <p:nvPr/>
          </p:nvSpPr>
          <p:spPr>
            <a:xfrm>
              <a:off x="4126409" y="586852"/>
              <a:ext cx="57469" cy="57814"/>
            </a:xfrm>
            <a:custGeom>
              <a:avLst/>
              <a:gdLst>
                <a:gd name="connsiteX0" fmla="*/ 28726 w 57469"/>
                <a:gd name="connsiteY0" fmla="*/ 0 h 57814"/>
                <a:gd name="connsiteX1" fmla="*/ 22994 w 57469"/>
                <a:gd name="connsiteY1" fmla="*/ 5749 h 57814"/>
                <a:gd name="connsiteX2" fmla="*/ 22994 w 57469"/>
                <a:gd name="connsiteY2" fmla="*/ 23028 h 57814"/>
                <a:gd name="connsiteX3" fmla="*/ 5749 w 57469"/>
                <a:gd name="connsiteY3" fmla="*/ 23028 h 57814"/>
                <a:gd name="connsiteX4" fmla="*/ 0 w 57469"/>
                <a:gd name="connsiteY4" fmla="*/ 28777 h 57814"/>
                <a:gd name="connsiteX5" fmla="*/ 5749 w 57469"/>
                <a:gd name="connsiteY5" fmla="*/ 34525 h 57814"/>
                <a:gd name="connsiteX6" fmla="*/ 22994 w 57469"/>
                <a:gd name="connsiteY6" fmla="*/ 34525 h 57814"/>
                <a:gd name="connsiteX7" fmla="*/ 22994 w 57469"/>
                <a:gd name="connsiteY7" fmla="*/ 51754 h 57814"/>
                <a:gd name="connsiteX8" fmla="*/ 28424 w 57469"/>
                <a:gd name="connsiteY8" fmla="*/ 57806 h 57814"/>
                <a:gd name="connsiteX9" fmla="*/ 34475 w 57469"/>
                <a:gd name="connsiteY9" fmla="*/ 52376 h 57814"/>
                <a:gd name="connsiteX10" fmla="*/ 34475 w 57469"/>
                <a:gd name="connsiteY10" fmla="*/ 51754 h 57814"/>
                <a:gd name="connsiteX11" fmla="*/ 34475 w 57469"/>
                <a:gd name="connsiteY11" fmla="*/ 34475 h 57814"/>
                <a:gd name="connsiteX12" fmla="*/ 51721 w 57469"/>
                <a:gd name="connsiteY12" fmla="*/ 34475 h 57814"/>
                <a:gd name="connsiteX13" fmla="*/ 57469 w 57469"/>
                <a:gd name="connsiteY13" fmla="*/ 28726 h 57814"/>
                <a:gd name="connsiteX14" fmla="*/ 51721 w 57469"/>
                <a:gd name="connsiteY14" fmla="*/ 22978 h 57814"/>
                <a:gd name="connsiteX15" fmla="*/ 34542 w 57469"/>
                <a:gd name="connsiteY15" fmla="*/ 22978 h 57814"/>
                <a:gd name="connsiteX16" fmla="*/ 34542 w 57469"/>
                <a:gd name="connsiteY16" fmla="*/ 5749 h 57814"/>
                <a:gd name="connsiteX17" fmla="*/ 28794 w 57469"/>
                <a:gd name="connsiteY17" fmla="*/ 0 h 5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7469" h="57814">
                  <a:moveTo>
                    <a:pt x="28726" y="0"/>
                  </a:moveTo>
                  <a:cubicBezTo>
                    <a:pt x="25562" y="18"/>
                    <a:pt x="23004" y="2584"/>
                    <a:pt x="22994" y="5749"/>
                  </a:cubicBezTo>
                  <a:lnTo>
                    <a:pt x="22994" y="23028"/>
                  </a:lnTo>
                  <a:lnTo>
                    <a:pt x="5749" y="23028"/>
                  </a:lnTo>
                  <a:cubicBezTo>
                    <a:pt x="2574" y="23028"/>
                    <a:pt x="0" y="25602"/>
                    <a:pt x="0" y="28777"/>
                  </a:cubicBezTo>
                  <a:cubicBezTo>
                    <a:pt x="0" y="31952"/>
                    <a:pt x="2574" y="34525"/>
                    <a:pt x="5749" y="34525"/>
                  </a:cubicBezTo>
                  <a:lnTo>
                    <a:pt x="22994" y="34525"/>
                  </a:lnTo>
                  <a:lnTo>
                    <a:pt x="22994" y="51754"/>
                  </a:lnTo>
                  <a:cubicBezTo>
                    <a:pt x="22823" y="54925"/>
                    <a:pt x="25253" y="57634"/>
                    <a:pt x="28424" y="57806"/>
                  </a:cubicBezTo>
                  <a:cubicBezTo>
                    <a:pt x="31594" y="57977"/>
                    <a:pt x="34303" y="55547"/>
                    <a:pt x="34475" y="52376"/>
                  </a:cubicBezTo>
                  <a:cubicBezTo>
                    <a:pt x="34492" y="52169"/>
                    <a:pt x="34492" y="51961"/>
                    <a:pt x="34475" y="51754"/>
                  </a:cubicBezTo>
                  <a:lnTo>
                    <a:pt x="34475" y="34475"/>
                  </a:lnTo>
                  <a:lnTo>
                    <a:pt x="51721" y="34475"/>
                  </a:lnTo>
                  <a:cubicBezTo>
                    <a:pt x="54896" y="34475"/>
                    <a:pt x="57469" y="31901"/>
                    <a:pt x="57469" y="28726"/>
                  </a:cubicBezTo>
                  <a:cubicBezTo>
                    <a:pt x="57469" y="25551"/>
                    <a:pt x="54896" y="22978"/>
                    <a:pt x="51721" y="22978"/>
                  </a:cubicBezTo>
                  <a:lnTo>
                    <a:pt x="34542" y="22978"/>
                  </a:lnTo>
                  <a:lnTo>
                    <a:pt x="34542" y="5749"/>
                  </a:lnTo>
                  <a:cubicBezTo>
                    <a:pt x="34542" y="2574"/>
                    <a:pt x="31968" y="0"/>
                    <a:pt x="28794" y="0"/>
                  </a:cubicBezTo>
                  <a:close/>
                </a:path>
              </a:pathLst>
            </a:custGeom>
            <a:solidFill>
              <a:srgbClr val="BD5C7A"/>
            </a:solidFill>
            <a:ln w="16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" name="Graphic 59">
            <a:extLst>
              <a:ext uri="{FF2B5EF4-FFF2-40B4-BE49-F238E27FC236}">
                <a16:creationId xmlns:a16="http://schemas.microsoft.com/office/drawing/2014/main" id="{AB02C77F-0F5A-FC69-43F6-28A6DC894D47}"/>
              </a:ext>
            </a:extLst>
          </p:cNvPr>
          <p:cNvGrpSpPr/>
          <p:nvPr/>
        </p:nvGrpSpPr>
        <p:grpSpPr>
          <a:xfrm>
            <a:off x="4839369" y="1131255"/>
            <a:ext cx="190841" cy="296864"/>
            <a:chOff x="4757737" y="350836"/>
            <a:chExt cx="190841" cy="296864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25BDC1A-CFF9-675B-EBA8-0354448E194A}"/>
                </a:ext>
              </a:extLst>
            </p:cNvPr>
            <p:cNvSpPr/>
            <p:nvPr/>
          </p:nvSpPr>
          <p:spPr>
            <a:xfrm>
              <a:off x="4762317" y="350830"/>
              <a:ext cx="185497" cy="297260"/>
            </a:xfrm>
            <a:custGeom>
              <a:avLst/>
              <a:gdLst>
                <a:gd name="connsiteX0" fmla="*/ 92367 w 185497"/>
                <a:gd name="connsiteY0" fmla="*/ 6 h 297260"/>
                <a:gd name="connsiteX1" fmla="*/ 97711 w 185497"/>
                <a:gd name="connsiteY1" fmla="*/ 3131 h 297260"/>
                <a:gd name="connsiteX2" fmla="*/ 185497 w 185497"/>
                <a:gd name="connsiteY2" fmla="*/ 202342 h 297260"/>
                <a:gd name="connsiteX3" fmla="*/ 92749 w 185497"/>
                <a:gd name="connsiteY3" fmla="*/ 297260 h 297260"/>
                <a:gd name="connsiteX4" fmla="*/ 0 w 185497"/>
                <a:gd name="connsiteY4" fmla="*/ 202342 h 297260"/>
                <a:gd name="connsiteX5" fmla="*/ 87787 w 185497"/>
                <a:gd name="connsiteY5" fmla="*/ 3131 h 297260"/>
                <a:gd name="connsiteX6" fmla="*/ 92367 w 185497"/>
                <a:gd name="connsiteY6" fmla="*/ 6 h 297260"/>
                <a:gd name="connsiteX7" fmla="*/ 92367 w 185497"/>
                <a:gd name="connsiteY7" fmla="*/ 285151 h 297260"/>
                <a:gd name="connsiteX8" fmla="*/ 173284 w 185497"/>
                <a:gd name="connsiteY8" fmla="*/ 202342 h 297260"/>
                <a:gd name="connsiteX9" fmla="*/ 92367 w 185497"/>
                <a:gd name="connsiteY9" fmla="*/ 17974 h 297260"/>
                <a:gd name="connsiteX10" fmla="*/ 11450 w 185497"/>
                <a:gd name="connsiteY10" fmla="*/ 202342 h 297260"/>
                <a:gd name="connsiteX11" fmla="*/ 92367 w 185497"/>
                <a:gd name="connsiteY11" fmla="*/ 285151 h 2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497" h="297260">
                  <a:moveTo>
                    <a:pt x="92367" y="6"/>
                  </a:moveTo>
                  <a:cubicBezTo>
                    <a:pt x="94588" y="-95"/>
                    <a:pt x="96667" y="1121"/>
                    <a:pt x="97711" y="3131"/>
                  </a:cubicBezTo>
                  <a:cubicBezTo>
                    <a:pt x="101527" y="9380"/>
                    <a:pt x="185497" y="152344"/>
                    <a:pt x="185497" y="202342"/>
                  </a:cubicBezTo>
                  <a:cubicBezTo>
                    <a:pt x="185497" y="254764"/>
                    <a:pt x="143972" y="297260"/>
                    <a:pt x="92749" y="297260"/>
                  </a:cubicBezTo>
                  <a:cubicBezTo>
                    <a:pt x="41525" y="297260"/>
                    <a:pt x="0" y="254764"/>
                    <a:pt x="0" y="202342"/>
                  </a:cubicBezTo>
                  <a:cubicBezTo>
                    <a:pt x="0" y="152344"/>
                    <a:pt x="83970" y="9380"/>
                    <a:pt x="87787" y="3131"/>
                  </a:cubicBezTo>
                  <a:cubicBezTo>
                    <a:pt x="88762" y="1423"/>
                    <a:pt x="90452" y="270"/>
                    <a:pt x="92367" y="6"/>
                  </a:cubicBezTo>
                  <a:close/>
                  <a:moveTo>
                    <a:pt x="92367" y="285151"/>
                  </a:moveTo>
                  <a:cubicBezTo>
                    <a:pt x="137047" y="285130"/>
                    <a:pt x="173263" y="248067"/>
                    <a:pt x="173284" y="202342"/>
                  </a:cubicBezTo>
                  <a:cubicBezTo>
                    <a:pt x="173284" y="161719"/>
                    <a:pt x="110688" y="50004"/>
                    <a:pt x="92367" y="17974"/>
                  </a:cubicBezTo>
                  <a:cubicBezTo>
                    <a:pt x="74046" y="50004"/>
                    <a:pt x="11450" y="161719"/>
                    <a:pt x="11450" y="202342"/>
                  </a:cubicBezTo>
                  <a:cubicBezTo>
                    <a:pt x="11472" y="248067"/>
                    <a:pt x="47687" y="285130"/>
                    <a:pt x="92367" y="285151"/>
                  </a:cubicBezTo>
                  <a:close/>
                </a:path>
              </a:pathLst>
            </a:custGeom>
            <a:solidFill>
              <a:srgbClr val="1F6896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74F1EA9D-CFEE-8EE8-0194-5CCC56CF5F89}"/>
                </a:ext>
              </a:extLst>
            </p:cNvPr>
            <p:cNvSpPr/>
            <p:nvPr/>
          </p:nvSpPr>
          <p:spPr>
            <a:xfrm>
              <a:off x="4787505" y="546141"/>
              <a:ext cx="71759" cy="74216"/>
            </a:xfrm>
            <a:custGeom>
              <a:avLst/>
              <a:gdLst>
                <a:gd name="connsiteX0" fmla="*/ 71759 w 71759"/>
                <a:gd name="connsiteY0" fmla="*/ 67966 h 74216"/>
                <a:gd name="connsiteX1" fmla="*/ 65821 w 71759"/>
                <a:gd name="connsiteY1" fmla="*/ 74216 h 74216"/>
                <a:gd name="connsiteX2" fmla="*/ 65652 w 71759"/>
                <a:gd name="connsiteY2" fmla="*/ 74216 h 74216"/>
                <a:gd name="connsiteX3" fmla="*/ 0 w 71759"/>
                <a:gd name="connsiteY3" fmla="*/ 6706 h 74216"/>
                <a:gd name="connsiteX4" fmla="*/ 3 w 71759"/>
                <a:gd name="connsiteY4" fmla="*/ 6250 h 74216"/>
                <a:gd name="connsiteX5" fmla="*/ 6110 w 71759"/>
                <a:gd name="connsiteY5" fmla="*/ 0 h 74216"/>
                <a:gd name="connsiteX6" fmla="*/ 12217 w 71759"/>
                <a:gd name="connsiteY6" fmla="*/ 6250 h 74216"/>
                <a:gd name="connsiteX7" fmla="*/ 66415 w 71759"/>
                <a:gd name="connsiteY7" fmla="*/ 62498 h 74216"/>
                <a:gd name="connsiteX8" fmla="*/ 71759 w 71759"/>
                <a:gd name="connsiteY8" fmla="*/ 67966 h 74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759" h="74216">
                  <a:moveTo>
                    <a:pt x="71759" y="67966"/>
                  </a:moveTo>
                  <a:cubicBezTo>
                    <a:pt x="71806" y="71370"/>
                    <a:pt x="69147" y="74168"/>
                    <a:pt x="65821" y="74216"/>
                  </a:cubicBezTo>
                  <a:cubicBezTo>
                    <a:pt x="65765" y="74217"/>
                    <a:pt x="65708" y="74217"/>
                    <a:pt x="65652" y="74216"/>
                  </a:cubicBezTo>
                  <a:cubicBezTo>
                    <a:pt x="29307" y="74127"/>
                    <a:pt x="-87" y="43902"/>
                    <a:pt x="0" y="6706"/>
                  </a:cubicBezTo>
                  <a:cubicBezTo>
                    <a:pt x="1" y="6554"/>
                    <a:pt x="1" y="6402"/>
                    <a:pt x="3" y="6250"/>
                  </a:cubicBezTo>
                  <a:cubicBezTo>
                    <a:pt x="3" y="2798"/>
                    <a:pt x="2737" y="0"/>
                    <a:pt x="6110" y="0"/>
                  </a:cubicBezTo>
                  <a:cubicBezTo>
                    <a:pt x="9482" y="0"/>
                    <a:pt x="12217" y="2798"/>
                    <a:pt x="12217" y="6250"/>
                  </a:cubicBezTo>
                  <a:cubicBezTo>
                    <a:pt x="12271" y="36988"/>
                    <a:pt x="36384" y="62012"/>
                    <a:pt x="66415" y="62498"/>
                  </a:cubicBezTo>
                  <a:cubicBezTo>
                    <a:pt x="69285" y="62691"/>
                    <a:pt x="71570" y="65030"/>
                    <a:pt x="71759" y="67966"/>
                  </a:cubicBezTo>
                  <a:close/>
                </a:path>
              </a:pathLst>
            </a:custGeom>
            <a:solidFill>
              <a:srgbClr val="9EC9DF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3AAA257B-C4FC-25F6-FF5C-E8BFF1E49EAB}"/>
                </a:ext>
              </a:extLst>
            </p:cNvPr>
            <p:cNvSpPr/>
            <p:nvPr/>
          </p:nvSpPr>
          <p:spPr>
            <a:xfrm>
              <a:off x="4804282" y="493799"/>
              <a:ext cx="32806" cy="39061"/>
            </a:xfrm>
            <a:custGeom>
              <a:avLst/>
              <a:gdLst>
                <a:gd name="connsiteX0" fmla="*/ 19 w 32806"/>
                <a:gd name="connsiteY0" fmla="*/ 8593 h 39061"/>
                <a:gd name="connsiteX1" fmla="*/ 8378 w 32806"/>
                <a:gd name="connsiteY1" fmla="*/ 1602 h 39061"/>
                <a:gd name="connsiteX2" fmla="*/ 15210 w 32806"/>
                <a:gd name="connsiteY2" fmla="*/ 10156 h 39061"/>
                <a:gd name="connsiteX3" fmla="*/ 7653 w 32806"/>
                <a:gd name="connsiteY3" fmla="*/ 17187 h 39061"/>
                <a:gd name="connsiteX4" fmla="*/ 2 w 32806"/>
                <a:gd name="connsiteY4" fmla="*/ 8960 h 39061"/>
                <a:gd name="connsiteX5" fmla="*/ 19 w 32806"/>
                <a:gd name="connsiteY5" fmla="*/ 8593 h 39061"/>
                <a:gd name="connsiteX6" fmla="*/ 10707 w 32806"/>
                <a:gd name="connsiteY6" fmla="*/ 8593 h 39061"/>
                <a:gd name="connsiteX7" fmla="*/ 8416 w 32806"/>
                <a:gd name="connsiteY7" fmla="*/ 5469 h 39061"/>
                <a:gd name="connsiteX8" fmla="*/ 6126 w 32806"/>
                <a:gd name="connsiteY8" fmla="*/ 8593 h 39061"/>
                <a:gd name="connsiteX9" fmla="*/ 8416 w 32806"/>
                <a:gd name="connsiteY9" fmla="*/ 11718 h 39061"/>
                <a:gd name="connsiteX10" fmla="*/ 10707 w 32806"/>
                <a:gd name="connsiteY10" fmla="*/ 8593 h 39061"/>
                <a:gd name="connsiteX11" fmla="*/ 22920 w 32806"/>
                <a:gd name="connsiteY11" fmla="*/ 1562 h 39061"/>
                <a:gd name="connsiteX12" fmla="*/ 25210 w 32806"/>
                <a:gd name="connsiteY12" fmla="*/ 0 h 39061"/>
                <a:gd name="connsiteX13" fmla="*/ 28264 w 32806"/>
                <a:gd name="connsiteY13" fmla="*/ 3125 h 39061"/>
                <a:gd name="connsiteX14" fmla="*/ 27501 w 32806"/>
                <a:gd name="connsiteY14" fmla="*/ 4687 h 39061"/>
                <a:gd name="connsiteX15" fmla="*/ 10707 w 32806"/>
                <a:gd name="connsiteY15" fmla="*/ 37499 h 39061"/>
                <a:gd name="connsiteX16" fmla="*/ 8416 w 32806"/>
                <a:gd name="connsiteY16" fmla="*/ 39061 h 39061"/>
                <a:gd name="connsiteX17" fmla="*/ 5363 w 32806"/>
                <a:gd name="connsiteY17" fmla="*/ 35936 h 39061"/>
                <a:gd name="connsiteX18" fmla="*/ 6126 w 32806"/>
                <a:gd name="connsiteY18" fmla="*/ 34374 h 39061"/>
                <a:gd name="connsiteX19" fmla="*/ 17577 w 32806"/>
                <a:gd name="connsiteY19" fmla="*/ 30468 h 39061"/>
                <a:gd name="connsiteX20" fmla="*/ 25936 w 32806"/>
                <a:gd name="connsiteY20" fmla="*/ 23476 h 39061"/>
                <a:gd name="connsiteX21" fmla="*/ 32768 w 32806"/>
                <a:gd name="connsiteY21" fmla="*/ 32030 h 39061"/>
                <a:gd name="connsiteX22" fmla="*/ 25210 w 32806"/>
                <a:gd name="connsiteY22" fmla="*/ 39061 h 39061"/>
                <a:gd name="connsiteX23" fmla="*/ 17577 w 32806"/>
                <a:gd name="connsiteY23" fmla="*/ 30468 h 39061"/>
                <a:gd name="connsiteX24" fmla="*/ 28264 w 32806"/>
                <a:gd name="connsiteY24" fmla="*/ 30468 h 39061"/>
                <a:gd name="connsiteX25" fmla="*/ 25974 w 32806"/>
                <a:gd name="connsiteY25" fmla="*/ 27343 h 39061"/>
                <a:gd name="connsiteX26" fmla="*/ 23684 w 32806"/>
                <a:gd name="connsiteY26" fmla="*/ 30468 h 39061"/>
                <a:gd name="connsiteX27" fmla="*/ 25974 w 32806"/>
                <a:gd name="connsiteY27" fmla="*/ 33593 h 39061"/>
                <a:gd name="connsiteX28" fmla="*/ 28264 w 32806"/>
                <a:gd name="connsiteY28" fmla="*/ 30468 h 3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806" h="39061">
                  <a:moveTo>
                    <a:pt x="19" y="8593"/>
                  </a:moveTo>
                  <a:cubicBezTo>
                    <a:pt x="441" y="4301"/>
                    <a:pt x="4184" y="1170"/>
                    <a:pt x="8378" y="1602"/>
                  </a:cubicBezTo>
                  <a:cubicBezTo>
                    <a:pt x="12573" y="2033"/>
                    <a:pt x="15632" y="5863"/>
                    <a:pt x="15210" y="10156"/>
                  </a:cubicBezTo>
                  <a:cubicBezTo>
                    <a:pt x="14820" y="14133"/>
                    <a:pt x="11559" y="17167"/>
                    <a:pt x="7653" y="17187"/>
                  </a:cubicBezTo>
                  <a:cubicBezTo>
                    <a:pt x="3320" y="17077"/>
                    <a:pt x="-105" y="13394"/>
                    <a:pt x="2" y="8960"/>
                  </a:cubicBezTo>
                  <a:cubicBezTo>
                    <a:pt x="5" y="8837"/>
                    <a:pt x="11" y="8715"/>
                    <a:pt x="19" y="8593"/>
                  </a:cubicBezTo>
                  <a:close/>
                  <a:moveTo>
                    <a:pt x="10707" y="8593"/>
                  </a:moveTo>
                  <a:cubicBezTo>
                    <a:pt x="10707" y="7031"/>
                    <a:pt x="9943" y="5469"/>
                    <a:pt x="8416" y="5469"/>
                  </a:cubicBezTo>
                  <a:cubicBezTo>
                    <a:pt x="6890" y="5469"/>
                    <a:pt x="6126" y="7031"/>
                    <a:pt x="6126" y="8593"/>
                  </a:cubicBezTo>
                  <a:cubicBezTo>
                    <a:pt x="6126" y="10156"/>
                    <a:pt x="6890" y="11718"/>
                    <a:pt x="8416" y="11718"/>
                  </a:cubicBezTo>
                  <a:cubicBezTo>
                    <a:pt x="9180" y="11718"/>
                    <a:pt x="10707" y="10937"/>
                    <a:pt x="10707" y="8593"/>
                  </a:cubicBezTo>
                  <a:close/>
                  <a:moveTo>
                    <a:pt x="22920" y="1562"/>
                  </a:moveTo>
                  <a:cubicBezTo>
                    <a:pt x="23684" y="0"/>
                    <a:pt x="24447" y="0"/>
                    <a:pt x="25210" y="0"/>
                  </a:cubicBezTo>
                  <a:cubicBezTo>
                    <a:pt x="26849" y="113"/>
                    <a:pt x="28153" y="1448"/>
                    <a:pt x="28264" y="3125"/>
                  </a:cubicBezTo>
                  <a:cubicBezTo>
                    <a:pt x="28264" y="3906"/>
                    <a:pt x="28264" y="3906"/>
                    <a:pt x="27501" y="4687"/>
                  </a:cubicBezTo>
                  <a:lnTo>
                    <a:pt x="10707" y="37499"/>
                  </a:lnTo>
                  <a:cubicBezTo>
                    <a:pt x="9943" y="38280"/>
                    <a:pt x="9943" y="39061"/>
                    <a:pt x="8416" y="39061"/>
                  </a:cubicBezTo>
                  <a:cubicBezTo>
                    <a:pt x="6778" y="38948"/>
                    <a:pt x="5474" y="37613"/>
                    <a:pt x="5363" y="35936"/>
                  </a:cubicBezTo>
                  <a:cubicBezTo>
                    <a:pt x="5363" y="35155"/>
                    <a:pt x="5363" y="34374"/>
                    <a:pt x="6126" y="34374"/>
                  </a:cubicBezTo>
                  <a:close/>
                  <a:moveTo>
                    <a:pt x="17577" y="30468"/>
                  </a:moveTo>
                  <a:cubicBezTo>
                    <a:pt x="17999" y="26175"/>
                    <a:pt x="21741" y="23044"/>
                    <a:pt x="25936" y="23476"/>
                  </a:cubicBezTo>
                  <a:cubicBezTo>
                    <a:pt x="30130" y="23907"/>
                    <a:pt x="33189" y="27737"/>
                    <a:pt x="32768" y="32030"/>
                  </a:cubicBezTo>
                  <a:cubicBezTo>
                    <a:pt x="32377" y="36007"/>
                    <a:pt x="29116" y="39041"/>
                    <a:pt x="25210" y="39061"/>
                  </a:cubicBezTo>
                  <a:cubicBezTo>
                    <a:pt x="20873" y="38656"/>
                    <a:pt x="17559" y="34925"/>
                    <a:pt x="17577" y="30468"/>
                  </a:cubicBezTo>
                  <a:close/>
                  <a:moveTo>
                    <a:pt x="28264" y="30468"/>
                  </a:moveTo>
                  <a:cubicBezTo>
                    <a:pt x="28264" y="28905"/>
                    <a:pt x="27501" y="27343"/>
                    <a:pt x="25974" y="27343"/>
                  </a:cubicBezTo>
                  <a:cubicBezTo>
                    <a:pt x="24447" y="27343"/>
                    <a:pt x="23684" y="28905"/>
                    <a:pt x="23684" y="30468"/>
                  </a:cubicBezTo>
                  <a:cubicBezTo>
                    <a:pt x="23684" y="32030"/>
                    <a:pt x="24447" y="33593"/>
                    <a:pt x="25974" y="33593"/>
                  </a:cubicBezTo>
                  <a:cubicBezTo>
                    <a:pt x="27501" y="33593"/>
                    <a:pt x="28264" y="32030"/>
                    <a:pt x="28264" y="30468"/>
                  </a:cubicBezTo>
                  <a:close/>
                </a:path>
              </a:pathLst>
            </a:custGeom>
            <a:solidFill>
              <a:srgbClr val="BD5C7A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EEB64FE7-E978-FF64-A027-9E67C13B38E8}"/>
                </a:ext>
              </a:extLst>
            </p:cNvPr>
            <p:cNvSpPr/>
            <p:nvPr/>
          </p:nvSpPr>
          <p:spPr>
            <a:xfrm>
              <a:off x="4841700" y="495354"/>
              <a:ext cx="25982" cy="37531"/>
            </a:xfrm>
            <a:custGeom>
              <a:avLst/>
              <a:gdLst>
                <a:gd name="connsiteX0" fmla="*/ 7 w 25982"/>
                <a:gd name="connsiteY0" fmla="*/ 3913 h 37531"/>
                <a:gd name="connsiteX1" fmla="*/ 3383 w 25982"/>
                <a:gd name="connsiteY1" fmla="*/ 7 h 37531"/>
                <a:gd name="connsiteX2" fmla="*/ 3824 w 25982"/>
                <a:gd name="connsiteY2" fmla="*/ 7 h 37531"/>
                <a:gd name="connsiteX3" fmla="*/ 12984 w 25982"/>
                <a:gd name="connsiteY3" fmla="*/ 7 h 37531"/>
                <a:gd name="connsiteX4" fmla="*/ 25961 w 25982"/>
                <a:gd name="connsiteY4" fmla="*/ 11725 h 37531"/>
                <a:gd name="connsiteX5" fmla="*/ 16801 w 25982"/>
                <a:gd name="connsiteY5" fmla="*/ 21881 h 37531"/>
                <a:gd name="connsiteX6" fmla="*/ 25198 w 25982"/>
                <a:gd name="connsiteY6" fmla="*/ 31256 h 37531"/>
                <a:gd name="connsiteX7" fmla="*/ 25961 w 25982"/>
                <a:gd name="connsiteY7" fmla="*/ 33599 h 37531"/>
                <a:gd name="connsiteX8" fmla="*/ 22585 w 25982"/>
                <a:gd name="connsiteY8" fmla="*/ 37506 h 37531"/>
                <a:gd name="connsiteX9" fmla="*/ 22144 w 25982"/>
                <a:gd name="connsiteY9" fmla="*/ 37506 h 37531"/>
                <a:gd name="connsiteX10" fmla="*/ 19091 w 25982"/>
                <a:gd name="connsiteY10" fmla="*/ 35943 h 37531"/>
                <a:gd name="connsiteX11" fmla="*/ 7641 w 25982"/>
                <a:gd name="connsiteY11" fmla="*/ 21881 h 37531"/>
                <a:gd name="connsiteX12" fmla="*/ 7641 w 25982"/>
                <a:gd name="connsiteY12" fmla="*/ 21881 h 37531"/>
                <a:gd name="connsiteX13" fmla="*/ 7641 w 25982"/>
                <a:gd name="connsiteY13" fmla="*/ 32818 h 37531"/>
                <a:gd name="connsiteX14" fmla="*/ 3824 w 25982"/>
                <a:gd name="connsiteY14" fmla="*/ 36724 h 37531"/>
                <a:gd name="connsiteX15" fmla="*/ 7 w 25982"/>
                <a:gd name="connsiteY15" fmla="*/ 32818 h 37531"/>
                <a:gd name="connsiteX16" fmla="*/ 7641 w 25982"/>
                <a:gd name="connsiteY16" fmla="*/ 15631 h 37531"/>
                <a:gd name="connsiteX17" fmla="*/ 12984 w 25982"/>
                <a:gd name="connsiteY17" fmla="*/ 15631 h 37531"/>
                <a:gd name="connsiteX18" fmla="*/ 17564 w 25982"/>
                <a:gd name="connsiteY18" fmla="*/ 12122 h 37531"/>
                <a:gd name="connsiteX19" fmla="*/ 17564 w 25982"/>
                <a:gd name="connsiteY19" fmla="*/ 10944 h 37531"/>
                <a:gd name="connsiteX20" fmla="*/ 13358 w 25982"/>
                <a:gd name="connsiteY20" fmla="*/ 6257 h 37531"/>
                <a:gd name="connsiteX21" fmla="*/ 12984 w 25982"/>
                <a:gd name="connsiteY21" fmla="*/ 6257 h 37531"/>
                <a:gd name="connsiteX22" fmla="*/ 7641 w 25982"/>
                <a:gd name="connsiteY22" fmla="*/ 6257 h 3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982" h="37531">
                  <a:moveTo>
                    <a:pt x="7" y="3913"/>
                  </a:moveTo>
                  <a:cubicBezTo>
                    <a:pt x="-115" y="1880"/>
                    <a:pt x="1397" y="132"/>
                    <a:pt x="3383" y="7"/>
                  </a:cubicBezTo>
                  <a:cubicBezTo>
                    <a:pt x="3530" y="-2"/>
                    <a:pt x="3677" y="-2"/>
                    <a:pt x="3824" y="7"/>
                  </a:cubicBezTo>
                  <a:lnTo>
                    <a:pt x="12984" y="7"/>
                  </a:lnTo>
                  <a:cubicBezTo>
                    <a:pt x="20618" y="7"/>
                    <a:pt x="25961" y="3913"/>
                    <a:pt x="25961" y="11725"/>
                  </a:cubicBezTo>
                  <a:cubicBezTo>
                    <a:pt x="25682" y="16920"/>
                    <a:pt x="21839" y="21181"/>
                    <a:pt x="16801" y="21881"/>
                  </a:cubicBezTo>
                  <a:lnTo>
                    <a:pt x="25198" y="31256"/>
                  </a:lnTo>
                  <a:cubicBezTo>
                    <a:pt x="25785" y="31879"/>
                    <a:pt x="26066" y="32740"/>
                    <a:pt x="25961" y="33599"/>
                  </a:cubicBezTo>
                  <a:cubicBezTo>
                    <a:pt x="26083" y="35632"/>
                    <a:pt x="24572" y="37381"/>
                    <a:pt x="22585" y="37506"/>
                  </a:cubicBezTo>
                  <a:cubicBezTo>
                    <a:pt x="22439" y="37515"/>
                    <a:pt x="22291" y="37515"/>
                    <a:pt x="22144" y="37506"/>
                  </a:cubicBezTo>
                  <a:cubicBezTo>
                    <a:pt x="20911" y="37670"/>
                    <a:pt x="19703" y="37052"/>
                    <a:pt x="19091" y="35943"/>
                  </a:cubicBezTo>
                  <a:lnTo>
                    <a:pt x="7641" y="21881"/>
                  </a:lnTo>
                  <a:lnTo>
                    <a:pt x="7641" y="21881"/>
                  </a:lnTo>
                  <a:lnTo>
                    <a:pt x="7641" y="32818"/>
                  </a:lnTo>
                  <a:cubicBezTo>
                    <a:pt x="7641" y="34975"/>
                    <a:pt x="5932" y="36724"/>
                    <a:pt x="3824" y="36724"/>
                  </a:cubicBezTo>
                  <a:cubicBezTo>
                    <a:pt x="1716" y="36724"/>
                    <a:pt x="7" y="34975"/>
                    <a:pt x="7" y="32818"/>
                  </a:cubicBezTo>
                  <a:close/>
                  <a:moveTo>
                    <a:pt x="7641" y="15631"/>
                  </a:moveTo>
                  <a:lnTo>
                    <a:pt x="12984" y="15631"/>
                  </a:lnTo>
                  <a:cubicBezTo>
                    <a:pt x="15196" y="15957"/>
                    <a:pt x="17246" y="14385"/>
                    <a:pt x="17564" y="12122"/>
                  </a:cubicBezTo>
                  <a:cubicBezTo>
                    <a:pt x="17619" y="11731"/>
                    <a:pt x="17619" y="11335"/>
                    <a:pt x="17564" y="10944"/>
                  </a:cubicBezTo>
                  <a:cubicBezTo>
                    <a:pt x="17668" y="8461"/>
                    <a:pt x="15785" y="6362"/>
                    <a:pt x="13358" y="6257"/>
                  </a:cubicBezTo>
                  <a:cubicBezTo>
                    <a:pt x="13234" y="6251"/>
                    <a:pt x="13109" y="6251"/>
                    <a:pt x="12984" y="6257"/>
                  </a:cubicBezTo>
                  <a:lnTo>
                    <a:pt x="7641" y="6257"/>
                  </a:lnTo>
                  <a:close/>
                </a:path>
              </a:pathLst>
            </a:custGeom>
            <a:solidFill>
              <a:srgbClr val="BD5C7A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39FD39DA-B140-3252-B0CC-D7E212222E6C}"/>
                </a:ext>
              </a:extLst>
            </p:cNvPr>
            <p:cNvSpPr/>
            <p:nvPr/>
          </p:nvSpPr>
          <p:spPr>
            <a:xfrm>
              <a:off x="4869951" y="494580"/>
              <a:ext cx="31297" cy="37498"/>
            </a:xfrm>
            <a:custGeom>
              <a:avLst/>
              <a:gdLst>
                <a:gd name="connsiteX0" fmla="*/ 0 w 31297"/>
                <a:gd name="connsiteY0" fmla="*/ 3906 h 37498"/>
                <a:gd name="connsiteX1" fmla="*/ 3817 w 31297"/>
                <a:gd name="connsiteY1" fmla="*/ 0 h 37498"/>
                <a:gd name="connsiteX2" fmla="*/ 7634 w 31297"/>
                <a:gd name="connsiteY2" fmla="*/ 3906 h 37498"/>
                <a:gd name="connsiteX3" fmla="*/ 7634 w 31297"/>
                <a:gd name="connsiteY3" fmla="*/ 14843 h 37498"/>
                <a:gd name="connsiteX4" fmla="*/ 23664 w 31297"/>
                <a:gd name="connsiteY4" fmla="*/ 14843 h 37498"/>
                <a:gd name="connsiteX5" fmla="*/ 23664 w 31297"/>
                <a:gd name="connsiteY5" fmla="*/ 3906 h 37498"/>
                <a:gd name="connsiteX6" fmla="*/ 27481 w 31297"/>
                <a:gd name="connsiteY6" fmla="*/ 0 h 37498"/>
                <a:gd name="connsiteX7" fmla="*/ 31298 w 31297"/>
                <a:gd name="connsiteY7" fmla="*/ 3906 h 37498"/>
                <a:gd name="connsiteX8" fmla="*/ 31298 w 31297"/>
                <a:gd name="connsiteY8" fmla="*/ 33593 h 37498"/>
                <a:gd name="connsiteX9" fmla="*/ 27481 w 31297"/>
                <a:gd name="connsiteY9" fmla="*/ 37499 h 37498"/>
                <a:gd name="connsiteX10" fmla="*/ 23664 w 31297"/>
                <a:gd name="connsiteY10" fmla="*/ 33593 h 37498"/>
                <a:gd name="connsiteX11" fmla="*/ 23664 w 31297"/>
                <a:gd name="connsiteY11" fmla="*/ 21874 h 37498"/>
                <a:gd name="connsiteX12" fmla="*/ 7634 w 31297"/>
                <a:gd name="connsiteY12" fmla="*/ 21874 h 37498"/>
                <a:gd name="connsiteX13" fmla="*/ 7634 w 31297"/>
                <a:gd name="connsiteY13" fmla="*/ 33593 h 37498"/>
                <a:gd name="connsiteX14" fmla="*/ 3817 w 31297"/>
                <a:gd name="connsiteY14" fmla="*/ 37499 h 37498"/>
                <a:gd name="connsiteX15" fmla="*/ 0 w 31297"/>
                <a:gd name="connsiteY15" fmla="*/ 33593 h 37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297" h="37498">
                  <a:moveTo>
                    <a:pt x="0" y="3906"/>
                  </a:moveTo>
                  <a:cubicBezTo>
                    <a:pt x="0" y="1749"/>
                    <a:pt x="1709" y="0"/>
                    <a:pt x="3817" y="0"/>
                  </a:cubicBezTo>
                  <a:cubicBezTo>
                    <a:pt x="5925" y="0"/>
                    <a:pt x="7634" y="1749"/>
                    <a:pt x="7634" y="3906"/>
                  </a:cubicBezTo>
                  <a:lnTo>
                    <a:pt x="7634" y="14843"/>
                  </a:lnTo>
                  <a:lnTo>
                    <a:pt x="23664" y="14843"/>
                  </a:lnTo>
                  <a:lnTo>
                    <a:pt x="23664" y="3906"/>
                  </a:lnTo>
                  <a:cubicBezTo>
                    <a:pt x="23664" y="1749"/>
                    <a:pt x="25373" y="0"/>
                    <a:pt x="27481" y="0"/>
                  </a:cubicBezTo>
                  <a:cubicBezTo>
                    <a:pt x="29589" y="0"/>
                    <a:pt x="31298" y="1749"/>
                    <a:pt x="31298" y="3906"/>
                  </a:cubicBezTo>
                  <a:lnTo>
                    <a:pt x="31298" y="33593"/>
                  </a:lnTo>
                  <a:cubicBezTo>
                    <a:pt x="31298" y="35750"/>
                    <a:pt x="29589" y="37499"/>
                    <a:pt x="27481" y="37499"/>
                  </a:cubicBezTo>
                  <a:cubicBezTo>
                    <a:pt x="25373" y="37499"/>
                    <a:pt x="23664" y="35750"/>
                    <a:pt x="23664" y="33593"/>
                  </a:cubicBezTo>
                  <a:lnTo>
                    <a:pt x="23664" y="21874"/>
                  </a:lnTo>
                  <a:lnTo>
                    <a:pt x="7634" y="21874"/>
                  </a:lnTo>
                  <a:lnTo>
                    <a:pt x="7634" y="33593"/>
                  </a:lnTo>
                  <a:cubicBezTo>
                    <a:pt x="7634" y="35750"/>
                    <a:pt x="5925" y="37499"/>
                    <a:pt x="3817" y="37499"/>
                  </a:cubicBezTo>
                  <a:cubicBezTo>
                    <a:pt x="1709" y="37499"/>
                    <a:pt x="0" y="35750"/>
                    <a:pt x="0" y="33593"/>
                  </a:cubicBezTo>
                  <a:close/>
                </a:path>
              </a:pathLst>
            </a:custGeom>
            <a:solidFill>
              <a:srgbClr val="BD5C7A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6" name="Graphic 67">
            <a:extLst>
              <a:ext uri="{FF2B5EF4-FFF2-40B4-BE49-F238E27FC236}">
                <a16:creationId xmlns:a16="http://schemas.microsoft.com/office/drawing/2014/main" id="{224D8FC5-C054-621A-28C2-BFE33025209F}"/>
              </a:ext>
            </a:extLst>
          </p:cNvPr>
          <p:cNvGrpSpPr/>
          <p:nvPr/>
        </p:nvGrpSpPr>
        <p:grpSpPr>
          <a:xfrm>
            <a:off x="5653928" y="1126883"/>
            <a:ext cx="301625" cy="301625"/>
            <a:chOff x="5537200" y="317500"/>
            <a:chExt cx="325438" cy="325438"/>
          </a:xfrm>
        </p:grpSpPr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170BD341-B0F1-67CB-B192-BFA52E37DA23}"/>
                </a:ext>
              </a:extLst>
            </p:cNvPr>
            <p:cNvSpPr/>
            <p:nvPr/>
          </p:nvSpPr>
          <p:spPr>
            <a:xfrm>
              <a:off x="5540689" y="320121"/>
              <a:ext cx="326790" cy="326792"/>
            </a:xfrm>
            <a:custGeom>
              <a:avLst/>
              <a:gdLst>
                <a:gd name="connsiteX0" fmla="*/ 306836 w 326790"/>
                <a:gd name="connsiteY0" fmla="*/ 19936 h 326792"/>
                <a:gd name="connsiteX1" fmla="*/ 210567 w 326790"/>
                <a:gd name="connsiteY1" fmla="*/ 19936 h 326792"/>
                <a:gd name="connsiteX2" fmla="*/ 19942 w 326790"/>
                <a:gd name="connsiteY2" fmla="*/ 210561 h 326792"/>
                <a:gd name="connsiteX3" fmla="*/ 19942 w 326790"/>
                <a:gd name="connsiteY3" fmla="*/ 306850 h 326792"/>
                <a:gd name="connsiteX4" fmla="*/ 116231 w 326790"/>
                <a:gd name="connsiteY4" fmla="*/ 306850 h 326792"/>
                <a:gd name="connsiteX5" fmla="*/ 306836 w 326790"/>
                <a:gd name="connsiteY5" fmla="*/ 116225 h 326792"/>
                <a:gd name="connsiteX6" fmla="*/ 306878 w 326790"/>
                <a:gd name="connsiteY6" fmla="*/ 19977 h 326792"/>
                <a:gd name="connsiteX7" fmla="*/ 306836 w 326790"/>
                <a:gd name="connsiteY7" fmla="*/ 19936 h 326792"/>
                <a:gd name="connsiteX8" fmla="*/ 106590 w 326790"/>
                <a:gd name="connsiteY8" fmla="*/ 297209 h 326792"/>
                <a:gd name="connsiteX9" fmla="*/ 29563 w 326790"/>
                <a:gd name="connsiteY9" fmla="*/ 296299 h 326792"/>
                <a:gd name="connsiteX10" fmla="*/ 29563 w 326790"/>
                <a:gd name="connsiteY10" fmla="*/ 220182 h 326792"/>
                <a:gd name="connsiteX11" fmla="*/ 120706 w 326790"/>
                <a:gd name="connsiteY11" fmla="*/ 129039 h 326792"/>
                <a:gd name="connsiteX12" fmla="*/ 155487 w 326790"/>
                <a:gd name="connsiteY12" fmla="*/ 171305 h 326792"/>
                <a:gd name="connsiteX13" fmla="*/ 197753 w 326790"/>
                <a:gd name="connsiteY13" fmla="*/ 206066 h 326792"/>
                <a:gd name="connsiteX14" fmla="*/ 297215 w 326790"/>
                <a:gd name="connsiteY14" fmla="*/ 106584 h 326792"/>
                <a:gd name="connsiteX15" fmla="*/ 207557 w 326790"/>
                <a:gd name="connsiteY15" fmla="*/ 196242 h 326792"/>
                <a:gd name="connsiteX16" fmla="*/ 165087 w 326790"/>
                <a:gd name="connsiteY16" fmla="*/ 161664 h 326792"/>
                <a:gd name="connsiteX17" fmla="*/ 130510 w 326790"/>
                <a:gd name="connsiteY17" fmla="*/ 119215 h 326792"/>
                <a:gd name="connsiteX18" fmla="*/ 220249 w 326790"/>
                <a:gd name="connsiteY18" fmla="*/ 29556 h 326792"/>
                <a:gd name="connsiteX19" fmla="*/ 297266 w 326790"/>
                <a:gd name="connsiteY19" fmla="*/ 29567 h 326792"/>
                <a:gd name="connsiteX20" fmla="*/ 297256 w 326790"/>
                <a:gd name="connsiteY20" fmla="*/ 106584 h 326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26790" h="326792">
                  <a:moveTo>
                    <a:pt x="306836" y="19936"/>
                  </a:moveTo>
                  <a:cubicBezTo>
                    <a:pt x="280251" y="-6645"/>
                    <a:pt x="237152" y="-6645"/>
                    <a:pt x="210567" y="19936"/>
                  </a:cubicBezTo>
                  <a:lnTo>
                    <a:pt x="19942" y="210561"/>
                  </a:lnTo>
                  <a:cubicBezTo>
                    <a:pt x="-6647" y="237150"/>
                    <a:pt x="-6647" y="280260"/>
                    <a:pt x="19942" y="306850"/>
                  </a:cubicBezTo>
                  <a:cubicBezTo>
                    <a:pt x="46532" y="333439"/>
                    <a:pt x="89642" y="333439"/>
                    <a:pt x="116231" y="306850"/>
                  </a:cubicBezTo>
                  <a:lnTo>
                    <a:pt x="306836" y="116225"/>
                  </a:lnTo>
                  <a:cubicBezTo>
                    <a:pt x="333426" y="89658"/>
                    <a:pt x="333444" y="46567"/>
                    <a:pt x="306878" y="19977"/>
                  </a:cubicBezTo>
                  <a:cubicBezTo>
                    <a:pt x="306864" y="19963"/>
                    <a:pt x="306850" y="19950"/>
                    <a:pt x="306836" y="19936"/>
                  </a:cubicBezTo>
                  <a:close/>
                  <a:moveTo>
                    <a:pt x="106590" y="297209"/>
                  </a:moveTo>
                  <a:cubicBezTo>
                    <a:pt x="85068" y="318228"/>
                    <a:pt x="50582" y="317821"/>
                    <a:pt x="29563" y="296299"/>
                  </a:cubicBezTo>
                  <a:cubicBezTo>
                    <a:pt x="8894" y="275136"/>
                    <a:pt x="8894" y="241345"/>
                    <a:pt x="29563" y="220182"/>
                  </a:cubicBezTo>
                  <a:lnTo>
                    <a:pt x="120706" y="129039"/>
                  </a:lnTo>
                  <a:cubicBezTo>
                    <a:pt x="130902" y="144222"/>
                    <a:pt x="142551" y="158377"/>
                    <a:pt x="155487" y="171305"/>
                  </a:cubicBezTo>
                  <a:cubicBezTo>
                    <a:pt x="168407" y="184245"/>
                    <a:pt x="182563" y="195887"/>
                    <a:pt x="197753" y="206066"/>
                  </a:cubicBezTo>
                  <a:close/>
                  <a:moveTo>
                    <a:pt x="297215" y="106584"/>
                  </a:moveTo>
                  <a:lnTo>
                    <a:pt x="207557" y="196242"/>
                  </a:lnTo>
                  <a:cubicBezTo>
                    <a:pt x="192258" y="186195"/>
                    <a:pt x="178027" y="174609"/>
                    <a:pt x="165087" y="161664"/>
                  </a:cubicBezTo>
                  <a:cubicBezTo>
                    <a:pt x="152143" y="148732"/>
                    <a:pt x="140556" y="134508"/>
                    <a:pt x="130510" y="119215"/>
                  </a:cubicBezTo>
                  <a:lnTo>
                    <a:pt x="220249" y="29556"/>
                  </a:lnTo>
                  <a:cubicBezTo>
                    <a:pt x="241520" y="8292"/>
                    <a:pt x="276001" y="8296"/>
                    <a:pt x="297266" y="29567"/>
                  </a:cubicBezTo>
                  <a:cubicBezTo>
                    <a:pt x="318531" y="50837"/>
                    <a:pt x="318526" y="85319"/>
                    <a:pt x="297256" y="106584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71F7520-E2D8-1074-EC34-559134814CFE}"/>
                </a:ext>
              </a:extLst>
            </p:cNvPr>
            <p:cNvSpPr/>
            <p:nvPr/>
          </p:nvSpPr>
          <p:spPr>
            <a:xfrm>
              <a:off x="5691637" y="347358"/>
              <a:ext cx="138809" cy="100451"/>
            </a:xfrm>
            <a:custGeom>
              <a:avLst/>
              <a:gdLst>
                <a:gd name="connsiteX0" fmla="*/ 107743 w 138809"/>
                <a:gd name="connsiteY0" fmla="*/ 0 h 100451"/>
                <a:gd name="connsiteX1" fmla="*/ 78861 w 138809"/>
                <a:gd name="connsiteY1" fmla="*/ 11940 h 100451"/>
                <a:gd name="connsiteX2" fmla="*/ 78861 w 138809"/>
                <a:gd name="connsiteY2" fmla="*/ 11940 h 100451"/>
                <a:gd name="connsiteX3" fmla="*/ 1834 w 138809"/>
                <a:gd name="connsiteY3" fmla="*/ 88987 h 100451"/>
                <a:gd name="connsiteX4" fmla="*/ 2164 w 138809"/>
                <a:gd name="connsiteY4" fmla="*/ 98618 h 100451"/>
                <a:gd name="connsiteX5" fmla="*/ 11475 w 138809"/>
                <a:gd name="connsiteY5" fmla="*/ 98608 h 100451"/>
                <a:gd name="connsiteX6" fmla="*/ 88502 w 138809"/>
                <a:gd name="connsiteY6" fmla="*/ 21581 h 100451"/>
                <a:gd name="connsiteX7" fmla="*/ 127025 w 138809"/>
                <a:gd name="connsiteY7" fmla="*/ 21581 h 100451"/>
                <a:gd name="connsiteX8" fmla="*/ 136657 w 138809"/>
                <a:gd name="connsiteY8" fmla="*/ 21891 h 100451"/>
                <a:gd name="connsiteX9" fmla="*/ 136967 w 138809"/>
                <a:gd name="connsiteY9" fmla="*/ 12259 h 100451"/>
                <a:gd name="connsiteX10" fmla="*/ 136646 w 138809"/>
                <a:gd name="connsiteY10" fmla="*/ 11940 h 100451"/>
                <a:gd name="connsiteX11" fmla="*/ 107743 w 138809"/>
                <a:gd name="connsiteY11" fmla="*/ 0 h 10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809" h="100451">
                  <a:moveTo>
                    <a:pt x="107743" y="0"/>
                  </a:moveTo>
                  <a:cubicBezTo>
                    <a:pt x="96910" y="-25"/>
                    <a:pt x="86514" y="4273"/>
                    <a:pt x="78861" y="11940"/>
                  </a:cubicBezTo>
                  <a:lnTo>
                    <a:pt x="78861" y="11940"/>
                  </a:lnTo>
                  <a:lnTo>
                    <a:pt x="1834" y="88987"/>
                  </a:lnTo>
                  <a:cubicBezTo>
                    <a:pt x="-735" y="91738"/>
                    <a:pt x="-587" y="96049"/>
                    <a:pt x="2164" y="98618"/>
                  </a:cubicBezTo>
                  <a:cubicBezTo>
                    <a:pt x="4786" y="101066"/>
                    <a:pt x="8858" y="101062"/>
                    <a:pt x="11475" y="98608"/>
                  </a:cubicBezTo>
                  <a:lnTo>
                    <a:pt x="88502" y="21581"/>
                  </a:lnTo>
                  <a:cubicBezTo>
                    <a:pt x="99143" y="10951"/>
                    <a:pt x="116384" y="10951"/>
                    <a:pt x="127025" y="21581"/>
                  </a:cubicBezTo>
                  <a:cubicBezTo>
                    <a:pt x="129599" y="24326"/>
                    <a:pt x="133912" y="24465"/>
                    <a:pt x="136657" y="21891"/>
                  </a:cubicBezTo>
                  <a:cubicBezTo>
                    <a:pt x="139402" y="19316"/>
                    <a:pt x="139541" y="15004"/>
                    <a:pt x="136967" y="12259"/>
                  </a:cubicBezTo>
                  <a:cubicBezTo>
                    <a:pt x="136863" y="12149"/>
                    <a:pt x="136756" y="12043"/>
                    <a:pt x="136646" y="11940"/>
                  </a:cubicBezTo>
                  <a:cubicBezTo>
                    <a:pt x="128979" y="4281"/>
                    <a:pt x="118580" y="-14"/>
                    <a:pt x="107743" y="0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7455B4DD-04CE-9BB4-800E-6E4C6C241395}"/>
                </a:ext>
              </a:extLst>
            </p:cNvPr>
            <p:cNvSpPr/>
            <p:nvPr/>
          </p:nvSpPr>
          <p:spPr>
            <a:xfrm>
              <a:off x="5540689" y="428311"/>
              <a:ext cx="220635" cy="218601"/>
            </a:xfrm>
            <a:custGeom>
              <a:avLst/>
              <a:gdLst>
                <a:gd name="connsiteX0" fmla="*/ 207557 w 220635"/>
                <a:gd name="connsiteY0" fmla="*/ 88051 h 218601"/>
                <a:gd name="connsiteX1" fmla="*/ 165087 w 220635"/>
                <a:gd name="connsiteY1" fmla="*/ 53474 h 218601"/>
                <a:gd name="connsiteX2" fmla="*/ 130510 w 220635"/>
                <a:gd name="connsiteY2" fmla="*/ 11024 h 218601"/>
                <a:gd name="connsiteX3" fmla="*/ 122374 w 220635"/>
                <a:gd name="connsiteY3" fmla="*/ 0 h 218601"/>
                <a:gd name="connsiteX4" fmla="*/ 122374 w 220635"/>
                <a:gd name="connsiteY4" fmla="*/ 0 h 218601"/>
                <a:gd name="connsiteX5" fmla="*/ 19942 w 220635"/>
                <a:gd name="connsiteY5" fmla="*/ 102371 h 218601"/>
                <a:gd name="connsiteX6" fmla="*/ 19942 w 220635"/>
                <a:gd name="connsiteY6" fmla="*/ 198660 h 218601"/>
                <a:gd name="connsiteX7" fmla="*/ 116231 w 220635"/>
                <a:gd name="connsiteY7" fmla="*/ 198660 h 218601"/>
                <a:gd name="connsiteX8" fmla="*/ 220636 w 220635"/>
                <a:gd name="connsiteY8" fmla="*/ 94235 h 218601"/>
                <a:gd name="connsiteX9" fmla="*/ 106590 w 220635"/>
                <a:gd name="connsiteY9" fmla="*/ 189018 h 218601"/>
                <a:gd name="connsiteX10" fmla="*/ 29563 w 220635"/>
                <a:gd name="connsiteY10" fmla="*/ 188109 h 218601"/>
                <a:gd name="connsiteX11" fmla="*/ 29563 w 220635"/>
                <a:gd name="connsiteY11" fmla="*/ 111991 h 218601"/>
                <a:gd name="connsiteX12" fmla="*/ 120706 w 220635"/>
                <a:gd name="connsiteY12" fmla="*/ 20848 h 218601"/>
                <a:gd name="connsiteX13" fmla="*/ 155487 w 220635"/>
                <a:gd name="connsiteY13" fmla="*/ 63115 h 218601"/>
                <a:gd name="connsiteX14" fmla="*/ 197753 w 220635"/>
                <a:gd name="connsiteY14" fmla="*/ 97875 h 218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0635" h="218601">
                  <a:moveTo>
                    <a:pt x="207557" y="88051"/>
                  </a:moveTo>
                  <a:cubicBezTo>
                    <a:pt x="192258" y="78005"/>
                    <a:pt x="178027" y="66419"/>
                    <a:pt x="165087" y="53474"/>
                  </a:cubicBezTo>
                  <a:cubicBezTo>
                    <a:pt x="152143" y="40541"/>
                    <a:pt x="140556" y="26317"/>
                    <a:pt x="130510" y="11024"/>
                  </a:cubicBezTo>
                  <a:lnTo>
                    <a:pt x="122374" y="0"/>
                  </a:lnTo>
                  <a:lnTo>
                    <a:pt x="122374" y="0"/>
                  </a:lnTo>
                  <a:lnTo>
                    <a:pt x="19942" y="102371"/>
                  </a:lnTo>
                  <a:cubicBezTo>
                    <a:pt x="-6647" y="128960"/>
                    <a:pt x="-6647" y="172070"/>
                    <a:pt x="19942" y="198660"/>
                  </a:cubicBezTo>
                  <a:cubicBezTo>
                    <a:pt x="46532" y="225249"/>
                    <a:pt x="89642" y="225249"/>
                    <a:pt x="116231" y="198660"/>
                  </a:cubicBezTo>
                  <a:lnTo>
                    <a:pt x="220636" y="94235"/>
                  </a:lnTo>
                  <a:close/>
                  <a:moveTo>
                    <a:pt x="106590" y="189018"/>
                  </a:moveTo>
                  <a:cubicBezTo>
                    <a:pt x="85068" y="210038"/>
                    <a:pt x="50582" y="209631"/>
                    <a:pt x="29563" y="188109"/>
                  </a:cubicBezTo>
                  <a:cubicBezTo>
                    <a:pt x="8894" y="166946"/>
                    <a:pt x="8894" y="133154"/>
                    <a:pt x="29563" y="111991"/>
                  </a:cubicBezTo>
                  <a:lnTo>
                    <a:pt x="120706" y="20848"/>
                  </a:lnTo>
                  <a:cubicBezTo>
                    <a:pt x="130902" y="36031"/>
                    <a:pt x="142551" y="50187"/>
                    <a:pt x="155487" y="63115"/>
                  </a:cubicBezTo>
                  <a:cubicBezTo>
                    <a:pt x="168407" y="76054"/>
                    <a:pt x="182563" y="87697"/>
                    <a:pt x="197753" y="97875"/>
                  </a:cubicBezTo>
                  <a:close/>
                </a:path>
              </a:pathLst>
            </a:custGeom>
            <a:solidFill>
              <a:srgbClr val="1F6898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0" name="Graphic 75">
            <a:extLst>
              <a:ext uri="{FF2B5EF4-FFF2-40B4-BE49-F238E27FC236}">
                <a16:creationId xmlns:a16="http://schemas.microsoft.com/office/drawing/2014/main" id="{E9F6918B-3419-21B8-E1B6-793F577EEF04}"/>
              </a:ext>
            </a:extLst>
          </p:cNvPr>
          <p:cNvGrpSpPr/>
          <p:nvPr/>
        </p:nvGrpSpPr>
        <p:grpSpPr>
          <a:xfrm>
            <a:off x="7323978" y="1131527"/>
            <a:ext cx="298449" cy="298449"/>
            <a:chOff x="7261225" y="745765"/>
            <a:chExt cx="298449" cy="298449"/>
          </a:xfrm>
        </p:grpSpPr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5AA6B3E6-9AC4-9439-0A99-DBB0494317F9}"/>
                </a:ext>
              </a:extLst>
            </p:cNvPr>
            <p:cNvSpPr/>
            <p:nvPr/>
          </p:nvSpPr>
          <p:spPr>
            <a:xfrm>
              <a:off x="7458350" y="978573"/>
              <a:ext cx="60585" cy="60585"/>
            </a:xfrm>
            <a:custGeom>
              <a:avLst/>
              <a:gdLst>
                <a:gd name="connsiteX0" fmla="*/ 30292 w 60585"/>
                <a:gd name="connsiteY0" fmla="*/ 0 h 60585"/>
                <a:gd name="connsiteX1" fmla="*/ 0 w 60585"/>
                <a:gd name="connsiteY1" fmla="*/ 30293 h 60585"/>
                <a:gd name="connsiteX2" fmla="*/ 30293 w 60585"/>
                <a:gd name="connsiteY2" fmla="*/ 60585 h 60585"/>
                <a:gd name="connsiteX3" fmla="*/ 60585 w 60585"/>
                <a:gd name="connsiteY3" fmla="*/ 30292 h 60585"/>
                <a:gd name="connsiteX4" fmla="*/ 60585 w 60585"/>
                <a:gd name="connsiteY4" fmla="*/ 30199 h 60585"/>
                <a:gd name="connsiteX5" fmla="*/ 30292 w 60585"/>
                <a:gd name="connsiteY5" fmla="*/ 0 h 60585"/>
                <a:gd name="connsiteX6" fmla="*/ 30292 w 60585"/>
                <a:gd name="connsiteY6" fmla="*/ 48498 h 60585"/>
                <a:gd name="connsiteX7" fmla="*/ 12124 w 60585"/>
                <a:gd name="connsiteY7" fmla="*/ 30330 h 60585"/>
                <a:gd name="connsiteX8" fmla="*/ 30292 w 60585"/>
                <a:gd name="connsiteY8" fmla="*/ 12162 h 60585"/>
                <a:gd name="connsiteX9" fmla="*/ 48461 w 60585"/>
                <a:gd name="connsiteY9" fmla="*/ 30330 h 60585"/>
                <a:gd name="connsiteX10" fmla="*/ 30292 w 60585"/>
                <a:gd name="connsiteY10" fmla="*/ 48442 h 6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585" h="60585">
                  <a:moveTo>
                    <a:pt x="30292" y="0"/>
                  </a:moveTo>
                  <a:cubicBezTo>
                    <a:pt x="13562" y="0"/>
                    <a:pt x="0" y="13563"/>
                    <a:pt x="0" y="30293"/>
                  </a:cubicBezTo>
                  <a:cubicBezTo>
                    <a:pt x="0" y="47023"/>
                    <a:pt x="13563" y="60585"/>
                    <a:pt x="30293" y="60585"/>
                  </a:cubicBezTo>
                  <a:cubicBezTo>
                    <a:pt x="47023" y="60585"/>
                    <a:pt x="60585" y="47023"/>
                    <a:pt x="60585" y="30292"/>
                  </a:cubicBezTo>
                  <a:cubicBezTo>
                    <a:pt x="60585" y="30261"/>
                    <a:pt x="60585" y="30230"/>
                    <a:pt x="60585" y="30199"/>
                  </a:cubicBezTo>
                  <a:cubicBezTo>
                    <a:pt x="60523" y="13510"/>
                    <a:pt x="46982" y="10"/>
                    <a:pt x="30292" y="0"/>
                  </a:cubicBezTo>
                  <a:close/>
                  <a:moveTo>
                    <a:pt x="30292" y="48498"/>
                  </a:moveTo>
                  <a:cubicBezTo>
                    <a:pt x="20258" y="48498"/>
                    <a:pt x="12124" y="40364"/>
                    <a:pt x="12124" y="30330"/>
                  </a:cubicBezTo>
                  <a:cubicBezTo>
                    <a:pt x="12124" y="20296"/>
                    <a:pt x="20258" y="12162"/>
                    <a:pt x="30292" y="12162"/>
                  </a:cubicBezTo>
                  <a:cubicBezTo>
                    <a:pt x="40326" y="12162"/>
                    <a:pt x="48461" y="20296"/>
                    <a:pt x="48461" y="30330"/>
                  </a:cubicBezTo>
                  <a:cubicBezTo>
                    <a:pt x="48419" y="40338"/>
                    <a:pt x="40300" y="48432"/>
                    <a:pt x="30292" y="48442"/>
                  </a:cubicBezTo>
                  <a:close/>
                </a:path>
              </a:pathLst>
            </a:custGeom>
            <a:solidFill>
              <a:srgbClr val="BD5C7A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C3EC0F30-7286-2743-49AE-DA22D3ED00A0}"/>
                </a:ext>
              </a:extLst>
            </p:cNvPr>
            <p:cNvSpPr/>
            <p:nvPr/>
          </p:nvSpPr>
          <p:spPr>
            <a:xfrm>
              <a:off x="7337217" y="978573"/>
              <a:ext cx="60585" cy="60585"/>
            </a:xfrm>
            <a:custGeom>
              <a:avLst/>
              <a:gdLst>
                <a:gd name="connsiteX0" fmla="*/ 30330 w 60585"/>
                <a:gd name="connsiteY0" fmla="*/ 0 h 60585"/>
                <a:gd name="connsiteX1" fmla="*/ 0 w 60585"/>
                <a:gd name="connsiteY1" fmla="*/ 30255 h 60585"/>
                <a:gd name="connsiteX2" fmla="*/ 30255 w 60585"/>
                <a:gd name="connsiteY2" fmla="*/ 60585 h 60585"/>
                <a:gd name="connsiteX3" fmla="*/ 60585 w 60585"/>
                <a:gd name="connsiteY3" fmla="*/ 30330 h 60585"/>
                <a:gd name="connsiteX4" fmla="*/ 60585 w 60585"/>
                <a:gd name="connsiteY4" fmla="*/ 30199 h 60585"/>
                <a:gd name="connsiteX5" fmla="*/ 30330 w 60585"/>
                <a:gd name="connsiteY5" fmla="*/ 0 h 60585"/>
                <a:gd name="connsiteX6" fmla="*/ 30330 w 60585"/>
                <a:gd name="connsiteY6" fmla="*/ 48498 h 60585"/>
                <a:gd name="connsiteX7" fmla="*/ 12162 w 60585"/>
                <a:gd name="connsiteY7" fmla="*/ 30330 h 60585"/>
                <a:gd name="connsiteX8" fmla="*/ 30330 w 60585"/>
                <a:gd name="connsiteY8" fmla="*/ 12162 h 60585"/>
                <a:gd name="connsiteX9" fmla="*/ 48498 w 60585"/>
                <a:gd name="connsiteY9" fmla="*/ 30330 h 60585"/>
                <a:gd name="connsiteX10" fmla="*/ 30330 w 60585"/>
                <a:gd name="connsiteY10" fmla="*/ 48442 h 6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585" h="60585">
                  <a:moveTo>
                    <a:pt x="30330" y="0"/>
                  </a:moveTo>
                  <a:cubicBezTo>
                    <a:pt x="13600" y="-21"/>
                    <a:pt x="21" y="13525"/>
                    <a:pt x="0" y="30255"/>
                  </a:cubicBezTo>
                  <a:cubicBezTo>
                    <a:pt x="-21" y="46986"/>
                    <a:pt x="13525" y="60565"/>
                    <a:pt x="30255" y="60585"/>
                  </a:cubicBezTo>
                  <a:cubicBezTo>
                    <a:pt x="46986" y="60606"/>
                    <a:pt x="60565" y="47060"/>
                    <a:pt x="60585" y="30330"/>
                  </a:cubicBezTo>
                  <a:cubicBezTo>
                    <a:pt x="60585" y="30286"/>
                    <a:pt x="60585" y="30243"/>
                    <a:pt x="60585" y="30199"/>
                  </a:cubicBezTo>
                  <a:cubicBezTo>
                    <a:pt x="60523" y="13524"/>
                    <a:pt x="47005" y="31"/>
                    <a:pt x="30330" y="0"/>
                  </a:cubicBezTo>
                  <a:close/>
                  <a:moveTo>
                    <a:pt x="30330" y="48498"/>
                  </a:moveTo>
                  <a:cubicBezTo>
                    <a:pt x="20296" y="48498"/>
                    <a:pt x="12162" y="40364"/>
                    <a:pt x="12162" y="30330"/>
                  </a:cubicBezTo>
                  <a:cubicBezTo>
                    <a:pt x="12162" y="20296"/>
                    <a:pt x="20296" y="12162"/>
                    <a:pt x="30330" y="12162"/>
                  </a:cubicBezTo>
                  <a:cubicBezTo>
                    <a:pt x="40364" y="12162"/>
                    <a:pt x="48498" y="20296"/>
                    <a:pt x="48498" y="30330"/>
                  </a:cubicBezTo>
                  <a:cubicBezTo>
                    <a:pt x="48457" y="40338"/>
                    <a:pt x="40338" y="48432"/>
                    <a:pt x="30330" y="48442"/>
                  </a:cubicBezTo>
                  <a:close/>
                </a:path>
              </a:pathLst>
            </a:custGeom>
            <a:solidFill>
              <a:srgbClr val="BD5C7A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B2AF4B45-43F8-15A9-C28C-9161697AA006}"/>
                </a:ext>
              </a:extLst>
            </p:cNvPr>
            <p:cNvSpPr/>
            <p:nvPr/>
          </p:nvSpPr>
          <p:spPr>
            <a:xfrm>
              <a:off x="7264152" y="772597"/>
              <a:ext cx="291142" cy="193861"/>
            </a:xfrm>
            <a:custGeom>
              <a:avLst/>
              <a:gdLst>
                <a:gd name="connsiteX0" fmla="*/ 289645 w 291142"/>
                <a:gd name="connsiteY0" fmla="*/ 38453 h 193861"/>
                <a:gd name="connsiteX1" fmla="*/ 285057 w 291142"/>
                <a:gd name="connsiteY1" fmla="*/ 36364 h 193861"/>
                <a:gd name="connsiteX2" fmla="*/ 55027 w 291142"/>
                <a:gd name="connsiteY2" fmla="*/ 36364 h 193861"/>
                <a:gd name="connsiteX3" fmla="*/ 48722 w 291142"/>
                <a:gd name="connsiteY3" fmla="*/ 4878 h 193861"/>
                <a:gd name="connsiteX4" fmla="*/ 42791 w 291142"/>
                <a:gd name="connsiteY4" fmla="*/ 9 h 193861"/>
                <a:gd name="connsiteX5" fmla="*/ 6399 w 291142"/>
                <a:gd name="connsiteY5" fmla="*/ 9 h 193861"/>
                <a:gd name="connsiteX6" fmla="*/ 9 w 291142"/>
                <a:gd name="connsiteY6" fmla="*/ 5726 h 193861"/>
                <a:gd name="connsiteX7" fmla="*/ 5726 w 291142"/>
                <a:gd name="connsiteY7" fmla="*/ 12115 h 193861"/>
                <a:gd name="connsiteX8" fmla="*/ 6399 w 291142"/>
                <a:gd name="connsiteY8" fmla="*/ 12115 h 193861"/>
                <a:gd name="connsiteX9" fmla="*/ 37829 w 291142"/>
                <a:gd name="connsiteY9" fmla="*/ 12115 h 193861"/>
                <a:gd name="connsiteX10" fmla="*/ 67338 w 291142"/>
                <a:gd name="connsiteY10" fmla="*/ 159754 h 193861"/>
                <a:gd name="connsiteX11" fmla="*/ 108990 w 291142"/>
                <a:gd name="connsiteY11" fmla="*/ 193852 h 193861"/>
                <a:gd name="connsiteX12" fmla="*/ 260826 w 291142"/>
                <a:gd name="connsiteY12" fmla="*/ 193852 h 193861"/>
                <a:gd name="connsiteX13" fmla="*/ 267215 w 291142"/>
                <a:gd name="connsiteY13" fmla="*/ 188135 h 193861"/>
                <a:gd name="connsiteX14" fmla="*/ 261499 w 291142"/>
                <a:gd name="connsiteY14" fmla="*/ 181746 h 193861"/>
                <a:gd name="connsiteX15" fmla="*/ 260826 w 291142"/>
                <a:gd name="connsiteY15" fmla="*/ 181746 h 193861"/>
                <a:gd name="connsiteX16" fmla="*/ 108990 w 291142"/>
                <a:gd name="connsiteY16" fmla="*/ 181746 h 193861"/>
                <a:gd name="connsiteX17" fmla="*/ 79146 w 291142"/>
                <a:gd name="connsiteY17" fmla="*/ 157404 h 193861"/>
                <a:gd name="connsiteX18" fmla="*/ 79146 w 291142"/>
                <a:gd name="connsiteY18" fmla="*/ 156844 h 193861"/>
                <a:gd name="connsiteX19" fmla="*/ 264482 w 291142"/>
                <a:gd name="connsiteY19" fmla="*/ 134349 h 193861"/>
                <a:gd name="connsiteX20" fmla="*/ 280281 w 291142"/>
                <a:gd name="connsiteY20" fmla="*/ 118885 h 193861"/>
                <a:gd name="connsiteX21" fmla="*/ 291082 w 291142"/>
                <a:gd name="connsiteY21" fmla="*/ 43285 h 193861"/>
                <a:gd name="connsiteX22" fmla="*/ 289645 w 291142"/>
                <a:gd name="connsiteY22" fmla="*/ 38453 h 193861"/>
                <a:gd name="connsiteX23" fmla="*/ 273585 w 291142"/>
                <a:gd name="connsiteY23" fmla="*/ 79863 h 193861"/>
                <a:gd name="connsiteX24" fmla="*/ 209810 w 291142"/>
                <a:gd name="connsiteY24" fmla="*/ 83948 h 193861"/>
                <a:gd name="connsiteX25" fmla="*/ 211135 w 291142"/>
                <a:gd name="connsiteY25" fmla="*/ 48507 h 193861"/>
                <a:gd name="connsiteX26" fmla="*/ 278062 w 291142"/>
                <a:gd name="connsiteY26" fmla="*/ 48507 h 193861"/>
                <a:gd name="connsiteX27" fmla="*/ 144431 w 291142"/>
                <a:gd name="connsiteY27" fmla="*/ 88145 h 193861"/>
                <a:gd name="connsiteX28" fmla="*/ 142939 w 291142"/>
                <a:gd name="connsiteY28" fmla="*/ 48489 h 193861"/>
                <a:gd name="connsiteX29" fmla="*/ 204252 w 291142"/>
                <a:gd name="connsiteY29" fmla="*/ 48489 h 193861"/>
                <a:gd name="connsiteX30" fmla="*/ 202909 w 291142"/>
                <a:gd name="connsiteY30" fmla="*/ 84396 h 193861"/>
                <a:gd name="connsiteX31" fmla="*/ 202666 w 291142"/>
                <a:gd name="connsiteY31" fmla="*/ 91242 h 193861"/>
                <a:gd name="connsiteX32" fmla="*/ 201286 w 291142"/>
                <a:gd name="connsiteY32" fmla="*/ 129853 h 193861"/>
                <a:gd name="connsiteX33" fmla="*/ 146297 w 291142"/>
                <a:gd name="connsiteY33" fmla="*/ 136475 h 193861"/>
                <a:gd name="connsiteX34" fmla="*/ 144767 w 291142"/>
                <a:gd name="connsiteY34" fmla="*/ 94935 h 193861"/>
                <a:gd name="connsiteX35" fmla="*/ 136205 w 291142"/>
                <a:gd name="connsiteY35" fmla="*/ 48489 h 193861"/>
                <a:gd name="connsiteX36" fmla="*/ 137716 w 291142"/>
                <a:gd name="connsiteY36" fmla="*/ 88574 h 193861"/>
                <a:gd name="connsiteX37" fmla="*/ 66368 w 291142"/>
                <a:gd name="connsiteY37" fmla="*/ 93144 h 193861"/>
                <a:gd name="connsiteX38" fmla="*/ 57452 w 291142"/>
                <a:gd name="connsiteY38" fmla="*/ 48489 h 193861"/>
                <a:gd name="connsiteX39" fmla="*/ 67711 w 291142"/>
                <a:gd name="connsiteY39" fmla="*/ 99859 h 193861"/>
                <a:gd name="connsiteX40" fmla="*/ 137959 w 291142"/>
                <a:gd name="connsiteY40" fmla="*/ 95383 h 193861"/>
                <a:gd name="connsiteX41" fmla="*/ 139544 w 291142"/>
                <a:gd name="connsiteY41" fmla="*/ 137315 h 193861"/>
                <a:gd name="connsiteX42" fmla="*/ 76739 w 291142"/>
                <a:gd name="connsiteY42" fmla="*/ 144925 h 193861"/>
                <a:gd name="connsiteX43" fmla="*/ 263009 w 291142"/>
                <a:gd name="connsiteY43" fmla="*/ 122392 h 193861"/>
                <a:gd name="connsiteX44" fmla="*/ 208131 w 291142"/>
                <a:gd name="connsiteY44" fmla="*/ 129033 h 193861"/>
                <a:gd name="connsiteX45" fmla="*/ 209568 w 291142"/>
                <a:gd name="connsiteY45" fmla="*/ 90850 h 193861"/>
                <a:gd name="connsiteX46" fmla="*/ 272615 w 291142"/>
                <a:gd name="connsiteY46" fmla="*/ 86821 h 193861"/>
                <a:gd name="connsiteX47" fmla="*/ 268288 w 291142"/>
                <a:gd name="connsiteY47" fmla="*/ 117169 h 193861"/>
                <a:gd name="connsiteX48" fmla="*/ 263009 w 291142"/>
                <a:gd name="connsiteY48" fmla="*/ 122392 h 193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91142" h="193861">
                  <a:moveTo>
                    <a:pt x="289645" y="38453"/>
                  </a:moveTo>
                  <a:cubicBezTo>
                    <a:pt x="288489" y="37128"/>
                    <a:pt x="286816" y="36366"/>
                    <a:pt x="285057" y="36364"/>
                  </a:cubicBezTo>
                  <a:lnTo>
                    <a:pt x="55027" y="36364"/>
                  </a:lnTo>
                  <a:lnTo>
                    <a:pt x="48722" y="4878"/>
                  </a:lnTo>
                  <a:cubicBezTo>
                    <a:pt x="48161" y="2047"/>
                    <a:pt x="45677" y="8"/>
                    <a:pt x="42791" y="9"/>
                  </a:cubicBezTo>
                  <a:lnTo>
                    <a:pt x="6399" y="9"/>
                  </a:lnTo>
                  <a:cubicBezTo>
                    <a:pt x="3056" y="-176"/>
                    <a:pt x="195" y="2383"/>
                    <a:pt x="9" y="5726"/>
                  </a:cubicBezTo>
                  <a:cubicBezTo>
                    <a:pt x="-176" y="9069"/>
                    <a:pt x="2383" y="11930"/>
                    <a:pt x="5726" y="12115"/>
                  </a:cubicBezTo>
                  <a:cubicBezTo>
                    <a:pt x="5950" y="12128"/>
                    <a:pt x="6175" y="12128"/>
                    <a:pt x="6399" y="12115"/>
                  </a:cubicBezTo>
                  <a:lnTo>
                    <a:pt x="37829" y="12115"/>
                  </a:lnTo>
                  <a:lnTo>
                    <a:pt x="67338" y="159754"/>
                  </a:lnTo>
                  <a:cubicBezTo>
                    <a:pt x="71348" y="179579"/>
                    <a:pt x="88765" y="193837"/>
                    <a:pt x="108990" y="193852"/>
                  </a:cubicBezTo>
                  <a:lnTo>
                    <a:pt x="260826" y="193852"/>
                  </a:lnTo>
                  <a:cubicBezTo>
                    <a:pt x="264169" y="194038"/>
                    <a:pt x="267030" y="191478"/>
                    <a:pt x="267215" y="188135"/>
                  </a:cubicBezTo>
                  <a:cubicBezTo>
                    <a:pt x="267401" y="184792"/>
                    <a:pt x="264842" y="181932"/>
                    <a:pt x="261499" y="181746"/>
                  </a:cubicBezTo>
                  <a:cubicBezTo>
                    <a:pt x="261275" y="181734"/>
                    <a:pt x="261050" y="181734"/>
                    <a:pt x="260826" y="181746"/>
                  </a:cubicBezTo>
                  <a:lnTo>
                    <a:pt x="108990" y="181746"/>
                  </a:lnTo>
                  <a:cubicBezTo>
                    <a:pt x="94514" y="181778"/>
                    <a:pt x="82025" y="171592"/>
                    <a:pt x="79146" y="157404"/>
                  </a:cubicBezTo>
                  <a:lnTo>
                    <a:pt x="79146" y="156844"/>
                  </a:lnTo>
                  <a:lnTo>
                    <a:pt x="264482" y="134349"/>
                  </a:lnTo>
                  <a:cubicBezTo>
                    <a:pt x="272637" y="133354"/>
                    <a:pt x="279112" y="127017"/>
                    <a:pt x="280281" y="118885"/>
                  </a:cubicBezTo>
                  <a:lnTo>
                    <a:pt x="291082" y="43285"/>
                  </a:lnTo>
                  <a:cubicBezTo>
                    <a:pt x="291332" y="41542"/>
                    <a:pt x="290807" y="39777"/>
                    <a:pt x="289645" y="38453"/>
                  </a:cubicBezTo>
                  <a:close/>
                  <a:moveTo>
                    <a:pt x="273585" y="79863"/>
                  </a:moveTo>
                  <a:lnTo>
                    <a:pt x="209810" y="83948"/>
                  </a:lnTo>
                  <a:lnTo>
                    <a:pt x="211135" y="48507"/>
                  </a:lnTo>
                  <a:lnTo>
                    <a:pt x="278062" y="48507"/>
                  </a:lnTo>
                  <a:close/>
                  <a:moveTo>
                    <a:pt x="144431" y="88145"/>
                  </a:moveTo>
                  <a:lnTo>
                    <a:pt x="142939" y="48489"/>
                  </a:lnTo>
                  <a:lnTo>
                    <a:pt x="204252" y="48489"/>
                  </a:lnTo>
                  <a:lnTo>
                    <a:pt x="202909" y="84396"/>
                  </a:lnTo>
                  <a:close/>
                  <a:moveTo>
                    <a:pt x="202666" y="91242"/>
                  </a:moveTo>
                  <a:lnTo>
                    <a:pt x="201286" y="129853"/>
                  </a:lnTo>
                  <a:lnTo>
                    <a:pt x="146297" y="136475"/>
                  </a:lnTo>
                  <a:lnTo>
                    <a:pt x="144767" y="94935"/>
                  </a:lnTo>
                  <a:close/>
                  <a:moveTo>
                    <a:pt x="136205" y="48489"/>
                  </a:moveTo>
                  <a:lnTo>
                    <a:pt x="137716" y="88574"/>
                  </a:lnTo>
                  <a:lnTo>
                    <a:pt x="66368" y="93144"/>
                  </a:lnTo>
                  <a:lnTo>
                    <a:pt x="57452" y="48489"/>
                  </a:lnTo>
                  <a:close/>
                  <a:moveTo>
                    <a:pt x="67711" y="99859"/>
                  </a:moveTo>
                  <a:lnTo>
                    <a:pt x="137959" y="95383"/>
                  </a:lnTo>
                  <a:lnTo>
                    <a:pt x="139544" y="137315"/>
                  </a:lnTo>
                  <a:lnTo>
                    <a:pt x="76739" y="144925"/>
                  </a:lnTo>
                  <a:close/>
                  <a:moveTo>
                    <a:pt x="263009" y="122392"/>
                  </a:moveTo>
                  <a:lnTo>
                    <a:pt x="208131" y="129033"/>
                  </a:lnTo>
                  <a:lnTo>
                    <a:pt x="209568" y="90850"/>
                  </a:lnTo>
                  <a:lnTo>
                    <a:pt x="272615" y="86821"/>
                  </a:lnTo>
                  <a:lnTo>
                    <a:pt x="268288" y="117169"/>
                  </a:lnTo>
                  <a:cubicBezTo>
                    <a:pt x="267913" y="119904"/>
                    <a:pt x="265747" y="122046"/>
                    <a:pt x="263009" y="122392"/>
                  </a:cubicBezTo>
                  <a:close/>
                </a:path>
              </a:pathLst>
            </a:custGeom>
            <a:solidFill>
              <a:srgbClr val="1F6896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34" name="Graphic 33">
            <a:extLst>
              <a:ext uri="{FF2B5EF4-FFF2-40B4-BE49-F238E27FC236}">
                <a16:creationId xmlns:a16="http://schemas.microsoft.com/office/drawing/2014/main" id="{B5C3FE0B-9702-A487-69E5-6597589F62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6676" y="1159459"/>
            <a:ext cx="436172" cy="261703"/>
          </a:xfrm>
          <a:prstGeom prst="rect">
            <a:avLst/>
          </a:prstGeom>
        </p:spPr>
      </p:pic>
      <p:grpSp>
        <p:nvGrpSpPr>
          <p:cNvPr id="35" name="Graphic 73">
            <a:extLst>
              <a:ext uri="{FF2B5EF4-FFF2-40B4-BE49-F238E27FC236}">
                <a16:creationId xmlns:a16="http://schemas.microsoft.com/office/drawing/2014/main" id="{DC202C4C-CFED-8139-EADD-296A7940F3ED}"/>
              </a:ext>
            </a:extLst>
          </p:cNvPr>
          <p:cNvGrpSpPr/>
          <p:nvPr/>
        </p:nvGrpSpPr>
        <p:grpSpPr>
          <a:xfrm>
            <a:off x="6506277" y="1102066"/>
            <a:ext cx="303213" cy="328481"/>
            <a:chOff x="6443524" y="716304"/>
            <a:chExt cx="303213" cy="328481"/>
          </a:xfrm>
        </p:grpSpPr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04F1E3BC-84E6-20D6-2BAB-69C6BA10F10A}"/>
                </a:ext>
              </a:extLst>
            </p:cNvPr>
            <p:cNvSpPr/>
            <p:nvPr/>
          </p:nvSpPr>
          <p:spPr>
            <a:xfrm>
              <a:off x="6454742" y="732472"/>
              <a:ext cx="292047" cy="308826"/>
            </a:xfrm>
            <a:custGeom>
              <a:avLst/>
              <a:gdLst>
                <a:gd name="connsiteX0" fmla="*/ 0 w 292047"/>
                <a:gd name="connsiteY0" fmla="*/ 0 h 308826"/>
                <a:gd name="connsiteX1" fmla="*/ 292048 w 292047"/>
                <a:gd name="connsiteY1" fmla="*/ 0 h 308826"/>
                <a:gd name="connsiteX2" fmla="*/ 292048 w 292047"/>
                <a:gd name="connsiteY2" fmla="*/ 308827 h 308826"/>
                <a:gd name="connsiteX3" fmla="*/ 0 w 292047"/>
                <a:gd name="connsiteY3" fmla="*/ 308827 h 308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2047" h="308826">
                  <a:moveTo>
                    <a:pt x="0" y="0"/>
                  </a:moveTo>
                  <a:lnTo>
                    <a:pt x="292048" y="0"/>
                  </a:lnTo>
                  <a:lnTo>
                    <a:pt x="292048" y="308827"/>
                  </a:lnTo>
                  <a:lnTo>
                    <a:pt x="0" y="308827"/>
                  </a:lnTo>
                  <a:close/>
                </a:path>
              </a:pathLst>
            </a:custGeom>
            <a:noFill/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A3FD257A-1B51-C53E-A8D9-17AB3262E736}"/>
                </a:ext>
              </a:extLst>
            </p:cNvPr>
            <p:cNvSpPr/>
            <p:nvPr/>
          </p:nvSpPr>
          <p:spPr>
            <a:xfrm>
              <a:off x="6455527" y="806344"/>
              <a:ext cx="266342" cy="234464"/>
            </a:xfrm>
            <a:custGeom>
              <a:avLst/>
              <a:gdLst>
                <a:gd name="connsiteX0" fmla="*/ 253290 w 266342"/>
                <a:gd name="connsiteY0" fmla="*/ 39527 h 234464"/>
                <a:gd name="connsiteX1" fmla="*/ 246672 w 266342"/>
                <a:gd name="connsiteY1" fmla="*/ 42776 h 234464"/>
                <a:gd name="connsiteX2" fmla="*/ 258926 w 266342"/>
                <a:gd name="connsiteY2" fmla="*/ 98271 h 234464"/>
                <a:gd name="connsiteX3" fmla="*/ 258926 w 266342"/>
                <a:gd name="connsiteY3" fmla="*/ 99548 h 234464"/>
                <a:gd name="connsiteX4" fmla="*/ 253575 w 266342"/>
                <a:gd name="connsiteY4" fmla="*/ 100114 h 234464"/>
                <a:gd name="connsiteX5" fmla="*/ 252790 w 266342"/>
                <a:gd name="connsiteY5" fmla="*/ 100114 h 234464"/>
                <a:gd name="connsiteX6" fmla="*/ 250311 w 266342"/>
                <a:gd name="connsiteY6" fmla="*/ 100223 h 234464"/>
                <a:gd name="connsiteX7" fmla="*/ 236595 w 266342"/>
                <a:gd name="connsiteY7" fmla="*/ 109859 h 234464"/>
                <a:gd name="connsiteX8" fmla="*/ 235971 w 266342"/>
                <a:gd name="connsiteY8" fmla="*/ 111319 h 234464"/>
                <a:gd name="connsiteX9" fmla="*/ 222183 w 266342"/>
                <a:gd name="connsiteY9" fmla="*/ 120443 h 234464"/>
                <a:gd name="connsiteX10" fmla="*/ 211642 w 266342"/>
                <a:gd name="connsiteY10" fmla="*/ 120443 h 234464"/>
                <a:gd name="connsiteX11" fmla="*/ 205275 w 266342"/>
                <a:gd name="connsiteY11" fmla="*/ 114549 h 234464"/>
                <a:gd name="connsiteX12" fmla="*/ 204847 w 266342"/>
                <a:gd name="connsiteY12" fmla="*/ 110242 h 234464"/>
                <a:gd name="connsiteX13" fmla="*/ 197712 w 266342"/>
                <a:gd name="connsiteY13" fmla="*/ 98362 h 234464"/>
                <a:gd name="connsiteX14" fmla="*/ 194270 w 266342"/>
                <a:gd name="connsiteY14" fmla="*/ 91865 h 234464"/>
                <a:gd name="connsiteX15" fmla="*/ 194270 w 266342"/>
                <a:gd name="connsiteY15" fmla="*/ 87558 h 234464"/>
                <a:gd name="connsiteX16" fmla="*/ 197570 w 266342"/>
                <a:gd name="connsiteY16" fmla="*/ 80058 h 234464"/>
                <a:gd name="connsiteX17" fmla="*/ 215566 w 266342"/>
                <a:gd name="connsiteY17" fmla="*/ 63798 h 234464"/>
                <a:gd name="connsiteX18" fmla="*/ 220329 w 266342"/>
                <a:gd name="connsiteY18" fmla="*/ 46590 h 234464"/>
                <a:gd name="connsiteX19" fmla="*/ 206523 w 266342"/>
                <a:gd name="connsiteY19" fmla="*/ 34691 h 234464"/>
                <a:gd name="connsiteX20" fmla="*/ 204740 w 266342"/>
                <a:gd name="connsiteY20" fmla="*/ 34472 h 234464"/>
                <a:gd name="connsiteX21" fmla="*/ 198176 w 266342"/>
                <a:gd name="connsiteY21" fmla="*/ 30822 h 234464"/>
                <a:gd name="connsiteX22" fmla="*/ 197409 w 266342"/>
                <a:gd name="connsiteY22" fmla="*/ 23121 h 234464"/>
                <a:gd name="connsiteX23" fmla="*/ 208450 w 266342"/>
                <a:gd name="connsiteY23" fmla="*/ 3796 h 234464"/>
                <a:gd name="connsiteX24" fmla="*/ 202118 w 266342"/>
                <a:gd name="connsiteY24" fmla="*/ 0 h 234464"/>
                <a:gd name="connsiteX25" fmla="*/ 191042 w 266342"/>
                <a:gd name="connsiteY25" fmla="*/ 19453 h 234464"/>
                <a:gd name="connsiteX26" fmla="*/ 192647 w 266342"/>
                <a:gd name="connsiteY26" fmla="*/ 35877 h 234464"/>
                <a:gd name="connsiteX27" fmla="*/ 203830 w 266342"/>
                <a:gd name="connsiteY27" fmla="*/ 41936 h 234464"/>
                <a:gd name="connsiteX28" fmla="*/ 205614 w 266342"/>
                <a:gd name="connsiteY28" fmla="*/ 42173 h 234464"/>
                <a:gd name="connsiteX29" fmla="*/ 213301 w 266342"/>
                <a:gd name="connsiteY29" fmla="*/ 48779 h 234464"/>
                <a:gd name="connsiteX30" fmla="*/ 210697 w 266342"/>
                <a:gd name="connsiteY30" fmla="*/ 58178 h 234464"/>
                <a:gd name="connsiteX31" fmla="*/ 192700 w 266342"/>
                <a:gd name="connsiteY31" fmla="*/ 74437 h 234464"/>
                <a:gd name="connsiteX32" fmla="*/ 186922 w 266342"/>
                <a:gd name="connsiteY32" fmla="*/ 87577 h 234464"/>
                <a:gd name="connsiteX33" fmla="*/ 186922 w 266342"/>
                <a:gd name="connsiteY33" fmla="*/ 91883 h 234464"/>
                <a:gd name="connsiteX34" fmla="*/ 193735 w 266342"/>
                <a:gd name="connsiteY34" fmla="*/ 104658 h 234464"/>
                <a:gd name="connsiteX35" fmla="*/ 197516 w 266342"/>
                <a:gd name="connsiteY35" fmla="*/ 110954 h 234464"/>
                <a:gd name="connsiteX36" fmla="*/ 197926 w 266342"/>
                <a:gd name="connsiteY36" fmla="*/ 115279 h 234464"/>
                <a:gd name="connsiteX37" fmla="*/ 211607 w 266342"/>
                <a:gd name="connsiteY37" fmla="*/ 127943 h 234464"/>
                <a:gd name="connsiteX38" fmla="*/ 222059 w 266342"/>
                <a:gd name="connsiteY38" fmla="*/ 127943 h 234464"/>
                <a:gd name="connsiteX39" fmla="*/ 242570 w 266342"/>
                <a:gd name="connsiteY39" fmla="*/ 114238 h 234464"/>
                <a:gd name="connsiteX40" fmla="*/ 243194 w 266342"/>
                <a:gd name="connsiteY40" fmla="*/ 112760 h 234464"/>
                <a:gd name="connsiteX41" fmla="*/ 250525 w 266342"/>
                <a:gd name="connsiteY41" fmla="*/ 107614 h 234464"/>
                <a:gd name="connsiteX42" fmla="*/ 253004 w 266342"/>
                <a:gd name="connsiteY42" fmla="*/ 107505 h 234464"/>
                <a:gd name="connsiteX43" fmla="*/ 254199 w 266342"/>
                <a:gd name="connsiteY43" fmla="*/ 107505 h 234464"/>
                <a:gd name="connsiteX44" fmla="*/ 258587 w 266342"/>
                <a:gd name="connsiteY44" fmla="*/ 107048 h 234464"/>
                <a:gd name="connsiteX45" fmla="*/ 124315 w 266342"/>
                <a:gd name="connsiteY45" fmla="*/ 226539 h 234464"/>
                <a:gd name="connsiteX46" fmla="*/ 7528 w 266342"/>
                <a:gd name="connsiteY46" fmla="*/ 89159 h 234464"/>
                <a:gd name="connsiteX47" fmla="*/ 10024 w 266342"/>
                <a:gd name="connsiteY47" fmla="*/ 71098 h 234464"/>
                <a:gd name="connsiteX48" fmla="*/ 16890 w 266342"/>
                <a:gd name="connsiteY48" fmla="*/ 69711 h 234464"/>
                <a:gd name="connsiteX49" fmla="*/ 32622 w 266342"/>
                <a:gd name="connsiteY49" fmla="*/ 77011 h 234464"/>
                <a:gd name="connsiteX50" fmla="*/ 37973 w 266342"/>
                <a:gd name="connsiteY50" fmla="*/ 83945 h 234464"/>
                <a:gd name="connsiteX51" fmla="*/ 47961 w 266342"/>
                <a:gd name="connsiteY51" fmla="*/ 93581 h 234464"/>
                <a:gd name="connsiteX52" fmla="*/ 57396 w 266342"/>
                <a:gd name="connsiteY52" fmla="*/ 99055 h 234464"/>
                <a:gd name="connsiteX53" fmla="*/ 58555 w 266342"/>
                <a:gd name="connsiteY53" fmla="*/ 99384 h 234464"/>
                <a:gd name="connsiteX54" fmla="*/ 67598 w 266342"/>
                <a:gd name="connsiteY54" fmla="*/ 108508 h 234464"/>
                <a:gd name="connsiteX55" fmla="*/ 72949 w 266342"/>
                <a:gd name="connsiteY55" fmla="*/ 128290 h 234464"/>
                <a:gd name="connsiteX56" fmla="*/ 77373 w 266342"/>
                <a:gd name="connsiteY56" fmla="*/ 137415 h 234464"/>
                <a:gd name="connsiteX57" fmla="*/ 93603 w 266342"/>
                <a:gd name="connsiteY57" fmla="*/ 159204 h 234464"/>
                <a:gd name="connsiteX58" fmla="*/ 96136 w 266342"/>
                <a:gd name="connsiteY58" fmla="*/ 165153 h 234464"/>
                <a:gd name="connsiteX59" fmla="*/ 100559 w 266342"/>
                <a:gd name="connsiteY59" fmla="*/ 192380 h 234464"/>
                <a:gd name="connsiteX60" fmla="*/ 113285 w 266342"/>
                <a:gd name="connsiteY60" fmla="*/ 201725 h 234464"/>
                <a:gd name="connsiteX61" fmla="*/ 113294 w 266342"/>
                <a:gd name="connsiteY61" fmla="*/ 201724 h 234464"/>
                <a:gd name="connsiteX62" fmla="*/ 115809 w 266342"/>
                <a:gd name="connsiteY62" fmla="*/ 200976 h 234464"/>
                <a:gd name="connsiteX63" fmla="*/ 124727 w 266342"/>
                <a:gd name="connsiteY63" fmla="*/ 188566 h 234464"/>
                <a:gd name="connsiteX64" fmla="*/ 129293 w 266342"/>
                <a:gd name="connsiteY64" fmla="*/ 177471 h 234464"/>
                <a:gd name="connsiteX65" fmla="*/ 133984 w 266342"/>
                <a:gd name="connsiteY65" fmla="*/ 171668 h 234464"/>
                <a:gd name="connsiteX66" fmla="*/ 137213 w 266342"/>
                <a:gd name="connsiteY66" fmla="*/ 165609 h 234464"/>
                <a:gd name="connsiteX67" fmla="*/ 142046 w 266342"/>
                <a:gd name="connsiteY67" fmla="*/ 149550 h 234464"/>
                <a:gd name="connsiteX68" fmla="*/ 147593 w 266342"/>
                <a:gd name="connsiteY68" fmla="*/ 141375 h 234464"/>
                <a:gd name="connsiteX69" fmla="*/ 162112 w 266342"/>
                <a:gd name="connsiteY69" fmla="*/ 129969 h 234464"/>
                <a:gd name="connsiteX70" fmla="*/ 164377 w 266342"/>
                <a:gd name="connsiteY70" fmla="*/ 112395 h 234464"/>
                <a:gd name="connsiteX71" fmla="*/ 163984 w 266342"/>
                <a:gd name="connsiteY71" fmla="*/ 111903 h 234464"/>
                <a:gd name="connsiteX72" fmla="*/ 158509 w 266342"/>
                <a:gd name="connsiteY72" fmla="*/ 105406 h 234464"/>
                <a:gd name="connsiteX73" fmla="*/ 157011 w 266342"/>
                <a:gd name="connsiteY73" fmla="*/ 115206 h 234464"/>
                <a:gd name="connsiteX74" fmla="*/ 158402 w 266342"/>
                <a:gd name="connsiteY74" fmla="*/ 116866 h 234464"/>
                <a:gd name="connsiteX75" fmla="*/ 159543 w 266342"/>
                <a:gd name="connsiteY75" fmla="*/ 120644 h 234464"/>
                <a:gd name="connsiteX76" fmla="*/ 157653 w 266342"/>
                <a:gd name="connsiteY76" fmla="*/ 124111 h 234464"/>
                <a:gd name="connsiteX77" fmla="*/ 143170 w 266342"/>
                <a:gd name="connsiteY77" fmla="*/ 135517 h 234464"/>
                <a:gd name="connsiteX78" fmla="*/ 135054 w 266342"/>
                <a:gd name="connsiteY78" fmla="*/ 147433 h 234464"/>
                <a:gd name="connsiteX79" fmla="*/ 130221 w 266342"/>
                <a:gd name="connsiteY79" fmla="*/ 163492 h 234464"/>
                <a:gd name="connsiteX80" fmla="*/ 128437 w 266342"/>
                <a:gd name="connsiteY80" fmla="*/ 166960 h 234464"/>
                <a:gd name="connsiteX81" fmla="*/ 123728 w 266342"/>
                <a:gd name="connsiteY81" fmla="*/ 172763 h 234464"/>
                <a:gd name="connsiteX82" fmla="*/ 117504 w 266342"/>
                <a:gd name="connsiteY82" fmla="*/ 187873 h 234464"/>
                <a:gd name="connsiteX83" fmla="*/ 112973 w 266342"/>
                <a:gd name="connsiteY83" fmla="*/ 194151 h 234464"/>
                <a:gd name="connsiteX84" fmla="*/ 108034 w 266342"/>
                <a:gd name="connsiteY84" fmla="*/ 192055 h 234464"/>
                <a:gd name="connsiteX85" fmla="*/ 108033 w 266342"/>
                <a:gd name="connsiteY85" fmla="*/ 192052 h 234464"/>
                <a:gd name="connsiteX86" fmla="*/ 107801 w 266342"/>
                <a:gd name="connsiteY86" fmla="*/ 191231 h 234464"/>
                <a:gd name="connsiteX87" fmla="*/ 103377 w 266342"/>
                <a:gd name="connsiteY87" fmla="*/ 164022 h 234464"/>
                <a:gd name="connsiteX88" fmla="*/ 99454 w 266342"/>
                <a:gd name="connsiteY88" fmla="*/ 154751 h 234464"/>
                <a:gd name="connsiteX89" fmla="*/ 83401 w 266342"/>
                <a:gd name="connsiteY89" fmla="*/ 132852 h 234464"/>
                <a:gd name="connsiteX90" fmla="*/ 80226 w 266342"/>
                <a:gd name="connsiteY90" fmla="*/ 126283 h 234464"/>
                <a:gd name="connsiteX91" fmla="*/ 74875 w 266342"/>
                <a:gd name="connsiteY91" fmla="*/ 106501 h 234464"/>
                <a:gd name="connsiteX92" fmla="*/ 60607 w 266342"/>
                <a:gd name="connsiteY92" fmla="*/ 92029 h 234464"/>
                <a:gd name="connsiteX93" fmla="*/ 59340 w 266342"/>
                <a:gd name="connsiteY93" fmla="*/ 91774 h 234464"/>
                <a:gd name="connsiteX94" fmla="*/ 53008 w 266342"/>
                <a:gd name="connsiteY94" fmla="*/ 88124 h 234464"/>
                <a:gd name="connsiteX95" fmla="*/ 43002 w 266342"/>
                <a:gd name="connsiteY95" fmla="*/ 78489 h 234464"/>
                <a:gd name="connsiteX96" fmla="*/ 38936 w 266342"/>
                <a:gd name="connsiteY96" fmla="*/ 73251 h 234464"/>
                <a:gd name="connsiteX97" fmla="*/ 15446 w 266342"/>
                <a:gd name="connsiteY97" fmla="*/ 62302 h 234464"/>
                <a:gd name="connsiteX98" fmla="*/ 11879 w 266342"/>
                <a:gd name="connsiteY98" fmla="*/ 63014 h 234464"/>
                <a:gd name="connsiteX99" fmla="*/ 27253 w 266342"/>
                <a:gd name="connsiteY99" fmla="*/ 28341 h 234464"/>
                <a:gd name="connsiteX100" fmla="*/ 22295 w 266342"/>
                <a:gd name="connsiteY100" fmla="*/ 22756 h 234464"/>
                <a:gd name="connsiteX101" fmla="*/ 59439 w 266342"/>
                <a:gd name="connsiteY101" fmla="*/ 211653 h 234464"/>
                <a:gd name="connsiteX102" fmla="*/ 244062 w 266342"/>
                <a:gd name="connsiteY102" fmla="*/ 173649 h 234464"/>
                <a:gd name="connsiteX103" fmla="*/ 253361 w 266342"/>
                <a:gd name="connsiteY103" fmla="*/ 39527 h 234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66342" h="234464">
                  <a:moveTo>
                    <a:pt x="253290" y="39527"/>
                  </a:moveTo>
                  <a:lnTo>
                    <a:pt x="246672" y="42776"/>
                  </a:lnTo>
                  <a:cubicBezTo>
                    <a:pt x="254788" y="60094"/>
                    <a:pt x="258977" y="79064"/>
                    <a:pt x="258926" y="98271"/>
                  </a:cubicBezTo>
                  <a:lnTo>
                    <a:pt x="258926" y="99548"/>
                  </a:lnTo>
                  <a:lnTo>
                    <a:pt x="253575" y="100114"/>
                  </a:lnTo>
                  <a:lnTo>
                    <a:pt x="252790" y="100114"/>
                  </a:lnTo>
                  <a:lnTo>
                    <a:pt x="250311" y="100223"/>
                  </a:lnTo>
                  <a:cubicBezTo>
                    <a:pt x="244312" y="100479"/>
                    <a:pt x="238983" y="104222"/>
                    <a:pt x="236595" y="109859"/>
                  </a:cubicBezTo>
                  <a:lnTo>
                    <a:pt x="235971" y="111319"/>
                  </a:lnTo>
                  <a:cubicBezTo>
                    <a:pt x="233547" y="116886"/>
                    <a:pt x="228140" y="120464"/>
                    <a:pt x="222183" y="120443"/>
                  </a:cubicBezTo>
                  <a:lnTo>
                    <a:pt x="211642" y="120443"/>
                  </a:lnTo>
                  <a:cubicBezTo>
                    <a:pt x="208350" y="120458"/>
                    <a:pt x="205588" y="117902"/>
                    <a:pt x="205275" y="114549"/>
                  </a:cubicBezTo>
                  <a:lnTo>
                    <a:pt x="204847" y="110242"/>
                  </a:lnTo>
                  <a:cubicBezTo>
                    <a:pt x="204379" y="105371"/>
                    <a:pt x="201748" y="100990"/>
                    <a:pt x="197712" y="98362"/>
                  </a:cubicBezTo>
                  <a:cubicBezTo>
                    <a:pt x="195553" y="96943"/>
                    <a:pt x="194254" y="94491"/>
                    <a:pt x="194270" y="91865"/>
                  </a:cubicBezTo>
                  <a:lnTo>
                    <a:pt x="194270" y="87558"/>
                  </a:lnTo>
                  <a:cubicBezTo>
                    <a:pt x="194268" y="84690"/>
                    <a:pt x="195469" y="81958"/>
                    <a:pt x="197570" y="80058"/>
                  </a:cubicBezTo>
                  <a:lnTo>
                    <a:pt x="215566" y="63798"/>
                  </a:lnTo>
                  <a:cubicBezTo>
                    <a:pt x="220311" y="59511"/>
                    <a:pt x="222172" y="52785"/>
                    <a:pt x="220329" y="46590"/>
                  </a:cubicBezTo>
                  <a:cubicBezTo>
                    <a:pt x="218431" y="40179"/>
                    <a:pt x="213020" y="35515"/>
                    <a:pt x="206523" y="34691"/>
                  </a:cubicBezTo>
                  <a:lnTo>
                    <a:pt x="204740" y="34472"/>
                  </a:lnTo>
                  <a:cubicBezTo>
                    <a:pt x="202188" y="34121"/>
                    <a:pt x="199852" y="32822"/>
                    <a:pt x="198176" y="30822"/>
                  </a:cubicBezTo>
                  <a:cubicBezTo>
                    <a:pt x="196350" y="28682"/>
                    <a:pt x="196042" y="25595"/>
                    <a:pt x="197409" y="23121"/>
                  </a:cubicBezTo>
                  <a:lnTo>
                    <a:pt x="208450" y="3796"/>
                  </a:lnTo>
                  <a:lnTo>
                    <a:pt x="202118" y="0"/>
                  </a:lnTo>
                  <a:lnTo>
                    <a:pt x="191042" y="19453"/>
                  </a:lnTo>
                  <a:cubicBezTo>
                    <a:pt x="188114" y="24721"/>
                    <a:pt x="188758" y="31307"/>
                    <a:pt x="192647" y="35877"/>
                  </a:cubicBezTo>
                  <a:cubicBezTo>
                    <a:pt x="195519" y="39236"/>
                    <a:pt x="199501" y="41393"/>
                    <a:pt x="203830" y="41936"/>
                  </a:cubicBezTo>
                  <a:lnTo>
                    <a:pt x="205614" y="42173"/>
                  </a:lnTo>
                  <a:cubicBezTo>
                    <a:pt x="209228" y="42626"/>
                    <a:pt x="212241" y="45215"/>
                    <a:pt x="213301" y="48779"/>
                  </a:cubicBezTo>
                  <a:cubicBezTo>
                    <a:pt x="214283" y="52164"/>
                    <a:pt x="213269" y="55824"/>
                    <a:pt x="210697" y="58178"/>
                  </a:cubicBezTo>
                  <a:lnTo>
                    <a:pt x="192700" y="74437"/>
                  </a:lnTo>
                  <a:cubicBezTo>
                    <a:pt x="189025" y="77769"/>
                    <a:pt x="186922" y="82553"/>
                    <a:pt x="186922" y="87577"/>
                  </a:cubicBezTo>
                  <a:lnTo>
                    <a:pt x="186922" y="91883"/>
                  </a:lnTo>
                  <a:cubicBezTo>
                    <a:pt x="186920" y="97050"/>
                    <a:pt x="189487" y="101863"/>
                    <a:pt x="193735" y="104658"/>
                  </a:cubicBezTo>
                  <a:cubicBezTo>
                    <a:pt x="195869" y="106055"/>
                    <a:pt x="197262" y="108374"/>
                    <a:pt x="197516" y="110954"/>
                  </a:cubicBezTo>
                  <a:lnTo>
                    <a:pt x="197926" y="115279"/>
                  </a:lnTo>
                  <a:cubicBezTo>
                    <a:pt x="198624" y="122472"/>
                    <a:pt x="204542" y="127951"/>
                    <a:pt x="211607" y="127943"/>
                  </a:cubicBezTo>
                  <a:lnTo>
                    <a:pt x="222059" y="127943"/>
                  </a:lnTo>
                  <a:cubicBezTo>
                    <a:pt x="230944" y="127929"/>
                    <a:pt x="238985" y="122556"/>
                    <a:pt x="242570" y="114238"/>
                  </a:cubicBezTo>
                  <a:lnTo>
                    <a:pt x="243194" y="112760"/>
                  </a:lnTo>
                  <a:cubicBezTo>
                    <a:pt x="244474" y="109751"/>
                    <a:pt x="247320" y="107753"/>
                    <a:pt x="250525" y="107614"/>
                  </a:cubicBezTo>
                  <a:lnTo>
                    <a:pt x="253004" y="107505"/>
                  </a:lnTo>
                  <a:lnTo>
                    <a:pt x="254199" y="107505"/>
                  </a:lnTo>
                  <a:lnTo>
                    <a:pt x="258587" y="107048"/>
                  </a:lnTo>
                  <a:cubicBezTo>
                    <a:pt x="253759" y="177981"/>
                    <a:pt x="193643" y="231479"/>
                    <a:pt x="124315" y="226539"/>
                  </a:cubicBezTo>
                  <a:cubicBezTo>
                    <a:pt x="54987" y="221599"/>
                    <a:pt x="2700" y="160092"/>
                    <a:pt x="7528" y="89159"/>
                  </a:cubicBezTo>
                  <a:cubicBezTo>
                    <a:pt x="7942" y="83086"/>
                    <a:pt x="8775" y="77050"/>
                    <a:pt x="10024" y="71098"/>
                  </a:cubicBezTo>
                  <a:lnTo>
                    <a:pt x="16890" y="69711"/>
                  </a:lnTo>
                  <a:cubicBezTo>
                    <a:pt x="23120" y="68455"/>
                    <a:pt x="29441" y="71388"/>
                    <a:pt x="32622" y="77011"/>
                  </a:cubicBezTo>
                  <a:cubicBezTo>
                    <a:pt x="34062" y="79579"/>
                    <a:pt x="35865" y="81916"/>
                    <a:pt x="37973" y="83945"/>
                  </a:cubicBezTo>
                  <a:lnTo>
                    <a:pt x="47961" y="93581"/>
                  </a:lnTo>
                  <a:cubicBezTo>
                    <a:pt x="50619" y="96171"/>
                    <a:pt x="53859" y="98051"/>
                    <a:pt x="57396" y="99055"/>
                  </a:cubicBezTo>
                  <a:lnTo>
                    <a:pt x="58555" y="99384"/>
                  </a:lnTo>
                  <a:cubicBezTo>
                    <a:pt x="62924" y="100594"/>
                    <a:pt x="66355" y="104055"/>
                    <a:pt x="67598" y="108508"/>
                  </a:cubicBezTo>
                  <a:lnTo>
                    <a:pt x="72949" y="128290"/>
                  </a:lnTo>
                  <a:cubicBezTo>
                    <a:pt x="73839" y="131593"/>
                    <a:pt x="75340" y="134691"/>
                    <a:pt x="77373" y="137415"/>
                  </a:cubicBezTo>
                  <a:lnTo>
                    <a:pt x="93603" y="159204"/>
                  </a:lnTo>
                  <a:cubicBezTo>
                    <a:pt x="94908" y="160947"/>
                    <a:pt x="95777" y="162989"/>
                    <a:pt x="96136" y="165153"/>
                  </a:cubicBezTo>
                  <a:lnTo>
                    <a:pt x="100559" y="192380"/>
                  </a:lnTo>
                  <a:cubicBezTo>
                    <a:pt x="101551" y="198556"/>
                    <a:pt x="107249" y="202740"/>
                    <a:pt x="113285" y="201725"/>
                  </a:cubicBezTo>
                  <a:cubicBezTo>
                    <a:pt x="113288" y="201725"/>
                    <a:pt x="113291" y="201724"/>
                    <a:pt x="113294" y="201724"/>
                  </a:cubicBezTo>
                  <a:cubicBezTo>
                    <a:pt x="114158" y="201575"/>
                    <a:pt x="115002" y="201324"/>
                    <a:pt x="115809" y="200976"/>
                  </a:cubicBezTo>
                  <a:cubicBezTo>
                    <a:pt x="120769" y="198810"/>
                    <a:pt x="124185" y="194056"/>
                    <a:pt x="124727" y="188566"/>
                  </a:cubicBezTo>
                  <a:cubicBezTo>
                    <a:pt x="125136" y="184485"/>
                    <a:pt x="126726" y="180622"/>
                    <a:pt x="129293" y="177471"/>
                  </a:cubicBezTo>
                  <a:lnTo>
                    <a:pt x="133984" y="171668"/>
                  </a:lnTo>
                  <a:cubicBezTo>
                    <a:pt x="135442" y="169887"/>
                    <a:pt x="136540" y="167828"/>
                    <a:pt x="137213" y="165609"/>
                  </a:cubicBezTo>
                  <a:lnTo>
                    <a:pt x="142046" y="149550"/>
                  </a:lnTo>
                  <a:cubicBezTo>
                    <a:pt x="143012" y="146298"/>
                    <a:pt x="144953" y="143438"/>
                    <a:pt x="147593" y="141375"/>
                  </a:cubicBezTo>
                  <a:lnTo>
                    <a:pt x="162112" y="129969"/>
                  </a:lnTo>
                  <a:cubicBezTo>
                    <a:pt x="167479" y="125755"/>
                    <a:pt x="168493" y="117889"/>
                    <a:pt x="164377" y="112395"/>
                  </a:cubicBezTo>
                  <a:lnTo>
                    <a:pt x="163984" y="111903"/>
                  </a:lnTo>
                  <a:lnTo>
                    <a:pt x="158509" y="105406"/>
                  </a:lnTo>
                  <a:cubicBezTo>
                    <a:pt x="159083" y="108752"/>
                    <a:pt x="158556" y="112199"/>
                    <a:pt x="157011" y="115206"/>
                  </a:cubicBezTo>
                  <a:lnTo>
                    <a:pt x="158402" y="116866"/>
                  </a:lnTo>
                  <a:cubicBezTo>
                    <a:pt x="159275" y="117910"/>
                    <a:pt x="159688" y="119277"/>
                    <a:pt x="159543" y="120644"/>
                  </a:cubicBezTo>
                  <a:cubicBezTo>
                    <a:pt x="159396" y="122013"/>
                    <a:pt x="158714" y="123263"/>
                    <a:pt x="157653" y="124111"/>
                  </a:cubicBezTo>
                  <a:lnTo>
                    <a:pt x="143170" y="135517"/>
                  </a:lnTo>
                  <a:cubicBezTo>
                    <a:pt x="139313" y="138523"/>
                    <a:pt x="136475" y="142691"/>
                    <a:pt x="135054" y="147433"/>
                  </a:cubicBezTo>
                  <a:lnTo>
                    <a:pt x="130221" y="163492"/>
                  </a:lnTo>
                  <a:cubicBezTo>
                    <a:pt x="129862" y="164760"/>
                    <a:pt x="129255" y="165939"/>
                    <a:pt x="128437" y="166960"/>
                  </a:cubicBezTo>
                  <a:lnTo>
                    <a:pt x="123728" y="172763"/>
                  </a:lnTo>
                  <a:cubicBezTo>
                    <a:pt x="120237" y="177058"/>
                    <a:pt x="118071" y="182317"/>
                    <a:pt x="117504" y="187873"/>
                  </a:cubicBezTo>
                  <a:cubicBezTo>
                    <a:pt x="117237" y="190659"/>
                    <a:pt x="115497" y="193070"/>
                    <a:pt x="112973" y="194151"/>
                  </a:cubicBezTo>
                  <a:cubicBezTo>
                    <a:pt x="111044" y="194967"/>
                    <a:pt x="108832" y="194029"/>
                    <a:pt x="108034" y="192055"/>
                  </a:cubicBezTo>
                  <a:cubicBezTo>
                    <a:pt x="108033" y="192054"/>
                    <a:pt x="108033" y="192053"/>
                    <a:pt x="108033" y="192052"/>
                  </a:cubicBezTo>
                  <a:cubicBezTo>
                    <a:pt x="107929" y="191787"/>
                    <a:pt x="107851" y="191512"/>
                    <a:pt x="107801" y="191231"/>
                  </a:cubicBezTo>
                  <a:lnTo>
                    <a:pt x="103377" y="164022"/>
                  </a:lnTo>
                  <a:cubicBezTo>
                    <a:pt x="102821" y="160652"/>
                    <a:pt x="101475" y="157471"/>
                    <a:pt x="99454" y="154751"/>
                  </a:cubicBezTo>
                  <a:lnTo>
                    <a:pt x="83401" y="132852"/>
                  </a:lnTo>
                  <a:cubicBezTo>
                    <a:pt x="81941" y="130891"/>
                    <a:pt x="80864" y="128660"/>
                    <a:pt x="80226" y="126283"/>
                  </a:cubicBezTo>
                  <a:lnTo>
                    <a:pt x="74875" y="106501"/>
                  </a:lnTo>
                  <a:cubicBezTo>
                    <a:pt x="72940" y="99444"/>
                    <a:pt x="67521" y="93947"/>
                    <a:pt x="60607" y="92029"/>
                  </a:cubicBezTo>
                  <a:lnTo>
                    <a:pt x="59340" y="91774"/>
                  </a:lnTo>
                  <a:cubicBezTo>
                    <a:pt x="56966" y="91114"/>
                    <a:pt x="54790" y="89860"/>
                    <a:pt x="53008" y="88124"/>
                  </a:cubicBezTo>
                  <a:lnTo>
                    <a:pt x="43002" y="78489"/>
                  </a:lnTo>
                  <a:cubicBezTo>
                    <a:pt x="41411" y="76950"/>
                    <a:pt x="40041" y="75186"/>
                    <a:pt x="38936" y="73251"/>
                  </a:cubicBezTo>
                  <a:cubicBezTo>
                    <a:pt x="34196" y="64842"/>
                    <a:pt x="24758" y="60442"/>
                    <a:pt x="15446" y="62302"/>
                  </a:cubicBezTo>
                  <a:lnTo>
                    <a:pt x="11879" y="63014"/>
                  </a:lnTo>
                  <a:cubicBezTo>
                    <a:pt x="15282" y="50735"/>
                    <a:pt x="20464" y="39048"/>
                    <a:pt x="27253" y="28341"/>
                  </a:cubicBezTo>
                  <a:cubicBezTo>
                    <a:pt x="25768" y="26331"/>
                    <a:pt x="24108" y="24462"/>
                    <a:pt x="22295" y="22756"/>
                  </a:cubicBezTo>
                  <a:cubicBezTo>
                    <a:pt x="-18430" y="85413"/>
                    <a:pt x="-1800" y="169985"/>
                    <a:pt x="59439" y="211653"/>
                  </a:cubicBezTo>
                  <a:cubicBezTo>
                    <a:pt x="120678" y="253321"/>
                    <a:pt x="203337" y="236306"/>
                    <a:pt x="244062" y="173649"/>
                  </a:cubicBezTo>
                  <a:cubicBezTo>
                    <a:pt x="270009" y="133729"/>
                    <a:pt x="273540" y="82795"/>
                    <a:pt x="253361" y="39527"/>
                  </a:cubicBezTo>
                  <a:close/>
                </a:path>
              </a:pathLst>
            </a:custGeom>
            <a:solidFill>
              <a:srgbClr val="1F6898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745EECD8-7926-2F62-AB3D-A2B0568EBBD9}"/>
                </a:ext>
              </a:extLst>
            </p:cNvPr>
            <p:cNvSpPr/>
            <p:nvPr/>
          </p:nvSpPr>
          <p:spPr>
            <a:xfrm>
              <a:off x="6560243" y="879413"/>
              <a:ext cx="6902" cy="4197"/>
            </a:xfrm>
            <a:custGeom>
              <a:avLst/>
              <a:gdLst>
                <a:gd name="connsiteX0" fmla="*/ 6903 w 6902"/>
                <a:gd name="connsiteY0" fmla="*/ 4197 h 4197"/>
                <a:gd name="connsiteX1" fmla="*/ 6064 w 6902"/>
                <a:gd name="connsiteY1" fmla="*/ 3048 h 4197"/>
                <a:gd name="connsiteX2" fmla="*/ 0 w 6902"/>
                <a:gd name="connsiteY2" fmla="*/ 0 h 4197"/>
                <a:gd name="connsiteX3" fmla="*/ 910 w 6902"/>
                <a:gd name="connsiteY3" fmla="*/ 511 h 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02" h="4197">
                  <a:moveTo>
                    <a:pt x="6903" y="4197"/>
                  </a:moveTo>
                  <a:cubicBezTo>
                    <a:pt x="6635" y="3814"/>
                    <a:pt x="6350" y="3413"/>
                    <a:pt x="6064" y="3048"/>
                  </a:cubicBezTo>
                  <a:cubicBezTo>
                    <a:pt x="4427" y="1375"/>
                    <a:pt x="2295" y="304"/>
                    <a:pt x="0" y="0"/>
                  </a:cubicBezTo>
                  <a:lnTo>
                    <a:pt x="910" y="511"/>
                  </a:lnTo>
                  <a:close/>
                </a:path>
              </a:pathLst>
            </a:custGeom>
            <a:solidFill>
              <a:srgbClr val="66A3C7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6DEF21E0-6BEF-43F9-B6D8-B25DBD8CCE18}"/>
                </a:ext>
              </a:extLst>
            </p:cNvPr>
            <p:cNvSpPr/>
            <p:nvPr/>
          </p:nvSpPr>
          <p:spPr>
            <a:xfrm>
              <a:off x="6508296" y="768336"/>
              <a:ext cx="146798" cy="117372"/>
            </a:xfrm>
            <a:custGeom>
              <a:avLst/>
              <a:gdLst>
                <a:gd name="connsiteX0" fmla="*/ 10282 w 146798"/>
                <a:gd name="connsiteY0" fmla="*/ 110073 h 117372"/>
                <a:gd name="connsiteX1" fmla="*/ 21929 w 146798"/>
                <a:gd name="connsiteY1" fmla="*/ 117373 h 117372"/>
                <a:gd name="connsiteX2" fmla="*/ 20520 w 146798"/>
                <a:gd name="connsiteY2" fmla="*/ 113723 h 117372"/>
                <a:gd name="connsiteX3" fmla="*/ 22303 w 146798"/>
                <a:gd name="connsiteY3" fmla="*/ 109800 h 117372"/>
                <a:gd name="connsiteX4" fmla="*/ 16399 w 146798"/>
                <a:gd name="connsiteY4" fmla="*/ 106004 h 117372"/>
                <a:gd name="connsiteX5" fmla="*/ 8766 w 146798"/>
                <a:gd name="connsiteY5" fmla="*/ 93667 h 117372"/>
                <a:gd name="connsiteX6" fmla="*/ 8926 w 146798"/>
                <a:gd name="connsiteY6" fmla="*/ 83247 h 117372"/>
                <a:gd name="connsiteX7" fmla="*/ 19895 w 146798"/>
                <a:gd name="connsiteY7" fmla="*/ 78174 h 117372"/>
                <a:gd name="connsiteX8" fmla="*/ 31489 w 146798"/>
                <a:gd name="connsiteY8" fmla="*/ 79671 h 117372"/>
                <a:gd name="connsiteX9" fmla="*/ 48932 w 146798"/>
                <a:gd name="connsiteY9" fmla="*/ 70911 h 117372"/>
                <a:gd name="connsiteX10" fmla="*/ 59634 w 146798"/>
                <a:gd name="connsiteY10" fmla="*/ 65546 h 117372"/>
                <a:gd name="connsiteX11" fmla="*/ 64664 w 146798"/>
                <a:gd name="connsiteY11" fmla="*/ 66203 h 117372"/>
                <a:gd name="connsiteX12" fmla="*/ 80716 w 146798"/>
                <a:gd name="connsiteY12" fmla="*/ 59359 h 117372"/>
                <a:gd name="connsiteX13" fmla="*/ 85157 w 146798"/>
                <a:gd name="connsiteY13" fmla="*/ 53483 h 117372"/>
                <a:gd name="connsiteX14" fmla="*/ 85817 w 146798"/>
                <a:gd name="connsiteY14" fmla="*/ 26438 h 117372"/>
                <a:gd name="connsiteX15" fmla="*/ 73100 w 146798"/>
                <a:gd name="connsiteY15" fmla="*/ 7733 h 117372"/>
                <a:gd name="connsiteX16" fmla="*/ 80235 w 146798"/>
                <a:gd name="connsiteY16" fmla="*/ 7514 h 117372"/>
                <a:gd name="connsiteX17" fmla="*/ 143125 w 146798"/>
                <a:gd name="connsiteY17" fmla="*/ 24723 h 117372"/>
                <a:gd name="connsiteX18" fmla="*/ 146799 w 146798"/>
                <a:gd name="connsiteY18" fmla="*/ 18226 h 117372"/>
                <a:gd name="connsiteX19" fmla="*/ 30543 w 146798"/>
                <a:gd name="connsiteY19" fmla="*/ 9850 h 117372"/>
                <a:gd name="connsiteX20" fmla="*/ 28029 w 146798"/>
                <a:gd name="connsiteY20" fmla="*/ 19084 h 117372"/>
                <a:gd name="connsiteX21" fmla="*/ 64682 w 146798"/>
                <a:gd name="connsiteY21" fmla="*/ 8500 h 117372"/>
                <a:gd name="connsiteX22" fmla="*/ 79789 w 146798"/>
                <a:gd name="connsiteY22" fmla="*/ 30782 h 117372"/>
                <a:gd name="connsiteX23" fmla="*/ 79325 w 146798"/>
                <a:gd name="connsiteY23" fmla="*/ 48903 h 117372"/>
                <a:gd name="connsiteX24" fmla="*/ 74902 w 146798"/>
                <a:gd name="connsiteY24" fmla="*/ 54779 h 117372"/>
                <a:gd name="connsiteX25" fmla="*/ 65556 w 146798"/>
                <a:gd name="connsiteY25" fmla="*/ 58739 h 117372"/>
                <a:gd name="connsiteX26" fmla="*/ 60544 w 146798"/>
                <a:gd name="connsiteY26" fmla="*/ 58082 h 117372"/>
                <a:gd name="connsiteX27" fmla="*/ 42708 w 146798"/>
                <a:gd name="connsiteY27" fmla="*/ 67079 h 117372"/>
                <a:gd name="connsiteX28" fmla="*/ 32505 w 146798"/>
                <a:gd name="connsiteY28" fmla="*/ 72207 h 117372"/>
                <a:gd name="connsiteX29" fmla="*/ 20841 w 146798"/>
                <a:gd name="connsiteY29" fmla="*/ 70729 h 117372"/>
                <a:gd name="connsiteX30" fmla="*/ 2862 w 146798"/>
                <a:gd name="connsiteY30" fmla="*/ 79050 h 117372"/>
                <a:gd name="connsiteX31" fmla="*/ 2576 w 146798"/>
                <a:gd name="connsiteY31" fmla="*/ 97719 h 11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6798" h="117372">
                  <a:moveTo>
                    <a:pt x="10282" y="110073"/>
                  </a:moveTo>
                  <a:cubicBezTo>
                    <a:pt x="12850" y="114220"/>
                    <a:pt x="17151" y="116915"/>
                    <a:pt x="21929" y="117373"/>
                  </a:cubicBezTo>
                  <a:cubicBezTo>
                    <a:pt x="21034" y="116376"/>
                    <a:pt x="20532" y="115076"/>
                    <a:pt x="20520" y="113723"/>
                  </a:cubicBezTo>
                  <a:cubicBezTo>
                    <a:pt x="20469" y="112199"/>
                    <a:pt x="21131" y="110742"/>
                    <a:pt x="22303" y="109800"/>
                  </a:cubicBezTo>
                  <a:cubicBezTo>
                    <a:pt x="19880" y="109500"/>
                    <a:pt x="17714" y="108108"/>
                    <a:pt x="16399" y="106004"/>
                  </a:cubicBezTo>
                  <a:lnTo>
                    <a:pt x="8766" y="93667"/>
                  </a:lnTo>
                  <a:cubicBezTo>
                    <a:pt x="6779" y="90473"/>
                    <a:pt x="6842" y="86376"/>
                    <a:pt x="8926" y="83247"/>
                  </a:cubicBezTo>
                  <a:cubicBezTo>
                    <a:pt x="11343" y="79561"/>
                    <a:pt x="15594" y="77595"/>
                    <a:pt x="19895" y="78174"/>
                  </a:cubicBezTo>
                  <a:lnTo>
                    <a:pt x="31489" y="79671"/>
                  </a:lnTo>
                  <a:cubicBezTo>
                    <a:pt x="38492" y="80581"/>
                    <a:pt x="45352" y="77136"/>
                    <a:pt x="48932" y="70911"/>
                  </a:cubicBezTo>
                  <a:cubicBezTo>
                    <a:pt x="51106" y="67068"/>
                    <a:pt x="55334" y="64949"/>
                    <a:pt x="59634" y="65546"/>
                  </a:cubicBezTo>
                  <a:lnTo>
                    <a:pt x="64664" y="66203"/>
                  </a:lnTo>
                  <a:cubicBezTo>
                    <a:pt x="70820" y="66981"/>
                    <a:pt x="76921" y="64380"/>
                    <a:pt x="80716" y="59359"/>
                  </a:cubicBezTo>
                  <a:lnTo>
                    <a:pt x="85157" y="53483"/>
                  </a:lnTo>
                  <a:cubicBezTo>
                    <a:pt x="91148" y="45591"/>
                    <a:pt x="91415" y="34627"/>
                    <a:pt x="85817" y="26438"/>
                  </a:cubicBezTo>
                  <a:lnTo>
                    <a:pt x="73100" y="7733"/>
                  </a:lnTo>
                  <a:cubicBezTo>
                    <a:pt x="75455" y="7605"/>
                    <a:pt x="77845" y="7514"/>
                    <a:pt x="80235" y="7514"/>
                  </a:cubicBezTo>
                  <a:cubicBezTo>
                    <a:pt x="102310" y="7511"/>
                    <a:pt x="123998" y="13446"/>
                    <a:pt x="143125" y="24723"/>
                  </a:cubicBezTo>
                  <a:lnTo>
                    <a:pt x="146799" y="18226"/>
                  </a:lnTo>
                  <a:cubicBezTo>
                    <a:pt x="111361" y="-2686"/>
                    <a:pt x="68496" y="-5775"/>
                    <a:pt x="30543" y="9850"/>
                  </a:cubicBezTo>
                  <a:cubicBezTo>
                    <a:pt x="30044" y="12898"/>
                    <a:pt x="28760" y="16109"/>
                    <a:pt x="28029" y="19084"/>
                  </a:cubicBezTo>
                  <a:cubicBezTo>
                    <a:pt x="39669" y="13724"/>
                    <a:pt x="52020" y="10157"/>
                    <a:pt x="64682" y="8500"/>
                  </a:cubicBezTo>
                  <a:lnTo>
                    <a:pt x="79789" y="30782"/>
                  </a:lnTo>
                  <a:cubicBezTo>
                    <a:pt x="83521" y="36277"/>
                    <a:pt x="83333" y="43615"/>
                    <a:pt x="79325" y="48903"/>
                  </a:cubicBezTo>
                  <a:lnTo>
                    <a:pt x="74902" y="54779"/>
                  </a:lnTo>
                  <a:cubicBezTo>
                    <a:pt x="72695" y="57704"/>
                    <a:pt x="69137" y="59211"/>
                    <a:pt x="65556" y="58739"/>
                  </a:cubicBezTo>
                  <a:lnTo>
                    <a:pt x="60544" y="58082"/>
                  </a:lnTo>
                  <a:cubicBezTo>
                    <a:pt x="53382" y="57207"/>
                    <a:pt x="46390" y="60734"/>
                    <a:pt x="42708" y="67079"/>
                  </a:cubicBezTo>
                  <a:cubicBezTo>
                    <a:pt x="40618" y="70725"/>
                    <a:pt x="36603" y="72743"/>
                    <a:pt x="32505" y="72207"/>
                  </a:cubicBezTo>
                  <a:lnTo>
                    <a:pt x="20841" y="70729"/>
                  </a:lnTo>
                  <a:cubicBezTo>
                    <a:pt x="13791" y="69794"/>
                    <a:pt x="6830" y="73016"/>
                    <a:pt x="2862" y="79050"/>
                  </a:cubicBezTo>
                  <a:cubicBezTo>
                    <a:pt x="-848" y="84663"/>
                    <a:pt x="-960" y="91990"/>
                    <a:pt x="2576" y="97719"/>
                  </a:cubicBezTo>
                  <a:close/>
                </a:path>
              </a:pathLst>
            </a:custGeom>
            <a:solidFill>
              <a:srgbClr val="1F6898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D39B3808-0F86-FB81-4F29-4EB698F29185}"/>
                </a:ext>
              </a:extLst>
            </p:cNvPr>
            <p:cNvSpPr/>
            <p:nvPr/>
          </p:nvSpPr>
          <p:spPr>
            <a:xfrm>
              <a:off x="6648905" y="732911"/>
              <a:ext cx="97147" cy="131652"/>
            </a:xfrm>
            <a:custGeom>
              <a:avLst/>
              <a:gdLst>
                <a:gd name="connsiteX0" fmla="*/ 82474 w 97147"/>
                <a:gd name="connsiteY0" fmla="*/ 14415 h 131652"/>
                <a:gd name="connsiteX1" fmla="*/ 14894 w 97147"/>
                <a:gd name="connsiteY1" fmla="*/ 14215 h 131652"/>
                <a:gd name="connsiteX2" fmla="*/ 14697 w 97147"/>
                <a:gd name="connsiteY2" fmla="*/ 14415 h 131652"/>
                <a:gd name="connsiteX3" fmla="*/ 10292 w 97147"/>
                <a:gd name="connsiteY3" fmla="*/ 81754 h 131652"/>
                <a:gd name="connsiteX4" fmla="*/ 45643 w 97147"/>
                <a:gd name="connsiteY4" fmla="*/ 130077 h 131652"/>
                <a:gd name="connsiteX5" fmla="*/ 50601 w 97147"/>
                <a:gd name="connsiteY5" fmla="*/ 131008 h 131652"/>
                <a:gd name="connsiteX6" fmla="*/ 51511 w 97147"/>
                <a:gd name="connsiteY6" fmla="*/ 130077 h 131652"/>
                <a:gd name="connsiteX7" fmla="*/ 86844 w 97147"/>
                <a:gd name="connsiteY7" fmla="*/ 81754 h 131652"/>
                <a:gd name="connsiteX8" fmla="*/ 97064 w 97147"/>
                <a:gd name="connsiteY8" fmla="*/ 47665 h 131652"/>
                <a:gd name="connsiteX9" fmla="*/ 82457 w 97147"/>
                <a:gd name="connsiteY9" fmla="*/ 14415 h 131652"/>
                <a:gd name="connsiteX10" fmla="*/ 80994 w 97147"/>
                <a:gd name="connsiteY10" fmla="*/ 77246 h 131652"/>
                <a:gd name="connsiteX11" fmla="*/ 48586 w 97147"/>
                <a:gd name="connsiteY11" fmla="*/ 121555 h 131652"/>
                <a:gd name="connsiteX12" fmla="*/ 16196 w 97147"/>
                <a:gd name="connsiteY12" fmla="*/ 77265 h 131652"/>
                <a:gd name="connsiteX13" fmla="*/ 19906 w 97147"/>
                <a:gd name="connsiteY13" fmla="*/ 19689 h 131652"/>
                <a:gd name="connsiteX14" fmla="*/ 77106 w 97147"/>
                <a:gd name="connsiteY14" fmla="*/ 19543 h 131652"/>
                <a:gd name="connsiteX15" fmla="*/ 77249 w 97147"/>
                <a:gd name="connsiteY15" fmla="*/ 19689 h 131652"/>
                <a:gd name="connsiteX16" fmla="*/ 89734 w 97147"/>
                <a:gd name="connsiteY16" fmla="*/ 48139 h 131652"/>
                <a:gd name="connsiteX17" fmla="*/ 80976 w 97147"/>
                <a:gd name="connsiteY17" fmla="*/ 77228 h 13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7147" h="131652">
                  <a:moveTo>
                    <a:pt x="82474" y="14415"/>
                  </a:moveTo>
                  <a:cubicBezTo>
                    <a:pt x="63864" y="-4726"/>
                    <a:pt x="33613" y="-4816"/>
                    <a:pt x="14894" y="14215"/>
                  </a:cubicBezTo>
                  <a:lnTo>
                    <a:pt x="14697" y="14415"/>
                  </a:lnTo>
                  <a:cubicBezTo>
                    <a:pt x="-3073" y="32553"/>
                    <a:pt x="-4957" y="61355"/>
                    <a:pt x="10292" y="81754"/>
                  </a:cubicBezTo>
                  <a:lnTo>
                    <a:pt x="45643" y="130077"/>
                  </a:lnTo>
                  <a:cubicBezTo>
                    <a:pt x="46762" y="131734"/>
                    <a:pt x="48981" y="132150"/>
                    <a:pt x="50601" y="131008"/>
                  </a:cubicBezTo>
                  <a:cubicBezTo>
                    <a:pt x="50956" y="130755"/>
                    <a:pt x="51264" y="130440"/>
                    <a:pt x="51511" y="130077"/>
                  </a:cubicBezTo>
                  <a:lnTo>
                    <a:pt x="86844" y="81754"/>
                  </a:lnTo>
                  <a:cubicBezTo>
                    <a:pt x="94127" y="72008"/>
                    <a:pt x="97753" y="59913"/>
                    <a:pt x="97064" y="47665"/>
                  </a:cubicBezTo>
                  <a:cubicBezTo>
                    <a:pt x="96280" y="35140"/>
                    <a:pt x="91091" y="23330"/>
                    <a:pt x="82457" y="14415"/>
                  </a:cubicBezTo>
                  <a:close/>
                  <a:moveTo>
                    <a:pt x="80994" y="77246"/>
                  </a:moveTo>
                  <a:lnTo>
                    <a:pt x="48586" y="121555"/>
                  </a:lnTo>
                  <a:lnTo>
                    <a:pt x="16196" y="77265"/>
                  </a:lnTo>
                  <a:cubicBezTo>
                    <a:pt x="3156" y="59833"/>
                    <a:pt x="4742" y="35218"/>
                    <a:pt x="19906" y="19689"/>
                  </a:cubicBezTo>
                  <a:cubicBezTo>
                    <a:pt x="35663" y="3491"/>
                    <a:pt x="61270" y="3426"/>
                    <a:pt x="77106" y="19543"/>
                  </a:cubicBezTo>
                  <a:lnTo>
                    <a:pt x="77249" y="19689"/>
                  </a:lnTo>
                  <a:cubicBezTo>
                    <a:pt x="84634" y="27317"/>
                    <a:pt x="89070" y="37424"/>
                    <a:pt x="89734" y="48139"/>
                  </a:cubicBezTo>
                  <a:cubicBezTo>
                    <a:pt x="90307" y="58595"/>
                    <a:pt x="87200" y="68915"/>
                    <a:pt x="80976" y="77228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BD471494-0996-48A9-7C3D-50131AA49787}"/>
                </a:ext>
              </a:extLst>
            </p:cNvPr>
            <p:cNvSpPr/>
            <p:nvPr/>
          </p:nvSpPr>
          <p:spPr>
            <a:xfrm>
              <a:off x="6674483" y="760594"/>
              <a:ext cx="44911" cy="45950"/>
            </a:xfrm>
            <a:custGeom>
              <a:avLst/>
              <a:gdLst>
                <a:gd name="connsiteX0" fmla="*/ 22456 w 44911"/>
                <a:gd name="connsiteY0" fmla="*/ 0 h 45950"/>
                <a:gd name="connsiteX1" fmla="*/ 0 w 44911"/>
                <a:gd name="connsiteY1" fmla="*/ 22975 h 45950"/>
                <a:gd name="connsiteX2" fmla="*/ 22456 w 44911"/>
                <a:gd name="connsiteY2" fmla="*/ 45951 h 45950"/>
                <a:gd name="connsiteX3" fmla="*/ 44911 w 44911"/>
                <a:gd name="connsiteY3" fmla="*/ 22994 h 45950"/>
                <a:gd name="connsiteX4" fmla="*/ 22473 w 44911"/>
                <a:gd name="connsiteY4" fmla="*/ 0 h 45950"/>
                <a:gd name="connsiteX5" fmla="*/ 22456 w 44911"/>
                <a:gd name="connsiteY5" fmla="*/ 0 h 45950"/>
                <a:gd name="connsiteX6" fmla="*/ 33157 w 44911"/>
                <a:gd name="connsiteY6" fmla="*/ 33925 h 45950"/>
                <a:gd name="connsiteX7" fmla="*/ 11793 w 44911"/>
                <a:gd name="connsiteY7" fmla="*/ 33782 h 45950"/>
                <a:gd name="connsiteX8" fmla="*/ 11932 w 44911"/>
                <a:gd name="connsiteY8" fmla="*/ 11923 h 45950"/>
                <a:gd name="connsiteX9" fmla="*/ 33297 w 44911"/>
                <a:gd name="connsiteY9" fmla="*/ 12066 h 45950"/>
                <a:gd name="connsiteX10" fmla="*/ 37652 w 44911"/>
                <a:gd name="connsiteY10" fmla="*/ 22975 h 45950"/>
                <a:gd name="connsiteX11" fmla="*/ 33157 w 44911"/>
                <a:gd name="connsiteY11" fmla="*/ 33925 h 4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911" h="45950">
                  <a:moveTo>
                    <a:pt x="22456" y="0"/>
                  </a:moveTo>
                  <a:cubicBezTo>
                    <a:pt x="10054" y="0"/>
                    <a:pt x="0" y="10286"/>
                    <a:pt x="0" y="22975"/>
                  </a:cubicBezTo>
                  <a:cubicBezTo>
                    <a:pt x="0" y="35664"/>
                    <a:pt x="10054" y="45951"/>
                    <a:pt x="22456" y="45951"/>
                  </a:cubicBezTo>
                  <a:cubicBezTo>
                    <a:pt x="34851" y="45951"/>
                    <a:pt x="44901" y="35676"/>
                    <a:pt x="44911" y="22994"/>
                  </a:cubicBezTo>
                  <a:cubicBezTo>
                    <a:pt x="44921" y="10305"/>
                    <a:pt x="34875" y="10"/>
                    <a:pt x="22473" y="0"/>
                  </a:cubicBezTo>
                  <a:cubicBezTo>
                    <a:pt x="22467" y="0"/>
                    <a:pt x="22462" y="0"/>
                    <a:pt x="22456" y="0"/>
                  </a:cubicBezTo>
                  <a:close/>
                  <a:moveTo>
                    <a:pt x="33157" y="33925"/>
                  </a:moveTo>
                  <a:cubicBezTo>
                    <a:pt x="27219" y="39922"/>
                    <a:pt x="17654" y="39858"/>
                    <a:pt x="11793" y="33782"/>
                  </a:cubicBezTo>
                  <a:cubicBezTo>
                    <a:pt x="5932" y="27706"/>
                    <a:pt x="5994" y="17920"/>
                    <a:pt x="11932" y="11923"/>
                  </a:cubicBezTo>
                  <a:cubicBezTo>
                    <a:pt x="17871" y="5926"/>
                    <a:pt x="27436" y="5990"/>
                    <a:pt x="33297" y="12066"/>
                  </a:cubicBezTo>
                  <a:cubicBezTo>
                    <a:pt x="36100" y="14971"/>
                    <a:pt x="37665" y="18893"/>
                    <a:pt x="37652" y="22975"/>
                  </a:cubicBezTo>
                  <a:cubicBezTo>
                    <a:pt x="37639" y="27092"/>
                    <a:pt x="36021" y="31033"/>
                    <a:pt x="33157" y="33925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949DDE06-3490-8E51-977A-5F2A38304B2A}"/>
                </a:ext>
              </a:extLst>
            </p:cNvPr>
            <p:cNvSpPr/>
            <p:nvPr/>
          </p:nvSpPr>
          <p:spPr>
            <a:xfrm>
              <a:off x="6443505" y="716282"/>
              <a:ext cx="97182" cy="131591"/>
            </a:xfrm>
            <a:custGeom>
              <a:avLst/>
              <a:gdLst>
                <a:gd name="connsiteX0" fmla="*/ 82474 w 97182"/>
                <a:gd name="connsiteY0" fmla="*/ 14438 h 131591"/>
                <a:gd name="connsiteX1" fmla="*/ 14950 w 97182"/>
                <a:gd name="connsiteY1" fmla="*/ 14179 h 131591"/>
                <a:gd name="connsiteX2" fmla="*/ 14947 w 97182"/>
                <a:gd name="connsiteY2" fmla="*/ 14183 h 131591"/>
                <a:gd name="connsiteX3" fmla="*/ 14697 w 97182"/>
                <a:gd name="connsiteY3" fmla="*/ 14438 h 131591"/>
                <a:gd name="connsiteX4" fmla="*/ 10292 w 97182"/>
                <a:gd name="connsiteY4" fmla="*/ 81777 h 131591"/>
                <a:gd name="connsiteX5" fmla="*/ 45661 w 97182"/>
                <a:gd name="connsiteY5" fmla="*/ 130082 h 131591"/>
                <a:gd name="connsiteX6" fmla="*/ 50798 w 97182"/>
                <a:gd name="connsiteY6" fmla="*/ 130848 h 131591"/>
                <a:gd name="connsiteX7" fmla="*/ 51547 w 97182"/>
                <a:gd name="connsiteY7" fmla="*/ 130082 h 131591"/>
                <a:gd name="connsiteX8" fmla="*/ 86880 w 97182"/>
                <a:gd name="connsiteY8" fmla="*/ 81777 h 131591"/>
                <a:gd name="connsiteX9" fmla="*/ 97100 w 97182"/>
                <a:gd name="connsiteY9" fmla="*/ 47688 h 131591"/>
                <a:gd name="connsiteX10" fmla="*/ 82474 w 97182"/>
                <a:gd name="connsiteY10" fmla="*/ 14438 h 131591"/>
                <a:gd name="connsiteX11" fmla="*/ 81012 w 97182"/>
                <a:gd name="connsiteY11" fmla="*/ 77269 h 131591"/>
                <a:gd name="connsiteX12" fmla="*/ 48586 w 97182"/>
                <a:gd name="connsiteY12" fmla="*/ 121596 h 131591"/>
                <a:gd name="connsiteX13" fmla="*/ 16231 w 97182"/>
                <a:gd name="connsiteY13" fmla="*/ 77306 h 131591"/>
                <a:gd name="connsiteX14" fmla="*/ 19941 w 97182"/>
                <a:gd name="connsiteY14" fmla="*/ 19730 h 131591"/>
                <a:gd name="connsiteX15" fmla="*/ 77124 w 97182"/>
                <a:gd name="connsiteY15" fmla="*/ 19584 h 131591"/>
                <a:gd name="connsiteX16" fmla="*/ 77266 w 97182"/>
                <a:gd name="connsiteY16" fmla="*/ 19730 h 131591"/>
                <a:gd name="connsiteX17" fmla="*/ 89752 w 97182"/>
                <a:gd name="connsiteY17" fmla="*/ 48180 h 131591"/>
                <a:gd name="connsiteX18" fmla="*/ 80994 w 97182"/>
                <a:gd name="connsiteY18" fmla="*/ 77269 h 13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7182" h="131591">
                  <a:moveTo>
                    <a:pt x="82474" y="14438"/>
                  </a:moveTo>
                  <a:cubicBezTo>
                    <a:pt x="63898" y="-4711"/>
                    <a:pt x="33666" y="-4827"/>
                    <a:pt x="14950" y="14179"/>
                  </a:cubicBezTo>
                  <a:cubicBezTo>
                    <a:pt x="14949" y="14181"/>
                    <a:pt x="14948" y="14182"/>
                    <a:pt x="14947" y="14183"/>
                  </a:cubicBezTo>
                  <a:lnTo>
                    <a:pt x="14697" y="14438"/>
                  </a:lnTo>
                  <a:cubicBezTo>
                    <a:pt x="-3073" y="32575"/>
                    <a:pt x="-4957" y="61378"/>
                    <a:pt x="10292" y="81777"/>
                  </a:cubicBezTo>
                  <a:lnTo>
                    <a:pt x="45661" y="130082"/>
                  </a:lnTo>
                  <a:cubicBezTo>
                    <a:pt x="46874" y="131743"/>
                    <a:pt x="49172" y="132086"/>
                    <a:pt x="50798" y="130848"/>
                  </a:cubicBezTo>
                  <a:cubicBezTo>
                    <a:pt x="51082" y="130630"/>
                    <a:pt x="51334" y="130372"/>
                    <a:pt x="51547" y="130082"/>
                  </a:cubicBezTo>
                  <a:lnTo>
                    <a:pt x="86880" y="81777"/>
                  </a:lnTo>
                  <a:cubicBezTo>
                    <a:pt x="94163" y="72030"/>
                    <a:pt x="97789" y="59936"/>
                    <a:pt x="97100" y="47688"/>
                  </a:cubicBezTo>
                  <a:cubicBezTo>
                    <a:pt x="96320" y="35158"/>
                    <a:pt x="91124" y="23344"/>
                    <a:pt x="82474" y="14438"/>
                  </a:cubicBezTo>
                  <a:close/>
                  <a:moveTo>
                    <a:pt x="81012" y="77269"/>
                  </a:moveTo>
                  <a:lnTo>
                    <a:pt x="48586" y="121596"/>
                  </a:lnTo>
                  <a:lnTo>
                    <a:pt x="16231" y="77306"/>
                  </a:lnTo>
                  <a:cubicBezTo>
                    <a:pt x="3119" y="59897"/>
                    <a:pt x="4709" y="35227"/>
                    <a:pt x="19941" y="19730"/>
                  </a:cubicBezTo>
                  <a:cubicBezTo>
                    <a:pt x="35692" y="3534"/>
                    <a:pt x="61294" y="3469"/>
                    <a:pt x="77124" y="19584"/>
                  </a:cubicBezTo>
                  <a:lnTo>
                    <a:pt x="77266" y="19730"/>
                  </a:lnTo>
                  <a:cubicBezTo>
                    <a:pt x="84652" y="27358"/>
                    <a:pt x="89087" y="37465"/>
                    <a:pt x="89752" y="48180"/>
                  </a:cubicBezTo>
                  <a:cubicBezTo>
                    <a:pt x="90325" y="58636"/>
                    <a:pt x="87218" y="68956"/>
                    <a:pt x="80994" y="77269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BED1C1E6-FAF1-B467-113A-77FD33DC0177}"/>
                </a:ext>
              </a:extLst>
            </p:cNvPr>
            <p:cNvSpPr/>
            <p:nvPr/>
          </p:nvSpPr>
          <p:spPr>
            <a:xfrm>
              <a:off x="6469100" y="744024"/>
              <a:ext cx="44911" cy="45950"/>
            </a:xfrm>
            <a:custGeom>
              <a:avLst/>
              <a:gdLst>
                <a:gd name="connsiteX0" fmla="*/ 22456 w 44911"/>
                <a:gd name="connsiteY0" fmla="*/ 0 h 45950"/>
                <a:gd name="connsiteX1" fmla="*/ 0 w 44911"/>
                <a:gd name="connsiteY1" fmla="*/ 22975 h 45950"/>
                <a:gd name="connsiteX2" fmla="*/ 22456 w 44911"/>
                <a:gd name="connsiteY2" fmla="*/ 45951 h 45950"/>
                <a:gd name="connsiteX3" fmla="*/ 44911 w 44911"/>
                <a:gd name="connsiteY3" fmla="*/ 22975 h 45950"/>
                <a:gd name="connsiteX4" fmla="*/ 22456 w 44911"/>
                <a:gd name="connsiteY4" fmla="*/ 0 h 45950"/>
                <a:gd name="connsiteX5" fmla="*/ 33157 w 44911"/>
                <a:gd name="connsiteY5" fmla="*/ 33925 h 45950"/>
                <a:gd name="connsiteX6" fmla="*/ 11793 w 44911"/>
                <a:gd name="connsiteY6" fmla="*/ 33818 h 45950"/>
                <a:gd name="connsiteX7" fmla="*/ 11897 w 44911"/>
                <a:gd name="connsiteY7" fmla="*/ 11959 h 45950"/>
                <a:gd name="connsiteX8" fmla="*/ 33261 w 44911"/>
                <a:gd name="connsiteY8" fmla="*/ 12066 h 45950"/>
                <a:gd name="connsiteX9" fmla="*/ 37634 w 44911"/>
                <a:gd name="connsiteY9" fmla="*/ 22975 h 45950"/>
                <a:gd name="connsiteX10" fmla="*/ 33157 w 44911"/>
                <a:gd name="connsiteY10" fmla="*/ 33925 h 4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911" h="45950">
                  <a:moveTo>
                    <a:pt x="22456" y="0"/>
                  </a:moveTo>
                  <a:cubicBezTo>
                    <a:pt x="10054" y="0"/>
                    <a:pt x="0" y="10286"/>
                    <a:pt x="0" y="22975"/>
                  </a:cubicBezTo>
                  <a:cubicBezTo>
                    <a:pt x="0" y="35664"/>
                    <a:pt x="10054" y="45951"/>
                    <a:pt x="22456" y="45951"/>
                  </a:cubicBezTo>
                  <a:cubicBezTo>
                    <a:pt x="34857" y="45951"/>
                    <a:pt x="44911" y="35664"/>
                    <a:pt x="44911" y="22975"/>
                  </a:cubicBezTo>
                  <a:cubicBezTo>
                    <a:pt x="44911" y="10286"/>
                    <a:pt x="34857" y="0"/>
                    <a:pt x="22456" y="0"/>
                  </a:cubicBezTo>
                  <a:close/>
                  <a:moveTo>
                    <a:pt x="33157" y="33925"/>
                  </a:moveTo>
                  <a:cubicBezTo>
                    <a:pt x="27229" y="39932"/>
                    <a:pt x="17664" y="39884"/>
                    <a:pt x="11793" y="33818"/>
                  </a:cubicBezTo>
                  <a:cubicBezTo>
                    <a:pt x="5922" y="27753"/>
                    <a:pt x="5968" y="17966"/>
                    <a:pt x="11897" y="11959"/>
                  </a:cubicBezTo>
                  <a:cubicBezTo>
                    <a:pt x="17825" y="5953"/>
                    <a:pt x="27390" y="6000"/>
                    <a:pt x="33261" y="12066"/>
                  </a:cubicBezTo>
                  <a:cubicBezTo>
                    <a:pt x="36071" y="14968"/>
                    <a:pt x="37643" y="18891"/>
                    <a:pt x="37634" y="22975"/>
                  </a:cubicBezTo>
                  <a:cubicBezTo>
                    <a:pt x="37623" y="27089"/>
                    <a:pt x="36013" y="31029"/>
                    <a:pt x="33157" y="33925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3253901F-D8E0-18B3-DF36-21528D8144A7}"/>
                </a:ext>
              </a:extLst>
            </p:cNvPr>
            <p:cNvSpPr/>
            <p:nvPr/>
          </p:nvSpPr>
          <p:spPr>
            <a:xfrm>
              <a:off x="6522662" y="847624"/>
              <a:ext cx="97236" cy="131641"/>
            </a:xfrm>
            <a:custGeom>
              <a:avLst/>
              <a:gdLst>
                <a:gd name="connsiteX0" fmla="*/ 82474 w 97236"/>
                <a:gd name="connsiteY0" fmla="*/ 14415 h 131641"/>
                <a:gd name="connsiteX1" fmla="*/ 14876 w 97236"/>
                <a:gd name="connsiteY1" fmla="*/ 14233 h 131641"/>
                <a:gd name="connsiteX2" fmla="*/ 14697 w 97236"/>
                <a:gd name="connsiteY2" fmla="*/ 14415 h 131641"/>
                <a:gd name="connsiteX3" fmla="*/ 10292 w 97236"/>
                <a:gd name="connsiteY3" fmla="*/ 81754 h 131641"/>
                <a:gd name="connsiteX4" fmla="*/ 45714 w 97236"/>
                <a:gd name="connsiteY4" fmla="*/ 130132 h 131641"/>
                <a:gd name="connsiteX5" fmla="*/ 50851 w 97236"/>
                <a:gd name="connsiteY5" fmla="*/ 130898 h 131641"/>
                <a:gd name="connsiteX6" fmla="*/ 51600 w 97236"/>
                <a:gd name="connsiteY6" fmla="*/ 130132 h 131641"/>
                <a:gd name="connsiteX7" fmla="*/ 86934 w 97236"/>
                <a:gd name="connsiteY7" fmla="*/ 81809 h 131641"/>
                <a:gd name="connsiteX8" fmla="*/ 97154 w 97236"/>
                <a:gd name="connsiteY8" fmla="*/ 47720 h 131641"/>
                <a:gd name="connsiteX9" fmla="*/ 82528 w 97236"/>
                <a:gd name="connsiteY9" fmla="*/ 14452 h 131641"/>
                <a:gd name="connsiteX10" fmla="*/ 81012 w 97236"/>
                <a:gd name="connsiteY10" fmla="*/ 77210 h 131641"/>
                <a:gd name="connsiteX11" fmla="*/ 48604 w 97236"/>
                <a:gd name="connsiteY11" fmla="*/ 121518 h 131641"/>
                <a:gd name="connsiteX12" fmla="*/ 16231 w 97236"/>
                <a:gd name="connsiteY12" fmla="*/ 77301 h 131641"/>
                <a:gd name="connsiteX13" fmla="*/ 19941 w 97236"/>
                <a:gd name="connsiteY13" fmla="*/ 19726 h 131641"/>
                <a:gd name="connsiteX14" fmla="*/ 77124 w 97236"/>
                <a:gd name="connsiteY14" fmla="*/ 19580 h 131641"/>
                <a:gd name="connsiteX15" fmla="*/ 77266 w 97236"/>
                <a:gd name="connsiteY15" fmla="*/ 19726 h 131641"/>
                <a:gd name="connsiteX16" fmla="*/ 89752 w 97236"/>
                <a:gd name="connsiteY16" fmla="*/ 48176 h 131641"/>
                <a:gd name="connsiteX17" fmla="*/ 80994 w 97236"/>
                <a:gd name="connsiteY17" fmla="*/ 77265 h 1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7236" h="131641">
                  <a:moveTo>
                    <a:pt x="82474" y="14415"/>
                  </a:moveTo>
                  <a:cubicBezTo>
                    <a:pt x="63857" y="-4734"/>
                    <a:pt x="33592" y="-4815"/>
                    <a:pt x="14876" y="14233"/>
                  </a:cubicBezTo>
                  <a:lnTo>
                    <a:pt x="14697" y="14415"/>
                  </a:lnTo>
                  <a:cubicBezTo>
                    <a:pt x="-3073" y="32553"/>
                    <a:pt x="-4957" y="61355"/>
                    <a:pt x="10292" y="81754"/>
                  </a:cubicBezTo>
                  <a:lnTo>
                    <a:pt x="45714" y="130132"/>
                  </a:lnTo>
                  <a:cubicBezTo>
                    <a:pt x="46927" y="131793"/>
                    <a:pt x="49225" y="132136"/>
                    <a:pt x="50851" y="130898"/>
                  </a:cubicBezTo>
                  <a:cubicBezTo>
                    <a:pt x="51135" y="130681"/>
                    <a:pt x="51388" y="130422"/>
                    <a:pt x="51600" y="130132"/>
                  </a:cubicBezTo>
                  <a:lnTo>
                    <a:pt x="86934" y="81809"/>
                  </a:lnTo>
                  <a:cubicBezTo>
                    <a:pt x="94216" y="72062"/>
                    <a:pt x="97842" y="59968"/>
                    <a:pt x="97154" y="47720"/>
                  </a:cubicBezTo>
                  <a:cubicBezTo>
                    <a:pt x="96370" y="35186"/>
                    <a:pt x="91174" y="23367"/>
                    <a:pt x="82528" y="14452"/>
                  </a:cubicBezTo>
                  <a:close/>
                  <a:moveTo>
                    <a:pt x="81012" y="77210"/>
                  </a:moveTo>
                  <a:lnTo>
                    <a:pt x="48604" y="121518"/>
                  </a:lnTo>
                  <a:lnTo>
                    <a:pt x="16231" y="77301"/>
                  </a:lnTo>
                  <a:cubicBezTo>
                    <a:pt x="3119" y="59892"/>
                    <a:pt x="4709" y="35222"/>
                    <a:pt x="19941" y="19726"/>
                  </a:cubicBezTo>
                  <a:cubicBezTo>
                    <a:pt x="35692" y="3529"/>
                    <a:pt x="61294" y="3464"/>
                    <a:pt x="77124" y="19580"/>
                  </a:cubicBezTo>
                  <a:lnTo>
                    <a:pt x="77266" y="19726"/>
                  </a:lnTo>
                  <a:cubicBezTo>
                    <a:pt x="84652" y="27353"/>
                    <a:pt x="89087" y="37460"/>
                    <a:pt x="89752" y="48176"/>
                  </a:cubicBezTo>
                  <a:cubicBezTo>
                    <a:pt x="90325" y="58631"/>
                    <a:pt x="87218" y="68951"/>
                    <a:pt x="80994" y="77265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B9D964E0-5BD1-C995-726A-1E653B588B91}"/>
                </a:ext>
              </a:extLst>
            </p:cNvPr>
            <p:cNvSpPr/>
            <p:nvPr/>
          </p:nvSpPr>
          <p:spPr>
            <a:xfrm>
              <a:off x="6548257" y="875361"/>
              <a:ext cx="44911" cy="45950"/>
            </a:xfrm>
            <a:custGeom>
              <a:avLst/>
              <a:gdLst>
                <a:gd name="connsiteX0" fmla="*/ 22456 w 44911"/>
                <a:gd name="connsiteY0" fmla="*/ 0 h 45950"/>
                <a:gd name="connsiteX1" fmla="*/ 0 w 44911"/>
                <a:gd name="connsiteY1" fmla="*/ 22975 h 45950"/>
                <a:gd name="connsiteX2" fmla="*/ 22456 w 44911"/>
                <a:gd name="connsiteY2" fmla="*/ 45951 h 45950"/>
                <a:gd name="connsiteX3" fmla="*/ 44911 w 44911"/>
                <a:gd name="connsiteY3" fmla="*/ 22975 h 45950"/>
                <a:gd name="connsiteX4" fmla="*/ 44911 w 44911"/>
                <a:gd name="connsiteY4" fmla="*/ 22975 h 45950"/>
                <a:gd name="connsiteX5" fmla="*/ 22456 w 44911"/>
                <a:gd name="connsiteY5" fmla="*/ 0 h 45950"/>
                <a:gd name="connsiteX6" fmla="*/ 33157 w 44911"/>
                <a:gd name="connsiteY6" fmla="*/ 33907 h 45950"/>
                <a:gd name="connsiteX7" fmla="*/ 11793 w 44911"/>
                <a:gd name="connsiteY7" fmla="*/ 33800 h 45950"/>
                <a:gd name="connsiteX8" fmla="*/ 11897 w 44911"/>
                <a:gd name="connsiteY8" fmla="*/ 11941 h 45950"/>
                <a:gd name="connsiteX9" fmla="*/ 33261 w 44911"/>
                <a:gd name="connsiteY9" fmla="*/ 12048 h 45950"/>
                <a:gd name="connsiteX10" fmla="*/ 37634 w 44911"/>
                <a:gd name="connsiteY10" fmla="*/ 22957 h 45950"/>
                <a:gd name="connsiteX11" fmla="*/ 33157 w 44911"/>
                <a:gd name="connsiteY11" fmla="*/ 33907 h 4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911" h="45950">
                  <a:moveTo>
                    <a:pt x="22456" y="0"/>
                  </a:moveTo>
                  <a:cubicBezTo>
                    <a:pt x="10054" y="0"/>
                    <a:pt x="0" y="10286"/>
                    <a:pt x="0" y="22975"/>
                  </a:cubicBezTo>
                  <a:cubicBezTo>
                    <a:pt x="0" y="35664"/>
                    <a:pt x="10054" y="45951"/>
                    <a:pt x="22456" y="45951"/>
                  </a:cubicBezTo>
                  <a:cubicBezTo>
                    <a:pt x="34857" y="45951"/>
                    <a:pt x="44911" y="35664"/>
                    <a:pt x="44911" y="22975"/>
                  </a:cubicBezTo>
                  <a:lnTo>
                    <a:pt x="44911" y="22975"/>
                  </a:lnTo>
                  <a:cubicBezTo>
                    <a:pt x="44892" y="10295"/>
                    <a:pt x="34849" y="20"/>
                    <a:pt x="22456" y="0"/>
                  </a:cubicBezTo>
                  <a:close/>
                  <a:moveTo>
                    <a:pt x="33157" y="33907"/>
                  </a:moveTo>
                  <a:cubicBezTo>
                    <a:pt x="27229" y="39913"/>
                    <a:pt x="17664" y="39866"/>
                    <a:pt x="11793" y="33800"/>
                  </a:cubicBezTo>
                  <a:cubicBezTo>
                    <a:pt x="5922" y="27735"/>
                    <a:pt x="5968" y="17948"/>
                    <a:pt x="11897" y="11941"/>
                  </a:cubicBezTo>
                  <a:cubicBezTo>
                    <a:pt x="17825" y="5934"/>
                    <a:pt x="27390" y="5982"/>
                    <a:pt x="33261" y="12048"/>
                  </a:cubicBezTo>
                  <a:cubicBezTo>
                    <a:pt x="36071" y="14950"/>
                    <a:pt x="37643" y="18872"/>
                    <a:pt x="37634" y="22957"/>
                  </a:cubicBezTo>
                  <a:cubicBezTo>
                    <a:pt x="37625" y="27071"/>
                    <a:pt x="36014" y="31012"/>
                    <a:pt x="33157" y="33907"/>
                  </a:cubicBezTo>
                  <a:close/>
                </a:path>
              </a:pathLst>
            </a:custGeom>
            <a:solidFill>
              <a:srgbClr val="BD5C7A"/>
            </a:solidFill>
            <a:ln w="17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6" name="Graphic 96">
            <a:extLst>
              <a:ext uri="{FF2B5EF4-FFF2-40B4-BE49-F238E27FC236}">
                <a16:creationId xmlns:a16="http://schemas.microsoft.com/office/drawing/2014/main" id="{045A1A69-762B-95C3-392B-558AEC11696C}"/>
              </a:ext>
            </a:extLst>
          </p:cNvPr>
          <p:cNvGrpSpPr/>
          <p:nvPr/>
        </p:nvGrpSpPr>
        <p:grpSpPr>
          <a:xfrm>
            <a:off x="4005261" y="1937012"/>
            <a:ext cx="301494" cy="301569"/>
            <a:chOff x="3942508" y="1551250"/>
            <a:chExt cx="301494" cy="301569"/>
          </a:xfrm>
        </p:grpSpPr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79A1E356-097E-71C7-C315-C40FCD7A1203}"/>
                </a:ext>
              </a:extLst>
            </p:cNvPr>
            <p:cNvSpPr/>
            <p:nvPr/>
          </p:nvSpPr>
          <p:spPr>
            <a:xfrm>
              <a:off x="3942508" y="1551250"/>
              <a:ext cx="301494" cy="301569"/>
            </a:xfrm>
            <a:custGeom>
              <a:avLst/>
              <a:gdLst>
                <a:gd name="connsiteX0" fmla="*/ 299477 w 301494"/>
                <a:gd name="connsiteY0" fmla="*/ 111564 h 301569"/>
                <a:gd name="connsiteX1" fmla="*/ 271313 w 301494"/>
                <a:gd name="connsiteY1" fmla="*/ 90224 h 301569"/>
                <a:gd name="connsiteX2" fmla="*/ 271313 w 301494"/>
                <a:gd name="connsiteY2" fmla="*/ 35139 h 301569"/>
                <a:gd name="connsiteX3" fmla="*/ 266279 w 301494"/>
                <a:gd name="connsiteY3" fmla="*/ 30125 h 301569"/>
                <a:gd name="connsiteX4" fmla="*/ 192136 w 301494"/>
                <a:gd name="connsiteY4" fmla="*/ 30125 h 301569"/>
                <a:gd name="connsiteX5" fmla="*/ 153754 w 301494"/>
                <a:gd name="connsiteY5" fmla="*/ 1018 h 301569"/>
                <a:gd name="connsiteX6" fmla="*/ 147684 w 301494"/>
                <a:gd name="connsiteY6" fmla="*/ 1018 h 301569"/>
                <a:gd name="connsiteX7" fmla="*/ 109302 w 301494"/>
                <a:gd name="connsiteY7" fmla="*/ 30163 h 301569"/>
                <a:gd name="connsiteX8" fmla="*/ 35177 w 301494"/>
                <a:gd name="connsiteY8" fmla="*/ 30163 h 301569"/>
                <a:gd name="connsiteX9" fmla="*/ 30144 w 301494"/>
                <a:gd name="connsiteY9" fmla="*/ 35139 h 301569"/>
                <a:gd name="connsiteX10" fmla="*/ 30144 w 301494"/>
                <a:gd name="connsiteY10" fmla="*/ 90186 h 301569"/>
                <a:gd name="connsiteX11" fmla="*/ 2017 w 301494"/>
                <a:gd name="connsiteY11" fmla="*/ 111564 h 301569"/>
                <a:gd name="connsiteX12" fmla="*/ 0 w 301494"/>
                <a:gd name="connsiteY12" fmla="*/ 115579 h 301569"/>
                <a:gd name="connsiteX13" fmla="*/ 0 w 301494"/>
                <a:gd name="connsiteY13" fmla="*/ 296555 h 301569"/>
                <a:gd name="connsiteX14" fmla="*/ 5014 w 301494"/>
                <a:gd name="connsiteY14" fmla="*/ 301570 h 301569"/>
                <a:gd name="connsiteX15" fmla="*/ 5033 w 301494"/>
                <a:gd name="connsiteY15" fmla="*/ 301569 h 301569"/>
                <a:gd name="connsiteX16" fmla="*/ 296461 w 301494"/>
                <a:gd name="connsiteY16" fmla="*/ 301569 h 301569"/>
                <a:gd name="connsiteX17" fmla="*/ 301494 w 301494"/>
                <a:gd name="connsiteY17" fmla="*/ 296574 h 301569"/>
                <a:gd name="connsiteX18" fmla="*/ 301494 w 301494"/>
                <a:gd name="connsiteY18" fmla="*/ 296555 h 301569"/>
                <a:gd name="connsiteX19" fmla="*/ 301494 w 301494"/>
                <a:gd name="connsiteY19" fmla="*/ 115579 h 301569"/>
                <a:gd name="connsiteX20" fmla="*/ 299477 w 301494"/>
                <a:gd name="connsiteY20" fmla="*/ 111564 h 301569"/>
                <a:gd name="connsiteX21" fmla="*/ 10048 w 301494"/>
                <a:gd name="connsiteY21" fmla="*/ 125627 h 301569"/>
                <a:gd name="connsiteX22" fmla="*/ 115937 w 301494"/>
                <a:gd name="connsiteY22" fmla="*/ 205954 h 301569"/>
                <a:gd name="connsiteX23" fmla="*/ 10048 w 301494"/>
                <a:gd name="connsiteY23" fmla="*/ 286356 h 301569"/>
                <a:gd name="connsiteX24" fmla="*/ 150756 w 301494"/>
                <a:gd name="connsiteY24" fmla="*/ 192155 h 301569"/>
                <a:gd name="connsiteX25" fmla="*/ 281530 w 301494"/>
                <a:gd name="connsiteY25" fmla="*/ 291522 h 301569"/>
                <a:gd name="connsiteX26" fmla="*/ 19964 w 301494"/>
                <a:gd name="connsiteY26" fmla="*/ 291522 h 301569"/>
                <a:gd name="connsiteX27" fmla="*/ 185557 w 301494"/>
                <a:gd name="connsiteY27" fmla="*/ 205954 h 301569"/>
                <a:gd name="connsiteX28" fmla="*/ 291446 w 301494"/>
                <a:gd name="connsiteY28" fmla="*/ 125627 h 301569"/>
                <a:gd name="connsiteX29" fmla="*/ 291446 w 301494"/>
                <a:gd name="connsiteY29" fmla="*/ 286281 h 301569"/>
                <a:gd name="connsiteX30" fmla="*/ 288147 w 301494"/>
                <a:gd name="connsiteY30" fmla="*/ 115466 h 301569"/>
                <a:gd name="connsiteX31" fmla="*/ 271350 w 301494"/>
                <a:gd name="connsiteY31" fmla="*/ 128210 h 301569"/>
                <a:gd name="connsiteX32" fmla="*/ 271350 w 301494"/>
                <a:gd name="connsiteY32" fmla="*/ 102836 h 301569"/>
                <a:gd name="connsiteX33" fmla="*/ 150756 w 301494"/>
                <a:gd name="connsiteY33" fmla="*/ 11330 h 301569"/>
                <a:gd name="connsiteX34" fmla="*/ 175546 w 301494"/>
                <a:gd name="connsiteY34" fmla="*/ 30181 h 301569"/>
                <a:gd name="connsiteX35" fmla="*/ 125948 w 301494"/>
                <a:gd name="connsiteY35" fmla="*/ 30181 h 301569"/>
                <a:gd name="connsiteX36" fmla="*/ 261302 w 301494"/>
                <a:gd name="connsiteY36" fmla="*/ 40211 h 301569"/>
                <a:gd name="connsiteX37" fmla="*/ 261302 w 301494"/>
                <a:gd name="connsiteY37" fmla="*/ 135958 h 301569"/>
                <a:gd name="connsiteX38" fmla="*/ 177224 w 301494"/>
                <a:gd name="connsiteY38" fmla="*/ 199714 h 301569"/>
                <a:gd name="connsiteX39" fmla="*/ 153754 w 301494"/>
                <a:gd name="connsiteY39" fmla="*/ 181918 h 301569"/>
                <a:gd name="connsiteX40" fmla="*/ 147684 w 301494"/>
                <a:gd name="connsiteY40" fmla="*/ 181918 h 301569"/>
                <a:gd name="connsiteX41" fmla="*/ 124270 w 301494"/>
                <a:gd name="connsiteY41" fmla="*/ 199695 h 301569"/>
                <a:gd name="connsiteX42" fmla="*/ 40192 w 301494"/>
                <a:gd name="connsiteY42" fmla="*/ 135958 h 301569"/>
                <a:gd name="connsiteX43" fmla="*/ 40192 w 301494"/>
                <a:gd name="connsiteY43" fmla="*/ 40211 h 301569"/>
                <a:gd name="connsiteX44" fmla="*/ 30144 w 301494"/>
                <a:gd name="connsiteY44" fmla="*/ 128323 h 301569"/>
                <a:gd name="connsiteX45" fmla="*/ 13347 w 301494"/>
                <a:gd name="connsiteY45" fmla="*/ 115579 h 301569"/>
                <a:gd name="connsiteX46" fmla="*/ 30144 w 301494"/>
                <a:gd name="connsiteY46" fmla="*/ 102836 h 30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301494" h="301569">
                  <a:moveTo>
                    <a:pt x="299477" y="111564"/>
                  </a:moveTo>
                  <a:lnTo>
                    <a:pt x="271313" y="90224"/>
                  </a:lnTo>
                  <a:lnTo>
                    <a:pt x="271313" y="35139"/>
                  </a:lnTo>
                  <a:cubicBezTo>
                    <a:pt x="271302" y="32367"/>
                    <a:pt x="269052" y="30125"/>
                    <a:pt x="266279" y="30125"/>
                  </a:cubicBezTo>
                  <a:lnTo>
                    <a:pt x="192136" y="30125"/>
                  </a:lnTo>
                  <a:lnTo>
                    <a:pt x="153754" y="1018"/>
                  </a:lnTo>
                  <a:cubicBezTo>
                    <a:pt x="151958" y="-339"/>
                    <a:pt x="149479" y="-339"/>
                    <a:pt x="147684" y="1018"/>
                  </a:cubicBezTo>
                  <a:lnTo>
                    <a:pt x="109302" y="30163"/>
                  </a:lnTo>
                  <a:lnTo>
                    <a:pt x="35177" y="30163"/>
                  </a:lnTo>
                  <a:cubicBezTo>
                    <a:pt x="32419" y="30162"/>
                    <a:pt x="30175" y="32382"/>
                    <a:pt x="30144" y="35139"/>
                  </a:cubicBezTo>
                  <a:lnTo>
                    <a:pt x="30144" y="90186"/>
                  </a:lnTo>
                  <a:lnTo>
                    <a:pt x="2017" y="111564"/>
                  </a:lnTo>
                  <a:cubicBezTo>
                    <a:pt x="749" y="112509"/>
                    <a:pt x="1" y="113998"/>
                    <a:pt x="0" y="115579"/>
                  </a:cubicBezTo>
                  <a:lnTo>
                    <a:pt x="0" y="296555"/>
                  </a:lnTo>
                  <a:cubicBezTo>
                    <a:pt x="0" y="299324"/>
                    <a:pt x="2245" y="301570"/>
                    <a:pt x="5014" y="301570"/>
                  </a:cubicBezTo>
                  <a:cubicBezTo>
                    <a:pt x="5021" y="301570"/>
                    <a:pt x="5027" y="301570"/>
                    <a:pt x="5033" y="301569"/>
                  </a:cubicBezTo>
                  <a:lnTo>
                    <a:pt x="296461" y="301569"/>
                  </a:lnTo>
                  <a:cubicBezTo>
                    <a:pt x="299230" y="301580"/>
                    <a:pt x="301484" y="299343"/>
                    <a:pt x="301494" y="296574"/>
                  </a:cubicBezTo>
                  <a:cubicBezTo>
                    <a:pt x="301494" y="296568"/>
                    <a:pt x="301494" y="296561"/>
                    <a:pt x="301494" y="296555"/>
                  </a:cubicBezTo>
                  <a:lnTo>
                    <a:pt x="301494" y="115579"/>
                  </a:lnTo>
                  <a:cubicBezTo>
                    <a:pt x="301493" y="113998"/>
                    <a:pt x="300745" y="112509"/>
                    <a:pt x="299477" y="111564"/>
                  </a:cubicBezTo>
                  <a:close/>
                  <a:moveTo>
                    <a:pt x="10048" y="125627"/>
                  </a:moveTo>
                  <a:lnTo>
                    <a:pt x="115937" y="205954"/>
                  </a:lnTo>
                  <a:lnTo>
                    <a:pt x="10048" y="286356"/>
                  </a:lnTo>
                  <a:close/>
                  <a:moveTo>
                    <a:pt x="150756" y="192155"/>
                  </a:moveTo>
                  <a:lnTo>
                    <a:pt x="281530" y="291522"/>
                  </a:lnTo>
                  <a:lnTo>
                    <a:pt x="19964" y="291522"/>
                  </a:lnTo>
                  <a:close/>
                  <a:moveTo>
                    <a:pt x="185557" y="205954"/>
                  </a:moveTo>
                  <a:lnTo>
                    <a:pt x="291446" y="125627"/>
                  </a:lnTo>
                  <a:lnTo>
                    <a:pt x="291446" y="286281"/>
                  </a:lnTo>
                  <a:close/>
                  <a:moveTo>
                    <a:pt x="288147" y="115466"/>
                  </a:moveTo>
                  <a:lnTo>
                    <a:pt x="271350" y="128210"/>
                  </a:lnTo>
                  <a:lnTo>
                    <a:pt x="271350" y="102836"/>
                  </a:lnTo>
                  <a:close/>
                  <a:moveTo>
                    <a:pt x="150756" y="11330"/>
                  </a:moveTo>
                  <a:lnTo>
                    <a:pt x="175546" y="30181"/>
                  </a:lnTo>
                  <a:lnTo>
                    <a:pt x="125948" y="30181"/>
                  </a:lnTo>
                  <a:close/>
                  <a:moveTo>
                    <a:pt x="261302" y="40211"/>
                  </a:moveTo>
                  <a:lnTo>
                    <a:pt x="261302" y="135958"/>
                  </a:lnTo>
                  <a:lnTo>
                    <a:pt x="177224" y="199714"/>
                  </a:lnTo>
                  <a:lnTo>
                    <a:pt x="153754" y="181918"/>
                  </a:lnTo>
                  <a:cubicBezTo>
                    <a:pt x="151965" y="180541"/>
                    <a:pt x="149473" y="180541"/>
                    <a:pt x="147684" y="181918"/>
                  </a:cubicBezTo>
                  <a:lnTo>
                    <a:pt x="124270" y="199695"/>
                  </a:lnTo>
                  <a:lnTo>
                    <a:pt x="40192" y="135958"/>
                  </a:lnTo>
                  <a:lnTo>
                    <a:pt x="40192" y="40211"/>
                  </a:lnTo>
                  <a:close/>
                  <a:moveTo>
                    <a:pt x="30144" y="128323"/>
                  </a:moveTo>
                  <a:lnTo>
                    <a:pt x="13347" y="115579"/>
                  </a:lnTo>
                  <a:lnTo>
                    <a:pt x="30144" y="102836"/>
                  </a:ln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BFD757C4-9386-9F93-A489-99EC7F0B8CC6}"/>
                </a:ext>
              </a:extLst>
            </p:cNvPr>
            <p:cNvSpPr/>
            <p:nvPr/>
          </p:nvSpPr>
          <p:spPr>
            <a:xfrm>
              <a:off x="4047926" y="1616552"/>
              <a:ext cx="90487" cy="90497"/>
            </a:xfrm>
            <a:custGeom>
              <a:avLst/>
              <a:gdLst>
                <a:gd name="connsiteX0" fmla="*/ 45338 w 90487"/>
                <a:gd name="connsiteY0" fmla="*/ 90488 h 90497"/>
                <a:gd name="connsiteX1" fmla="*/ 60325 w 90487"/>
                <a:gd name="connsiteY1" fmla="*/ 90488 h 90497"/>
                <a:gd name="connsiteX2" fmla="*/ 65657 w 90487"/>
                <a:gd name="connsiteY2" fmla="*/ 85772 h 90497"/>
                <a:gd name="connsiteX3" fmla="*/ 60941 w 90487"/>
                <a:gd name="connsiteY3" fmla="*/ 80440 h 90497"/>
                <a:gd name="connsiteX4" fmla="*/ 60325 w 90487"/>
                <a:gd name="connsiteY4" fmla="*/ 80440 h 90497"/>
                <a:gd name="connsiteX5" fmla="*/ 45244 w 90487"/>
                <a:gd name="connsiteY5" fmla="*/ 80440 h 90497"/>
                <a:gd name="connsiteX6" fmla="*/ 10142 w 90487"/>
                <a:gd name="connsiteY6" fmla="*/ 45187 h 90497"/>
                <a:gd name="connsiteX7" fmla="*/ 45395 w 90487"/>
                <a:gd name="connsiteY7" fmla="*/ 10086 h 90497"/>
                <a:gd name="connsiteX8" fmla="*/ 80496 w 90487"/>
                <a:gd name="connsiteY8" fmla="*/ 45244 h 90497"/>
                <a:gd name="connsiteX9" fmla="*/ 80496 w 90487"/>
                <a:gd name="connsiteY9" fmla="*/ 55292 h 90497"/>
                <a:gd name="connsiteX10" fmla="*/ 75165 w 90487"/>
                <a:gd name="connsiteY10" fmla="*/ 60008 h 90497"/>
                <a:gd name="connsiteX11" fmla="*/ 70449 w 90487"/>
                <a:gd name="connsiteY11" fmla="*/ 55292 h 90497"/>
                <a:gd name="connsiteX12" fmla="*/ 70449 w 90487"/>
                <a:gd name="connsiteY12" fmla="*/ 45244 h 90497"/>
                <a:gd name="connsiteX13" fmla="*/ 45335 w 90487"/>
                <a:gd name="connsiteY13" fmla="*/ 19836 h 90497"/>
                <a:gd name="connsiteX14" fmla="*/ 19927 w 90487"/>
                <a:gd name="connsiteY14" fmla="*/ 44950 h 90497"/>
                <a:gd name="connsiteX15" fmla="*/ 45041 w 90487"/>
                <a:gd name="connsiteY15" fmla="*/ 70358 h 90497"/>
                <a:gd name="connsiteX16" fmla="*/ 62738 w 90487"/>
                <a:gd name="connsiteY16" fmla="*/ 63266 h 90497"/>
                <a:gd name="connsiteX17" fmla="*/ 83588 w 90487"/>
                <a:gd name="connsiteY17" fmla="*/ 67756 h 90497"/>
                <a:gd name="connsiteX18" fmla="*/ 90488 w 90487"/>
                <a:gd name="connsiteY18" fmla="*/ 55311 h 90497"/>
                <a:gd name="connsiteX19" fmla="*/ 90488 w 90487"/>
                <a:gd name="connsiteY19" fmla="*/ 45244 h 90497"/>
                <a:gd name="connsiteX20" fmla="*/ 45244 w 90487"/>
                <a:gd name="connsiteY20" fmla="*/ 0 h 90497"/>
                <a:gd name="connsiteX21" fmla="*/ 0 w 90487"/>
                <a:gd name="connsiteY21" fmla="*/ 45244 h 90497"/>
                <a:gd name="connsiteX22" fmla="*/ 45244 w 90487"/>
                <a:gd name="connsiteY22" fmla="*/ 90488 h 90497"/>
                <a:gd name="connsiteX23" fmla="*/ 45338 w 90487"/>
                <a:gd name="connsiteY23" fmla="*/ 60325 h 90497"/>
                <a:gd name="connsiteX24" fmla="*/ 30163 w 90487"/>
                <a:gd name="connsiteY24" fmla="*/ 45338 h 90497"/>
                <a:gd name="connsiteX25" fmla="*/ 45150 w 90487"/>
                <a:gd name="connsiteY25" fmla="*/ 30163 h 90497"/>
                <a:gd name="connsiteX26" fmla="*/ 60325 w 90487"/>
                <a:gd name="connsiteY26" fmla="*/ 45150 h 90497"/>
                <a:gd name="connsiteX27" fmla="*/ 60325 w 90487"/>
                <a:gd name="connsiteY27" fmla="*/ 45244 h 90497"/>
                <a:gd name="connsiteX28" fmla="*/ 45338 w 90487"/>
                <a:gd name="connsiteY28" fmla="*/ 60325 h 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0487" h="90497">
                  <a:moveTo>
                    <a:pt x="45338" y="90488"/>
                  </a:moveTo>
                  <a:lnTo>
                    <a:pt x="60325" y="90488"/>
                  </a:lnTo>
                  <a:cubicBezTo>
                    <a:pt x="63100" y="90658"/>
                    <a:pt x="65487" y="88546"/>
                    <a:pt x="65657" y="85772"/>
                  </a:cubicBezTo>
                  <a:cubicBezTo>
                    <a:pt x="65827" y="82997"/>
                    <a:pt x="63716" y="80610"/>
                    <a:pt x="60941" y="80440"/>
                  </a:cubicBezTo>
                  <a:cubicBezTo>
                    <a:pt x="60736" y="80427"/>
                    <a:pt x="60530" y="80427"/>
                    <a:pt x="60325" y="80440"/>
                  </a:cubicBezTo>
                  <a:lnTo>
                    <a:pt x="45244" y="80440"/>
                  </a:lnTo>
                  <a:cubicBezTo>
                    <a:pt x="25816" y="80398"/>
                    <a:pt x="10101" y="64615"/>
                    <a:pt x="10142" y="45187"/>
                  </a:cubicBezTo>
                  <a:cubicBezTo>
                    <a:pt x="10184" y="25760"/>
                    <a:pt x="25967" y="10044"/>
                    <a:pt x="45395" y="10086"/>
                  </a:cubicBezTo>
                  <a:cubicBezTo>
                    <a:pt x="64786" y="10127"/>
                    <a:pt x="80486" y="25853"/>
                    <a:pt x="80496" y="45244"/>
                  </a:cubicBezTo>
                  <a:lnTo>
                    <a:pt x="80496" y="55292"/>
                  </a:lnTo>
                  <a:cubicBezTo>
                    <a:pt x="80326" y="58066"/>
                    <a:pt x="77939" y="60178"/>
                    <a:pt x="75165" y="60008"/>
                  </a:cubicBezTo>
                  <a:cubicBezTo>
                    <a:pt x="72627" y="59852"/>
                    <a:pt x="70604" y="57829"/>
                    <a:pt x="70449" y="55292"/>
                  </a:cubicBezTo>
                  <a:lnTo>
                    <a:pt x="70449" y="45244"/>
                  </a:lnTo>
                  <a:cubicBezTo>
                    <a:pt x="70530" y="31293"/>
                    <a:pt x="59286" y="19917"/>
                    <a:pt x="45335" y="19836"/>
                  </a:cubicBezTo>
                  <a:cubicBezTo>
                    <a:pt x="31383" y="19755"/>
                    <a:pt x="20008" y="30999"/>
                    <a:pt x="19927" y="44950"/>
                  </a:cubicBezTo>
                  <a:cubicBezTo>
                    <a:pt x="19846" y="58902"/>
                    <a:pt x="31090" y="70277"/>
                    <a:pt x="45041" y="70358"/>
                  </a:cubicBezTo>
                  <a:cubicBezTo>
                    <a:pt x="51640" y="70396"/>
                    <a:pt x="57992" y="67851"/>
                    <a:pt x="62738" y="63266"/>
                  </a:cubicBezTo>
                  <a:cubicBezTo>
                    <a:pt x="67256" y="70263"/>
                    <a:pt x="76591" y="72274"/>
                    <a:pt x="83588" y="67756"/>
                  </a:cubicBezTo>
                  <a:cubicBezTo>
                    <a:pt x="87824" y="65021"/>
                    <a:pt x="90413" y="60351"/>
                    <a:pt x="90488" y="55311"/>
                  </a:cubicBezTo>
                  <a:lnTo>
                    <a:pt x="90488" y="45244"/>
                  </a:lnTo>
                  <a:cubicBezTo>
                    <a:pt x="90488" y="20256"/>
                    <a:pt x="70231" y="0"/>
                    <a:pt x="45244" y="0"/>
                  </a:cubicBezTo>
                  <a:cubicBezTo>
                    <a:pt x="20256" y="0"/>
                    <a:pt x="0" y="20256"/>
                    <a:pt x="0" y="45244"/>
                  </a:cubicBezTo>
                  <a:cubicBezTo>
                    <a:pt x="0" y="70231"/>
                    <a:pt x="20256" y="90488"/>
                    <a:pt x="45244" y="90488"/>
                  </a:cubicBezTo>
                  <a:close/>
                  <a:moveTo>
                    <a:pt x="45338" y="60325"/>
                  </a:moveTo>
                  <a:cubicBezTo>
                    <a:pt x="37009" y="60377"/>
                    <a:pt x="30215" y="53667"/>
                    <a:pt x="30163" y="45338"/>
                  </a:cubicBezTo>
                  <a:cubicBezTo>
                    <a:pt x="30111" y="37009"/>
                    <a:pt x="36821" y="30215"/>
                    <a:pt x="45150" y="30163"/>
                  </a:cubicBezTo>
                  <a:cubicBezTo>
                    <a:pt x="53479" y="30111"/>
                    <a:pt x="60273" y="36821"/>
                    <a:pt x="60325" y="45150"/>
                  </a:cubicBezTo>
                  <a:cubicBezTo>
                    <a:pt x="60325" y="45181"/>
                    <a:pt x="60325" y="45213"/>
                    <a:pt x="60325" y="45244"/>
                  </a:cubicBezTo>
                  <a:cubicBezTo>
                    <a:pt x="60325" y="53536"/>
                    <a:pt x="53630" y="60273"/>
                    <a:pt x="45338" y="60325"/>
                  </a:cubicBezTo>
                  <a:close/>
                </a:path>
              </a:pathLst>
            </a:custGeom>
            <a:solidFill>
              <a:srgbClr val="BF5C7A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9" name="Graphic 101">
            <a:extLst>
              <a:ext uri="{FF2B5EF4-FFF2-40B4-BE49-F238E27FC236}">
                <a16:creationId xmlns:a16="http://schemas.microsoft.com/office/drawing/2014/main" id="{63313769-A307-7F73-E053-68C000875E47}"/>
              </a:ext>
            </a:extLst>
          </p:cNvPr>
          <p:cNvGrpSpPr/>
          <p:nvPr/>
        </p:nvGrpSpPr>
        <p:grpSpPr>
          <a:xfrm>
            <a:off x="4744355" y="1945138"/>
            <a:ext cx="293443" cy="293443"/>
            <a:chOff x="4681602" y="1559376"/>
            <a:chExt cx="293443" cy="293443"/>
          </a:xfrm>
        </p:grpSpPr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9D4CC1E0-599F-A9E3-DD73-8782501626EE}"/>
                </a:ext>
              </a:extLst>
            </p:cNvPr>
            <p:cNvSpPr/>
            <p:nvPr/>
          </p:nvSpPr>
          <p:spPr>
            <a:xfrm>
              <a:off x="4684004" y="1609793"/>
              <a:ext cx="246803" cy="246840"/>
            </a:xfrm>
            <a:custGeom>
              <a:avLst/>
              <a:gdLst>
                <a:gd name="connsiteX0" fmla="*/ 9830 w 246803"/>
                <a:gd name="connsiteY0" fmla="*/ 236974 h 246840"/>
                <a:gd name="connsiteX1" fmla="*/ 9830 w 246803"/>
                <a:gd name="connsiteY1" fmla="*/ 128363 h 246840"/>
                <a:gd name="connsiteX2" fmla="*/ 42476 w 246803"/>
                <a:gd name="connsiteY2" fmla="*/ 128363 h 246840"/>
                <a:gd name="connsiteX3" fmla="*/ 57325 w 246803"/>
                <a:gd name="connsiteY3" fmla="*/ 156833 h 246840"/>
                <a:gd name="connsiteX4" fmla="*/ 85795 w 246803"/>
                <a:gd name="connsiteY4" fmla="*/ 141983 h 246840"/>
                <a:gd name="connsiteX5" fmla="*/ 85795 w 246803"/>
                <a:gd name="connsiteY5" fmla="*/ 128363 h 246840"/>
                <a:gd name="connsiteX6" fmla="*/ 118441 w 246803"/>
                <a:gd name="connsiteY6" fmla="*/ 128363 h 246840"/>
                <a:gd name="connsiteX7" fmla="*/ 118441 w 246803"/>
                <a:gd name="connsiteY7" fmla="*/ 167831 h 246840"/>
                <a:gd name="connsiteX8" fmla="*/ 123374 w 246803"/>
                <a:gd name="connsiteY8" fmla="*/ 172765 h 246840"/>
                <a:gd name="connsiteX9" fmla="*/ 123393 w 246803"/>
                <a:gd name="connsiteY9" fmla="*/ 172765 h 246840"/>
                <a:gd name="connsiteX10" fmla="*/ 124952 w 246803"/>
                <a:gd name="connsiteY10" fmla="*/ 172508 h 246840"/>
                <a:gd name="connsiteX11" fmla="*/ 131151 w 246803"/>
                <a:gd name="connsiteY11" fmla="*/ 170454 h 246840"/>
                <a:gd name="connsiteX12" fmla="*/ 147356 w 246803"/>
                <a:gd name="connsiteY12" fmla="*/ 178641 h 246840"/>
                <a:gd name="connsiteX13" fmla="*/ 139168 w 246803"/>
                <a:gd name="connsiteY13" fmla="*/ 194846 h 246840"/>
                <a:gd name="connsiteX14" fmla="*/ 131151 w 246803"/>
                <a:gd name="connsiteY14" fmla="*/ 194846 h 246840"/>
                <a:gd name="connsiteX15" fmla="*/ 124952 w 246803"/>
                <a:gd name="connsiteY15" fmla="*/ 192774 h 246840"/>
                <a:gd name="connsiteX16" fmla="*/ 118693 w 246803"/>
                <a:gd name="connsiteY16" fmla="*/ 195915 h 246840"/>
                <a:gd name="connsiteX17" fmla="*/ 118441 w 246803"/>
                <a:gd name="connsiteY17" fmla="*/ 197451 h 246840"/>
                <a:gd name="connsiteX18" fmla="*/ 118441 w 246803"/>
                <a:gd name="connsiteY18" fmla="*/ 236974 h 246840"/>
                <a:gd name="connsiteX19" fmla="*/ 118441 w 246803"/>
                <a:gd name="connsiteY19" fmla="*/ 9867 h 246840"/>
                <a:gd name="connsiteX20" fmla="*/ 118441 w 246803"/>
                <a:gd name="connsiteY20" fmla="*/ 42513 h 246840"/>
                <a:gd name="connsiteX21" fmla="*/ 89971 w 246803"/>
                <a:gd name="connsiteY21" fmla="*/ 57362 h 246840"/>
                <a:gd name="connsiteX22" fmla="*/ 104821 w 246803"/>
                <a:gd name="connsiteY22" fmla="*/ 85832 h 246840"/>
                <a:gd name="connsiteX23" fmla="*/ 118441 w 246803"/>
                <a:gd name="connsiteY23" fmla="*/ 85832 h 246840"/>
                <a:gd name="connsiteX24" fmla="*/ 118441 w 246803"/>
                <a:gd name="connsiteY24" fmla="*/ 118478 h 246840"/>
                <a:gd name="connsiteX25" fmla="*/ 78955 w 246803"/>
                <a:gd name="connsiteY25" fmla="*/ 118478 h 246840"/>
                <a:gd name="connsiteX26" fmla="*/ 74021 w 246803"/>
                <a:gd name="connsiteY26" fmla="*/ 123411 h 246840"/>
                <a:gd name="connsiteX27" fmla="*/ 74021 w 246803"/>
                <a:gd name="connsiteY27" fmla="*/ 123430 h 246840"/>
                <a:gd name="connsiteX28" fmla="*/ 74278 w 246803"/>
                <a:gd name="connsiteY28" fmla="*/ 124988 h 246840"/>
                <a:gd name="connsiteX29" fmla="*/ 76332 w 246803"/>
                <a:gd name="connsiteY29" fmla="*/ 131187 h 246840"/>
                <a:gd name="connsiteX30" fmla="*/ 68144 w 246803"/>
                <a:gd name="connsiteY30" fmla="*/ 147392 h 246840"/>
                <a:gd name="connsiteX31" fmla="*/ 51939 w 246803"/>
                <a:gd name="connsiteY31" fmla="*/ 139205 h 246840"/>
                <a:gd name="connsiteX32" fmla="*/ 51939 w 246803"/>
                <a:gd name="connsiteY32" fmla="*/ 131187 h 246840"/>
                <a:gd name="connsiteX33" fmla="*/ 54012 w 246803"/>
                <a:gd name="connsiteY33" fmla="*/ 124988 h 246840"/>
                <a:gd name="connsiteX34" fmla="*/ 50871 w 246803"/>
                <a:gd name="connsiteY34" fmla="*/ 118729 h 246840"/>
                <a:gd name="connsiteX35" fmla="*/ 49335 w 246803"/>
                <a:gd name="connsiteY35" fmla="*/ 118478 h 246840"/>
                <a:gd name="connsiteX36" fmla="*/ 9830 w 246803"/>
                <a:gd name="connsiteY36" fmla="*/ 118478 h 246840"/>
                <a:gd name="connsiteX37" fmla="*/ 9830 w 246803"/>
                <a:gd name="connsiteY37" fmla="*/ 9867 h 246840"/>
                <a:gd name="connsiteX38" fmla="*/ 164200 w 246803"/>
                <a:gd name="connsiteY38" fmla="*/ 148537 h 246840"/>
                <a:gd name="connsiteX39" fmla="*/ 195866 w 246803"/>
                <a:gd name="connsiteY39" fmla="*/ 153856 h 246840"/>
                <a:gd name="connsiteX40" fmla="*/ 204291 w 246803"/>
                <a:gd name="connsiteY40" fmla="*/ 128363 h 246840"/>
                <a:gd name="connsiteX41" fmla="*/ 236937 w 246803"/>
                <a:gd name="connsiteY41" fmla="*/ 128363 h 246840"/>
                <a:gd name="connsiteX42" fmla="*/ 236937 w 246803"/>
                <a:gd name="connsiteY42" fmla="*/ 236974 h 246840"/>
                <a:gd name="connsiteX43" fmla="*/ 128326 w 246803"/>
                <a:gd name="connsiteY43" fmla="*/ 236974 h 246840"/>
                <a:gd name="connsiteX44" fmla="*/ 128326 w 246803"/>
                <a:gd name="connsiteY44" fmla="*/ 204328 h 246840"/>
                <a:gd name="connsiteX45" fmla="*/ 156796 w 246803"/>
                <a:gd name="connsiteY45" fmla="*/ 189479 h 246840"/>
                <a:gd name="connsiteX46" fmla="*/ 141947 w 246803"/>
                <a:gd name="connsiteY46" fmla="*/ 161009 h 246840"/>
                <a:gd name="connsiteX47" fmla="*/ 128326 w 246803"/>
                <a:gd name="connsiteY47" fmla="*/ 161009 h 246840"/>
                <a:gd name="connsiteX48" fmla="*/ 128326 w 246803"/>
                <a:gd name="connsiteY48" fmla="*/ 128363 h 246840"/>
                <a:gd name="connsiteX49" fmla="*/ 160972 w 246803"/>
                <a:gd name="connsiteY49" fmla="*/ 128363 h 246840"/>
                <a:gd name="connsiteX50" fmla="*/ 164200 w 246803"/>
                <a:gd name="connsiteY50" fmla="*/ 148537 h 246840"/>
                <a:gd name="connsiteX51" fmla="*/ 246731 w 246803"/>
                <a:gd name="connsiteY51" fmla="*/ 241907 h 246840"/>
                <a:gd name="connsiteX52" fmla="*/ 246731 w 246803"/>
                <a:gd name="connsiteY52" fmla="*/ 123430 h 246840"/>
                <a:gd name="connsiteX53" fmla="*/ 241815 w 246803"/>
                <a:gd name="connsiteY53" fmla="*/ 118478 h 246840"/>
                <a:gd name="connsiteX54" fmla="*/ 241797 w 246803"/>
                <a:gd name="connsiteY54" fmla="*/ 118478 h 246840"/>
                <a:gd name="connsiteX55" fmla="*/ 197506 w 246803"/>
                <a:gd name="connsiteY55" fmla="*/ 118478 h 246840"/>
                <a:gd name="connsiteX56" fmla="*/ 192572 w 246803"/>
                <a:gd name="connsiteY56" fmla="*/ 123430 h 246840"/>
                <a:gd name="connsiteX57" fmla="*/ 192829 w 246803"/>
                <a:gd name="connsiteY57" fmla="*/ 124988 h 246840"/>
                <a:gd name="connsiteX58" fmla="*/ 194901 w 246803"/>
                <a:gd name="connsiteY58" fmla="*/ 131187 h 246840"/>
                <a:gd name="connsiteX59" fmla="*/ 187195 w 246803"/>
                <a:gd name="connsiteY59" fmla="*/ 147627 h 246840"/>
                <a:gd name="connsiteX60" fmla="*/ 170756 w 246803"/>
                <a:gd name="connsiteY60" fmla="*/ 139920 h 246840"/>
                <a:gd name="connsiteX61" fmla="*/ 170509 w 246803"/>
                <a:gd name="connsiteY61" fmla="*/ 139165 h 246840"/>
                <a:gd name="connsiteX62" fmla="*/ 170509 w 246803"/>
                <a:gd name="connsiteY62" fmla="*/ 131187 h 246840"/>
                <a:gd name="connsiteX63" fmla="*/ 172563 w 246803"/>
                <a:gd name="connsiteY63" fmla="*/ 124988 h 246840"/>
                <a:gd name="connsiteX64" fmla="*/ 169422 w 246803"/>
                <a:gd name="connsiteY64" fmla="*/ 118729 h 246840"/>
                <a:gd name="connsiteX65" fmla="*/ 167886 w 246803"/>
                <a:gd name="connsiteY65" fmla="*/ 118478 h 246840"/>
                <a:gd name="connsiteX66" fmla="*/ 128326 w 246803"/>
                <a:gd name="connsiteY66" fmla="*/ 118478 h 246840"/>
                <a:gd name="connsiteX67" fmla="*/ 128326 w 246803"/>
                <a:gd name="connsiteY67" fmla="*/ 78991 h 246840"/>
                <a:gd name="connsiteX68" fmla="*/ 123393 w 246803"/>
                <a:gd name="connsiteY68" fmla="*/ 74058 h 246840"/>
                <a:gd name="connsiteX69" fmla="*/ 123374 w 246803"/>
                <a:gd name="connsiteY69" fmla="*/ 74058 h 246840"/>
                <a:gd name="connsiteX70" fmla="*/ 121816 w 246803"/>
                <a:gd name="connsiteY70" fmla="*/ 74314 h 246840"/>
                <a:gd name="connsiteX71" fmla="*/ 115617 w 246803"/>
                <a:gd name="connsiteY71" fmla="*/ 76369 h 246840"/>
                <a:gd name="connsiteX72" fmla="*/ 99412 w 246803"/>
                <a:gd name="connsiteY72" fmla="*/ 68181 h 246840"/>
                <a:gd name="connsiteX73" fmla="*/ 107599 w 246803"/>
                <a:gd name="connsiteY73" fmla="*/ 51976 h 246840"/>
                <a:gd name="connsiteX74" fmla="*/ 115617 w 246803"/>
                <a:gd name="connsiteY74" fmla="*/ 51976 h 246840"/>
                <a:gd name="connsiteX75" fmla="*/ 121816 w 246803"/>
                <a:gd name="connsiteY75" fmla="*/ 54049 h 246840"/>
                <a:gd name="connsiteX76" fmla="*/ 128065 w 246803"/>
                <a:gd name="connsiteY76" fmla="*/ 50946 h 246840"/>
                <a:gd name="connsiteX77" fmla="*/ 128070 w 246803"/>
                <a:gd name="connsiteY77" fmla="*/ 50931 h 246840"/>
                <a:gd name="connsiteX78" fmla="*/ 128326 w 246803"/>
                <a:gd name="connsiteY78" fmla="*/ 49353 h 246840"/>
                <a:gd name="connsiteX79" fmla="*/ 128326 w 246803"/>
                <a:gd name="connsiteY79" fmla="*/ 4934 h 246840"/>
                <a:gd name="connsiteX80" fmla="*/ 123393 w 246803"/>
                <a:gd name="connsiteY80" fmla="*/ 0 h 246840"/>
                <a:gd name="connsiteX81" fmla="*/ 123374 w 246803"/>
                <a:gd name="connsiteY81" fmla="*/ 0 h 246840"/>
                <a:gd name="connsiteX82" fmla="*/ 4934 w 246803"/>
                <a:gd name="connsiteY82" fmla="*/ 0 h 246840"/>
                <a:gd name="connsiteX83" fmla="*/ 0 w 246803"/>
                <a:gd name="connsiteY83" fmla="*/ 4897 h 246840"/>
                <a:gd name="connsiteX84" fmla="*/ 0 w 246803"/>
                <a:gd name="connsiteY84" fmla="*/ 4934 h 246840"/>
                <a:gd name="connsiteX85" fmla="*/ 0 w 246803"/>
                <a:gd name="connsiteY85" fmla="*/ 241907 h 246840"/>
                <a:gd name="connsiteX86" fmla="*/ 4897 w 246803"/>
                <a:gd name="connsiteY86" fmla="*/ 246841 h 246840"/>
                <a:gd name="connsiteX87" fmla="*/ 4934 w 246803"/>
                <a:gd name="connsiteY87" fmla="*/ 246841 h 246840"/>
                <a:gd name="connsiteX88" fmla="*/ 241870 w 246803"/>
                <a:gd name="connsiteY88" fmla="*/ 246841 h 246840"/>
                <a:gd name="connsiteX89" fmla="*/ 246804 w 246803"/>
                <a:gd name="connsiteY89" fmla="*/ 241944 h 246840"/>
                <a:gd name="connsiteX90" fmla="*/ 246804 w 246803"/>
                <a:gd name="connsiteY90" fmla="*/ 241907 h 24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246803" h="246840">
                  <a:moveTo>
                    <a:pt x="9830" y="236974"/>
                  </a:moveTo>
                  <a:lnTo>
                    <a:pt x="9830" y="128363"/>
                  </a:lnTo>
                  <a:lnTo>
                    <a:pt x="42476" y="128363"/>
                  </a:lnTo>
                  <a:cubicBezTo>
                    <a:pt x="38715" y="140325"/>
                    <a:pt x="45363" y="153072"/>
                    <a:pt x="57325" y="156833"/>
                  </a:cubicBezTo>
                  <a:cubicBezTo>
                    <a:pt x="69288" y="160594"/>
                    <a:pt x="82034" y="153946"/>
                    <a:pt x="85795" y="141983"/>
                  </a:cubicBezTo>
                  <a:cubicBezTo>
                    <a:pt x="87189" y="137550"/>
                    <a:pt x="87189" y="132796"/>
                    <a:pt x="85795" y="128363"/>
                  </a:cubicBezTo>
                  <a:lnTo>
                    <a:pt x="118441" y="128363"/>
                  </a:lnTo>
                  <a:lnTo>
                    <a:pt x="118441" y="167831"/>
                  </a:lnTo>
                  <a:cubicBezTo>
                    <a:pt x="118441" y="170556"/>
                    <a:pt x="120650" y="172765"/>
                    <a:pt x="123374" y="172765"/>
                  </a:cubicBezTo>
                  <a:cubicBezTo>
                    <a:pt x="123381" y="172765"/>
                    <a:pt x="123387" y="172765"/>
                    <a:pt x="123393" y="172765"/>
                  </a:cubicBezTo>
                  <a:cubicBezTo>
                    <a:pt x="123923" y="172769"/>
                    <a:pt x="124451" y="172682"/>
                    <a:pt x="124952" y="172508"/>
                  </a:cubicBezTo>
                  <a:lnTo>
                    <a:pt x="131151" y="170454"/>
                  </a:lnTo>
                  <a:cubicBezTo>
                    <a:pt x="137887" y="168240"/>
                    <a:pt x="145142" y="171905"/>
                    <a:pt x="147356" y="178641"/>
                  </a:cubicBezTo>
                  <a:cubicBezTo>
                    <a:pt x="149570" y="185377"/>
                    <a:pt x="145904" y="192632"/>
                    <a:pt x="139168" y="194846"/>
                  </a:cubicBezTo>
                  <a:cubicBezTo>
                    <a:pt x="136564" y="195702"/>
                    <a:pt x="133755" y="195702"/>
                    <a:pt x="131151" y="194846"/>
                  </a:cubicBezTo>
                  <a:lnTo>
                    <a:pt x="124952" y="192774"/>
                  </a:lnTo>
                  <a:cubicBezTo>
                    <a:pt x="122356" y="191913"/>
                    <a:pt x="119554" y="193319"/>
                    <a:pt x="118693" y="195915"/>
                  </a:cubicBezTo>
                  <a:cubicBezTo>
                    <a:pt x="118528" y="196410"/>
                    <a:pt x="118443" y="196929"/>
                    <a:pt x="118441" y="197451"/>
                  </a:cubicBezTo>
                  <a:lnTo>
                    <a:pt x="118441" y="236974"/>
                  </a:lnTo>
                  <a:close/>
                  <a:moveTo>
                    <a:pt x="118441" y="9867"/>
                  </a:moveTo>
                  <a:lnTo>
                    <a:pt x="118441" y="42513"/>
                  </a:lnTo>
                  <a:cubicBezTo>
                    <a:pt x="106479" y="38751"/>
                    <a:pt x="93732" y="45400"/>
                    <a:pt x="89971" y="57362"/>
                  </a:cubicBezTo>
                  <a:cubicBezTo>
                    <a:pt x="86210" y="69325"/>
                    <a:pt x="92858" y="82071"/>
                    <a:pt x="104821" y="85832"/>
                  </a:cubicBezTo>
                  <a:cubicBezTo>
                    <a:pt x="109254" y="87226"/>
                    <a:pt x="114008" y="87226"/>
                    <a:pt x="118441" y="85832"/>
                  </a:cubicBezTo>
                  <a:lnTo>
                    <a:pt x="118441" y="118478"/>
                  </a:lnTo>
                  <a:lnTo>
                    <a:pt x="78955" y="118478"/>
                  </a:lnTo>
                  <a:cubicBezTo>
                    <a:pt x="76230" y="118478"/>
                    <a:pt x="74021" y="120686"/>
                    <a:pt x="74021" y="123411"/>
                  </a:cubicBezTo>
                  <a:cubicBezTo>
                    <a:pt x="74021" y="123417"/>
                    <a:pt x="74021" y="123423"/>
                    <a:pt x="74021" y="123430"/>
                  </a:cubicBezTo>
                  <a:cubicBezTo>
                    <a:pt x="74015" y="123960"/>
                    <a:pt x="74102" y="124488"/>
                    <a:pt x="74278" y="124988"/>
                  </a:cubicBezTo>
                  <a:lnTo>
                    <a:pt x="76332" y="131187"/>
                  </a:lnTo>
                  <a:cubicBezTo>
                    <a:pt x="78546" y="137923"/>
                    <a:pt x="74880" y="145178"/>
                    <a:pt x="68144" y="147392"/>
                  </a:cubicBezTo>
                  <a:cubicBezTo>
                    <a:pt x="61409" y="149606"/>
                    <a:pt x="54153" y="145941"/>
                    <a:pt x="51939" y="139205"/>
                  </a:cubicBezTo>
                  <a:cubicBezTo>
                    <a:pt x="51084" y="136601"/>
                    <a:pt x="51084" y="133791"/>
                    <a:pt x="51939" y="131187"/>
                  </a:cubicBezTo>
                  <a:lnTo>
                    <a:pt x="54012" y="124988"/>
                  </a:lnTo>
                  <a:cubicBezTo>
                    <a:pt x="54873" y="122393"/>
                    <a:pt x="53467" y="119590"/>
                    <a:pt x="50871" y="118729"/>
                  </a:cubicBezTo>
                  <a:cubicBezTo>
                    <a:pt x="50375" y="118565"/>
                    <a:pt x="49857" y="118480"/>
                    <a:pt x="49335" y="118478"/>
                  </a:cubicBezTo>
                  <a:lnTo>
                    <a:pt x="9830" y="118478"/>
                  </a:lnTo>
                  <a:lnTo>
                    <a:pt x="9830" y="9867"/>
                  </a:lnTo>
                  <a:close/>
                  <a:moveTo>
                    <a:pt x="164200" y="148537"/>
                  </a:moveTo>
                  <a:cubicBezTo>
                    <a:pt x="171475" y="158750"/>
                    <a:pt x="185653" y="161132"/>
                    <a:pt x="195866" y="153856"/>
                  </a:cubicBezTo>
                  <a:cubicBezTo>
                    <a:pt x="203936" y="148107"/>
                    <a:pt x="207346" y="137789"/>
                    <a:pt x="204291" y="128363"/>
                  </a:cubicBezTo>
                  <a:lnTo>
                    <a:pt x="236937" y="128363"/>
                  </a:lnTo>
                  <a:lnTo>
                    <a:pt x="236937" y="236974"/>
                  </a:lnTo>
                  <a:lnTo>
                    <a:pt x="128326" y="236974"/>
                  </a:lnTo>
                  <a:lnTo>
                    <a:pt x="128326" y="204328"/>
                  </a:lnTo>
                  <a:cubicBezTo>
                    <a:pt x="140289" y="208089"/>
                    <a:pt x="153035" y="201441"/>
                    <a:pt x="156796" y="189479"/>
                  </a:cubicBezTo>
                  <a:cubicBezTo>
                    <a:pt x="160557" y="177516"/>
                    <a:pt x="153909" y="164770"/>
                    <a:pt x="141947" y="161009"/>
                  </a:cubicBezTo>
                  <a:cubicBezTo>
                    <a:pt x="137514" y="159615"/>
                    <a:pt x="132759" y="159615"/>
                    <a:pt x="128326" y="161009"/>
                  </a:cubicBezTo>
                  <a:lnTo>
                    <a:pt x="128326" y="128363"/>
                  </a:lnTo>
                  <a:lnTo>
                    <a:pt x="160972" y="128363"/>
                  </a:lnTo>
                  <a:cubicBezTo>
                    <a:pt x="158748" y="135216"/>
                    <a:pt x="159949" y="142720"/>
                    <a:pt x="164200" y="148537"/>
                  </a:cubicBezTo>
                  <a:moveTo>
                    <a:pt x="246731" y="241907"/>
                  </a:moveTo>
                  <a:lnTo>
                    <a:pt x="246731" y="123430"/>
                  </a:lnTo>
                  <a:cubicBezTo>
                    <a:pt x="246741" y="120705"/>
                    <a:pt x="244540" y="118488"/>
                    <a:pt x="241815" y="118478"/>
                  </a:cubicBezTo>
                  <a:cubicBezTo>
                    <a:pt x="241809" y="118478"/>
                    <a:pt x="241803" y="118478"/>
                    <a:pt x="241797" y="118478"/>
                  </a:cubicBezTo>
                  <a:lnTo>
                    <a:pt x="197506" y="118478"/>
                  </a:lnTo>
                  <a:cubicBezTo>
                    <a:pt x="194778" y="118488"/>
                    <a:pt x="192572" y="120702"/>
                    <a:pt x="192572" y="123430"/>
                  </a:cubicBezTo>
                  <a:cubicBezTo>
                    <a:pt x="192575" y="123959"/>
                    <a:pt x="192662" y="124485"/>
                    <a:pt x="192829" y="124988"/>
                  </a:cubicBezTo>
                  <a:lnTo>
                    <a:pt x="194901" y="131187"/>
                  </a:lnTo>
                  <a:cubicBezTo>
                    <a:pt x="197313" y="137855"/>
                    <a:pt x="193862" y="145215"/>
                    <a:pt x="187195" y="147627"/>
                  </a:cubicBezTo>
                  <a:cubicBezTo>
                    <a:pt x="180527" y="150038"/>
                    <a:pt x="173167" y="146588"/>
                    <a:pt x="170756" y="139920"/>
                  </a:cubicBezTo>
                  <a:cubicBezTo>
                    <a:pt x="170666" y="139671"/>
                    <a:pt x="170583" y="139419"/>
                    <a:pt x="170509" y="139165"/>
                  </a:cubicBezTo>
                  <a:cubicBezTo>
                    <a:pt x="169647" y="136576"/>
                    <a:pt x="169647" y="133777"/>
                    <a:pt x="170509" y="131187"/>
                  </a:cubicBezTo>
                  <a:lnTo>
                    <a:pt x="172563" y="124988"/>
                  </a:lnTo>
                  <a:cubicBezTo>
                    <a:pt x="173424" y="122393"/>
                    <a:pt x="172018" y="119590"/>
                    <a:pt x="169422" y="118729"/>
                  </a:cubicBezTo>
                  <a:cubicBezTo>
                    <a:pt x="168926" y="118565"/>
                    <a:pt x="168408" y="118480"/>
                    <a:pt x="167886" y="118478"/>
                  </a:cubicBezTo>
                  <a:lnTo>
                    <a:pt x="128326" y="118478"/>
                  </a:lnTo>
                  <a:lnTo>
                    <a:pt x="128326" y="78991"/>
                  </a:lnTo>
                  <a:cubicBezTo>
                    <a:pt x="128326" y="76267"/>
                    <a:pt x="126118" y="74058"/>
                    <a:pt x="123393" y="74058"/>
                  </a:cubicBezTo>
                  <a:cubicBezTo>
                    <a:pt x="123387" y="74058"/>
                    <a:pt x="123381" y="74058"/>
                    <a:pt x="123374" y="74058"/>
                  </a:cubicBezTo>
                  <a:cubicBezTo>
                    <a:pt x="122844" y="74054"/>
                    <a:pt x="122317" y="74140"/>
                    <a:pt x="121816" y="74314"/>
                  </a:cubicBezTo>
                  <a:lnTo>
                    <a:pt x="115617" y="76369"/>
                  </a:lnTo>
                  <a:cubicBezTo>
                    <a:pt x="108881" y="78583"/>
                    <a:pt x="101626" y="74917"/>
                    <a:pt x="99412" y="68181"/>
                  </a:cubicBezTo>
                  <a:cubicBezTo>
                    <a:pt x="97198" y="61445"/>
                    <a:pt x="100863" y="54190"/>
                    <a:pt x="107599" y="51976"/>
                  </a:cubicBezTo>
                  <a:cubicBezTo>
                    <a:pt x="110203" y="51120"/>
                    <a:pt x="113013" y="51120"/>
                    <a:pt x="115617" y="51976"/>
                  </a:cubicBezTo>
                  <a:lnTo>
                    <a:pt x="121816" y="54049"/>
                  </a:lnTo>
                  <a:cubicBezTo>
                    <a:pt x="124398" y="54917"/>
                    <a:pt x="127196" y="53528"/>
                    <a:pt x="128065" y="50946"/>
                  </a:cubicBezTo>
                  <a:cubicBezTo>
                    <a:pt x="128066" y="50941"/>
                    <a:pt x="128068" y="50936"/>
                    <a:pt x="128070" y="50931"/>
                  </a:cubicBezTo>
                  <a:cubicBezTo>
                    <a:pt x="128236" y="50421"/>
                    <a:pt x="128323" y="49889"/>
                    <a:pt x="128326" y="49353"/>
                  </a:cubicBezTo>
                  <a:lnTo>
                    <a:pt x="128326" y="4934"/>
                  </a:lnTo>
                  <a:cubicBezTo>
                    <a:pt x="128326" y="2209"/>
                    <a:pt x="126118" y="0"/>
                    <a:pt x="123393" y="0"/>
                  </a:cubicBezTo>
                  <a:cubicBezTo>
                    <a:pt x="123387" y="0"/>
                    <a:pt x="123381" y="0"/>
                    <a:pt x="123374" y="0"/>
                  </a:cubicBezTo>
                  <a:lnTo>
                    <a:pt x="4934" y="0"/>
                  </a:lnTo>
                  <a:cubicBezTo>
                    <a:pt x="2219" y="-10"/>
                    <a:pt x="10" y="2182"/>
                    <a:pt x="0" y="4897"/>
                  </a:cubicBezTo>
                  <a:cubicBezTo>
                    <a:pt x="0" y="4909"/>
                    <a:pt x="0" y="4921"/>
                    <a:pt x="0" y="4934"/>
                  </a:cubicBezTo>
                  <a:lnTo>
                    <a:pt x="0" y="241907"/>
                  </a:lnTo>
                  <a:cubicBezTo>
                    <a:pt x="-10" y="244622"/>
                    <a:pt x="2182" y="246830"/>
                    <a:pt x="4897" y="246841"/>
                  </a:cubicBezTo>
                  <a:cubicBezTo>
                    <a:pt x="4909" y="246841"/>
                    <a:pt x="4921" y="246841"/>
                    <a:pt x="4934" y="246841"/>
                  </a:cubicBezTo>
                  <a:lnTo>
                    <a:pt x="241870" y="246841"/>
                  </a:lnTo>
                  <a:cubicBezTo>
                    <a:pt x="244585" y="246851"/>
                    <a:pt x="246794" y="244658"/>
                    <a:pt x="246804" y="241944"/>
                  </a:cubicBezTo>
                  <a:cubicBezTo>
                    <a:pt x="246804" y="241932"/>
                    <a:pt x="246804" y="241919"/>
                    <a:pt x="246804" y="241907"/>
                  </a:cubicBezTo>
                </a:path>
              </a:pathLst>
            </a:custGeom>
            <a:solidFill>
              <a:srgbClr val="1F6898"/>
            </a:solidFill>
            <a:ln w="1785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49B9B770-D302-CE8B-8E2B-6FDB5B2F435A}"/>
                </a:ext>
              </a:extLst>
            </p:cNvPr>
            <p:cNvSpPr/>
            <p:nvPr/>
          </p:nvSpPr>
          <p:spPr>
            <a:xfrm>
              <a:off x="4822295" y="1560421"/>
              <a:ext cx="157884" cy="157884"/>
            </a:xfrm>
            <a:custGeom>
              <a:avLst/>
              <a:gdLst>
                <a:gd name="connsiteX0" fmla="*/ 148017 w 157884"/>
                <a:gd name="connsiteY0" fmla="*/ 9959 h 157884"/>
                <a:gd name="connsiteX1" fmla="*/ 148017 w 157884"/>
                <a:gd name="connsiteY1" fmla="*/ 118478 h 157884"/>
                <a:gd name="connsiteX2" fmla="*/ 108513 w 157884"/>
                <a:gd name="connsiteY2" fmla="*/ 118478 h 157884"/>
                <a:gd name="connsiteX3" fmla="*/ 103579 w 157884"/>
                <a:gd name="connsiteY3" fmla="*/ 123430 h 157884"/>
                <a:gd name="connsiteX4" fmla="*/ 103836 w 157884"/>
                <a:gd name="connsiteY4" fmla="*/ 124988 h 157884"/>
                <a:gd name="connsiteX5" fmla="*/ 105908 w 157884"/>
                <a:gd name="connsiteY5" fmla="*/ 131187 h 157884"/>
                <a:gd name="connsiteX6" fmla="*/ 98202 w 157884"/>
                <a:gd name="connsiteY6" fmla="*/ 147627 h 157884"/>
                <a:gd name="connsiteX7" fmla="*/ 81763 w 157884"/>
                <a:gd name="connsiteY7" fmla="*/ 139920 h 157884"/>
                <a:gd name="connsiteX8" fmla="*/ 81516 w 157884"/>
                <a:gd name="connsiteY8" fmla="*/ 139165 h 157884"/>
                <a:gd name="connsiteX9" fmla="*/ 81516 w 157884"/>
                <a:gd name="connsiteY9" fmla="*/ 131187 h 157884"/>
                <a:gd name="connsiteX10" fmla="*/ 83570 w 157884"/>
                <a:gd name="connsiteY10" fmla="*/ 124988 h 157884"/>
                <a:gd name="connsiteX11" fmla="*/ 80429 w 157884"/>
                <a:gd name="connsiteY11" fmla="*/ 118729 h 157884"/>
                <a:gd name="connsiteX12" fmla="*/ 78893 w 157884"/>
                <a:gd name="connsiteY12" fmla="*/ 118478 h 157884"/>
                <a:gd name="connsiteX13" fmla="*/ 39407 w 157884"/>
                <a:gd name="connsiteY13" fmla="*/ 118478 h 157884"/>
                <a:gd name="connsiteX14" fmla="*/ 39407 w 157884"/>
                <a:gd name="connsiteY14" fmla="*/ 78991 h 157884"/>
                <a:gd name="connsiteX15" fmla="*/ 34455 w 157884"/>
                <a:gd name="connsiteY15" fmla="*/ 74149 h 157884"/>
                <a:gd name="connsiteX16" fmla="*/ 32896 w 157884"/>
                <a:gd name="connsiteY16" fmla="*/ 74406 h 157884"/>
                <a:gd name="connsiteX17" fmla="*/ 26697 w 157884"/>
                <a:gd name="connsiteY17" fmla="*/ 76460 h 157884"/>
                <a:gd name="connsiteX18" fmla="*/ 10492 w 157884"/>
                <a:gd name="connsiteY18" fmla="*/ 68273 h 157884"/>
                <a:gd name="connsiteX19" fmla="*/ 18680 w 157884"/>
                <a:gd name="connsiteY19" fmla="*/ 52068 h 157884"/>
                <a:gd name="connsiteX20" fmla="*/ 26697 w 157884"/>
                <a:gd name="connsiteY20" fmla="*/ 52068 h 157884"/>
                <a:gd name="connsiteX21" fmla="*/ 32896 w 157884"/>
                <a:gd name="connsiteY21" fmla="*/ 53975 h 157884"/>
                <a:gd name="connsiteX22" fmla="*/ 39155 w 157884"/>
                <a:gd name="connsiteY22" fmla="*/ 50834 h 157884"/>
                <a:gd name="connsiteX23" fmla="*/ 39407 w 157884"/>
                <a:gd name="connsiteY23" fmla="*/ 49298 h 157884"/>
                <a:gd name="connsiteX24" fmla="*/ 39407 w 157884"/>
                <a:gd name="connsiteY24" fmla="*/ 9959 h 157884"/>
                <a:gd name="connsiteX25" fmla="*/ 29521 w 157884"/>
                <a:gd name="connsiteY25" fmla="*/ 4934 h 157884"/>
                <a:gd name="connsiteX26" fmla="*/ 29521 w 157884"/>
                <a:gd name="connsiteY26" fmla="*/ 42513 h 157884"/>
                <a:gd name="connsiteX27" fmla="*/ 1051 w 157884"/>
                <a:gd name="connsiteY27" fmla="*/ 57362 h 157884"/>
                <a:gd name="connsiteX28" fmla="*/ 15901 w 157884"/>
                <a:gd name="connsiteY28" fmla="*/ 85832 h 157884"/>
                <a:gd name="connsiteX29" fmla="*/ 29521 w 157884"/>
                <a:gd name="connsiteY29" fmla="*/ 85832 h 157884"/>
                <a:gd name="connsiteX30" fmla="*/ 29521 w 157884"/>
                <a:gd name="connsiteY30" fmla="*/ 123411 h 157884"/>
                <a:gd name="connsiteX31" fmla="*/ 34455 w 157884"/>
                <a:gd name="connsiteY31" fmla="*/ 128363 h 157884"/>
                <a:gd name="connsiteX32" fmla="*/ 72052 w 157884"/>
                <a:gd name="connsiteY32" fmla="*/ 128363 h 157884"/>
                <a:gd name="connsiteX33" fmla="*/ 86902 w 157884"/>
                <a:gd name="connsiteY33" fmla="*/ 156833 h 157884"/>
                <a:gd name="connsiteX34" fmla="*/ 115372 w 157884"/>
                <a:gd name="connsiteY34" fmla="*/ 141983 h 157884"/>
                <a:gd name="connsiteX35" fmla="*/ 115372 w 157884"/>
                <a:gd name="connsiteY35" fmla="*/ 128363 h 157884"/>
                <a:gd name="connsiteX36" fmla="*/ 152951 w 157884"/>
                <a:gd name="connsiteY36" fmla="*/ 128363 h 157884"/>
                <a:gd name="connsiteX37" fmla="*/ 157884 w 157884"/>
                <a:gd name="connsiteY37" fmla="*/ 123430 h 157884"/>
                <a:gd name="connsiteX38" fmla="*/ 157884 w 157884"/>
                <a:gd name="connsiteY38" fmla="*/ 123411 h 157884"/>
                <a:gd name="connsiteX39" fmla="*/ 157884 w 157884"/>
                <a:gd name="connsiteY39" fmla="*/ 4934 h 157884"/>
                <a:gd name="connsiteX40" fmla="*/ 152988 w 157884"/>
                <a:gd name="connsiteY40" fmla="*/ 0 h 157884"/>
                <a:gd name="connsiteX41" fmla="*/ 152951 w 157884"/>
                <a:gd name="connsiteY41" fmla="*/ 0 h 157884"/>
                <a:gd name="connsiteX42" fmla="*/ 34455 w 157884"/>
                <a:gd name="connsiteY42" fmla="*/ 0 h 157884"/>
                <a:gd name="connsiteX43" fmla="*/ 29521 w 157884"/>
                <a:gd name="connsiteY43" fmla="*/ 4934 h 15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57884" h="157884">
                  <a:moveTo>
                    <a:pt x="148017" y="9959"/>
                  </a:moveTo>
                  <a:lnTo>
                    <a:pt x="148017" y="118478"/>
                  </a:lnTo>
                  <a:lnTo>
                    <a:pt x="108513" y="118478"/>
                  </a:lnTo>
                  <a:cubicBezTo>
                    <a:pt x="105785" y="118488"/>
                    <a:pt x="103579" y="120702"/>
                    <a:pt x="103579" y="123430"/>
                  </a:cubicBezTo>
                  <a:cubicBezTo>
                    <a:pt x="103582" y="123959"/>
                    <a:pt x="103669" y="124485"/>
                    <a:pt x="103836" y="124988"/>
                  </a:cubicBezTo>
                  <a:lnTo>
                    <a:pt x="105908" y="131187"/>
                  </a:lnTo>
                  <a:cubicBezTo>
                    <a:pt x="108320" y="137855"/>
                    <a:pt x="104870" y="145215"/>
                    <a:pt x="98202" y="147627"/>
                  </a:cubicBezTo>
                  <a:cubicBezTo>
                    <a:pt x="91534" y="150038"/>
                    <a:pt x="84174" y="146588"/>
                    <a:pt x="81763" y="139920"/>
                  </a:cubicBezTo>
                  <a:cubicBezTo>
                    <a:pt x="81673" y="139671"/>
                    <a:pt x="81590" y="139419"/>
                    <a:pt x="81516" y="139165"/>
                  </a:cubicBezTo>
                  <a:cubicBezTo>
                    <a:pt x="80654" y="136576"/>
                    <a:pt x="80654" y="133777"/>
                    <a:pt x="81516" y="131187"/>
                  </a:cubicBezTo>
                  <a:lnTo>
                    <a:pt x="83570" y="124988"/>
                  </a:lnTo>
                  <a:cubicBezTo>
                    <a:pt x="84431" y="122393"/>
                    <a:pt x="83025" y="119590"/>
                    <a:pt x="80429" y="118729"/>
                  </a:cubicBezTo>
                  <a:cubicBezTo>
                    <a:pt x="79933" y="118565"/>
                    <a:pt x="79415" y="118480"/>
                    <a:pt x="78893" y="118478"/>
                  </a:cubicBezTo>
                  <a:lnTo>
                    <a:pt x="39407" y="118478"/>
                  </a:lnTo>
                  <a:lnTo>
                    <a:pt x="39407" y="78991"/>
                  </a:lnTo>
                  <a:cubicBezTo>
                    <a:pt x="39357" y="76295"/>
                    <a:pt x="37151" y="74139"/>
                    <a:pt x="34455" y="74149"/>
                  </a:cubicBezTo>
                  <a:cubicBezTo>
                    <a:pt x="33924" y="74144"/>
                    <a:pt x="33397" y="74231"/>
                    <a:pt x="32896" y="74406"/>
                  </a:cubicBezTo>
                  <a:lnTo>
                    <a:pt x="26697" y="76460"/>
                  </a:lnTo>
                  <a:cubicBezTo>
                    <a:pt x="19961" y="78674"/>
                    <a:pt x="12706" y="75009"/>
                    <a:pt x="10492" y="68273"/>
                  </a:cubicBezTo>
                  <a:cubicBezTo>
                    <a:pt x="8278" y="61537"/>
                    <a:pt x="11944" y="54282"/>
                    <a:pt x="18680" y="52068"/>
                  </a:cubicBezTo>
                  <a:cubicBezTo>
                    <a:pt x="21284" y="51212"/>
                    <a:pt x="24093" y="51212"/>
                    <a:pt x="26697" y="52068"/>
                  </a:cubicBezTo>
                  <a:lnTo>
                    <a:pt x="32896" y="53975"/>
                  </a:lnTo>
                  <a:cubicBezTo>
                    <a:pt x="35492" y="54836"/>
                    <a:pt x="38294" y="53430"/>
                    <a:pt x="39155" y="50834"/>
                  </a:cubicBezTo>
                  <a:cubicBezTo>
                    <a:pt x="39319" y="50339"/>
                    <a:pt x="39404" y="49820"/>
                    <a:pt x="39407" y="49298"/>
                  </a:cubicBezTo>
                  <a:lnTo>
                    <a:pt x="39407" y="9959"/>
                  </a:lnTo>
                  <a:close/>
                  <a:moveTo>
                    <a:pt x="29521" y="4934"/>
                  </a:moveTo>
                  <a:lnTo>
                    <a:pt x="29521" y="42513"/>
                  </a:lnTo>
                  <a:cubicBezTo>
                    <a:pt x="17559" y="38751"/>
                    <a:pt x="4813" y="45400"/>
                    <a:pt x="1051" y="57362"/>
                  </a:cubicBezTo>
                  <a:cubicBezTo>
                    <a:pt x="-2710" y="69325"/>
                    <a:pt x="3939" y="82071"/>
                    <a:pt x="15901" y="85832"/>
                  </a:cubicBezTo>
                  <a:cubicBezTo>
                    <a:pt x="20334" y="87226"/>
                    <a:pt x="25088" y="87226"/>
                    <a:pt x="29521" y="85832"/>
                  </a:cubicBezTo>
                  <a:lnTo>
                    <a:pt x="29521" y="123411"/>
                  </a:lnTo>
                  <a:cubicBezTo>
                    <a:pt x="29521" y="126139"/>
                    <a:pt x="31727" y="128353"/>
                    <a:pt x="34455" y="128363"/>
                  </a:cubicBezTo>
                  <a:lnTo>
                    <a:pt x="72052" y="128363"/>
                  </a:lnTo>
                  <a:cubicBezTo>
                    <a:pt x="68291" y="140325"/>
                    <a:pt x="74940" y="153072"/>
                    <a:pt x="86902" y="156833"/>
                  </a:cubicBezTo>
                  <a:cubicBezTo>
                    <a:pt x="98864" y="160594"/>
                    <a:pt x="111611" y="153946"/>
                    <a:pt x="115372" y="141983"/>
                  </a:cubicBezTo>
                  <a:cubicBezTo>
                    <a:pt x="116766" y="137550"/>
                    <a:pt x="116766" y="132796"/>
                    <a:pt x="115372" y="128363"/>
                  </a:cubicBezTo>
                  <a:lnTo>
                    <a:pt x="152951" y="128363"/>
                  </a:lnTo>
                  <a:cubicBezTo>
                    <a:pt x="155676" y="128363"/>
                    <a:pt x="157884" y="126154"/>
                    <a:pt x="157884" y="123430"/>
                  </a:cubicBezTo>
                  <a:cubicBezTo>
                    <a:pt x="157884" y="123423"/>
                    <a:pt x="157884" y="123417"/>
                    <a:pt x="157884" y="123411"/>
                  </a:cubicBezTo>
                  <a:lnTo>
                    <a:pt x="157884" y="4934"/>
                  </a:lnTo>
                  <a:cubicBezTo>
                    <a:pt x="157895" y="2219"/>
                    <a:pt x="155702" y="10"/>
                    <a:pt x="152988" y="0"/>
                  </a:cubicBezTo>
                  <a:cubicBezTo>
                    <a:pt x="152975" y="0"/>
                    <a:pt x="152963" y="0"/>
                    <a:pt x="152951" y="0"/>
                  </a:cubicBezTo>
                  <a:lnTo>
                    <a:pt x="34455" y="0"/>
                  </a:lnTo>
                  <a:cubicBezTo>
                    <a:pt x="31730" y="0"/>
                    <a:pt x="29521" y="2209"/>
                    <a:pt x="29521" y="4934"/>
                  </a:cubicBezTo>
                </a:path>
              </a:pathLst>
            </a:custGeom>
            <a:solidFill>
              <a:srgbClr val="BD5C7A"/>
            </a:solidFill>
            <a:ln w="1785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2" name="Graphic 106">
            <a:extLst>
              <a:ext uri="{FF2B5EF4-FFF2-40B4-BE49-F238E27FC236}">
                <a16:creationId xmlns:a16="http://schemas.microsoft.com/office/drawing/2014/main" id="{EC7D3DA8-39E2-857C-6D72-43F526B2982C}"/>
              </a:ext>
            </a:extLst>
          </p:cNvPr>
          <p:cNvGrpSpPr/>
          <p:nvPr/>
        </p:nvGrpSpPr>
        <p:grpSpPr>
          <a:xfrm>
            <a:off x="5621225" y="1947744"/>
            <a:ext cx="295275" cy="295275"/>
            <a:chOff x="5245100" y="1293813"/>
            <a:chExt cx="152400" cy="152400"/>
          </a:xfrm>
        </p:grpSpPr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202074D3-AC33-AA6E-6CA5-7CC0EE08A6B1}"/>
                </a:ext>
              </a:extLst>
            </p:cNvPr>
            <p:cNvSpPr/>
            <p:nvPr/>
          </p:nvSpPr>
          <p:spPr>
            <a:xfrm>
              <a:off x="5255436" y="1413732"/>
              <a:ext cx="134336" cy="25003"/>
            </a:xfrm>
            <a:custGeom>
              <a:avLst/>
              <a:gdLst>
                <a:gd name="connsiteX0" fmla="*/ 129681 w 134336"/>
                <a:gd name="connsiteY0" fmla="*/ 12478 h 25003"/>
                <a:gd name="connsiteX1" fmla="*/ 122175 w 134336"/>
                <a:gd name="connsiteY1" fmla="*/ 19964 h 25003"/>
                <a:gd name="connsiteX2" fmla="*/ 114688 w 134336"/>
                <a:gd name="connsiteY2" fmla="*/ 12459 h 25003"/>
                <a:gd name="connsiteX3" fmla="*/ 122185 w 134336"/>
                <a:gd name="connsiteY3" fmla="*/ 4972 h 25003"/>
                <a:gd name="connsiteX4" fmla="*/ 129681 w 134336"/>
                <a:gd name="connsiteY4" fmla="*/ 12478 h 25003"/>
                <a:gd name="connsiteX5" fmla="*/ 4675 w 134336"/>
                <a:gd name="connsiteY5" fmla="*/ 12478 h 25003"/>
                <a:gd name="connsiteX6" fmla="*/ 12171 w 134336"/>
                <a:gd name="connsiteY6" fmla="*/ 4963 h 25003"/>
                <a:gd name="connsiteX7" fmla="*/ 19686 w 134336"/>
                <a:gd name="connsiteY7" fmla="*/ 12459 h 25003"/>
                <a:gd name="connsiteX8" fmla="*/ 12190 w 134336"/>
                <a:gd name="connsiteY8" fmla="*/ 19974 h 25003"/>
                <a:gd name="connsiteX9" fmla="*/ 12171 w 134336"/>
                <a:gd name="connsiteY9" fmla="*/ 19974 h 25003"/>
                <a:gd name="connsiteX10" fmla="*/ 4675 w 134336"/>
                <a:gd name="connsiteY10" fmla="*/ 12478 h 25003"/>
                <a:gd name="connsiteX11" fmla="*/ 57243 w 134336"/>
                <a:gd name="connsiteY11" fmla="*/ 19974 h 25003"/>
                <a:gd name="connsiteX12" fmla="*/ 22105 w 134336"/>
                <a:gd name="connsiteY12" fmla="*/ 19974 h 25003"/>
                <a:gd name="connsiteX13" fmla="*/ 22105 w 134336"/>
                <a:gd name="connsiteY13" fmla="*/ 4972 h 25003"/>
                <a:gd name="connsiteX14" fmla="*/ 57224 w 134336"/>
                <a:gd name="connsiteY14" fmla="*/ 4972 h 25003"/>
                <a:gd name="connsiteX15" fmla="*/ 57224 w 134336"/>
                <a:gd name="connsiteY15" fmla="*/ 19974 h 25003"/>
                <a:gd name="connsiteX16" fmla="*/ 77103 w 134336"/>
                <a:gd name="connsiteY16" fmla="*/ 5001 h 25003"/>
                <a:gd name="connsiteX17" fmla="*/ 112240 w 134336"/>
                <a:gd name="connsiteY17" fmla="*/ 5001 h 25003"/>
                <a:gd name="connsiteX18" fmla="*/ 112240 w 134336"/>
                <a:gd name="connsiteY18" fmla="*/ 20002 h 25003"/>
                <a:gd name="connsiteX19" fmla="*/ 77103 w 134336"/>
                <a:gd name="connsiteY19" fmla="*/ 20002 h 25003"/>
                <a:gd name="connsiteX20" fmla="*/ 77103 w 134336"/>
                <a:gd name="connsiteY20" fmla="*/ 5001 h 25003"/>
                <a:gd name="connsiteX21" fmla="*/ 74674 w 134336"/>
                <a:gd name="connsiteY21" fmla="*/ 12506 h 25003"/>
                <a:gd name="connsiteX22" fmla="*/ 67168 w 134336"/>
                <a:gd name="connsiteY22" fmla="*/ 20012 h 25003"/>
                <a:gd name="connsiteX23" fmla="*/ 59662 w 134336"/>
                <a:gd name="connsiteY23" fmla="*/ 12506 h 25003"/>
                <a:gd name="connsiteX24" fmla="*/ 67168 w 134336"/>
                <a:gd name="connsiteY24" fmla="*/ 5001 h 25003"/>
                <a:gd name="connsiteX25" fmla="*/ 74674 w 134336"/>
                <a:gd name="connsiteY25" fmla="*/ 12506 h 25003"/>
                <a:gd name="connsiteX26" fmla="*/ 12161 w 134336"/>
                <a:gd name="connsiteY26" fmla="*/ 0 h 25003"/>
                <a:gd name="connsiteX27" fmla="*/ 5 w 134336"/>
                <a:gd name="connsiteY27" fmla="*/ 12847 h 25003"/>
                <a:gd name="connsiteX28" fmla="*/ 12161 w 134336"/>
                <a:gd name="connsiteY28" fmla="*/ 25003 h 25003"/>
                <a:gd name="connsiteX29" fmla="*/ 122175 w 134336"/>
                <a:gd name="connsiteY29" fmla="*/ 25003 h 25003"/>
                <a:gd name="connsiteX30" fmla="*/ 134332 w 134336"/>
                <a:gd name="connsiteY30" fmla="*/ 12156 h 25003"/>
                <a:gd name="connsiteX31" fmla="*/ 122175 w 134336"/>
                <a:gd name="connsiteY31" fmla="*/ 0 h 2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4336" h="25003">
                  <a:moveTo>
                    <a:pt x="129681" y="12478"/>
                  </a:moveTo>
                  <a:cubicBezTo>
                    <a:pt x="129676" y="16618"/>
                    <a:pt x="126315" y="19970"/>
                    <a:pt x="122175" y="19964"/>
                  </a:cubicBezTo>
                  <a:cubicBezTo>
                    <a:pt x="118035" y="19959"/>
                    <a:pt x="114683" y="16599"/>
                    <a:pt x="114688" y="12459"/>
                  </a:cubicBezTo>
                  <a:cubicBezTo>
                    <a:pt x="114694" y="8322"/>
                    <a:pt x="118048" y="4972"/>
                    <a:pt x="122185" y="4972"/>
                  </a:cubicBezTo>
                  <a:cubicBezTo>
                    <a:pt x="126326" y="4977"/>
                    <a:pt x="129681" y="8336"/>
                    <a:pt x="129681" y="12478"/>
                  </a:cubicBezTo>
                  <a:moveTo>
                    <a:pt x="4675" y="12478"/>
                  </a:moveTo>
                  <a:cubicBezTo>
                    <a:pt x="4669" y="8332"/>
                    <a:pt x="8026" y="4968"/>
                    <a:pt x="12171" y="4963"/>
                  </a:cubicBezTo>
                  <a:cubicBezTo>
                    <a:pt x="16316" y="4957"/>
                    <a:pt x="19681" y="8313"/>
                    <a:pt x="19686" y="12459"/>
                  </a:cubicBezTo>
                  <a:cubicBezTo>
                    <a:pt x="19691" y="16604"/>
                    <a:pt x="16335" y="19969"/>
                    <a:pt x="12190" y="19974"/>
                  </a:cubicBezTo>
                  <a:cubicBezTo>
                    <a:pt x="12184" y="19974"/>
                    <a:pt x="12177" y="19974"/>
                    <a:pt x="12171" y="19974"/>
                  </a:cubicBezTo>
                  <a:cubicBezTo>
                    <a:pt x="8033" y="19969"/>
                    <a:pt x="4680" y="16616"/>
                    <a:pt x="4675" y="12478"/>
                  </a:cubicBezTo>
                  <a:moveTo>
                    <a:pt x="57243" y="19974"/>
                  </a:moveTo>
                  <a:lnTo>
                    <a:pt x="22105" y="19974"/>
                  </a:lnTo>
                  <a:cubicBezTo>
                    <a:pt x="25522" y="15557"/>
                    <a:pt x="25522" y="9389"/>
                    <a:pt x="22105" y="4972"/>
                  </a:cubicBezTo>
                  <a:lnTo>
                    <a:pt x="57224" y="4972"/>
                  </a:lnTo>
                  <a:cubicBezTo>
                    <a:pt x="53814" y="9391"/>
                    <a:pt x="53814" y="15555"/>
                    <a:pt x="57224" y="19974"/>
                  </a:cubicBezTo>
                  <a:moveTo>
                    <a:pt x="77103" y="5001"/>
                  </a:moveTo>
                  <a:lnTo>
                    <a:pt x="112240" y="5001"/>
                  </a:lnTo>
                  <a:cubicBezTo>
                    <a:pt x="108810" y="9413"/>
                    <a:pt x="108810" y="15590"/>
                    <a:pt x="112240" y="20002"/>
                  </a:cubicBezTo>
                  <a:lnTo>
                    <a:pt x="77103" y="20002"/>
                  </a:lnTo>
                  <a:cubicBezTo>
                    <a:pt x="80533" y="15590"/>
                    <a:pt x="80533" y="9413"/>
                    <a:pt x="77103" y="5001"/>
                  </a:cubicBezTo>
                  <a:moveTo>
                    <a:pt x="74674" y="12506"/>
                  </a:moveTo>
                  <a:cubicBezTo>
                    <a:pt x="74674" y="16652"/>
                    <a:pt x="71313" y="20012"/>
                    <a:pt x="67168" y="20012"/>
                  </a:cubicBezTo>
                  <a:cubicBezTo>
                    <a:pt x="63023" y="20012"/>
                    <a:pt x="59662" y="16652"/>
                    <a:pt x="59662" y="12506"/>
                  </a:cubicBezTo>
                  <a:cubicBezTo>
                    <a:pt x="59662" y="8361"/>
                    <a:pt x="63023" y="5001"/>
                    <a:pt x="67168" y="5001"/>
                  </a:cubicBezTo>
                  <a:cubicBezTo>
                    <a:pt x="71313" y="5001"/>
                    <a:pt x="74674" y="8361"/>
                    <a:pt x="74674" y="12506"/>
                  </a:cubicBezTo>
                  <a:moveTo>
                    <a:pt x="12161" y="0"/>
                  </a:moveTo>
                  <a:cubicBezTo>
                    <a:pt x="5257" y="191"/>
                    <a:pt x="-186" y="5942"/>
                    <a:pt x="5" y="12847"/>
                  </a:cubicBezTo>
                  <a:cubicBezTo>
                    <a:pt x="188" y="19483"/>
                    <a:pt x="5525" y="24820"/>
                    <a:pt x="12161" y="25003"/>
                  </a:cubicBezTo>
                  <a:lnTo>
                    <a:pt x="122175" y="25003"/>
                  </a:lnTo>
                  <a:cubicBezTo>
                    <a:pt x="129079" y="24813"/>
                    <a:pt x="134522" y="19061"/>
                    <a:pt x="134332" y="12156"/>
                  </a:cubicBezTo>
                  <a:cubicBezTo>
                    <a:pt x="134148" y="5520"/>
                    <a:pt x="128812" y="183"/>
                    <a:pt x="122175" y="0"/>
                  </a:cubicBezTo>
                  <a:close/>
                </a:path>
              </a:pathLst>
            </a:custGeom>
            <a:solidFill>
              <a:srgbClr val="BF5C7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CB7918A4-3D28-6D15-AC37-B6E35C289D64}"/>
                </a:ext>
              </a:extLst>
            </p:cNvPr>
            <p:cNvSpPr/>
            <p:nvPr/>
          </p:nvSpPr>
          <p:spPr>
            <a:xfrm>
              <a:off x="5245099" y="1293717"/>
              <a:ext cx="155482" cy="155081"/>
            </a:xfrm>
            <a:custGeom>
              <a:avLst/>
              <a:gdLst>
                <a:gd name="connsiteX0" fmla="*/ 45006 w 155482"/>
                <a:gd name="connsiteY0" fmla="*/ 30013 h 155081"/>
                <a:gd name="connsiteX1" fmla="*/ 40005 w 155482"/>
                <a:gd name="connsiteY1" fmla="*/ 30013 h 155081"/>
                <a:gd name="connsiteX2" fmla="*/ 40005 w 155482"/>
                <a:gd name="connsiteY2" fmla="*/ 25013 h 155081"/>
                <a:gd name="connsiteX3" fmla="*/ 45006 w 155482"/>
                <a:gd name="connsiteY3" fmla="*/ 25013 h 155081"/>
                <a:gd name="connsiteX4" fmla="*/ 32499 w 155482"/>
                <a:gd name="connsiteY4" fmla="*/ 5010 h 155081"/>
                <a:gd name="connsiteX5" fmla="*/ 52502 w 155482"/>
                <a:gd name="connsiteY5" fmla="*/ 5010 h 155081"/>
                <a:gd name="connsiteX6" fmla="*/ 52502 w 155482"/>
                <a:gd name="connsiteY6" fmla="*/ 20012 h 155081"/>
                <a:gd name="connsiteX7" fmla="*/ 32499 w 155482"/>
                <a:gd name="connsiteY7" fmla="*/ 20012 h 155081"/>
                <a:gd name="connsiteX8" fmla="*/ 50483 w 155482"/>
                <a:gd name="connsiteY8" fmla="*/ 68485 h 155081"/>
                <a:gd name="connsiteX9" fmla="*/ 52521 w 155482"/>
                <a:gd name="connsiteY9" fmla="*/ 71342 h 155081"/>
                <a:gd name="connsiteX10" fmla="*/ 52521 w 155482"/>
                <a:gd name="connsiteY10" fmla="*/ 107537 h 155081"/>
                <a:gd name="connsiteX11" fmla="*/ 50025 w 155482"/>
                <a:gd name="connsiteY11" fmla="*/ 110033 h 155081"/>
                <a:gd name="connsiteX12" fmla="*/ 34995 w 155482"/>
                <a:gd name="connsiteY12" fmla="*/ 110033 h 155081"/>
                <a:gd name="connsiteX13" fmla="*/ 32499 w 155482"/>
                <a:gd name="connsiteY13" fmla="*/ 107537 h 155081"/>
                <a:gd name="connsiteX14" fmla="*/ 32499 w 155482"/>
                <a:gd name="connsiteY14" fmla="*/ 105032 h 155081"/>
                <a:gd name="connsiteX15" fmla="*/ 45006 w 155482"/>
                <a:gd name="connsiteY15" fmla="*/ 105032 h 155081"/>
                <a:gd name="connsiteX16" fmla="*/ 47501 w 155482"/>
                <a:gd name="connsiteY16" fmla="*/ 102537 h 155081"/>
                <a:gd name="connsiteX17" fmla="*/ 47501 w 155482"/>
                <a:gd name="connsiteY17" fmla="*/ 77514 h 155081"/>
                <a:gd name="connsiteX18" fmla="*/ 45006 w 155482"/>
                <a:gd name="connsiteY18" fmla="*/ 75019 h 155081"/>
                <a:gd name="connsiteX19" fmla="*/ 32499 w 155482"/>
                <a:gd name="connsiteY19" fmla="*/ 75019 h 155081"/>
                <a:gd name="connsiteX20" fmla="*/ 32499 w 155482"/>
                <a:gd name="connsiteY20" fmla="*/ 71314 h 155081"/>
                <a:gd name="connsiteX21" fmla="*/ 34547 w 155482"/>
                <a:gd name="connsiteY21" fmla="*/ 68456 h 155081"/>
                <a:gd name="connsiteX22" fmla="*/ 40005 w 155482"/>
                <a:gd name="connsiteY22" fmla="*/ 60836 h 155081"/>
                <a:gd name="connsiteX23" fmla="*/ 40005 w 155482"/>
                <a:gd name="connsiteY23" fmla="*/ 50016 h 155081"/>
                <a:gd name="connsiteX24" fmla="*/ 45006 w 155482"/>
                <a:gd name="connsiteY24" fmla="*/ 50016 h 155081"/>
                <a:gd name="connsiteX25" fmla="*/ 45006 w 155482"/>
                <a:gd name="connsiteY25" fmla="*/ 60903 h 155081"/>
                <a:gd name="connsiteX26" fmla="*/ 50463 w 155482"/>
                <a:gd name="connsiteY26" fmla="*/ 68523 h 155081"/>
                <a:gd name="connsiteX27" fmla="*/ 67504 w 155482"/>
                <a:gd name="connsiteY27" fmla="*/ 107575 h 155081"/>
                <a:gd name="connsiteX28" fmla="*/ 67504 w 155482"/>
                <a:gd name="connsiteY28" fmla="*/ 105070 h 155081"/>
                <a:gd name="connsiteX29" fmla="*/ 80010 w 155482"/>
                <a:gd name="connsiteY29" fmla="*/ 105070 h 155081"/>
                <a:gd name="connsiteX30" fmla="*/ 82525 w 155482"/>
                <a:gd name="connsiteY30" fmla="*/ 102575 h 155081"/>
                <a:gd name="connsiteX31" fmla="*/ 82525 w 155482"/>
                <a:gd name="connsiteY31" fmla="*/ 102575 h 155081"/>
                <a:gd name="connsiteX32" fmla="*/ 82525 w 155482"/>
                <a:gd name="connsiteY32" fmla="*/ 77514 h 155081"/>
                <a:gd name="connsiteX33" fmla="*/ 80010 w 155482"/>
                <a:gd name="connsiteY33" fmla="*/ 75019 h 155081"/>
                <a:gd name="connsiteX34" fmla="*/ 80010 w 155482"/>
                <a:gd name="connsiteY34" fmla="*/ 75019 h 155081"/>
                <a:gd name="connsiteX35" fmla="*/ 67504 w 155482"/>
                <a:gd name="connsiteY35" fmla="*/ 75019 h 155081"/>
                <a:gd name="connsiteX36" fmla="*/ 67504 w 155482"/>
                <a:gd name="connsiteY36" fmla="*/ 71314 h 155081"/>
                <a:gd name="connsiteX37" fmla="*/ 69542 w 155482"/>
                <a:gd name="connsiteY37" fmla="*/ 68456 h 155081"/>
                <a:gd name="connsiteX38" fmla="*/ 75000 w 155482"/>
                <a:gd name="connsiteY38" fmla="*/ 60836 h 155081"/>
                <a:gd name="connsiteX39" fmla="*/ 75000 w 155482"/>
                <a:gd name="connsiteY39" fmla="*/ 50016 h 155081"/>
                <a:gd name="connsiteX40" fmla="*/ 80010 w 155482"/>
                <a:gd name="connsiteY40" fmla="*/ 50016 h 155081"/>
                <a:gd name="connsiteX41" fmla="*/ 80010 w 155482"/>
                <a:gd name="connsiteY41" fmla="*/ 60903 h 155081"/>
                <a:gd name="connsiteX42" fmla="*/ 85477 w 155482"/>
                <a:gd name="connsiteY42" fmla="*/ 68523 h 155081"/>
                <a:gd name="connsiteX43" fmla="*/ 87516 w 155482"/>
                <a:gd name="connsiteY43" fmla="*/ 71380 h 155081"/>
                <a:gd name="connsiteX44" fmla="*/ 87516 w 155482"/>
                <a:gd name="connsiteY44" fmla="*/ 107575 h 155081"/>
                <a:gd name="connsiteX45" fmla="*/ 85020 w 155482"/>
                <a:gd name="connsiteY45" fmla="*/ 110071 h 155081"/>
                <a:gd name="connsiteX46" fmla="*/ 70009 w 155482"/>
                <a:gd name="connsiteY46" fmla="*/ 110071 h 155081"/>
                <a:gd name="connsiteX47" fmla="*/ 67504 w 155482"/>
                <a:gd name="connsiteY47" fmla="*/ 107575 h 155081"/>
                <a:gd name="connsiteX48" fmla="*/ 67504 w 155482"/>
                <a:gd name="connsiteY48" fmla="*/ 80067 h 155081"/>
                <a:gd name="connsiteX49" fmla="*/ 77505 w 155482"/>
                <a:gd name="connsiteY49" fmla="*/ 80067 h 155081"/>
                <a:gd name="connsiteX50" fmla="*/ 77505 w 155482"/>
                <a:gd name="connsiteY50" fmla="*/ 100070 h 155081"/>
                <a:gd name="connsiteX51" fmla="*/ 67504 w 155482"/>
                <a:gd name="connsiteY51" fmla="*/ 100070 h 155081"/>
                <a:gd name="connsiteX52" fmla="*/ 102508 w 155482"/>
                <a:gd name="connsiteY52" fmla="*/ 107575 h 155081"/>
                <a:gd name="connsiteX53" fmla="*/ 102508 w 155482"/>
                <a:gd name="connsiteY53" fmla="*/ 105070 h 155081"/>
                <a:gd name="connsiteX54" fmla="*/ 115005 w 155482"/>
                <a:gd name="connsiteY54" fmla="*/ 105070 h 155081"/>
                <a:gd name="connsiteX55" fmla="*/ 117510 w 155482"/>
                <a:gd name="connsiteY55" fmla="*/ 102584 h 155081"/>
                <a:gd name="connsiteX56" fmla="*/ 117510 w 155482"/>
                <a:gd name="connsiteY56" fmla="*/ 102575 h 155081"/>
                <a:gd name="connsiteX57" fmla="*/ 117510 w 155482"/>
                <a:gd name="connsiteY57" fmla="*/ 77514 h 155081"/>
                <a:gd name="connsiteX58" fmla="*/ 115014 w 155482"/>
                <a:gd name="connsiteY58" fmla="*/ 75019 h 155081"/>
                <a:gd name="connsiteX59" fmla="*/ 115005 w 155482"/>
                <a:gd name="connsiteY59" fmla="*/ 75019 h 155081"/>
                <a:gd name="connsiteX60" fmla="*/ 102508 w 155482"/>
                <a:gd name="connsiteY60" fmla="*/ 75019 h 155081"/>
                <a:gd name="connsiteX61" fmla="*/ 102508 w 155482"/>
                <a:gd name="connsiteY61" fmla="*/ 71314 h 155081"/>
                <a:gd name="connsiteX62" fmla="*/ 104556 w 155482"/>
                <a:gd name="connsiteY62" fmla="*/ 68456 h 155081"/>
                <a:gd name="connsiteX63" fmla="*/ 110014 w 155482"/>
                <a:gd name="connsiteY63" fmla="*/ 60836 h 155081"/>
                <a:gd name="connsiteX64" fmla="*/ 110014 w 155482"/>
                <a:gd name="connsiteY64" fmla="*/ 50016 h 155081"/>
                <a:gd name="connsiteX65" fmla="*/ 115005 w 155482"/>
                <a:gd name="connsiteY65" fmla="*/ 50016 h 155081"/>
                <a:gd name="connsiteX66" fmla="*/ 115005 w 155482"/>
                <a:gd name="connsiteY66" fmla="*/ 60903 h 155081"/>
                <a:gd name="connsiteX67" fmla="*/ 120472 w 155482"/>
                <a:gd name="connsiteY67" fmla="*/ 68523 h 155081"/>
                <a:gd name="connsiteX68" fmla="*/ 122511 w 155482"/>
                <a:gd name="connsiteY68" fmla="*/ 71380 h 155081"/>
                <a:gd name="connsiteX69" fmla="*/ 122511 w 155482"/>
                <a:gd name="connsiteY69" fmla="*/ 107575 h 155081"/>
                <a:gd name="connsiteX70" fmla="*/ 120005 w 155482"/>
                <a:gd name="connsiteY70" fmla="*/ 110071 h 155081"/>
                <a:gd name="connsiteX71" fmla="*/ 105013 w 155482"/>
                <a:gd name="connsiteY71" fmla="*/ 110071 h 155081"/>
                <a:gd name="connsiteX72" fmla="*/ 102508 w 155482"/>
                <a:gd name="connsiteY72" fmla="*/ 107575 h 155081"/>
                <a:gd name="connsiteX73" fmla="*/ 102508 w 155482"/>
                <a:gd name="connsiteY73" fmla="*/ 80067 h 155081"/>
                <a:gd name="connsiteX74" fmla="*/ 112500 w 155482"/>
                <a:gd name="connsiteY74" fmla="*/ 80067 h 155081"/>
                <a:gd name="connsiteX75" fmla="*/ 112500 w 155482"/>
                <a:gd name="connsiteY75" fmla="*/ 100070 h 155081"/>
                <a:gd name="connsiteX76" fmla="*/ 102508 w 155482"/>
                <a:gd name="connsiteY76" fmla="*/ 100070 h 155081"/>
                <a:gd name="connsiteX77" fmla="*/ 132512 w 155482"/>
                <a:gd name="connsiteY77" fmla="*/ 115072 h 155081"/>
                <a:gd name="connsiteX78" fmla="*/ 149606 w 155482"/>
                <a:gd name="connsiteY78" fmla="*/ 132982 h 155081"/>
                <a:gd name="connsiteX79" fmla="*/ 132512 w 155482"/>
                <a:gd name="connsiteY79" fmla="*/ 150076 h 155081"/>
                <a:gd name="connsiteX80" fmla="*/ 22498 w 155482"/>
                <a:gd name="connsiteY80" fmla="*/ 150076 h 155081"/>
                <a:gd name="connsiteX81" fmla="*/ 5404 w 155482"/>
                <a:gd name="connsiteY81" fmla="*/ 132165 h 155081"/>
                <a:gd name="connsiteX82" fmla="*/ 22498 w 155482"/>
                <a:gd name="connsiteY82" fmla="*/ 115072 h 155081"/>
                <a:gd name="connsiteX83" fmla="*/ 32499 w 155482"/>
                <a:gd name="connsiteY83" fmla="*/ 80010 h 155081"/>
                <a:gd name="connsiteX84" fmla="*/ 42501 w 155482"/>
                <a:gd name="connsiteY84" fmla="*/ 80010 h 155081"/>
                <a:gd name="connsiteX85" fmla="*/ 42501 w 155482"/>
                <a:gd name="connsiteY85" fmla="*/ 100013 h 155081"/>
                <a:gd name="connsiteX86" fmla="*/ 32499 w 155482"/>
                <a:gd name="connsiteY86" fmla="*/ 100013 h 155081"/>
                <a:gd name="connsiteX87" fmla="*/ 5001 w 155482"/>
                <a:gd name="connsiteY87" fmla="*/ 10011 h 155081"/>
                <a:gd name="connsiteX88" fmla="*/ 27499 w 155482"/>
                <a:gd name="connsiteY88" fmla="*/ 10011 h 155081"/>
                <a:gd name="connsiteX89" fmla="*/ 27499 w 155482"/>
                <a:gd name="connsiteY89" fmla="*/ 15011 h 155081"/>
                <a:gd name="connsiteX90" fmla="*/ 5001 w 155482"/>
                <a:gd name="connsiteY90" fmla="*/ 15011 h 155081"/>
                <a:gd name="connsiteX91" fmla="*/ 150009 w 155482"/>
                <a:gd name="connsiteY91" fmla="*/ 15011 h 155081"/>
                <a:gd name="connsiteX92" fmla="*/ 57502 w 155482"/>
                <a:gd name="connsiteY92" fmla="*/ 15011 h 155081"/>
                <a:gd name="connsiteX93" fmla="*/ 57502 w 155482"/>
                <a:gd name="connsiteY93" fmla="*/ 10011 h 155081"/>
                <a:gd name="connsiteX94" fmla="*/ 150009 w 155482"/>
                <a:gd name="connsiteY94" fmla="*/ 10011 h 155081"/>
                <a:gd name="connsiteX95" fmla="*/ 47501 w 155482"/>
                <a:gd name="connsiteY95" fmla="*/ 35014 h 155081"/>
                <a:gd name="connsiteX96" fmla="*/ 50006 w 155482"/>
                <a:gd name="connsiteY96" fmla="*/ 32509 h 155081"/>
                <a:gd name="connsiteX97" fmla="*/ 50006 w 155482"/>
                <a:gd name="connsiteY97" fmla="*/ 32480 h 155081"/>
                <a:gd name="connsiteX98" fmla="*/ 50006 w 155482"/>
                <a:gd name="connsiteY98" fmla="*/ 25013 h 155081"/>
                <a:gd name="connsiteX99" fmla="*/ 54997 w 155482"/>
                <a:gd name="connsiteY99" fmla="*/ 25013 h 155081"/>
                <a:gd name="connsiteX100" fmla="*/ 57502 w 155482"/>
                <a:gd name="connsiteY100" fmla="*/ 22508 h 155081"/>
                <a:gd name="connsiteX101" fmla="*/ 57502 w 155482"/>
                <a:gd name="connsiteY101" fmla="*/ 20003 h 155081"/>
                <a:gd name="connsiteX102" fmla="*/ 152514 w 155482"/>
                <a:gd name="connsiteY102" fmla="*/ 20003 h 155081"/>
                <a:gd name="connsiteX103" fmla="*/ 155019 w 155482"/>
                <a:gd name="connsiteY103" fmla="*/ 17516 h 155081"/>
                <a:gd name="connsiteX104" fmla="*/ 155019 w 155482"/>
                <a:gd name="connsiteY104" fmla="*/ 17507 h 155081"/>
                <a:gd name="connsiteX105" fmla="*/ 155019 w 155482"/>
                <a:gd name="connsiteY105" fmla="*/ 7506 h 155081"/>
                <a:gd name="connsiteX106" fmla="*/ 152524 w 155482"/>
                <a:gd name="connsiteY106" fmla="*/ 5010 h 155081"/>
                <a:gd name="connsiteX107" fmla="*/ 152514 w 155482"/>
                <a:gd name="connsiteY107" fmla="*/ 5010 h 155081"/>
                <a:gd name="connsiteX108" fmla="*/ 57502 w 155482"/>
                <a:gd name="connsiteY108" fmla="*/ 5010 h 155081"/>
                <a:gd name="connsiteX109" fmla="*/ 57502 w 155482"/>
                <a:gd name="connsiteY109" fmla="*/ 2515 h 155081"/>
                <a:gd name="connsiteX110" fmla="*/ 55007 w 155482"/>
                <a:gd name="connsiteY110" fmla="*/ 0 h 155081"/>
                <a:gd name="connsiteX111" fmla="*/ 54997 w 155482"/>
                <a:gd name="connsiteY111" fmla="*/ 0 h 155081"/>
                <a:gd name="connsiteX112" fmla="*/ 30004 w 155482"/>
                <a:gd name="connsiteY112" fmla="*/ 0 h 155081"/>
                <a:gd name="connsiteX113" fmla="*/ 27499 w 155482"/>
                <a:gd name="connsiteY113" fmla="*/ 2515 h 155081"/>
                <a:gd name="connsiteX114" fmla="*/ 27499 w 155482"/>
                <a:gd name="connsiteY114" fmla="*/ 5010 h 155081"/>
                <a:gd name="connsiteX115" fmla="*/ 2496 w 155482"/>
                <a:gd name="connsiteY115" fmla="*/ 5010 h 155081"/>
                <a:gd name="connsiteX116" fmla="*/ 0 w 155482"/>
                <a:gd name="connsiteY116" fmla="*/ 7506 h 155081"/>
                <a:gd name="connsiteX117" fmla="*/ 0 w 155482"/>
                <a:gd name="connsiteY117" fmla="*/ 17507 h 155081"/>
                <a:gd name="connsiteX118" fmla="*/ 2496 w 155482"/>
                <a:gd name="connsiteY118" fmla="*/ 20003 h 155081"/>
                <a:gd name="connsiteX119" fmla="*/ 27499 w 155482"/>
                <a:gd name="connsiteY119" fmla="*/ 20003 h 155081"/>
                <a:gd name="connsiteX120" fmla="*/ 27499 w 155482"/>
                <a:gd name="connsiteY120" fmla="*/ 22508 h 155081"/>
                <a:gd name="connsiteX121" fmla="*/ 30004 w 155482"/>
                <a:gd name="connsiteY121" fmla="*/ 25013 h 155081"/>
                <a:gd name="connsiteX122" fmla="*/ 34995 w 155482"/>
                <a:gd name="connsiteY122" fmla="*/ 25013 h 155081"/>
                <a:gd name="connsiteX123" fmla="*/ 34995 w 155482"/>
                <a:gd name="connsiteY123" fmla="*/ 32480 h 155081"/>
                <a:gd name="connsiteX124" fmla="*/ 37509 w 155482"/>
                <a:gd name="connsiteY124" fmla="*/ 34985 h 155081"/>
                <a:gd name="connsiteX125" fmla="*/ 40005 w 155482"/>
                <a:gd name="connsiteY125" fmla="*/ 34985 h 155081"/>
                <a:gd name="connsiteX126" fmla="*/ 40005 w 155482"/>
                <a:gd name="connsiteY126" fmla="*/ 45006 h 155081"/>
                <a:gd name="connsiteX127" fmla="*/ 37509 w 155482"/>
                <a:gd name="connsiteY127" fmla="*/ 45006 h 155081"/>
                <a:gd name="connsiteX128" fmla="*/ 34995 w 155482"/>
                <a:gd name="connsiteY128" fmla="*/ 47511 h 155081"/>
                <a:gd name="connsiteX129" fmla="*/ 34995 w 155482"/>
                <a:gd name="connsiteY129" fmla="*/ 60903 h 155081"/>
                <a:gd name="connsiteX130" fmla="*/ 32957 w 155482"/>
                <a:gd name="connsiteY130" fmla="*/ 63760 h 155081"/>
                <a:gd name="connsiteX131" fmla="*/ 27499 w 155482"/>
                <a:gd name="connsiteY131" fmla="*/ 71380 h 155081"/>
                <a:gd name="connsiteX132" fmla="*/ 27499 w 155482"/>
                <a:gd name="connsiteY132" fmla="*/ 107575 h 155081"/>
                <a:gd name="connsiteX133" fmla="*/ 27965 w 155482"/>
                <a:gd name="connsiteY133" fmla="*/ 110071 h 155081"/>
                <a:gd name="connsiteX134" fmla="*/ 22498 w 155482"/>
                <a:gd name="connsiteY134" fmla="*/ 110071 h 155081"/>
                <a:gd name="connsiteX135" fmla="*/ 458 w 155482"/>
                <a:gd name="connsiteY135" fmla="*/ 133037 h 155081"/>
                <a:gd name="connsiteX136" fmla="*/ 22498 w 155482"/>
                <a:gd name="connsiteY136" fmla="*/ 155077 h 155081"/>
                <a:gd name="connsiteX137" fmla="*/ 132512 w 155482"/>
                <a:gd name="connsiteY137" fmla="*/ 155077 h 155081"/>
                <a:gd name="connsiteX138" fmla="*/ 155478 w 155482"/>
                <a:gd name="connsiteY138" fmla="*/ 133037 h 155081"/>
                <a:gd name="connsiteX139" fmla="*/ 133438 w 155482"/>
                <a:gd name="connsiteY139" fmla="*/ 110071 h 155081"/>
                <a:gd name="connsiteX140" fmla="*/ 132512 w 155482"/>
                <a:gd name="connsiteY140" fmla="*/ 110071 h 155081"/>
                <a:gd name="connsiteX141" fmla="*/ 127054 w 155482"/>
                <a:gd name="connsiteY141" fmla="*/ 110071 h 155081"/>
                <a:gd name="connsiteX142" fmla="*/ 127511 w 155482"/>
                <a:gd name="connsiteY142" fmla="*/ 107575 h 155081"/>
                <a:gd name="connsiteX143" fmla="*/ 127511 w 155482"/>
                <a:gd name="connsiteY143" fmla="*/ 71380 h 155081"/>
                <a:gd name="connsiteX144" fmla="*/ 122044 w 155482"/>
                <a:gd name="connsiteY144" fmla="*/ 63760 h 155081"/>
                <a:gd name="connsiteX145" fmla="*/ 120005 w 155482"/>
                <a:gd name="connsiteY145" fmla="*/ 60903 h 155081"/>
                <a:gd name="connsiteX146" fmla="*/ 120005 w 155482"/>
                <a:gd name="connsiteY146" fmla="*/ 47511 h 155081"/>
                <a:gd name="connsiteX147" fmla="*/ 117519 w 155482"/>
                <a:gd name="connsiteY147" fmla="*/ 45006 h 155081"/>
                <a:gd name="connsiteX148" fmla="*/ 117510 w 155482"/>
                <a:gd name="connsiteY148" fmla="*/ 45006 h 155081"/>
                <a:gd name="connsiteX149" fmla="*/ 107509 w 155482"/>
                <a:gd name="connsiteY149" fmla="*/ 45006 h 155081"/>
                <a:gd name="connsiteX150" fmla="*/ 105013 w 155482"/>
                <a:gd name="connsiteY150" fmla="*/ 47501 h 155081"/>
                <a:gd name="connsiteX151" fmla="*/ 105013 w 155482"/>
                <a:gd name="connsiteY151" fmla="*/ 47511 h 155081"/>
                <a:gd name="connsiteX152" fmla="*/ 105013 w 155482"/>
                <a:gd name="connsiteY152" fmla="*/ 60903 h 155081"/>
                <a:gd name="connsiteX153" fmla="*/ 102965 w 155482"/>
                <a:gd name="connsiteY153" fmla="*/ 63760 h 155081"/>
                <a:gd name="connsiteX154" fmla="*/ 97507 w 155482"/>
                <a:gd name="connsiteY154" fmla="*/ 71380 h 155081"/>
                <a:gd name="connsiteX155" fmla="*/ 97507 w 155482"/>
                <a:gd name="connsiteY155" fmla="*/ 107575 h 155081"/>
                <a:gd name="connsiteX156" fmla="*/ 97965 w 155482"/>
                <a:gd name="connsiteY156" fmla="*/ 110071 h 155081"/>
                <a:gd name="connsiteX157" fmla="*/ 92050 w 155482"/>
                <a:gd name="connsiteY157" fmla="*/ 110071 h 155081"/>
                <a:gd name="connsiteX158" fmla="*/ 92507 w 155482"/>
                <a:gd name="connsiteY158" fmla="*/ 107575 h 155081"/>
                <a:gd name="connsiteX159" fmla="*/ 92507 w 155482"/>
                <a:gd name="connsiteY159" fmla="*/ 71380 h 155081"/>
                <a:gd name="connsiteX160" fmla="*/ 87049 w 155482"/>
                <a:gd name="connsiteY160" fmla="*/ 63760 h 155081"/>
                <a:gd name="connsiteX161" fmla="*/ 85011 w 155482"/>
                <a:gd name="connsiteY161" fmla="*/ 60903 h 155081"/>
                <a:gd name="connsiteX162" fmla="*/ 85011 w 155482"/>
                <a:gd name="connsiteY162" fmla="*/ 47511 h 155081"/>
                <a:gd name="connsiteX163" fmla="*/ 82515 w 155482"/>
                <a:gd name="connsiteY163" fmla="*/ 45006 h 155081"/>
                <a:gd name="connsiteX164" fmla="*/ 72504 w 155482"/>
                <a:gd name="connsiteY164" fmla="*/ 45006 h 155081"/>
                <a:gd name="connsiteX165" fmla="*/ 70009 w 155482"/>
                <a:gd name="connsiteY165" fmla="*/ 47511 h 155081"/>
                <a:gd name="connsiteX166" fmla="*/ 70009 w 155482"/>
                <a:gd name="connsiteY166" fmla="*/ 60903 h 155081"/>
                <a:gd name="connsiteX167" fmla="*/ 67970 w 155482"/>
                <a:gd name="connsiteY167" fmla="*/ 63760 h 155081"/>
                <a:gd name="connsiteX168" fmla="*/ 62513 w 155482"/>
                <a:gd name="connsiteY168" fmla="*/ 71380 h 155081"/>
                <a:gd name="connsiteX169" fmla="*/ 62513 w 155482"/>
                <a:gd name="connsiteY169" fmla="*/ 107575 h 155081"/>
                <a:gd name="connsiteX170" fmla="*/ 62970 w 155482"/>
                <a:gd name="connsiteY170" fmla="*/ 110071 h 155081"/>
                <a:gd name="connsiteX171" fmla="*/ 57036 w 155482"/>
                <a:gd name="connsiteY171" fmla="*/ 110071 h 155081"/>
                <a:gd name="connsiteX172" fmla="*/ 57502 w 155482"/>
                <a:gd name="connsiteY172" fmla="*/ 107575 h 155081"/>
                <a:gd name="connsiteX173" fmla="*/ 57502 w 155482"/>
                <a:gd name="connsiteY173" fmla="*/ 71380 h 155081"/>
                <a:gd name="connsiteX174" fmla="*/ 52045 w 155482"/>
                <a:gd name="connsiteY174" fmla="*/ 63760 h 155081"/>
                <a:gd name="connsiteX175" fmla="*/ 50006 w 155482"/>
                <a:gd name="connsiteY175" fmla="*/ 60903 h 155081"/>
                <a:gd name="connsiteX176" fmla="*/ 50006 w 155482"/>
                <a:gd name="connsiteY176" fmla="*/ 47511 h 155081"/>
                <a:gd name="connsiteX177" fmla="*/ 47501 w 155482"/>
                <a:gd name="connsiteY177" fmla="*/ 45006 h 155081"/>
                <a:gd name="connsiteX178" fmla="*/ 45006 w 155482"/>
                <a:gd name="connsiteY178" fmla="*/ 45006 h 155081"/>
                <a:gd name="connsiteX179" fmla="*/ 45006 w 155482"/>
                <a:gd name="connsiteY179" fmla="*/ 35014 h 155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155482" h="155081">
                  <a:moveTo>
                    <a:pt x="45006" y="30013"/>
                  </a:moveTo>
                  <a:lnTo>
                    <a:pt x="40005" y="30013"/>
                  </a:lnTo>
                  <a:lnTo>
                    <a:pt x="40005" y="25013"/>
                  </a:lnTo>
                  <a:lnTo>
                    <a:pt x="45006" y="25013"/>
                  </a:lnTo>
                  <a:close/>
                  <a:moveTo>
                    <a:pt x="32499" y="5010"/>
                  </a:moveTo>
                  <a:lnTo>
                    <a:pt x="52502" y="5010"/>
                  </a:lnTo>
                  <a:lnTo>
                    <a:pt x="52502" y="20012"/>
                  </a:lnTo>
                  <a:lnTo>
                    <a:pt x="32499" y="20012"/>
                  </a:lnTo>
                  <a:close/>
                  <a:moveTo>
                    <a:pt x="50483" y="68485"/>
                  </a:moveTo>
                  <a:cubicBezTo>
                    <a:pt x="51712" y="68891"/>
                    <a:pt x="52537" y="70047"/>
                    <a:pt x="52521" y="71342"/>
                  </a:cubicBezTo>
                  <a:lnTo>
                    <a:pt x="52521" y="107537"/>
                  </a:lnTo>
                  <a:cubicBezTo>
                    <a:pt x="52516" y="108913"/>
                    <a:pt x="51401" y="110028"/>
                    <a:pt x="50025" y="110033"/>
                  </a:cubicBezTo>
                  <a:lnTo>
                    <a:pt x="34995" y="110033"/>
                  </a:lnTo>
                  <a:cubicBezTo>
                    <a:pt x="33619" y="110028"/>
                    <a:pt x="32505" y="108913"/>
                    <a:pt x="32499" y="107537"/>
                  </a:cubicBezTo>
                  <a:lnTo>
                    <a:pt x="32499" y="105032"/>
                  </a:lnTo>
                  <a:lnTo>
                    <a:pt x="45006" y="105032"/>
                  </a:lnTo>
                  <a:cubicBezTo>
                    <a:pt x="46384" y="105032"/>
                    <a:pt x="47501" y="103915"/>
                    <a:pt x="47501" y="102537"/>
                  </a:cubicBezTo>
                  <a:lnTo>
                    <a:pt x="47501" y="77514"/>
                  </a:lnTo>
                  <a:cubicBezTo>
                    <a:pt x="47501" y="76136"/>
                    <a:pt x="46384" y="75019"/>
                    <a:pt x="45006" y="75019"/>
                  </a:cubicBezTo>
                  <a:lnTo>
                    <a:pt x="32499" y="75019"/>
                  </a:lnTo>
                  <a:lnTo>
                    <a:pt x="32499" y="71314"/>
                  </a:lnTo>
                  <a:cubicBezTo>
                    <a:pt x="32485" y="70016"/>
                    <a:pt x="33314" y="68859"/>
                    <a:pt x="34547" y="68456"/>
                  </a:cubicBezTo>
                  <a:cubicBezTo>
                    <a:pt x="37821" y="67362"/>
                    <a:pt x="40023" y="64288"/>
                    <a:pt x="40005" y="60836"/>
                  </a:cubicBezTo>
                  <a:lnTo>
                    <a:pt x="40005" y="50016"/>
                  </a:lnTo>
                  <a:lnTo>
                    <a:pt x="45006" y="50016"/>
                  </a:lnTo>
                  <a:lnTo>
                    <a:pt x="45006" y="60903"/>
                  </a:lnTo>
                  <a:cubicBezTo>
                    <a:pt x="44985" y="64356"/>
                    <a:pt x="47187" y="67431"/>
                    <a:pt x="50463" y="68523"/>
                  </a:cubicBezTo>
                  <a:moveTo>
                    <a:pt x="67504" y="107575"/>
                  </a:moveTo>
                  <a:lnTo>
                    <a:pt x="67504" y="105070"/>
                  </a:lnTo>
                  <a:lnTo>
                    <a:pt x="80010" y="105070"/>
                  </a:lnTo>
                  <a:cubicBezTo>
                    <a:pt x="81394" y="105076"/>
                    <a:pt x="82519" y="103958"/>
                    <a:pt x="82525" y="102575"/>
                  </a:cubicBezTo>
                  <a:cubicBezTo>
                    <a:pt x="82525" y="102575"/>
                    <a:pt x="82525" y="102575"/>
                    <a:pt x="82525" y="102575"/>
                  </a:cubicBezTo>
                  <a:lnTo>
                    <a:pt x="82525" y="77514"/>
                  </a:lnTo>
                  <a:cubicBezTo>
                    <a:pt x="82519" y="76131"/>
                    <a:pt x="81394" y="75014"/>
                    <a:pt x="80010" y="75019"/>
                  </a:cubicBezTo>
                  <a:cubicBezTo>
                    <a:pt x="80010" y="75019"/>
                    <a:pt x="80010" y="75019"/>
                    <a:pt x="80010" y="75019"/>
                  </a:cubicBezTo>
                  <a:lnTo>
                    <a:pt x="67504" y="75019"/>
                  </a:lnTo>
                  <a:lnTo>
                    <a:pt x="67504" y="71314"/>
                  </a:lnTo>
                  <a:cubicBezTo>
                    <a:pt x="67491" y="70020"/>
                    <a:pt x="68314" y="68865"/>
                    <a:pt x="69542" y="68456"/>
                  </a:cubicBezTo>
                  <a:cubicBezTo>
                    <a:pt x="72820" y="67367"/>
                    <a:pt x="75023" y="64290"/>
                    <a:pt x="75000" y="60836"/>
                  </a:cubicBezTo>
                  <a:lnTo>
                    <a:pt x="75000" y="50016"/>
                  </a:lnTo>
                  <a:lnTo>
                    <a:pt x="80010" y="50016"/>
                  </a:lnTo>
                  <a:lnTo>
                    <a:pt x="80010" y="60903"/>
                  </a:lnTo>
                  <a:cubicBezTo>
                    <a:pt x="79994" y="64358"/>
                    <a:pt x="82199" y="67432"/>
                    <a:pt x="85477" y="68523"/>
                  </a:cubicBezTo>
                  <a:cubicBezTo>
                    <a:pt x="86707" y="68930"/>
                    <a:pt x="87531" y="70085"/>
                    <a:pt x="87516" y="71380"/>
                  </a:cubicBezTo>
                  <a:lnTo>
                    <a:pt x="87516" y="107575"/>
                  </a:lnTo>
                  <a:cubicBezTo>
                    <a:pt x="87510" y="108951"/>
                    <a:pt x="86396" y="110066"/>
                    <a:pt x="85020" y="110071"/>
                  </a:cubicBezTo>
                  <a:lnTo>
                    <a:pt x="70009" y="110071"/>
                  </a:lnTo>
                  <a:cubicBezTo>
                    <a:pt x="68629" y="110071"/>
                    <a:pt x="67509" y="108955"/>
                    <a:pt x="67504" y="107575"/>
                  </a:cubicBezTo>
                  <a:moveTo>
                    <a:pt x="67504" y="80067"/>
                  </a:moveTo>
                  <a:lnTo>
                    <a:pt x="77505" y="80067"/>
                  </a:lnTo>
                  <a:lnTo>
                    <a:pt x="77505" y="100070"/>
                  </a:lnTo>
                  <a:lnTo>
                    <a:pt x="67504" y="100070"/>
                  </a:lnTo>
                  <a:close/>
                  <a:moveTo>
                    <a:pt x="102508" y="107575"/>
                  </a:moveTo>
                  <a:lnTo>
                    <a:pt x="102508" y="105070"/>
                  </a:lnTo>
                  <a:lnTo>
                    <a:pt x="115005" y="105070"/>
                  </a:lnTo>
                  <a:cubicBezTo>
                    <a:pt x="116383" y="105076"/>
                    <a:pt x="117505" y="103963"/>
                    <a:pt x="117510" y="102584"/>
                  </a:cubicBezTo>
                  <a:cubicBezTo>
                    <a:pt x="117510" y="102581"/>
                    <a:pt x="117510" y="102578"/>
                    <a:pt x="117510" y="102575"/>
                  </a:cubicBezTo>
                  <a:lnTo>
                    <a:pt x="117510" y="77514"/>
                  </a:lnTo>
                  <a:cubicBezTo>
                    <a:pt x="117510" y="76136"/>
                    <a:pt x="116393" y="75019"/>
                    <a:pt x="115014" y="75019"/>
                  </a:cubicBezTo>
                  <a:cubicBezTo>
                    <a:pt x="115011" y="75019"/>
                    <a:pt x="115008" y="75019"/>
                    <a:pt x="115005" y="75019"/>
                  </a:cubicBezTo>
                  <a:lnTo>
                    <a:pt x="102508" y="75019"/>
                  </a:lnTo>
                  <a:lnTo>
                    <a:pt x="102508" y="71314"/>
                  </a:lnTo>
                  <a:cubicBezTo>
                    <a:pt x="102494" y="70016"/>
                    <a:pt x="103323" y="68859"/>
                    <a:pt x="104556" y="68456"/>
                  </a:cubicBezTo>
                  <a:cubicBezTo>
                    <a:pt x="107830" y="67362"/>
                    <a:pt x="110031" y="64288"/>
                    <a:pt x="110014" y="60836"/>
                  </a:cubicBezTo>
                  <a:lnTo>
                    <a:pt x="110014" y="50016"/>
                  </a:lnTo>
                  <a:lnTo>
                    <a:pt x="115005" y="50016"/>
                  </a:lnTo>
                  <a:lnTo>
                    <a:pt x="115005" y="60903"/>
                  </a:lnTo>
                  <a:cubicBezTo>
                    <a:pt x="114983" y="64360"/>
                    <a:pt x="117191" y="67437"/>
                    <a:pt x="120472" y="68523"/>
                  </a:cubicBezTo>
                  <a:cubicBezTo>
                    <a:pt x="121700" y="68932"/>
                    <a:pt x="122523" y="70086"/>
                    <a:pt x="122511" y="71380"/>
                  </a:cubicBezTo>
                  <a:lnTo>
                    <a:pt x="122511" y="107575"/>
                  </a:lnTo>
                  <a:cubicBezTo>
                    <a:pt x="122505" y="108955"/>
                    <a:pt x="121385" y="110071"/>
                    <a:pt x="120005" y="110071"/>
                  </a:cubicBezTo>
                  <a:lnTo>
                    <a:pt x="105013" y="110071"/>
                  </a:lnTo>
                  <a:cubicBezTo>
                    <a:pt x="103633" y="110071"/>
                    <a:pt x="102513" y="108955"/>
                    <a:pt x="102508" y="107575"/>
                  </a:cubicBezTo>
                  <a:moveTo>
                    <a:pt x="102508" y="80067"/>
                  </a:moveTo>
                  <a:lnTo>
                    <a:pt x="112500" y="80067"/>
                  </a:lnTo>
                  <a:lnTo>
                    <a:pt x="112500" y="100070"/>
                  </a:lnTo>
                  <a:lnTo>
                    <a:pt x="102508" y="100070"/>
                  </a:lnTo>
                  <a:close/>
                  <a:moveTo>
                    <a:pt x="132512" y="115072"/>
                  </a:moveTo>
                  <a:cubicBezTo>
                    <a:pt x="142178" y="115297"/>
                    <a:pt x="149831" y="123316"/>
                    <a:pt x="149606" y="132982"/>
                  </a:cubicBezTo>
                  <a:cubicBezTo>
                    <a:pt x="149388" y="142331"/>
                    <a:pt x="141861" y="149858"/>
                    <a:pt x="132512" y="150076"/>
                  </a:cubicBezTo>
                  <a:lnTo>
                    <a:pt x="22498" y="150076"/>
                  </a:lnTo>
                  <a:cubicBezTo>
                    <a:pt x="12832" y="149850"/>
                    <a:pt x="5179" y="141832"/>
                    <a:pt x="5404" y="132165"/>
                  </a:cubicBezTo>
                  <a:cubicBezTo>
                    <a:pt x="5622" y="122817"/>
                    <a:pt x="13149" y="115290"/>
                    <a:pt x="22498" y="115072"/>
                  </a:cubicBezTo>
                  <a:close/>
                  <a:moveTo>
                    <a:pt x="32499" y="80010"/>
                  </a:moveTo>
                  <a:lnTo>
                    <a:pt x="42501" y="80010"/>
                  </a:lnTo>
                  <a:lnTo>
                    <a:pt x="42501" y="100013"/>
                  </a:lnTo>
                  <a:lnTo>
                    <a:pt x="32499" y="100013"/>
                  </a:lnTo>
                  <a:close/>
                  <a:moveTo>
                    <a:pt x="5001" y="10011"/>
                  </a:moveTo>
                  <a:lnTo>
                    <a:pt x="27499" y="10011"/>
                  </a:lnTo>
                  <a:lnTo>
                    <a:pt x="27499" y="15011"/>
                  </a:lnTo>
                  <a:lnTo>
                    <a:pt x="5001" y="15011"/>
                  </a:lnTo>
                  <a:close/>
                  <a:moveTo>
                    <a:pt x="150009" y="15011"/>
                  </a:moveTo>
                  <a:lnTo>
                    <a:pt x="57502" y="15011"/>
                  </a:lnTo>
                  <a:lnTo>
                    <a:pt x="57502" y="10011"/>
                  </a:lnTo>
                  <a:lnTo>
                    <a:pt x="150009" y="10011"/>
                  </a:lnTo>
                  <a:close/>
                  <a:moveTo>
                    <a:pt x="47501" y="35014"/>
                  </a:moveTo>
                  <a:cubicBezTo>
                    <a:pt x="48885" y="35014"/>
                    <a:pt x="50006" y="33893"/>
                    <a:pt x="50006" y="32509"/>
                  </a:cubicBezTo>
                  <a:cubicBezTo>
                    <a:pt x="50006" y="32499"/>
                    <a:pt x="50006" y="32490"/>
                    <a:pt x="50006" y="32480"/>
                  </a:cubicBezTo>
                  <a:lnTo>
                    <a:pt x="50006" y="25013"/>
                  </a:lnTo>
                  <a:lnTo>
                    <a:pt x="54997" y="25013"/>
                  </a:lnTo>
                  <a:cubicBezTo>
                    <a:pt x="56381" y="25013"/>
                    <a:pt x="57502" y="23891"/>
                    <a:pt x="57502" y="22508"/>
                  </a:cubicBezTo>
                  <a:lnTo>
                    <a:pt x="57502" y="20003"/>
                  </a:lnTo>
                  <a:lnTo>
                    <a:pt x="152514" y="20003"/>
                  </a:lnTo>
                  <a:cubicBezTo>
                    <a:pt x="153893" y="20008"/>
                    <a:pt x="155014" y="18895"/>
                    <a:pt x="155019" y="17516"/>
                  </a:cubicBezTo>
                  <a:cubicBezTo>
                    <a:pt x="155019" y="17513"/>
                    <a:pt x="155019" y="17510"/>
                    <a:pt x="155019" y="17507"/>
                  </a:cubicBezTo>
                  <a:lnTo>
                    <a:pt x="155019" y="7506"/>
                  </a:lnTo>
                  <a:cubicBezTo>
                    <a:pt x="155019" y="6127"/>
                    <a:pt x="153902" y="5010"/>
                    <a:pt x="152524" y="5010"/>
                  </a:cubicBezTo>
                  <a:cubicBezTo>
                    <a:pt x="152521" y="5010"/>
                    <a:pt x="152517" y="5010"/>
                    <a:pt x="152514" y="5010"/>
                  </a:cubicBezTo>
                  <a:lnTo>
                    <a:pt x="57502" y="5010"/>
                  </a:lnTo>
                  <a:lnTo>
                    <a:pt x="57502" y="2515"/>
                  </a:lnTo>
                  <a:cubicBezTo>
                    <a:pt x="57508" y="1131"/>
                    <a:pt x="56390" y="5"/>
                    <a:pt x="55007" y="0"/>
                  </a:cubicBezTo>
                  <a:cubicBezTo>
                    <a:pt x="55004" y="0"/>
                    <a:pt x="55001" y="0"/>
                    <a:pt x="54997" y="0"/>
                  </a:cubicBezTo>
                  <a:lnTo>
                    <a:pt x="30004" y="0"/>
                  </a:lnTo>
                  <a:cubicBezTo>
                    <a:pt x="28619" y="5"/>
                    <a:pt x="27499" y="1130"/>
                    <a:pt x="27499" y="2515"/>
                  </a:cubicBezTo>
                  <a:lnTo>
                    <a:pt x="27499" y="5010"/>
                  </a:lnTo>
                  <a:lnTo>
                    <a:pt x="2496" y="5010"/>
                  </a:lnTo>
                  <a:cubicBezTo>
                    <a:pt x="1117" y="5010"/>
                    <a:pt x="0" y="6127"/>
                    <a:pt x="0" y="7506"/>
                  </a:cubicBezTo>
                  <a:lnTo>
                    <a:pt x="0" y="17507"/>
                  </a:lnTo>
                  <a:cubicBezTo>
                    <a:pt x="0" y="18885"/>
                    <a:pt x="1117" y="20003"/>
                    <a:pt x="2496" y="20003"/>
                  </a:cubicBezTo>
                  <a:lnTo>
                    <a:pt x="27499" y="20003"/>
                  </a:lnTo>
                  <a:lnTo>
                    <a:pt x="27499" y="22508"/>
                  </a:lnTo>
                  <a:cubicBezTo>
                    <a:pt x="27499" y="23891"/>
                    <a:pt x="28620" y="25013"/>
                    <a:pt x="30004" y="25013"/>
                  </a:cubicBezTo>
                  <a:lnTo>
                    <a:pt x="34995" y="25013"/>
                  </a:lnTo>
                  <a:lnTo>
                    <a:pt x="34995" y="32480"/>
                  </a:lnTo>
                  <a:cubicBezTo>
                    <a:pt x="35000" y="33865"/>
                    <a:pt x="36124" y="34985"/>
                    <a:pt x="37509" y="34985"/>
                  </a:cubicBezTo>
                  <a:lnTo>
                    <a:pt x="40005" y="34985"/>
                  </a:lnTo>
                  <a:lnTo>
                    <a:pt x="40005" y="45006"/>
                  </a:lnTo>
                  <a:lnTo>
                    <a:pt x="37509" y="45006"/>
                  </a:lnTo>
                  <a:cubicBezTo>
                    <a:pt x="36124" y="45006"/>
                    <a:pt x="35000" y="46126"/>
                    <a:pt x="34995" y="47511"/>
                  </a:cubicBezTo>
                  <a:lnTo>
                    <a:pt x="34995" y="60903"/>
                  </a:lnTo>
                  <a:cubicBezTo>
                    <a:pt x="35014" y="62199"/>
                    <a:pt x="34188" y="63356"/>
                    <a:pt x="32957" y="63760"/>
                  </a:cubicBezTo>
                  <a:cubicBezTo>
                    <a:pt x="29682" y="64855"/>
                    <a:pt x="27481" y="67928"/>
                    <a:pt x="27499" y="71380"/>
                  </a:cubicBezTo>
                  <a:lnTo>
                    <a:pt x="27499" y="107575"/>
                  </a:lnTo>
                  <a:cubicBezTo>
                    <a:pt x="27511" y="108428"/>
                    <a:pt x="27669" y="109272"/>
                    <a:pt x="27965" y="110071"/>
                  </a:cubicBezTo>
                  <a:lnTo>
                    <a:pt x="22498" y="110071"/>
                  </a:lnTo>
                  <a:cubicBezTo>
                    <a:pt x="10070" y="110327"/>
                    <a:pt x="203" y="120609"/>
                    <a:pt x="458" y="133037"/>
                  </a:cubicBezTo>
                  <a:cubicBezTo>
                    <a:pt x="707" y="145105"/>
                    <a:pt x="10430" y="154828"/>
                    <a:pt x="22498" y="155077"/>
                  </a:cubicBezTo>
                  <a:lnTo>
                    <a:pt x="132512" y="155077"/>
                  </a:lnTo>
                  <a:cubicBezTo>
                    <a:pt x="144940" y="155332"/>
                    <a:pt x="155222" y="145465"/>
                    <a:pt x="155478" y="133037"/>
                  </a:cubicBezTo>
                  <a:cubicBezTo>
                    <a:pt x="155733" y="120609"/>
                    <a:pt x="145866" y="110327"/>
                    <a:pt x="133438" y="110071"/>
                  </a:cubicBezTo>
                  <a:cubicBezTo>
                    <a:pt x="133129" y="110065"/>
                    <a:pt x="132820" y="110065"/>
                    <a:pt x="132512" y="110071"/>
                  </a:cubicBezTo>
                  <a:lnTo>
                    <a:pt x="127054" y="110071"/>
                  </a:lnTo>
                  <a:cubicBezTo>
                    <a:pt x="127347" y="109271"/>
                    <a:pt x="127502" y="108427"/>
                    <a:pt x="127511" y="107575"/>
                  </a:cubicBezTo>
                  <a:lnTo>
                    <a:pt x="127511" y="71380"/>
                  </a:lnTo>
                  <a:cubicBezTo>
                    <a:pt x="127533" y="67924"/>
                    <a:pt x="125326" y="64846"/>
                    <a:pt x="122044" y="63760"/>
                  </a:cubicBezTo>
                  <a:cubicBezTo>
                    <a:pt x="120816" y="63351"/>
                    <a:pt x="119993" y="62197"/>
                    <a:pt x="120005" y="60903"/>
                  </a:cubicBezTo>
                  <a:lnTo>
                    <a:pt x="120005" y="47511"/>
                  </a:lnTo>
                  <a:cubicBezTo>
                    <a:pt x="120011" y="46132"/>
                    <a:pt x="118898" y="45011"/>
                    <a:pt x="117519" y="45006"/>
                  </a:cubicBezTo>
                  <a:cubicBezTo>
                    <a:pt x="117516" y="45006"/>
                    <a:pt x="117513" y="45006"/>
                    <a:pt x="117510" y="45006"/>
                  </a:cubicBezTo>
                  <a:lnTo>
                    <a:pt x="107509" y="45006"/>
                  </a:lnTo>
                  <a:cubicBezTo>
                    <a:pt x="106130" y="45006"/>
                    <a:pt x="105013" y="46123"/>
                    <a:pt x="105013" y="47501"/>
                  </a:cubicBezTo>
                  <a:cubicBezTo>
                    <a:pt x="105013" y="47504"/>
                    <a:pt x="105013" y="47508"/>
                    <a:pt x="105013" y="47511"/>
                  </a:cubicBezTo>
                  <a:lnTo>
                    <a:pt x="105013" y="60903"/>
                  </a:lnTo>
                  <a:cubicBezTo>
                    <a:pt x="105027" y="62200"/>
                    <a:pt x="104198" y="63357"/>
                    <a:pt x="102965" y="63760"/>
                  </a:cubicBezTo>
                  <a:cubicBezTo>
                    <a:pt x="99691" y="64855"/>
                    <a:pt x="97490" y="67928"/>
                    <a:pt x="97507" y="71380"/>
                  </a:cubicBezTo>
                  <a:lnTo>
                    <a:pt x="97507" y="107575"/>
                  </a:lnTo>
                  <a:cubicBezTo>
                    <a:pt x="97517" y="108427"/>
                    <a:pt x="97671" y="109271"/>
                    <a:pt x="97965" y="110071"/>
                  </a:cubicBezTo>
                  <a:lnTo>
                    <a:pt x="92050" y="110071"/>
                  </a:lnTo>
                  <a:cubicBezTo>
                    <a:pt x="92343" y="109271"/>
                    <a:pt x="92498" y="108427"/>
                    <a:pt x="92507" y="107575"/>
                  </a:cubicBezTo>
                  <a:lnTo>
                    <a:pt x="92507" y="71380"/>
                  </a:lnTo>
                  <a:cubicBezTo>
                    <a:pt x="92524" y="67928"/>
                    <a:pt x="90323" y="64855"/>
                    <a:pt x="87049" y="63760"/>
                  </a:cubicBezTo>
                  <a:cubicBezTo>
                    <a:pt x="85818" y="63356"/>
                    <a:pt x="84992" y="62199"/>
                    <a:pt x="85011" y="60903"/>
                  </a:cubicBezTo>
                  <a:lnTo>
                    <a:pt x="85011" y="47511"/>
                  </a:lnTo>
                  <a:cubicBezTo>
                    <a:pt x="85011" y="46131"/>
                    <a:pt x="83895" y="45011"/>
                    <a:pt x="82515" y="45006"/>
                  </a:cubicBezTo>
                  <a:lnTo>
                    <a:pt x="72504" y="45006"/>
                  </a:lnTo>
                  <a:cubicBezTo>
                    <a:pt x="71125" y="45011"/>
                    <a:pt x="70009" y="46131"/>
                    <a:pt x="70009" y="47511"/>
                  </a:cubicBezTo>
                  <a:lnTo>
                    <a:pt x="70009" y="60903"/>
                  </a:lnTo>
                  <a:cubicBezTo>
                    <a:pt x="70021" y="62197"/>
                    <a:pt x="69198" y="63351"/>
                    <a:pt x="67970" y="63760"/>
                  </a:cubicBezTo>
                  <a:cubicBezTo>
                    <a:pt x="64692" y="64850"/>
                    <a:pt x="62489" y="67926"/>
                    <a:pt x="62513" y="71380"/>
                  </a:cubicBezTo>
                  <a:lnTo>
                    <a:pt x="62513" y="107575"/>
                  </a:lnTo>
                  <a:cubicBezTo>
                    <a:pt x="62517" y="108428"/>
                    <a:pt x="62672" y="109272"/>
                    <a:pt x="62970" y="110071"/>
                  </a:cubicBezTo>
                  <a:lnTo>
                    <a:pt x="57036" y="110071"/>
                  </a:lnTo>
                  <a:cubicBezTo>
                    <a:pt x="57337" y="109273"/>
                    <a:pt x="57495" y="108428"/>
                    <a:pt x="57502" y="107575"/>
                  </a:cubicBezTo>
                  <a:lnTo>
                    <a:pt x="57502" y="71380"/>
                  </a:lnTo>
                  <a:cubicBezTo>
                    <a:pt x="57523" y="67927"/>
                    <a:pt x="55321" y="64852"/>
                    <a:pt x="52045" y="63760"/>
                  </a:cubicBezTo>
                  <a:cubicBezTo>
                    <a:pt x="50815" y="63354"/>
                    <a:pt x="49991" y="62198"/>
                    <a:pt x="50006" y="60903"/>
                  </a:cubicBezTo>
                  <a:lnTo>
                    <a:pt x="50006" y="47511"/>
                  </a:lnTo>
                  <a:cubicBezTo>
                    <a:pt x="50006" y="46127"/>
                    <a:pt x="48885" y="45006"/>
                    <a:pt x="47501" y="45006"/>
                  </a:cubicBezTo>
                  <a:lnTo>
                    <a:pt x="45006" y="45006"/>
                  </a:lnTo>
                  <a:lnTo>
                    <a:pt x="45006" y="35014"/>
                  </a:lnTo>
                  <a:close/>
                </a:path>
              </a:pathLst>
            </a:custGeom>
            <a:solidFill>
              <a:srgbClr val="1F689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5" name="Graphic 111">
            <a:extLst>
              <a:ext uri="{FF2B5EF4-FFF2-40B4-BE49-F238E27FC236}">
                <a16:creationId xmlns:a16="http://schemas.microsoft.com/office/drawing/2014/main" id="{0B91EB17-355B-4614-889D-49721A165BCE}"/>
              </a:ext>
            </a:extLst>
          </p:cNvPr>
          <p:cNvGrpSpPr/>
          <p:nvPr/>
        </p:nvGrpSpPr>
        <p:grpSpPr>
          <a:xfrm>
            <a:off x="6459781" y="1903123"/>
            <a:ext cx="349023" cy="349023"/>
            <a:chOff x="6397028" y="1517361"/>
            <a:chExt cx="349023" cy="349023"/>
          </a:xfrm>
        </p:grpSpPr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97777371-A363-B0D7-BCCE-3EA467826A96}"/>
                </a:ext>
              </a:extLst>
            </p:cNvPr>
            <p:cNvSpPr/>
            <p:nvPr/>
          </p:nvSpPr>
          <p:spPr>
            <a:xfrm>
              <a:off x="6447679" y="1773063"/>
              <a:ext cx="44007" cy="43998"/>
            </a:xfrm>
            <a:custGeom>
              <a:avLst/>
              <a:gdLst>
                <a:gd name="connsiteX0" fmla="*/ 42515 w 44007"/>
                <a:gd name="connsiteY0" fmla="*/ 1571 h 43998"/>
                <a:gd name="connsiteX1" fmla="*/ 35358 w 44007"/>
                <a:gd name="connsiteY1" fmla="*/ 1551 h 43998"/>
                <a:gd name="connsiteX2" fmla="*/ 35339 w 44007"/>
                <a:gd name="connsiteY2" fmla="*/ 1571 h 43998"/>
                <a:gd name="connsiteX3" fmla="*/ 22032 w 44007"/>
                <a:gd name="connsiteY3" fmla="*/ 14877 h 43998"/>
                <a:gd name="connsiteX4" fmla="*/ 8726 w 44007"/>
                <a:gd name="connsiteY4" fmla="*/ 1571 h 43998"/>
                <a:gd name="connsiteX5" fmla="*/ 1571 w 44007"/>
                <a:gd name="connsiteY5" fmla="*/ 1396 h 43998"/>
                <a:gd name="connsiteX6" fmla="*/ 1396 w 44007"/>
                <a:gd name="connsiteY6" fmla="*/ 8551 h 43998"/>
                <a:gd name="connsiteX7" fmla="*/ 1571 w 44007"/>
                <a:gd name="connsiteY7" fmla="*/ 8726 h 43998"/>
                <a:gd name="connsiteX8" fmla="*/ 14877 w 44007"/>
                <a:gd name="connsiteY8" fmla="*/ 22032 h 43998"/>
                <a:gd name="connsiteX9" fmla="*/ 1571 w 44007"/>
                <a:gd name="connsiteY9" fmla="*/ 35339 h 43998"/>
                <a:gd name="connsiteX10" fmla="*/ 1560 w 44007"/>
                <a:gd name="connsiteY10" fmla="*/ 42504 h 43998"/>
                <a:gd name="connsiteX11" fmla="*/ 8726 w 44007"/>
                <a:gd name="connsiteY11" fmla="*/ 42515 h 43998"/>
                <a:gd name="connsiteX12" fmla="*/ 22032 w 44007"/>
                <a:gd name="connsiteY12" fmla="*/ 29209 h 43998"/>
                <a:gd name="connsiteX13" fmla="*/ 35339 w 44007"/>
                <a:gd name="connsiteY13" fmla="*/ 42515 h 43998"/>
                <a:gd name="connsiteX14" fmla="*/ 42515 w 44007"/>
                <a:gd name="connsiteY14" fmla="*/ 42515 h 43998"/>
                <a:gd name="connsiteX15" fmla="*/ 42535 w 44007"/>
                <a:gd name="connsiteY15" fmla="*/ 35358 h 43998"/>
                <a:gd name="connsiteX16" fmla="*/ 42515 w 44007"/>
                <a:gd name="connsiteY16" fmla="*/ 35339 h 43998"/>
                <a:gd name="connsiteX17" fmla="*/ 29209 w 44007"/>
                <a:gd name="connsiteY17" fmla="*/ 22032 h 43998"/>
                <a:gd name="connsiteX18" fmla="*/ 42515 w 44007"/>
                <a:gd name="connsiteY18" fmla="*/ 8726 h 43998"/>
                <a:gd name="connsiteX19" fmla="*/ 42544 w 44007"/>
                <a:gd name="connsiteY19" fmla="*/ 1599 h 43998"/>
                <a:gd name="connsiteX20" fmla="*/ 42515 w 44007"/>
                <a:gd name="connsiteY20" fmla="*/ 1571 h 4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007" h="43998">
                  <a:moveTo>
                    <a:pt x="42515" y="1571"/>
                  </a:moveTo>
                  <a:cubicBezTo>
                    <a:pt x="40544" y="-411"/>
                    <a:pt x="37340" y="-420"/>
                    <a:pt x="35358" y="1551"/>
                  </a:cubicBezTo>
                  <a:cubicBezTo>
                    <a:pt x="35352" y="1557"/>
                    <a:pt x="35345" y="1564"/>
                    <a:pt x="35339" y="1571"/>
                  </a:cubicBezTo>
                  <a:lnTo>
                    <a:pt x="22032" y="14877"/>
                  </a:lnTo>
                  <a:lnTo>
                    <a:pt x="8726" y="1571"/>
                  </a:lnTo>
                  <a:cubicBezTo>
                    <a:pt x="6798" y="-453"/>
                    <a:pt x="3595" y="-532"/>
                    <a:pt x="1571" y="1396"/>
                  </a:cubicBezTo>
                  <a:cubicBezTo>
                    <a:pt x="-453" y="3324"/>
                    <a:pt x="-531" y="6527"/>
                    <a:pt x="1396" y="8551"/>
                  </a:cubicBezTo>
                  <a:cubicBezTo>
                    <a:pt x="1453" y="8611"/>
                    <a:pt x="1511" y="8669"/>
                    <a:pt x="1571" y="8726"/>
                  </a:cubicBezTo>
                  <a:lnTo>
                    <a:pt x="14877" y="22032"/>
                  </a:lnTo>
                  <a:lnTo>
                    <a:pt x="1571" y="35339"/>
                  </a:lnTo>
                  <a:cubicBezTo>
                    <a:pt x="-411" y="37314"/>
                    <a:pt x="-416" y="40523"/>
                    <a:pt x="1560" y="42504"/>
                  </a:cubicBezTo>
                  <a:cubicBezTo>
                    <a:pt x="3536" y="44486"/>
                    <a:pt x="6744" y="44491"/>
                    <a:pt x="8726" y="42515"/>
                  </a:cubicBezTo>
                  <a:lnTo>
                    <a:pt x="22032" y="29209"/>
                  </a:lnTo>
                  <a:lnTo>
                    <a:pt x="35339" y="42515"/>
                  </a:lnTo>
                  <a:cubicBezTo>
                    <a:pt x="37322" y="44493"/>
                    <a:pt x="40532" y="44493"/>
                    <a:pt x="42515" y="42515"/>
                  </a:cubicBezTo>
                  <a:cubicBezTo>
                    <a:pt x="44497" y="40544"/>
                    <a:pt x="44506" y="37340"/>
                    <a:pt x="42535" y="35358"/>
                  </a:cubicBezTo>
                  <a:cubicBezTo>
                    <a:pt x="42529" y="35352"/>
                    <a:pt x="42522" y="35345"/>
                    <a:pt x="42515" y="35339"/>
                  </a:cubicBezTo>
                  <a:lnTo>
                    <a:pt x="29209" y="22032"/>
                  </a:lnTo>
                  <a:lnTo>
                    <a:pt x="42515" y="8726"/>
                  </a:lnTo>
                  <a:cubicBezTo>
                    <a:pt x="44491" y="6766"/>
                    <a:pt x="44504" y="3575"/>
                    <a:pt x="42544" y="1599"/>
                  </a:cubicBezTo>
                  <a:cubicBezTo>
                    <a:pt x="42535" y="1590"/>
                    <a:pt x="42525" y="1580"/>
                    <a:pt x="42515" y="1571"/>
                  </a:cubicBezTo>
                  <a:close/>
                </a:path>
              </a:pathLst>
            </a:custGeom>
            <a:solidFill>
              <a:srgbClr val="1F6898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DDD24149-85B7-A55A-9163-3ABCB92A7548}"/>
                </a:ext>
              </a:extLst>
            </p:cNvPr>
            <p:cNvSpPr/>
            <p:nvPr/>
          </p:nvSpPr>
          <p:spPr>
            <a:xfrm>
              <a:off x="6417358" y="1521723"/>
              <a:ext cx="311241" cy="346012"/>
            </a:xfrm>
            <a:custGeom>
              <a:avLst/>
              <a:gdLst>
                <a:gd name="connsiteX0" fmla="*/ 285937 w 311241"/>
                <a:gd name="connsiteY0" fmla="*/ 23232 h 346012"/>
                <a:gd name="connsiteX1" fmla="*/ 264276 w 311241"/>
                <a:gd name="connsiteY1" fmla="*/ 23232 h 346012"/>
                <a:gd name="connsiteX2" fmla="*/ 264276 w 311241"/>
                <a:gd name="connsiteY2" fmla="*/ 15488 h 346012"/>
                <a:gd name="connsiteX3" fmla="*/ 248875 w 311241"/>
                <a:gd name="connsiteY3" fmla="*/ 0 h 346012"/>
                <a:gd name="connsiteX4" fmla="*/ 248853 w 311241"/>
                <a:gd name="connsiteY4" fmla="*/ 0 h 346012"/>
                <a:gd name="connsiteX5" fmla="*/ 246541 w 311241"/>
                <a:gd name="connsiteY5" fmla="*/ 0 h 346012"/>
                <a:gd name="connsiteX6" fmla="*/ 231119 w 311241"/>
                <a:gd name="connsiteY6" fmla="*/ 15423 h 346012"/>
                <a:gd name="connsiteX7" fmla="*/ 231119 w 311241"/>
                <a:gd name="connsiteY7" fmla="*/ 23167 h 346012"/>
                <a:gd name="connsiteX8" fmla="*/ 80188 w 311241"/>
                <a:gd name="connsiteY8" fmla="*/ 23167 h 346012"/>
                <a:gd name="connsiteX9" fmla="*/ 80188 w 311241"/>
                <a:gd name="connsiteY9" fmla="*/ 15488 h 346012"/>
                <a:gd name="connsiteX10" fmla="*/ 64787 w 311241"/>
                <a:gd name="connsiteY10" fmla="*/ 0 h 346012"/>
                <a:gd name="connsiteX11" fmla="*/ 64744 w 311241"/>
                <a:gd name="connsiteY11" fmla="*/ 0 h 346012"/>
                <a:gd name="connsiteX12" fmla="*/ 62562 w 311241"/>
                <a:gd name="connsiteY12" fmla="*/ 0 h 346012"/>
                <a:gd name="connsiteX13" fmla="*/ 47031 w 311241"/>
                <a:gd name="connsiteY13" fmla="*/ 15357 h 346012"/>
                <a:gd name="connsiteX14" fmla="*/ 47031 w 311241"/>
                <a:gd name="connsiteY14" fmla="*/ 15488 h 346012"/>
                <a:gd name="connsiteX15" fmla="*/ 47031 w 311241"/>
                <a:gd name="connsiteY15" fmla="*/ 23232 h 346012"/>
                <a:gd name="connsiteX16" fmla="*/ 25479 w 311241"/>
                <a:gd name="connsiteY16" fmla="*/ 23232 h 346012"/>
                <a:gd name="connsiteX17" fmla="*/ 0 w 311241"/>
                <a:gd name="connsiteY17" fmla="*/ 48580 h 346012"/>
                <a:gd name="connsiteX18" fmla="*/ 0 w 311241"/>
                <a:gd name="connsiteY18" fmla="*/ 48602 h 346012"/>
                <a:gd name="connsiteX19" fmla="*/ 0 w 311241"/>
                <a:gd name="connsiteY19" fmla="*/ 320665 h 346012"/>
                <a:gd name="connsiteX20" fmla="*/ 25326 w 311241"/>
                <a:gd name="connsiteY20" fmla="*/ 346013 h 346012"/>
                <a:gd name="connsiteX21" fmla="*/ 285981 w 311241"/>
                <a:gd name="connsiteY21" fmla="*/ 346013 h 346012"/>
                <a:gd name="connsiteX22" fmla="*/ 311241 w 311241"/>
                <a:gd name="connsiteY22" fmla="*/ 320665 h 346012"/>
                <a:gd name="connsiteX23" fmla="*/ 311241 w 311241"/>
                <a:gd name="connsiteY23" fmla="*/ 48602 h 346012"/>
                <a:gd name="connsiteX24" fmla="*/ 285937 w 311241"/>
                <a:gd name="connsiteY24" fmla="*/ 23232 h 346012"/>
                <a:gd name="connsiteX25" fmla="*/ 241262 w 311241"/>
                <a:gd name="connsiteY25" fmla="*/ 15488 h 346012"/>
                <a:gd name="connsiteX26" fmla="*/ 246541 w 311241"/>
                <a:gd name="connsiteY26" fmla="*/ 10209 h 346012"/>
                <a:gd name="connsiteX27" fmla="*/ 248853 w 311241"/>
                <a:gd name="connsiteY27" fmla="*/ 10209 h 346012"/>
                <a:gd name="connsiteX28" fmla="*/ 254132 w 311241"/>
                <a:gd name="connsiteY28" fmla="*/ 15488 h 346012"/>
                <a:gd name="connsiteX29" fmla="*/ 254132 w 311241"/>
                <a:gd name="connsiteY29" fmla="*/ 23232 h 346012"/>
                <a:gd name="connsiteX30" fmla="*/ 241262 w 311241"/>
                <a:gd name="connsiteY30" fmla="*/ 23232 h 346012"/>
                <a:gd name="connsiteX31" fmla="*/ 62562 w 311241"/>
                <a:gd name="connsiteY31" fmla="*/ 10209 h 346012"/>
                <a:gd name="connsiteX32" fmla="*/ 64744 w 311241"/>
                <a:gd name="connsiteY32" fmla="*/ 10209 h 346012"/>
                <a:gd name="connsiteX33" fmla="*/ 70045 w 311241"/>
                <a:gd name="connsiteY33" fmla="*/ 15466 h 346012"/>
                <a:gd name="connsiteX34" fmla="*/ 70045 w 311241"/>
                <a:gd name="connsiteY34" fmla="*/ 15488 h 346012"/>
                <a:gd name="connsiteX35" fmla="*/ 70045 w 311241"/>
                <a:gd name="connsiteY35" fmla="*/ 23232 h 346012"/>
                <a:gd name="connsiteX36" fmla="*/ 57174 w 311241"/>
                <a:gd name="connsiteY36" fmla="*/ 23232 h 346012"/>
                <a:gd name="connsiteX37" fmla="*/ 57174 w 311241"/>
                <a:gd name="connsiteY37" fmla="*/ 15488 h 346012"/>
                <a:gd name="connsiteX38" fmla="*/ 57174 w 311241"/>
                <a:gd name="connsiteY38" fmla="*/ 15488 h 346012"/>
                <a:gd name="connsiteX39" fmla="*/ 62452 w 311241"/>
                <a:gd name="connsiteY39" fmla="*/ 10208 h 346012"/>
                <a:gd name="connsiteX40" fmla="*/ 62562 w 311241"/>
                <a:gd name="connsiteY40" fmla="*/ 10209 h 346012"/>
                <a:gd name="connsiteX41" fmla="*/ 301163 w 311241"/>
                <a:gd name="connsiteY41" fmla="*/ 320665 h 346012"/>
                <a:gd name="connsiteX42" fmla="*/ 285893 w 311241"/>
                <a:gd name="connsiteY42" fmla="*/ 335935 h 346012"/>
                <a:gd name="connsiteX43" fmla="*/ 25326 w 311241"/>
                <a:gd name="connsiteY43" fmla="*/ 335935 h 346012"/>
                <a:gd name="connsiteX44" fmla="*/ 10056 w 311241"/>
                <a:gd name="connsiteY44" fmla="*/ 320665 h 346012"/>
                <a:gd name="connsiteX45" fmla="*/ 10056 w 311241"/>
                <a:gd name="connsiteY45" fmla="*/ 320665 h 346012"/>
                <a:gd name="connsiteX46" fmla="*/ 25326 w 311241"/>
                <a:gd name="connsiteY46" fmla="*/ 325770 h 346012"/>
                <a:gd name="connsiteX47" fmla="*/ 230791 w 311241"/>
                <a:gd name="connsiteY47" fmla="*/ 325770 h 346012"/>
                <a:gd name="connsiteX48" fmla="*/ 248723 w 311241"/>
                <a:gd name="connsiteY48" fmla="*/ 318331 h 346012"/>
                <a:gd name="connsiteX49" fmla="*/ 301076 w 311241"/>
                <a:gd name="connsiteY49" fmla="*/ 265978 h 346012"/>
                <a:gd name="connsiteX50" fmla="*/ 243618 w 311241"/>
                <a:gd name="connsiteY50" fmla="*/ 309147 h 346012"/>
                <a:gd name="connsiteX51" fmla="*/ 244229 w 311241"/>
                <a:gd name="connsiteY51" fmla="*/ 304043 h 346012"/>
                <a:gd name="connsiteX52" fmla="*/ 244229 w 311241"/>
                <a:gd name="connsiteY52" fmla="*/ 270210 h 346012"/>
                <a:gd name="connsiteX53" fmla="*/ 255790 w 311241"/>
                <a:gd name="connsiteY53" fmla="*/ 258648 h 346012"/>
                <a:gd name="connsiteX54" fmla="*/ 289624 w 311241"/>
                <a:gd name="connsiteY54" fmla="*/ 258648 h 346012"/>
                <a:gd name="connsiteX55" fmla="*/ 294728 w 311241"/>
                <a:gd name="connsiteY55" fmla="*/ 258037 h 346012"/>
                <a:gd name="connsiteX56" fmla="*/ 301185 w 311241"/>
                <a:gd name="connsiteY56" fmla="*/ 95654 h 346012"/>
                <a:gd name="connsiteX57" fmla="*/ 257841 w 311241"/>
                <a:gd name="connsiteY57" fmla="*/ 95654 h 346012"/>
                <a:gd name="connsiteX58" fmla="*/ 252780 w 311241"/>
                <a:gd name="connsiteY58" fmla="*/ 100715 h 346012"/>
                <a:gd name="connsiteX59" fmla="*/ 257841 w 311241"/>
                <a:gd name="connsiteY59" fmla="*/ 105776 h 346012"/>
                <a:gd name="connsiteX60" fmla="*/ 301163 w 311241"/>
                <a:gd name="connsiteY60" fmla="*/ 105776 h 346012"/>
                <a:gd name="connsiteX61" fmla="*/ 301163 w 311241"/>
                <a:gd name="connsiteY61" fmla="*/ 236943 h 346012"/>
                <a:gd name="connsiteX62" fmla="*/ 289602 w 311241"/>
                <a:gd name="connsiteY62" fmla="*/ 248505 h 346012"/>
                <a:gd name="connsiteX63" fmla="*/ 255768 w 311241"/>
                <a:gd name="connsiteY63" fmla="*/ 248505 h 346012"/>
                <a:gd name="connsiteX64" fmla="*/ 234085 w 311241"/>
                <a:gd name="connsiteY64" fmla="*/ 270210 h 346012"/>
                <a:gd name="connsiteX65" fmla="*/ 234085 w 311241"/>
                <a:gd name="connsiteY65" fmla="*/ 304043 h 346012"/>
                <a:gd name="connsiteX66" fmla="*/ 222502 w 311241"/>
                <a:gd name="connsiteY66" fmla="*/ 315604 h 346012"/>
                <a:gd name="connsiteX67" fmla="*/ 25479 w 311241"/>
                <a:gd name="connsiteY67" fmla="*/ 315604 h 346012"/>
                <a:gd name="connsiteX68" fmla="*/ 10209 w 311241"/>
                <a:gd name="connsiteY68" fmla="*/ 300335 h 346012"/>
                <a:gd name="connsiteX69" fmla="*/ 10209 w 311241"/>
                <a:gd name="connsiteY69" fmla="*/ 105776 h 346012"/>
                <a:gd name="connsiteX70" fmla="*/ 237554 w 311241"/>
                <a:gd name="connsiteY70" fmla="*/ 105776 h 346012"/>
                <a:gd name="connsiteX71" fmla="*/ 242615 w 311241"/>
                <a:gd name="connsiteY71" fmla="*/ 100715 h 346012"/>
                <a:gd name="connsiteX72" fmla="*/ 237554 w 311241"/>
                <a:gd name="connsiteY72" fmla="*/ 95654 h 346012"/>
                <a:gd name="connsiteX73" fmla="*/ 10209 w 311241"/>
                <a:gd name="connsiteY73" fmla="*/ 95654 h 346012"/>
                <a:gd name="connsiteX74" fmla="*/ 10209 w 311241"/>
                <a:gd name="connsiteY74" fmla="*/ 48602 h 346012"/>
                <a:gd name="connsiteX75" fmla="*/ 25479 w 311241"/>
                <a:gd name="connsiteY75" fmla="*/ 33332 h 346012"/>
                <a:gd name="connsiteX76" fmla="*/ 47140 w 311241"/>
                <a:gd name="connsiteY76" fmla="*/ 33332 h 346012"/>
                <a:gd name="connsiteX77" fmla="*/ 47140 w 311241"/>
                <a:gd name="connsiteY77" fmla="*/ 48231 h 346012"/>
                <a:gd name="connsiteX78" fmla="*/ 62562 w 311241"/>
                <a:gd name="connsiteY78" fmla="*/ 63653 h 346012"/>
                <a:gd name="connsiteX79" fmla="*/ 67301 w 311241"/>
                <a:gd name="connsiteY79" fmla="*/ 58249 h 346012"/>
                <a:gd name="connsiteX80" fmla="*/ 62562 w 311241"/>
                <a:gd name="connsiteY80" fmla="*/ 53510 h 346012"/>
                <a:gd name="connsiteX81" fmla="*/ 57283 w 311241"/>
                <a:gd name="connsiteY81" fmla="*/ 48231 h 346012"/>
                <a:gd name="connsiteX82" fmla="*/ 57283 w 311241"/>
                <a:gd name="connsiteY82" fmla="*/ 33354 h 346012"/>
                <a:gd name="connsiteX83" fmla="*/ 231228 w 311241"/>
                <a:gd name="connsiteY83" fmla="*/ 33354 h 346012"/>
                <a:gd name="connsiteX84" fmla="*/ 231228 w 311241"/>
                <a:gd name="connsiteY84" fmla="*/ 48253 h 346012"/>
                <a:gd name="connsiteX85" fmla="*/ 246650 w 311241"/>
                <a:gd name="connsiteY85" fmla="*/ 63675 h 346012"/>
                <a:gd name="connsiteX86" fmla="*/ 251389 w 311241"/>
                <a:gd name="connsiteY86" fmla="*/ 58271 h 346012"/>
                <a:gd name="connsiteX87" fmla="*/ 246650 w 311241"/>
                <a:gd name="connsiteY87" fmla="*/ 53532 h 346012"/>
                <a:gd name="connsiteX88" fmla="*/ 241371 w 311241"/>
                <a:gd name="connsiteY88" fmla="*/ 48253 h 346012"/>
                <a:gd name="connsiteX89" fmla="*/ 241371 w 311241"/>
                <a:gd name="connsiteY89" fmla="*/ 33354 h 346012"/>
                <a:gd name="connsiteX90" fmla="*/ 285937 w 311241"/>
                <a:gd name="connsiteY90" fmla="*/ 33354 h 346012"/>
                <a:gd name="connsiteX91" fmla="*/ 301207 w 311241"/>
                <a:gd name="connsiteY91" fmla="*/ 48624 h 346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11241" h="346012">
                  <a:moveTo>
                    <a:pt x="285937" y="23232"/>
                  </a:moveTo>
                  <a:lnTo>
                    <a:pt x="264276" y="23232"/>
                  </a:lnTo>
                  <a:lnTo>
                    <a:pt x="264276" y="15488"/>
                  </a:lnTo>
                  <a:cubicBezTo>
                    <a:pt x="264300" y="6959"/>
                    <a:pt x="257405" y="24"/>
                    <a:pt x="248875" y="0"/>
                  </a:cubicBezTo>
                  <a:cubicBezTo>
                    <a:pt x="248868" y="0"/>
                    <a:pt x="248861" y="0"/>
                    <a:pt x="248853" y="0"/>
                  </a:cubicBezTo>
                  <a:lnTo>
                    <a:pt x="246541" y="0"/>
                  </a:lnTo>
                  <a:cubicBezTo>
                    <a:pt x="238029" y="12"/>
                    <a:pt x="231131" y="6910"/>
                    <a:pt x="231119" y="15423"/>
                  </a:cubicBezTo>
                  <a:lnTo>
                    <a:pt x="231119" y="23167"/>
                  </a:lnTo>
                  <a:lnTo>
                    <a:pt x="80188" y="23167"/>
                  </a:lnTo>
                  <a:lnTo>
                    <a:pt x="80188" y="15488"/>
                  </a:lnTo>
                  <a:cubicBezTo>
                    <a:pt x="80212" y="6959"/>
                    <a:pt x="73317" y="24"/>
                    <a:pt x="64787" y="0"/>
                  </a:cubicBezTo>
                  <a:cubicBezTo>
                    <a:pt x="64773" y="0"/>
                    <a:pt x="64758" y="0"/>
                    <a:pt x="64744" y="0"/>
                  </a:cubicBezTo>
                  <a:lnTo>
                    <a:pt x="62562" y="0"/>
                  </a:lnTo>
                  <a:cubicBezTo>
                    <a:pt x="54033" y="-48"/>
                    <a:pt x="47079" y="6827"/>
                    <a:pt x="47031" y="15357"/>
                  </a:cubicBezTo>
                  <a:cubicBezTo>
                    <a:pt x="47031" y="15401"/>
                    <a:pt x="47031" y="15444"/>
                    <a:pt x="47031" y="15488"/>
                  </a:cubicBezTo>
                  <a:lnTo>
                    <a:pt x="47031" y="23232"/>
                  </a:lnTo>
                  <a:lnTo>
                    <a:pt x="25479" y="23232"/>
                  </a:lnTo>
                  <a:cubicBezTo>
                    <a:pt x="11443" y="23196"/>
                    <a:pt x="36" y="34544"/>
                    <a:pt x="0" y="48580"/>
                  </a:cubicBezTo>
                  <a:cubicBezTo>
                    <a:pt x="0" y="48587"/>
                    <a:pt x="0" y="48594"/>
                    <a:pt x="0" y="48602"/>
                  </a:cubicBezTo>
                  <a:lnTo>
                    <a:pt x="0" y="320665"/>
                  </a:lnTo>
                  <a:cubicBezTo>
                    <a:pt x="12" y="334651"/>
                    <a:pt x="11340" y="345989"/>
                    <a:pt x="25326" y="346013"/>
                  </a:cubicBezTo>
                  <a:lnTo>
                    <a:pt x="285981" y="346013"/>
                  </a:lnTo>
                  <a:cubicBezTo>
                    <a:pt x="299941" y="345953"/>
                    <a:pt x="311229" y="334625"/>
                    <a:pt x="311241" y="320665"/>
                  </a:cubicBezTo>
                  <a:lnTo>
                    <a:pt x="311241" y="48602"/>
                  </a:lnTo>
                  <a:cubicBezTo>
                    <a:pt x="311217" y="34626"/>
                    <a:pt x="299913" y="23292"/>
                    <a:pt x="285937" y="23232"/>
                  </a:cubicBezTo>
                  <a:close/>
                  <a:moveTo>
                    <a:pt x="241262" y="15488"/>
                  </a:moveTo>
                  <a:cubicBezTo>
                    <a:pt x="241262" y="12573"/>
                    <a:pt x="243626" y="10209"/>
                    <a:pt x="246541" y="10209"/>
                  </a:cubicBezTo>
                  <a:lnTo>
                    <a:pt x="248853" y="10209"/>
                  </a:lnTo>
                  <a:cubicBezTo>
                    <a:pt x="251769" y="10209"/>
                    <a:pt x="254132" y="12573"/>
                    <a:pt x="254132" y="15488"/>
                  </a:cubicBezTo>
                  <a:lnTo>
                    <a:pt x="254132" y="23232"/>
                  </a:lnTo>
                  <a:lnTo>
                    <a:pt x="241262" y="23232"/>
                  </a:lnTo>
                  <a:close/>
                  <a:moveTo>
                    <a:pt x="62562" y="10209"/>
                  </a:moveTo>
                  <a:lnTo>
                    <a:pt x="64744" y="10209"/>
                  </a:lnTo>
                  <a:cubicBezTo>
                    <a:pt x="67659" y="10197"/>
                    <a:pt x="70032" y="12551"/>
                    <a:pt x="70045" y="15466"/>
                  </a:cubicBezTo>
                  <a:cubicBezTo>
                    <a:pt x="70045" y="15474"/>
                    <a:pt x="70045" y="15481"/>
                    <a:pt x="70045" y="15488"/>
                  </a:cubicBezTo>
                  <a:lnTo>
                    <a:pt x="70045" y="23232"/>
                  </a:lnTo>
                  <a:lnTo>
                    <a:pt x="57174" y="23232"/>
                  </a:lnTo>
                  <a:lnTo>
                    <a:pt x="57174" y="15488"/>
                  </a:lnTo>
                  <a:lnTo>
                    <a:pt x="57174" y="15488"/>
                  </a:lnTo>
                  <a:cubicBezTo>
                    <a:pt x="57174" y="12573"/>
                    <a:pt x="59537" y="10209"/>
                    <a:pt x="62452" y="10208"/>
                  </a:cubicBezTo>
                  <a:cubicBezTo>
                    <a:pt x="62489" y="10208"/>
                    <a:pt x="62526" y="10208"/>
                    <a:pt x="62562" y="10209"/>
                  </a:cubicBezTo>
                  <a:close/>
                  <a:moveTo>
                    <a:pt x="301163" y="320665"/>
                  </a:moveTo>
                  <a:cubicBezTo>
                    <a:pt x="301163" y="329098"/>
                    <a:pt x="294327" y="335935"/>
                    <a:pt x="285893" y="335935"/>
                  </a:cubicBezTo>
                  <a:lnTo>
                    <a:pt x="25326" y="335935"/>
                  </a:lnTo>
                  <a:cubicBezTo>
                    <a:pt x="16893" y="335935"/>
                    <a:pt x="10056" y="329098"/>
                    <a:pt x="10056" y="320665"/>
                  </a:cubicBezTo>
                  <a:lnTo>
                    <a:pt x="10056" y="320665"/>
                  </a:lnTo>
                  <a:cubicBezTo>
                    <a:pt x="14452" y="323988"/>
                    <a:pt x="19815" y="325781"/>
                    <a:pt x="25326" y="325770"/>
                  </a:cubicBezTo>
                  <a:lnTo>
                    <a:pt x="230791" y="325770"/>
                  </a:lnTo>
                  <a:cubicBezTo>
                    <a:pt x="237522" y="325785"/>
                    <a:pt x="243979" y="323106"/>
                    <a:pt x="248723" y="318331"/>
                  </a:cubicBezTo>
                  <a:lnTo>
                    <a:pt x="301076" y="265978"/>
                  </a:lnTo>
                  <a:close/>
                  <a:moveTo>
                    <a:pt x="243618" y="309147"/>
                  </a:moveTo>
                  <a:cubicBezTo>
                    <a:pt x="244021" y="307476"/>
                    <a:pt x="244226" y="305762"/>
                    <a:pt x="244229" y="304043"/>
                  </a:cubicBezTo>
                  <a:lnTo>
                    <a:pt x="244229" y="270210"/>
                  </a:lnTo>
                  <a:cubicBezTo>
                    <a:pt x="244241" y="263829"/>
                    <a:pt x="249410" y="258660"/>
                    <a:pt x="255790" y="258648"/>
                  </a:cubicBezTo>
                  <a:lnTo>
                    <a:pt x="289624" y="258648"/>
                  </a:lnTo>
                  <a:cubicBezTo>
                    <a:pt x="291343" y="258646"/>
                    <a:pt x="293057" y="258441"/>
                    <a:pt x="294728" y="258037"/>
                  </a:cubicBezTo>
                  <a:close/>
                  <a:moveTo>
                    <a:pt x="301185" y="95654"/>
                  </a:moveTo>
                  <a:lnTo>
                    <a:pt x="257841" y="95654"/>
                  </a:lnTo>
                  <a:cubicBezTo>
                    <a:pt x="255046" y="95654"/>
                    <a:pt x="252780" y="97920"/>
                    <a:pt x="252780" y="100715"/>
                  </a:cubicBezTo>
                  <a:cubicBezTo>
                    <a:pt x="252780" y="103510"/>
                    <a:pt x="255046" y="105776"/>
                    <a:pt x="257841" y="105776"/>
                  </a:cubicBezTo>
                  <a:lnTo>
                    <a:pt x="301163" y="105776"/>
                  </a:lnTo>
                  <a:lnTo>
                    <a:pt x="301163" y="236943"/>
                  </a:lnTo>
                  <a:cubicBezTo>
                    <a:pt x="301163" y="243328"/>
                    <a:pt x="295987" y="248505"/>
                    <a:pt x="289602" y="248505"/>
                  </a:cubicBezTo>
                  <a:lnTo>
                    <a:pt x="255768" y="248505"/>
                  </a:lnTo>
                  <a:cubicBezTo>
                    <a:pt x="243814" y="248576"/>
                    <a:pt x="234145" y="258255"/>
                    <a:pt x="234085" y="270210"/>
                  </a:cubicBezTo>
                  <a:lnTo>
                    <a:pt x="234085" y="304043"/>
                  </a:lnTo>
                  <a:cubicBezTo>
                    <a:pt x="234073" y="310432"/>
                    <a:pt x="228891" y="315604"/>
                    <a:pt x="222502" y="315604"/>
                  </a:cubicBezTo>
                  <a:lnTo>
                    <a:pt x="25479" y="315604"/>
                  </a:lnTo>
                  <a:cubicBezTo>
                    <a:pt x="17045" y="315604"/>
                    <a:pt x="10209" y="308768"/>
                    <a:pt x="10209" y="300335"/>
                  </a:cubicBezTo>
                  <a:lnTo>
                    <a:pt x="10209" y="105776"/>
                  </a:lnTo>
                  <a:lnTo>
                    <a:pt x="237554" y="105776"/>
                  </a:lnTo>
                  <a:cubicBezTo>
                    <a:pt x="240349" y="105776"/>
                    <a:pt x="242615" y="103510"/>
                    <a:pt x="242615" y="100715"/>
                  </a:cubicBezTo>
                  <a:cubicBezTo>
                    <a:pt x="242615" y="97920"/>
                    <a:pt x="240349" y="95654"/>
                    <a:pt x="237554" y="95654"/>
                  </a:cubicBezTo>
                  <a:lnTo>
                    <a:pt x="10209" y="95654"/>
                  </a:lnTo>
                  <a:lnTo>
                    <a:pt x="10209" y="48602"/>
                  </a:lnTo>
                  <a:cubicBezTo>
                    <a:pt x="10209" y="40168"/>
                    <a:pt x="17045" y="33332"/>
                    <a:pt x="25479" y="33332"/>
                  </a:cubicBezTo>
                  <a:lnTo>
                    <a:pt x="47140" y="33332"/>
                  </a:lnTo>
                  <a:lnTo>
                    <a:pt x="47140" y="48231"/>
                  </a:lnTo>
                  <a:cubicBezTo>
                    <a:pt x="47152" y="56743"/>
                    <a:pt x="54050" y="63641"/>
                    <a:pt x="62562" y="63653"/>
                  </a:cubicBezTo>
                  <a:cubicBezTo>
                    <a:pt x="65363" y="63470"/>
                    <a:pt x="67485" y="61050"/>
                    <a:pt x="67301" y="58249"/>
                  </a:cubicBezTo>
                  <a:cubicBezTo>
                    <a:pt x="67134" y="55704"/>
                    <a:pt x="65107" y="53677"/>
                    <a:pt x="62562" y="53510"/>
                  </a:cubicBezTo>
                  <a:cubicBezTo>
                    <a:pt x="59647" y="53510"/>
                    <a:pt x="57283" y="51146"/>
                    <a:pt x="57283" y="48231"/>
                  </a:cubicBezTo>
                  <a:lnTo>
                    <a:pt x="57283" y="33354"/>
                  </a:lnTo>
                  <a:lnTo>
                    <a:pt x="231228" y="33354"/>
                  </a:lnTo>
                  <a:lnTo>
                    <a:pt x="231228" y="48253"/>
                  </a:lnTo>
                  <a:cubicBezTo>
                    <a:pt x="231240" y="56765"/>
                    <a:pt x="238138" y="63663"/>
                    <a:pt x="246650" y="63675"/>
                  </a:cubicBezTo>
                  <a:cubicBezTo>
                    <a:pt x="249451" y="63491"/>
                    <a:pt x="251573" y="61072"/>
                    <a:pt x="251389" y="58271"/>
                  </a:cubicBezTo>
                  <a:cubicBezTo>
                    <a:pt x="251222" y="55726"/>
                    <a:pt x="249195" y="53699"/>
                    <a:pt x="246650" y="53532"/>
                  </a:cubicBezTo>
                  <a:cubicBezTo>
                    <a:pt x="243735" y="53532"/>
                    <a:pt x="241371" y="51168"/>
                    <a:pt x="241371" y="48253"/>
                  </a:cubicBezTo>
                  <a:lnTo>
                    <a:pt x="241371" y="33354"/>
                  </a:lnTo>
                  <a:lnTo>
                    <a:pt x="285937" y="33354"/>
                  </a:lnTo>
                  <a:cubicBezTo>
                    <a:pt x="294370" y="33354"/>
                    <a:pt x="301207" y="40190"/>
                    <a:pt x="301207" y="48624"/>
                  </a:cubicBezTo>
                  <a:close/>
                </a:path>
              </a:pathLst>
            </a:custGeom>
            <a:solidFill>
              <a:srgbClr val="1F6898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86DE5D4D-7B5F-0B14-C803-E88E2C6CC141}"/>
                </a:ext>
              </a:extLst>
            </p:cNvPr>
            <p:cNvSpPr/>
            <p:nvPr/>
          </p:nvSpPr>
          <p:spPr>
            <a:xfrm>
              <a:off x="6654432" y="1647764"/>
              <a:ext cx="43911" cy="43933"/>
            </a:xfrm>
            <a:custGeom>
              <a:avLst/>
              <a:gdLst>
                <a:gd name="connsiteX0" fmla="*/ 0 w 43911"/>
                <a:gd name="connsiteY0" fmla="*/ 9904 h 43933"/>
                <a:gd name="connsiteX1" fmla="*/ 0 w 43911"/>
                <a:gd name="connsiteY1" fmla="*/ 34030 h 43933"/>
                <a:gd name="connsiteX2" fmla="*/ 9882 w 43911"/>
                <a:gd name="connsiteY2" fmla="*/ 43933 h 43933"/>
                <a:gd name="connsiteX3" fmla="*/ 34030 w 43911"/>
                <a:gd name="connsiteY3" fmla="*/ 43933 h 43933"/>
                <a:gd name="connsiteX4" fmla="*/ 43911 w 43911"/>
                <a:gd name="connsiteY4" fmla="*/ 34030 h 43933"/>
                <a:gd name="connsiteX5" fmla="*/ 43911 w 43911"/>
                <a:gd name="connsiteY5" fmla="*/ 9904 h 43933"/>
                <a:gd name="connsiteX6" fmla="*/ 34030 w 43911"/>
                <a:gd name="connsiteY6" fmla="*/ 0 h 43933"/>
                <a:gd name="connsiteX7" fmla="*/ 9794 w 43911"/>
                <a:gd name="connsiteY7" fmla="*/ 0 h 43933"/>
                <a:gd name="connsiteX8" fmla="*/ 0 w 43911"/>
                <a:gd name="connsiteY8" fmla="*/ 9904 h 43933"/>
                <a:gd name="connsiteX9" fmla="*/ 10144 w 43911"/>
                <a:gd name="connsiteY9" fmla="*/ 10143 h 43933"/>
                <a:gd name="connsiteX10" fmla="*/ 33790 w 43911"/>
                <a:gd name="connsiteY10" fmla="*/ 10143 h 43933"/>
                <a:gd name="connsiteX11" fmla="*/ 33790 w 43911"/>
                <a:gd name="connsiteY11" fmla="*/ 33790 h 43933"/>
                <a:gd name="connsiteX12" fmla="*/ 10056 w 43911"/>
                <a:gd name="connsiteY12" fmla="*/ 33790 h 43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11" h="43933">
                  <a:moveTo>
                    <a:pt x="0" y="9904"/>
                  </a:moveTo>
                  <a:lnTo>
                    <a:pt x="0" y="34030"/>
                  </a:lnTo>
                  <a:cubicBezTo>
                    <a:pt x="0" y="39491"/>
                    <a:pt x="4421" y="43921"/>
                    <a:pt x="9882" y="43933"/>
                  </a:cubicBezTo>
                  <a:lnTo>
                    <a:pt x="34030" y="43933"/>
                  </a:lnTo>
                  <a:cubicBezTo>
                    <a:pt x="39491" y="43921"/>
                    <a:pt x="43911" y="39491"/>
                    <a:pt x="43911" y="34030"/>
                  </a:cubicBezTo>
                  <a:lnTo>
                    <a:pt x="43911" y="9904"/>
                  </a:lnTo>
                  <a:cubicBezTo>
                    <a:pt x="43911" y="4442"/>
                    <a:pt x="39491" y="12"/>
                    <a:pt x="34030" y="0"/>
                  </a:cubicBezTo>
                  <a:lnTo>
                    <a:pt x="9794" y="0"/>
                  </a:lnTo>
                  <a:cubicBezTo>
                    <a:pt x="4368" y="60"/>
                    <a:pt x="0" y="4476"/>
                    <a:pt x="0" y="9904"/>
                  </a:cubicBezTo>
                  <a:close/>
                  <a:moveTo>
                    <a:pt x="10144" y="10143"/>
                  </a:moveTo>
                  <a:lnTo>
                    <a:pt x="33790" y="10143"/>
                  </a:lnTo>
                  <a:lnTo>
                    <a:pt x="33790" y="33790"/>
                  </a:lnTo>
                  <a:lnTo>
                    <a:pt x="10056" y="33790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39C1DBB6-E3D3-9FC1-C8B7-36A878359D9C}"/>
                </a:ext>
              </a:extLst>
            </p:cNvPr>
            <p:cNvSpPr/>
            <p:nvPr/>
          </p:nvSpPr>
          <p:spPr>
            <a:xfrm>
              <a:off x="6447767" y="1710457"/>
              <a:ext cx="43911" cy="43911"/>
            </a:xfrm>
            <a:custGeom>
              <a:avLst/>
              <a:gdLst>
                <a:gd name="connsiteX0" fmla="*/ 34008 w 43911"/>
                <a:gd name="connsiteY0" fmla="*/ 0 h 43911"/>
                <a:gd name="connsiteX1" fmla="*/ 9882 w 43911"/>
                <a:gd name="connsiteY1" fmla="*/ 0 h 43911"/>
                <a:gd name="connsiteX2" fmla="*/ 0 w 43911"/>
                <a:gd name="connsiteY2" fmla="*/ 9882 h 43911"/>
                <a:gd name="connsiteX3" fmla="*/ 0 w 43911"/>
                <a:gd name="connsiteY3" fmla="*/ 9904 h 43911"/>
                <a:gd name="connsiteX4" fmla="*/ 0 w 43911"/>
                <a:gd name="connsiteY4" fmla="*/ 34030 h 43911"/>
                <a:gd name="connsiteX5" fmla="*/ 9882 w 43911"/>
                <a:gd name="connsiteY5" fmla="*/ 43911 h 43911"/>
                <a:gd name="connsiteX6" fmla="*/ 34008 w 43911"/>
                <a:gd name="connsiteY6" fmla="*/ 43911 h 43911"/>
                <a:gd name="connsiteX7" fmla="*/ 43911 w 43911"/>
                <a:gd name="connsiteY7" fmla="*/ 34030 h 43911"/>
                <a:gd name="connsiteX8" fmla="*/ 43911 w 43911"/>
                <a:gd name="connsiteY8" fmla="*/ 9904 h 43911"/>
                <a:gd name="connsiteX9" fmla="*/ 34008 w 43911"/>
                <a:gd name="connsiteY9" fmla="*/ 0 h 43911"/>
                <a:gd name="connsiteX10" fmla="*/ 33768 w 43911"/>
                <a:gd name="connsiteY10" fmla="*/ 33768 h 43911"/>
                <a:gd name="connsiteX11" fmla="*/ 10122 w 43911"/>
                <a:gd name="connsiteY11" fmla="*/ 33768 h 43911"/>
                <a:gd name="connsiteX12" fmla="*/ 10122 w 43911"/>
                <a:gd name="connsiteY12" fmla="*/ 10144 h 43911"/>
                <a:gd name="connsiteX13" fmla="*/ 33768 w 43911"/>
                <a:gd name="connsiteY13" fmla="*/ 10144 h 4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11" h="43911">
                  <a:moveTo>
                    <a:pt x="34008" y="0"/>
                  </a:moveTo>
                  <a:lnTo>
                    <a:pt x="9882" y="0"/>
                  </a:lnTo>
                  <a:cubicBezTo>
                    <a:pt x="4424" y="0"/>
                    <a:pt x="0" y="4424"/>
                    <a:pt x="0" y="9882"/>
                  </a:cubicBezTo>
                  <a:cubicBezTo>
                    <a:pt x="0" y="9889"/>
                    <a:pt x="0" y="9896"/>
                    <a:pt x="0" y="9904"/>
                  </a:cubicBezTo>
                  <a:lnTo>
                    <a:pt x="0" y="34030"/>
                  </a:lnTo>
                  <a:cubicBezTo>
                    <a:pt x="0" y="39487"/>
                    <a:pt x="4424" y="43911"/>
                    <a:pt x="9882" y="43911"/>
                  </a:cubicBezTo>
                  <a:lnTo>
                    <a:pt x="34008" y="43911"/>
                  </a:lnTo>
                  <a:cubicBezTo>
                    <a:pt x="39469" y="43911"/>
                    <a:pt x="43899" y="39491"/>
                    <a:pt x="43911" y="34030"/>
                  </a:cubicBezTo>
                  <a:lnTo>
                    <a:pt x="43911" y="9904"/>
                  </a:lnTo>
                  <a:cubicBezTo>
                    <a:pt x="43911" y="4434"/>
                    <a:pt x="39478" y="0"/>
                    <a:pt x="34008" y="0"/>
                  </a:cubicBezTo>
                  <a:close/>
                  <a:moveTo>
                    <a:pt x="33768" y="33768"/>
                  </a:moveTo>
                  <a:lnTo>
                    <a:pt x="10122" y="33768"/>
                  </a:lnTo>
                  <a:lnTo>
                    <a:pt x="10122" y="10144"/>
                  </a:lnTo>
                  <a:lnTo>
                    <a:pt x="33768" y="10144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18965288-4B54-4B6D-A0B5-181060277A4A}"/>
                </a:ext>
              </a:extLst>
            </p:cNvPr>
            <p:cNvSpPr/>
            <p:nvPr/>
          </p:nvSpPr>
          <p:spPr>
            <a:xfrm>
              <a:off x="6654345" y="1711963"/>
              <a:ext cx="43911" cy="43911"/>
            </a:xfrm>
            <a:custGeom>
              <a:avLst/>
              <a:gdLst>
                <a:gd name="connsiteX0" fmla="*/ 34030 w 43911"/>
                <a:gd name="connsiteY0" fmla="*/ 0 h 43911"/>
                <a:gd name="connsiteX1" fmla="*/ 9882 w 43911"/>
                <a:gd name="connsiteY1" fmla="*/ 0 h 43911"/>
                <a:gd name="connsiteX2" fmla="*/ 0 w 43911"/>
                <a:gd name="connsiteY2" fmla="*/ 9882 h 43911"/>
                <a:gd name="connsiteX3" fmla="*/ 0 w 43911"/>
                <a:gd name="connsiteY3" fmla="*/ 34030 h 43911"/>
                <a:gd name="connsiteX4" fmla="*/ 9882 w 43911"/>
                <a:gd name="connsiteY4" fmla="*/ 43911 h 43911"/>
                <a:gd name="connsiteX5" fmla="*/ 34030 w 43911"/>
                <a:gd name="connsiteY5" fmla="*/ 43911 h 43911"/>
                <a:gd name="connsiteX6" fmla="*/ 43911 w 43911"/>
                <a:gd name="connsiteY6" fmla="*/ 34030 h 43911"/>
                <a:gd name="connsiteX7" fmla="*/ 43911 w 43911"/>
                <a:gd name="connsiteY7" fmla="*/ 9882 h 43911"/>
                <a:gd name="connsiteX8" fmla="*/ 34030 w 43911"/>
                <a:gd name="connsiteY8" fmla="*/ 0 h 43911"/>
                <a:gd name="connsiteX9" fmla="*/ 33790 w 43911"/>
                <a:gd name="connsiteY9" fmla="*/ 33790 h 43911"/>
                <a:gd name="connsiteX10" fmla="*/ 10143 w 43911"/>
                <a:gd name="connsiteY10" fmla="*/ 33790 h 43911"/>
                <a:gd name="connsiteX11" fmla="*/ 10143 w 43911"/>
                <a:gd name="connsiteY11" fmla="*/ 10143 h 43911"/>
                <a:gd name="connsiteX12" fmla="*/ 33790 w 43911"/>
                <a:gd name="connsiteY12" fmla="*/ 10143 h 4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11" h="43911">
                  <a:moveTo>
                    <a:pt x="34030" y="0"/>
                  </a:moveTo>
                  <a:lnTo>
                    <a:pt x="9882" y="0"/>
                  </a:lnTo>
                  <a:cubicBezTo>
                    <a:pt x="4424" y="0"/>
                    <a:pt x="0" y="4424"/>
                    <a:pt x="0" y="9882"/>
                  </a:cubicBezTo>
                  <a:lnTo>
                    <a:pt x="0" y="34030"/>
                  </a:lnTo>
                  <a:cubicBezTo>
                    <a:pt x="0" y="39487"/>
                    <a:pt x="4424" y="43911"/>
                    <a:pt x="9882" y="43911"/>
                  </a:cubicBezTo>
                  <a:lnTo>
                    <a:pt x="34030" y="43911"/>
                  </a:lnTo>
                  <a:cubicBezTo>
                    <a:pt x="39487" y="43911"/>
                    <a:pt x="43911" y="39487"/>
                    <a:pt x="43911" y="34030"/>
                  </a:cubicBezTo>
                  <a:lnTo>
                    <a:pt x="43911" y="9882"/>
                  </a:lnTo>
                  <a:cubicBezTo>
                    <a:pt x="43911" y="4424"/>
                    <a:pt x="39487" y="0"/>
                    <a:pt x="34030" y="0"/>
                  </a:cubicBezTo>
                  <a:close/>
                  <a:moveTo>
                    <a:pt x="33790" y="33790"/>
                  </a:moveTo>
                  <a:lnTo>
                    <a:pt x="10143" y="33790"/>
                  </a:lnTo>
                  <a:lnTo>
                    <a:pt x="10143" y="10143"/>
                  </a:lnTo>
                  <a:lnTo>
                    <a:pt x="33790" y="10143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6B624295-4A4A-14B4-FDA0-B618E116AA91}"/>
                </a:ext>
              </a:extLst>
            </p:cNvPr>
            <p:cNvSpPr/>
            <p:nvPr/>
          </p:nvSpPr>
          <p:spPr>
            <a:xfrm>
              <a:off x="6516612" y="1647764"/>
              <a:ext cx="44020" cy="43933"/>
            </a:xfrm>
            <a:custGeom>
              <a:avLst/>
              <a:gdLst>
                <a:gd name="connsiteX0" fmla="*/ 34030 w 44020"/>
                <a:gd name="connsiteY0" fmla="*/ 0 h 43933"/>
                <a:gd name="connsiteX1" fmla="*/ 9904 w 44020"/>
                <a:gd name="connsiteY1" fmla="*/ 0 h 43933"/>
                <a:gd name="connsiteX2" fmla="*/ 0 w 44020"/>
                <a:gd name="connsiteY2" fmla="*/ 9904 h 43933"/>
                <a:gd name="connsiteX3" fmla="*/ 0 w 44020"/>
                <a:gd name="connsiteY3" fmla="*/ 34030 h 43933"/>
                <a:gd name="connsiteX4" fmla="*/ 9904 w 44020"/>
                <a:gd name="connsiteY4" fmla="*/ 43933 h 43933"/>
                <a:gd name="connsiteX5" fmla="*/ 34030 w 44020"/>
                <a:gd name="connsiteY5" fmla="*/ 43933 h 43933"/>
                <a:gd name="connsiteX6" fmla="*/ 44020 w 44020"/>
                <a:gd name="connsiteY6" fmla="*/ 34074 h 43933"/>
                <a:gd name="connsiteX7" fmla="*/ 44021 w 44020"/>
                <a:gd name="connsiteY7" fmla="*/ 34030 h 43933"/>
                <a:gd name="connsiteX8" fmla="*/ 44021 w 44020"/>
                <a:gd name="connsiteY8" fmla="*/ 9904 h 43933"/>
                <a:gd name="connsiteX9" fmla="*/ 34074 w 44020"/>
                <a:gd name="connsiteY9" fmla="*/ 0 h 43933"/>
                <a:gd name="connsiteX10" fmla="*/ 34030 w 44020"/>
                <a:gd name="connsiteY10" fmla="*/ 0 h 43933"/>
                <a:gd name="connsiteX11" fmla="*/ 33790 w 44020"/>
                <a:gd name="connsiteY11" fmla="*/ 33790 h 43933"/>
                <a:gd name="connsiteX12" fmla="*/ 10143 w 44020"/>
                <a:gd name="connsiteY12" fmla="*/ 33790 h 43933"/>
                <a:gd name="connsiteX13" fmla="*/ 10143 w 44020"/>
                <a:gd name="connsiteY13" fmla="*/ 10144 h 43933"/>
                <a:gd name="connsiteX14" fmla="*/ 33790 w 44020"/>
                <a:gd name="connsiteY14" fmla="*/ 10144 h 43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4020" h="43933">
                  <a:moveTo>
                    <a:pt x="34030" y="0"/>
                  </a:moveTo>
                  <a:lnTo>
                    <a:pt x="9904" y="0"/>
                  </a:lnTo>
                  <a:cubicBezTo>
                    <a:pt x="4439" y="12"/>
                    <a:pt x="12" y="4439"/>
                    <a:pt x="0" y="9904"/>
                  </a:cubicBezTo>
                  <a:lnTo>
                    <a:pt x="0" y="34030"/>
                  </a:lnTo>
                  <a:cubicBezTo>
                    <a:pt x="12" y="39495"/>
                    <a:pt x="4439" y="43921"/>
                    <a:pt x="9904" y="43933"/>
                  </a:cubicBezTo>
                  <a:lnTo>
                    <a:pt x="34030" y="43933"/>
                  </a:lnTo>
                  <a:cubicBezTo>
                    <a:pt x="39511" y="43970"/>
                    <a:pt x="43984" y="39555"/>
                    <a:pt x="44020" y="34074"/>
                  </a:cubicBezTo>
                  <a:cubicBezTo>
                    <a:pt x="44020" y="34059"/>
                    <a:pt x="44020" y="34045"/>
                    <a:pt x="44021" y="34030"/>
                  </a:cubicBezTo>
                  <a:lnTo>
                    <a:pt x="44021" y="9904"/>
                  </a:lnTo>
                  <a:cubicBezTo>
                    <a:pt x="44009" y="4422"/>
                    <a:pt x="39555" y="-12"/>
                    <a:pt x="34074" y="0"/>
                  </a:cubicBezTo>
                  <a:cubicBezTo>
                    <a:pt x="34059" y="0"/>
                    <a:pt x="34044" y="0"/>
                    <a:pt x="34030" y="0"/>
                  </a:cubicBezTo>
                  <a:close/>
                  <a:moveTo>
                    <a:pt x="33790" y="33790"/>
                  </a:moveTo>
                  <a:lnTo>
                    <a:pt x="10143" y="33790"/>
                  </a:lnTo>
                  <a:lnTo>
                    <a:pt x="10143" y="10144"/>
                  </a:lnTo>
                  <a:lnTo>
                    <a:pt x="33790" y="10144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2887B8CD-F13F-22C7-F608-CD29499689B9}"/>
                </a:ext>
              </a:extLst>
            </p:cNvPr>
            <p:cNvSpPr/>
            <p:nvPr/>
          </p:nvSpPr>
          <p:spPr>
            <a:xfrm>
              <a:off x="6585478" y="1647764"/>
              <a:ext cx="43933" cy="43933"/>
            </a:xfrm>
            <a:custGeom>
              <a:avLst/>
              <a:gdLst>
                <a:gd name="connsiteX0" fmla="*/ 34052 w 43933"/>
                <a:gd name="connsiteY0" fmla="*/ 0 h 43933"/>
                <a:gd name="connsiteX1" fmla="*/ 9904 w 43933"/>
                <a:gd name="connsiteY1" fmla="*/ 0 h 43933"/>
                <a:gd name="connsiteX2" fmla="*/ 0 w 43933"/>
                <a:gd name="connsiteY2" fmla="*/ 9904 h 43933"/>
                <a:gd name="connsiteX3" fmla="*/ 0 w 43933"/>
                <a:gd name="connsiteY3" fmla="*/ 34030 h 43933"/>
                <a:gd name="connsiteX4" fmla="*/ 9904 w 43933"/>
                <a:gd name="connsiteY4" fmla="*/ 43933 h 43933"/>
                <a:gd name="connsiteX5" fmla="*/ 34052 w 43933"/>
                <a:gd name="connsiteY5" fmla="*/ 43933 h 43933"/>
                <a:gd name="connsiteX6" fmla="*/ 43933 w 43933"/>
                <a:gd name="connsiteY6" fmla="*/ 34030 h 43933"/>
                <a:gd name="connsiteX7" fmla="*/ 43933 w 43933"/>
                <a:gd name="connsiteY7" fmla="*/ 9904 h 43933"/>
                <a:gd name="connsiteX8" fmla="*/ 34052 w 43933"/>
                <a:gd name="connsiteY8" fmla="*/ 0 h 43933"/>
                <a:gd name="connsiteX9" fmla="*/ 33812 w 43933"/>
                <a:gd name="connsiteY9" fmla="*/ 33790 h 43933"/>
                <a:gd name="connsiteX10" fmla="*/ 10056 w 43933"/>
                <a:gd name="connsiteY10" fmla="*/ 33790 h 43933"/>
                <a:gd name="connsiteX11" fmla="*/ 10056 w 43933"/>
                <a:gd name="connsiteY11" fmla="*/ 10143 h 43933"/>
                <a:gd name="connsiteX12" fmla="*/ 33703 w 43933"/>
                <a:gd name="connsiteY12" fmla="*/ 10143 h 43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33" h="43933">
                  <a:moveTo>
                    <a:pt x="34052" y="0"/>
                  </a:moveTo>
                  <a:lnTo>
                    <a:pt x="9904" y="0"/>
                  </a:lnTo>
                  <a:cubicBezTo>
                    <a:pt x="4439" y="12"/>
                    <a:pt x="12" y="4439"/>
                    <a:pt x="0" y="9904"/>
                  </a:cubicBezTo>
                  <a:lnTo>
                    <a:pt x="0" y="34030"/>
                  </a:lnTo>
                  <a:cubicBezTo>
                    <a:pt x="12" y="39494"/>
                    <a:pt x="4439" y="43921"/>
                    <a:pt x="9904" y="43933"/>
                  </a:cubicBezTo>
                  <a:lnTo>
                    <a:pt x="34052" y="43933"/>
                  </a:lnTo>
                  <a:cubicBezTo>
                    <a:pt x="39513" y="43921"/>
                    <a:pt x="43933" y="39491"/>
                    <a:pt x="43933" y="34030"/>
                  </a:cubicBezTo>
                  <a:lnTo>
                    <a:pt x="43933" y="9904"/>
                  </a:lnTo>
                  <a:cubicBezTo>
                    <a:pt x="43933" y="4442"/>
                    <a:pt x="39513" y="12"/>
                    <a:pt x="34052" y="0"/>
                  </a:cubicBezTo>
                  <a:close/>
                  <a:moveTo>
                    <a:pt x="33812" y="33790"/>
                  </a:moveTo>
                  <a:lnTo>
                    <a:pt x="10056" y="33790"/>
                  </a:lnTo>
                  <a:lnTo>
                    <a:pt x="10056" y="10143"/>
                  </a:lnTo>
                  <a:lnTo>
                    <a:pt x="33703" y="10143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A684EFF-113D-FD92-6A97-BBF870110D4E}"/>
                </a:ext>
              </a:extLst>
            </p:cNvPr>
            <p:cNvSpPr/>
            <p:nvPr/>
          </p:nvSpPr>
          <p:spPr>
            <a:xfrm>
              <a:off x="6583617" y="1716317"/>
              <a:ext cx="45781" cy="38248"/>
            </a:xfrm>
            <a:custGeom>
              <a:avLst/>
              <a:gdLst>
                <a:gd name="connsiteX0" fmla="*/ 16455 w 45781"/>
                <a:gd name="connsiteY0" fmla="*/ 38249 h 38248"/>
                <a:gd name="connsiteX1" fmla="*/ 16847 w 45781"/>
                <a:gd name="connsiteY1" fmla="*/ 38249 h 38248"/>
                <a:gd name="connsiteX2" fmla="*/ 22475 w 45781"/>
                <a:gd name="connsiteY2" fmla="*/ 35413 h 38248"/>
                <a:gd name="connsiteX3" fmla="*/ 44638 w 45781"/>
                <a:gd name="connsiteY3" fmla="*/ 8276 h 38248"/>
                <a:gd name="connsiteX4" fmla="*/ 43918 w 45781"/>
                <a:gd name="connsiteY4" fmla="*/ 1143 h 38248"/>
                <a:gd name="connsiteX5" fmla="*/ 36785 w 45781"/>
                <a:gd name="connsiteY5" fmla="*/ 1863 h 38248"/>
                <a:gd name="connsiteX6" fmla="*/ 16280 w 45781"/>
                <a:gd name="connsiteY6" fmla="*/ 26949 h 38248"/>
                <a:gd name="connsiteX7" fmla="*/ 8471 w 45781"/>
                <a:gd name="connsiteY7" fmla="*/ 19183 h 38248"/>
                <a:gd name="connsiteX8" fmla="*/ 1294 w 45781"/>
                <a:gd name="connsiteY8" fmla="*/ 19584 h 38248"/>
                <a:gd name="connsiteX9" fmla="*/ 1294 w 45781"/>
                <a:gd name="connsiteY9" fmla="*/ 26360 h 38248"/>
                <a:gd name="connsiteX10" fmla="*/ 10958 w 45781"/>
                <a:gd name="connsiteY10" fmla="*/ 36002 h 38248"/>
                <a:gd name="connsiteX11" fmla="*/ 16455 w 45781"/>
                <a:gd name="connsiteY11" fmla="*/ 38249 h 38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781" h="38248">
                  <a:moveTo>
                    <a:pt x="16455" y="38249"/>
                  </a:moveTo>
                  <a:lnTo>
                    <a:pt x="16847" y="38249"/>
                  </a:lnTo>
                  <a:cubicBezTo>
                    <a:pt x="19039" y="38139"/>
                    <a:pt x="21083" y="37109"/>
                    <a:pt x="22475" y="35413"/>
                  </a:cubicBezTo>
                  <a:lnTo>
                    <a:pt x="44638" y="8276"/>
                  </a:lnTo>
                  <a:cubicBezTo>
                    <a:pt x="46409" y="6108"/>
                    <a:pt x="46087" y="2914"/>
                    <a:pt x="43918" y="1143"/>
                  </a:cubicBezTo>
                  <a:cubicBezTo>
                    <a:pt x="41750" y="-628"/>
                    <a:pt x="38556" y="-306"/>
                    <a:pt x="36785" y="1863"/>
                  </a:cubicBezTo>
                  <a:lnTo>
                    <a:pt x="16280" y="26949"/>
                  </a:lnTo>
                  <a:lnTo>
                    <a:pt x="8471" y="19183"/>
                  </a:lnTo>
                  <a:cubicBezTo>
                    <a:pt x="6378" y="17312"/>
                    <a:pt x="3165" y="17491"/>
                    <a:pt x="1294" y="19584"/>
                  </a:cubicBezTo>
                  <a:cubicBezTo>
                    <a:pt x="-431" y="21513"/>
                    <a:pt x="-431" y="24431"/>
                    <a:pt x="1294" y="26360"/>
                  </a:cubicBezTo>
                  <a:lnTo>
                    <a:pt x="10958" y="36002"/>
                  </a:lnTo>
                  <a:cubicBezTo>
                    <a:pt x="12421" y="37447"/>
                    <a:pt x="14398" y="38255"/>
                    <a:pt x="16455" y="38249"/>
                  </a:cubicBezTo>
                  <a:close/>
                </a:path>
              </a:pathLst>
            </a:custGeom>
            <a:solidFill>
              <a:srgbClr val="1F6898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D52A351D-CD06-A1AE-5C0D-BBE9B991C29A}"/>
                </a:ext>
              </a:extLst>
            </p:cNvPr>
            <p:cNvSpPr/>
            <p:nvPr/>
          </p:nvSpPr>
          <p:spPr>
            <a:xfrm>
              <a:off x="6447767" y="1647764"/>
              <a:ext cx="43911" cy="43933"/>
            </a:xfrm>
            <a:custGeom>
              <a:avLst/>
              <a:gdLst>
                <a:gd name="connsiteX0" fmla="*/ 34008 w 43911"/>
                <a:gd name="connsiteY0" fmla="*/ 0 h 43933"/>
                <a:gd name="connsiteX1" fmla="*/ 9882 w 43911"/>
                <a:gd name="connsiteY1" fmla="*/ 0 h 43933"/>
                <a:gd name="connsiteX2" fmla="*/ 0 w 43911"/>
                <a:gd name="connsiteY2" fmla="*/ 9904 h 43933"/>
                <a:gd name="connsiteX3" fmla="*/ 0 w 43911"/>
                <a:gd name="connsiteY3" fmla="*/ 34030 h 43933"/>
                <a:gd name="connsiteX4" fmla="*/ 9882 w 43911"/>
                <a:gd name="connsiteY4" fmla="*/ 43933 h 43933"/>
                <a:gd name="connsiteX5" fmla="*/ 34008 w 43911"/>
                <a:gd name="connsiteY5" fmla="*/ 43933 h 43933"/>
                <a:gd name="connsiteX6" fmla="*/ 43911 w 43911"/>
                <a:gd name="connsiteY6" fmla="*/ 34030 h 43933"/>
                <a:gd name="connsiteX7" fmla="*/ 43911 w 43911"/>
                <a:gd name="connsiteY7" fmla="*/ 9904 h 43933"/>
                <a:gd name="connsiteX8" fmla="*/ 34008 w 43911"/>
                <a:gd name="connsiteY8" fmla="*/ 0 h 43933"/>
                <a:gd name="connsiteX9" fmla="*/ 33768 w 43911"/>
                <a:gd name="connsiteY9" fmla="*/ 33790 h 43933"/>
                <a:gd name="connsiteX10" fmla="*/ 10122 w 43911"/>
                <a:gd name="connsiteY10" fmla="*/ 33790 h 43933"/>
                <a:gd name="connsiteX11" fmla="*/ 10122 w 43911"/>
                <a:gd name="connsiteY11" fmla="*/ 10143 h 43933"/>
                <a:gd name="connsiteX12" fmla="*/ 33768 w 43911"/>
                <a:gd name="connsiteY12" fmla="*/ 10143 h 43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11" h="43933">
                  <a:moveTo>
                    <a:pt x="34008" y="0"/>
                  </a:moveTo>
                  <a:lnTo>
                    <a:pt x="9882" y="0"/>
                  </a:lnTo>
                  <a:cubicBezTo>
                    <a:pt x="4421" y="12"/>
                    <a:pt x="0" y="4442"/>
                    <a:pt x="0" y="9904"/>
                  </a:cubicBezTo>
                  <a:lnTo>
                    <a:pt x="0" y="34030"/>
                  </a:lnTo>
                  <a:cubicBezTo>
                    <a:pt x="0" y="39491"/>
                    <a:pt x="4421" y="43921"/>
                    <a:pt x="9882" y="43933"/>
                  </a:cubicBezTo>
                  <a:lnTo>
                    <a:pt x="34008" y="43933"/>
                  </a:lnTo>
                  <a:cubicBezTo>
                    <a:pt x="39473" y="43921"/>
                    <a:pt x="43899" y="39494"/>
                    <a:pt x="43911" y="34030"/>
                  </a:cubicBezTo>
                  <a:lnTo>
                    <a:pt x="43911" y="9904"/>
                  </a:lnTo>
                  <a:cubicBezTo>
                    <a:pt x="43899" y="4439"/>
                    <a:pt x="39473" y="12"/>
                    <a:pt x="34008" y="0"/>
                  </a:cubicBezTo>
                  <a:close/>
                  <a:moveTo>
                    <a:pt x="33768" y="33790"/>
                  </a:moveTo>
                  <a:lnTo>
                    <a:pt x="10122" y="33790"/>
                  </a:lnTo>
                  <a:lnTo>
                    <a:pt x="10122" y="10143"/>
                  </a:lnTo>
                  <a:lnTo>
                    <a:pt x="33768" y="10143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7606E9A7-5855-BD49-190B-EEA342C0590B}"/>
                </a:ext>
              </a:extLst>
            </p:cNvPr>
            <p:cNvSpPr/>
            <p:nvPr/>
          </p:nvSpPr>
          <p:spPr>
            <a:xfrm>
              <a:off x="6516612" y="1710457"/>
              <a:ext cx="43933" cy="43911"/>
            </a:xfrm>
            <a:custGeom>
              <a:avLst/>
              <a:gdLst>
                <a:gd name="connsiteX0" fmla="*/ 34030 w 43933"/>
                <a:gd name="connsiteY0" fmla="*/ 0 h 43911"/>
                <a:gd name="connsiteX1" fmla="*/ 9904 w 43933"/>
                <a:gd name="connsiteY1" fmla="*/ 0 h 43911"/>
                <a:gd name="connsiteX2" fmla="*/ 0 w 43933"/>
                <a:gd name="connsiteY2" fmla="*/ 9904 h 43911"/>
                <a:gd name="connsiteX3" fmla="*/ 0 w 43933"/>
                <a:gd name="connsiteY3" fmla="*/ 34030 h 43911"/>
                <a:gd name="connsiteX4" fmla="*/ 9904 w 43933"/>
                <a:gd name="connsiteY4" fmla="*/ 43911 h 43911"/>
                <a:gd name="connsiteX5" fmla="*/ 34030 w 43933"/>
                <a:gd name="connsiteY5" fmla="*/ 43911 h 43911"/>
                <a:gd name="connsiteX6" fmla="*/ 43933 w 43933"/>
                <a:gd name="connsiteY6" fmla="*/ 34030 h 43911"/>
                <a:gd name="connsiteX7" fmla="*/ 43933 w 43933"/>
                <a:gd name="connsiteY7" fmla="*/ 9904 h 43911"/>
                <a:gd name="connsiteX8" fmla="*/ 34030 w 43933"/>
                <a:gd name="connsiteY8" fmla="*/ 0 h 43911"/>
                <a:gd name="connsiteX9" fmla="*/ 33790 w 43933"/>
                <a:gd name="connsiteY9" fmla="*/ 33768 h 43911"/>
                <a:gd name="connsiteX10" fmla="*/ 10143 w 43933"/>
                <a:gd name="connsiteY10" fmla="*/ 33768 h 43911"/>
                <a:gd name="connsiteX11" fmla="*/ 10143 w 43933"/>
                <a:gd name="connsiteY11" fmla="*/ 10144 h 43911"/>
                <a:gd name="connsiteX12" fmla="*/ 33790 w 43933"/>
                <a:gd name="connsiteY12" fmla="*/ 10144 h 4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33" h="43911">
                  <a:moveTo>
                    <a:pt x="34030" y="0"/>
                  </a:moveTo>
                  <a:lnTo>
                    <a:pt x="9904" y="0"/>
                  </a:lnTo>
                  <a:cubicBezTo>
                    <a:pt x="4434" y="0"/>
                    <a:pt x="0" y="4434"/>
                    <a:pt x="0" y="9904"/>
                  </a:cubicBezTo>
                  <a:lnTo>
                    <a:pt x="0" y="34030"/>
                  </a:lnTo>
                  <a:cubicBezTo>
                    <a:pt x="12" y="39491"/>
                    <a:pt x="4442" y="43911"/>
                    <a:pt x="9904" y="43911"/>
                  </a:cubicBezTo>
                  <a:lnTo>
                    <a:pt x="34030" y="43911"/>
                  </a:lnTo>
                  <a:cubicBezTo>
                    <a:pt x="39491" y="43911"/>
                    <a:pt x="43921" y="39491"/>
                    <a:pt x="43933" y="34030"/>
                  </a:cubicBezTo>
                  <a:lnTo>
                    <a:pt x="43933" y="9904"/>
                  </a:lnTo>
                  <a:cubicBezTo>
                    <a:pt x="43933" y="4434"/>
                    <a:pt x="39499" y="0"/>
                    <a:pt x="34030" y="0"/>
                  </a:cubicBezTo>
                  <a:close/>
                  <a:moveTo>
                    <a:pt x="33790" y="33768"/>
                  </a:moveTo>
                  <a:lnTo>
                    <a:pt x="10143" y="33768"/>
                  </a:lnTo>
                  <a:lnTo>
                    <a:pt x="10143" y="10144"/>
                  </a:lnTo>
                  <a:lnTo>
                    <a:pt x="33790" y="10144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0740178F-3008-FCEB-B60E-BBCC45E7ECC3}"/>
                </a:ext>
              </a:extLst>
            </p:cNvPr>
            <p:cNvSpPr/>
            <p:nvPr/>
          </p:nvSpPr>
          <p:spPr>
            <a:xfrm>
              <a:off x="6516612" y="1773129"/>
              <a:ext cx="43933" cy="43933"/>
            </a:xfrm>
            <a:custGeom>
              <a:avLst/>
              <a:gdLst>
                <a:gd name="connsiteX0" fmla="*/ 34030 w 43933"/>
                <a:gd name="connsiteY0" fmla="*/ 0 h 43933"/>
                <a:gd name="connsiteX1" fmla="*/ 9904 w 43933"/>
                <a:gd name="connsiteY1" fmla="*/ 0 h 43933"/>
                <a:gd name="connsiteX2" fmla="*/ 0 w 43933"/>
                <a:gd name="connsiteY2" fmla="*/ 9904 h 43933"/>
                <a:gd name="connsiteX3" fmla="*/ 0 w 43933"/>
                <a:gd name="connsiteY3" fmla="*/ 34030 h 43933"/>
                <a:gd name="connsiteX4" fmla="*/ 9904 w 43933"/>
                <a:gd name="connsiteY4" fmla="*/ 43933 h 43933"/>
                <a:gd name="connsiteX5" fmla="*/ 34030 w 43933"/>
                <a:gd name="connsiteY5" fmla="*/ 43933 h 43933"/>
                <a:gd name="connsiteX6" fmla="*/ 43933 w 43933"/>
                <a:gd name="connsiteY6" fmla="*/ 34030 h 43933"/>
                <a:gd name="connsiteX7" fmla="*/ 43933 w 43933"/>
                <a:gd name="connsiteY7" fmla="*/ 9904 h 43933"/>
                <a:gd name="connsiteX8" fmla="*/ 34030 w 43933"/>
                <a:gd name="connsiteY8" fmla="*/ 0 h 43933"/>
                <a:gd name="connsiteX9" fmla="*/ 33790 w 43933"/>
                <a:gd name="connsiteY9" fmla="*/ 33790 h 43933"/>
                <a:gd name="connsiteX10" fmla="*/ 10143 w 43933"/>
                <a:gd name="connsiteY10" fmla="*/ 33790 h 43933"/>
                <a:gd name="connsiteX11" fmla="*/ 10143 w 43933"/>
                <a:gd name="connsiteY11" fmla="*/ 10143 h 43933"/>
                <a:gd name="connsiteX12" fmla="*/ 33790 w 43933"/>
                <a:gd name="connsiteY12" fmla="*/ 10143 h 43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33" h="43933">
                  <a:moveTo>
                    <a:pt x="34030" y="0"/>
                  </a:moveTo>
                  <a:lnTo>
                    <a:pt x="9904" y="0"/>
                  </a:lnTo>
                  <a:cubicBezTo>
                    <a:pt x="4439" y="12"/>
                    <a:pt x="12" y="4439"/>
                    <a:pt x="0" y="9904"/>
                  </a:cubicBezTo>
                  <a:lnTo>
                    <a:pt x="0" y="34030"/>
                  </a:lnTo>
                  <a:cubicBezTo>
                    <a:pt x="12" y="39494"/>
                    <a:pt x="4439" y="43921"/>
                    <a:pt x="9904" y="43933"/>
                  </a:cubicBezTo>
                  <a:lnTo>
                    <a:pt x="34030" y="43933"/>
                  </a:lnTo>
                  <a:cubicBezTo>
                    <a:pt x="39494" y="43921"/>
                    <a:pt x="43921" y="39494"/>
                    <a:pt x="43933" y="34030"/>
                  </a:cubicBezTo>
                  <a:lnTo>
                    <a:pt x="43933" y="9904"/>
                  </a:lnTo>
                  <a:cubicBezTo>
                    <a:pt x="43921" y="4439"/>
                    <a:pt x="39494" y="12"/>
                    <a:pt x="34030" y="0"/>
                  </a:cubicBezTo>
                  <a:close/>
                  <a:moveTo>
                    <a:pt x="33790" y="33790"/>
                  </a:moveTo>
                  <a:lnTo>
                    <a:pt x="10143" y="33790"/>
                  </a:lnTo>
                  <a:lnTo>
                    <a:pt x="10143" y="10143"/>
                  </a:lnTo>
                  <a:lnTo>
                    <a:pt x="33790" y="10143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BBF5E285-959A-E1DA-99A0-2D9B7ED86635}"/>
                </a:ext>
              </a:extLst>
            </p:cNvPr>
            <p:cNvSpPr/>
            <p:nvPr/>
          </p:nvSpPr>
          <p:spPr>
            <a:xfrm>
              <a:off x="6585478" y="1773129"/>
              <a:ext cx="43933" cy="43933"/>
            </a:xfrm>
            <a:custGeom>
              <a:avLst/>
              <a:gdLst>
                <a:gd name="connsiteX0" fmla="*/ 34052 w 43933"/>
                <a:gd name="connsiteY0" fmla="*/ 0 h 43933"/>
                <a:gd name="connsiteX1" fmla="*/ 9904 w 43933"/>
                <a:gd name="connsiteY1" fmla="*/ 0 h 43933"/>
                <a:gd name="connsiteX2" fmla="*/ 0 w 43933"/>
                <a:gd name="connsiteY2" fmla="*/ 9904 h 43933"/>
                <a:gd name="connsiteX3" fmla="*/ 0 w 43933"/>
                <a:gd name="connsiteY3" fmla="*/ 34030 h 43933"/>
                <a:gd name="connsiteX4" fmla="*/ 9904 w 43933"/>
                <a:gd name="connsiteY4" fmla="*/ 43933 h 43933"/>
                <a:gd name="connsiteX5" fmla="*/ 34052 w 43933"/>
                <a:gd name="connsiteY5" fmla="*/ 43933 h 43933"/>
                <a:gd name="connsiteX6" fmla="*/ 43933 w 43933"/>
                <a:gd name="connsiteY6" fmla="*/ 34030 h 43933"/>
                <a:gd name="connsiteX7" fmla="*/ 43933 w 43933"/>
                <a:gd name="connsiteY7" fmla="*/ 9904 h 43933"/>
                <a:gd name="connsiteX8" fmla="*/ 34052 w 43933"/>
                <a:gd name="connsiteY8" fmla="*/ 0 h 43933"/>
                <a:gd name="connsiteX9" fmla="*/ 33812 w 43933"/>
                <a:gd name="connsiteY9" fmla="*/ 33790 h 43933"/>
                <a:gd name="connsiteX10" fmla="*/ 10056 w 43933"/>
                <a:gd name="connsiteY10" fmla="*/ 33790 h 43933"/>
                <a:gd name="connsiteX11" fmla="*/ 10056 w 43933"/>
                <a:gd name="connsiteY11" fmla="*/ 10143 h 43933"/>
                <a:gd name="connsiteX12" fmla="*/ 33703 w 43933"/>
                <a:gd name="connsiteY12" fmla="*/ 10143 h 43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33" h="43933">
                  <a:moveTo>
                    <a:pt x="34052" y="0"/>
                  </a:moveTo>
                  <a:lnTo>
                    <a:pt x="9904" y="0"/>
                  </a:lnTo>
                  <a:cubicBezTo>
                    <a:pt x="4439" y="12"/>
                    <a:pt x="12" y="4439"/>
                    <a:pt x="0" y="9904"/>
                  </a:cubicBezTo>
                  <a:lnTo>
                    <a:pt x="0" y="34030"/>
                  </a:lnTo>
                  <a:cubicBezTo>
                    <a:pt x="12" y="39494"/>
                    <a:pt x="4439" y="43921"/>
                    <a:pt x="9904" y="43933"/>
                  </a:cubicBezTo>
                  <a:lnTo>
                    <a:pt x="34052" y="43933"/>
                  </a:lnTo>
                  <a:cubicBezTo>
                    <a:pt x="39513" y="43921"/>
                    <a:pt x="43933" y="39491"/>
                    <a:pt x="43933" y="34030"/>
                  </a:cubicBezTo>
                  <a:lnTo>
                    <a:pt x="43933" y="9904"/>
                  </a:lnTo>
                  <a:cubicBezTo>
                    <a:pt x="43933" y="4442"/>
                    <a:pt x="39513" y="12"/>
                    <a:pt x="34052" y="0"/>
                  </a:cubicBezTo>
                  <a:close/>
                  <a:moveTo>
                    <a:pt x="33812" y="33790"/>
                  </a:moveTo>
                  <a:lnTo>
                    <a:pt x="10056" y="33790"/>
                  </a:lnTo>
                  <a:lnTo>
                    <a:pt x="10056" y="10143"/>
                  </a:lnTo>
                  <a:lnTo>
                    <a:pt x="33703" y="10143"/>
                  </a:lnTo>
                  <a:close/>
                </a:path>
              </a:pathLst>
            </a:custGeom>
            <a:solidFill>
              <a:srgbClr val="BD5C7A"/>
            </a:solidFill>
            <a:ln w="21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8" name="Graphic 126">
            <a:extLst>
              <a:ext uri="{FF2B5EF4-FFF2-40B4-BE49-F238E27FC236}">
                <a16:creationId xmlns:a16="http://schemas.microsoft.com/office/drawing/2014/main" id="{839D65B9-3AA3-196F-8276-F39EA1A582D4}"/>
              </a:ext>
            </a:extLst>
          </p:cNvPr>
          <p:cNvGrpSpPr/>
          <p:nvPr/>
        </p:nvGrpSpPr>
        <p:grpSpPr>
          <a:xfrm>
            <a:off x="7368221" y="1912824"/>
            <a:ext cx="331787" cy="308088"/>
            <a:chOff x="7305468" y="1527062"/>
            <a:chExt cx="331787" cy="308088"/>
          </a:xfrm>
        </p:grpSpPr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27973BEB-3633-00D7-1BEE-8A58D21FD628}"/>
                </a:ext>
              </a:extLst>
            </p:cNvPr>
            <p:cNvSpPr/>
            <p:nvPr/>
          </p:nvSpPr>
          <p:spPr>
            <a:xfrm>
              <a:off x="7351726" y="1611751"/>
              <a:ext cx="148762" cy="17116"/>
            </a:xfrm>
            <a:custGeom>
              <a:avLst/>
              <a:gdLst>
                <a:gd name="connsiteX0" fmla="*/ 8731 w 148762"/>
                <a:gd name="connsiteY0" fmla="*/ 17116 h 17116"/>
                <a:gd name="connsiteX1" fmla="*/ 140032 w 148762"/>
                <a:gd name="connsiteY1" fmla="*/ 17116 h 17116"/>
                <a:gd name="connsiteX2" fmla="*/ 148763 w 148762"/>
                <a:gd name="connsiteY2" fmla="*/ 8558 h 17116"/>
                <a:gd name="connsiteX3" fmla="*/ 140032 w 148762"/>
                <a:gd name="connsiteY3" fmla="*/ 0 h 17116"/>
                <a:gd name="connsiteX4" fmla="*/ 8731 w 148762"/>
                <a:gd name="connsiteY4" fmla="*/ 0 h 17116"/>
                <a:gd name="connsiteX5" fmla="*/ 0 w 148762"/>
                <a:gd name="connsiteY5" fmla="*/ 8558 h 17116"/>
                <a:gd name="connsiteX6" fmla="*/ 8731 w 148762"/>
                <a:gd name="connsiteY6" fmla="*/ 17116 h 17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762" h="17116">
                  <a:moveTo>
                    <a:pt x="8731" y="17116"/>
                  </a:moveTo>
                  <a:lnTo>
                    <a:pt x="140032" y="17116"/>
                  </a:lnTo>
                  <a:cubicBezTo>
                    <a:pt x="144854" y="17116"/>
                    <a:pt x="148763" y="13284"/>
                    <a:pt x="148763" y="8558"/>
                  </a:cubicBezTo>
                  <a:cubicBezTo>
                    <a:pt x="148763" y="3832"/>
                    <a:pt x="144854" y="0"/>
                    <a:pt x="140032" y="0"/>
                  </a:cubicBezTo>
                  <a:lnTo>
                    <a:pt x="8731" y="0"/>
                  </a:lnTo>
                  <a:cubicBezTo>
                    <a:pt x="3909" y="0"/>
                    <a:pt x="0" y="3832"/>
                    <a:pt x="0" y="8558"/>
                  </a:cubicBezTo>
                  <a:cubicBezTo>
                    <a:pt x="0" y="13284"/>
                    <a:pt x="3909" y="17116"/>
                    <a:pt x="8731" y="17116"/>
                  </a:cubicBezTo>
                  <a:close/>
                </a:path>
              </a:pathLst>
            </a:custGeom>
            <a:solidFill>
              <a:srgbClr val="BD5C7A"/>
            </a:solidFill>
            <a:ln w="170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7191F505-BC90-F66C-9F65-0D91CFB416B6}"/>
                </a:ext>
              </a:extLst>
            </p:cNvPr>
            <p:cNvSpPr/>
            <p:nvPr/>
          </p:nvSpPr>
          <p:spPr>
            <a:xfrm>
              <a:off x="7351726" y="1657759"/>
              <a:ext cx="120910" cy="17116"/>
            </a:xfrm>
            <a:custGeom>
              <a:avLst/>
              <a:gdLst>
                <a:gd name="connsiteX0" fmla="*/ 8731 w 120910"/>
                <a:gd name="connsiteY0" fmla="*/ 17116 h 17116"/>
                <a:gd name="connsiteX1" fmla="*/ 112179 w 120910"/>
                <a:gd name="connsiteY1" fmla="*/ 17116 h 17116"/>
                <a:gd name="connsiteX2" fmla="*/ 120910 w 120910"/>
                <a:gd name="connsiteY2" fmla="*/ 8558 h 17116"/>
                <a:gd name="connsiteX3" fmla="*/ 112179 w 120910"/>
                <a:gd name="connsiteY3" fmla="*/ 0 h 17116"/>
                <a:gd name="connsiteX4" fmla="*/ 8731 w 120910"/>
                <a:gd name="connsiteY4" fmla="*/ 0 h 17116"/>
                <a:gd name="connsiteX5" fmla="*/ 0 w 120910"/>
                <a:gd name="connsiteY5" fmla="*/ 8558 h 17116"/>
                <a:gd name="connsiteX6" fmla="*/ 8731 w 120910"/>
                <a:gd name="connsiteY6" fmla="*/ 17116 h 17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910" h="17116">
                  <a:moveTo>
                    <a:pt x="8731" y="17116"/>
                  </a:moveTo>
                  <a:lnTo>
                    <a:pt x="112179" y="17116"/>
                  </a:lnTo>
                  <a:cubicBezTo>
                    <a:pt x="117001" y="17116"/>
                    <a:pt x="120910" y="13284"/>
                    <a:pt x="120910" y="8558"/>
                  </a:cubicBezTo>
                  <a:cubicBezTo>
                    <a:pt x="120910" y="3832"/>
                    <a:pt x="117001" y="0"/>
                    <a:pt x="112179" y="0"/>
                  </a:cubicBezTo>
                  <a:lnTo>
                    <a:pt x="8731" y="0"/>
                  </a:lnTo>
                  <a:cubicBezTo>
                    <a:pt x="3909" y="0"/>
                    <a:pt x="0" y="3832"/>
                    <a:pt x="0" y="8558"/>
                  </a:cubicBezTo>
                  <a:cubicBezTo>
                    <a:pt x="0" y="13284"/>
                    <a:pt x="3909" y="17116"/>
                    <a:pt x="8731" y="17116"/>
                  </a:cubicBezTo>
                  <a:close/>
                </a:path>
              </a:pathLst>
            </a:custGeom>
            <a:solidFill>
              <a:srgbClr val="BD5C7A"/>
            </a:solidFill>
            <a:ln w="170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C326D626-F2B1-CCB4-F479-0381346711F1}"/>
                </a:ext>
              </a:extLst>
            </p:cNvPr>
            <p:cNvSpPr/>
            <p:nvPr/>
          </p:nvSpPr>
          <p:spPr>
            <a:xfrm>
              <a:off x="7351726" y="1751281"/>
              <a:ext cx="120910" cy="17116"/>
            </a:xfrm>
            <a:custGeom>
              <a:avLst/>
              <a:gdLst>
                <a:gd name="connsiteX0" fmla="*/ 8731 w 120910"/>
                <a:gd name="connsiteY0" fmla="*/ 17116 h 17116"/>
                <a:gd name="connsiteX1" fmla="*/ 112179 w 120910"/>
                <a:gd name="connsiteY1" fmla="*/ 17116 h 17116"/>
                <a:gd name="connsiteX2" fmla="*/ 120910 w 120910"/>
                <a:gd name="connsiteY2" fmla="*/ 8558 h 17116"/>
                <a:gd name="connsiteX3" fmla="*/ 112179 w 120910"/>
                <a:gd name="connsiteY3" fmla="*/ 0 h 17116"/>
                <a:gd name="connsiteX4" fmla="*/ 8731 w 120910"/>
                <a:gd name="connsiteY4" fmla="*/ 0 h 17116"/>
                <a:gd name="connsiteX5" fmla="*/ 0 w 120910"/>
                <a:gd name="connsiteY5" fmla="*/ 8558 h 17116"/>
                <a:gd name="connsiteX6" fmla="*/ 8731 w 120910"/>
                <a:gd name="connsiteY6" fmla="*/ 17116 h 17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910" h="17116">
                  <a:moveTo>
                    <a:pt x="8731" y="17116"/>
                  </a:moveTo>
                  <a:lnTo>
                    <a:pt x="112179" y="17116"/>
                  </a:lnTo>
                  <a:cubicBezTo>
                    <a:pt x="117001" y="17116"/>
                    <a:pt x="120910" y="13284"/>
                    <a:pt x="120910" y="8558"/>
                  </a:cubicBezTo>
                  <a:cubicBezTo>
                    <a:pt x="120910" y="3832"/>
                    <a:pt x="117001" y="0"/>
                    <a:pt x="112179" y="0"/>
                  </a:cubicBezTo>
                  <a:lnTo>
                    <a:pt x="8731" y="0"/>
                  </a:lnTo>
                  <a:cubicBezTo>
                    <a:pt x="3909" y="0"/>
                    <a:pt x="0" y="3832"/>
                    <a:pt x="0" y="8558"/>
                  </a:cubicBezTo>
                  <a:cubicBezTo>
                    <a:pt x="0" y="13284"/>
                    <a:pt x="3909" y="17116"/>
                    <a:pt x="8731" y="17116"/>
                  </a:cubicBezTo>
                  <a:close/>
                </a:path>
              </a:pathLst>
            </a:custGeom>
            <a:solidFill>
              <a:srgbClr val="BD5C7A"/>
            </a:solidFill>
            <a:ln w="170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E4953224-4C19-257C-E4AC-576849C75AB5}"/>
                </a:ext>
              </a:extLst>
            </p:cNvPr>
            <p:cNvSpPr/>
            <p:nvPr/>
          </p:nvSpPr>
          <p:spPr>
            <a:xfrm>
              <a:off x="7351726" y="1703750"/>
              <a:ext cx="92271" cy="17116"/>
            </a:xfrm>
            <a:custGeom>
              <a:avLst/>
              <a:gdLst>
                <a:gd name="connsiteX0" fmla="*/ 83540 w 92271"/>
                <a:gd name="connsiteY0" fmla="*/ 0 h 17116"/>
                <a:gd name="connsiteX1" fmla="*/ 8731 w 92271"/>
                <a:gd name="connsiteY1" fmla="*/ 0 h 17116"/>
                <a:gd name="connsiteX2" fmla="*/ 0 w 92271"/>
                <a:gd name="connsiteY2" fmla="*/ 8558 h 17116"/>
                <a:gd name="connsiteX3" fmla="*/ 8731 w 92271"/>
                <a:gd name="connsiteY3" fmla="*/ 17116 h 17116"/>
                <a:gd name="connsiteX4" fmla="*/ 83540 w 92271"/>
                <a:gd name="connsiteY4" fmla="*/ 17116 h 17116"/>
                <a:gd name="connsiteX5" fmla="*/ 92272 w 92271"/>
                <a:gd name="connsiteY5" fmla="*/ 8558 h 17116"/>
                <a:gd name="connsiteX6" fmla="*/ 83540 w 92271"/>
                <a:gd name="connsiteY6" fmla="*/ 0 h 17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271" h="17116">
                  <a:moveTo>
                    <a:pt x="83540" y="0"/>
                  </a:moveTo>
                  <a:lnTo>
                    <a:pt x="8731" y="0"/>
                  </a:lnTo>
                  <a:cubicBezTo>
                    <a:pt x="3909" y="0"/>
                    <a:pt x="0" y="3832"/>
                    <a:pt x="0" y="8558"/>
                  </a:cubicBezTo>
                  <a:cubicBezTo>
                    <a:pt x="0" y="13284"/>
                    <a:pt x="3909" y="17116"/>
                    <a:pt x="8731" y="17116"/>
                  </a:cubicBezTo>
                  <a:lnTo>
                    <a:pt x="83540" y="17116"/>
                  </a:lnTo>
                  <a:cubicBezTo>
                    <a:pt x="88363" y="17116"/>
                    <a:pt x="92272" y="13284"/>
                    <a:pt x="92272" y="8558"/>
                  </a:cubicBezTo>
                  <a:cubicBezTo>
                    <a:pt x="92272" y="3832"/>
                    <a:pt x="88363" y="0"/>
                    <a:pt x="83540" y="0"/>
                  </a:cubicBezTo>
                  <a:close/>
                </a:path>
              </a:pathLst>
            </a:custGeom>
            <a:solidFill>
              <a:srgbClr val="BD5C7A"/>
            </a:solidFill>
            <a:ln w="170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 72">
              <a:extLst>
                <a:ext uri="{FF2B5EF4-FFF2-40B4-BE49-F238E27FC236}">
                  <a16:creationId xmlns:a16="http://schemas.microsoft.com/office/drawing/2014/main" id="{859774ED-A019-EEAC-67F2-14224B6B3C77}"/>
                </a:ext>
              </a:extLst>
            </p:cNvPr>
            <p:cNvSpPr/>
            <p:nvPr/>
          </p:nvSpPr>
          <p:spPr>
            <a:xfrm>
              <a:off x="7306201" y="1527969"/>
              <a:ext cx="328571" cy="311340"/>
            </a:xfrm>
            <a:custGeom>
              <a:avLst/>
              <a:gdLst>
                <a:gd name="connsiteX0" fmla="*/ 321781 w 328571"/>
                <a:gd name="connsiteY0" fmla="*/ 49380 h 311340"/>
                <a:gd name="connsiteX1" fmla="*/ 309191 w 328571"/>
                <a:gd name="connsiteY1" fmla="*/ 37090 h 311340"/>
                <a:gd name="connsiteX2" fmla="*/ 276344 w 328571"/>
                <a:gd name="connsiteY2" fmla="*/ 37090 h 311340"/>
                <a:gd name="connsiteX3" fmla="*/ 268119 w 328571"/>
                <a:gd name="connsiteY3" fmla="*/ 45186 h 311340"/>
                <a:gd name="connsiteX4" fmla="*/ 250656 w 328571"/>
                <a:gd name="connsiteY4" fmla="*/ 62302 h 311340"/>
                <a:gd name="connsiteX5" fmla="*/ 250656 w 328571"/>
                <a:gd name="connsiteY5" fmla="*/ 54754 h 311340"/>
                <a:gd name="connsiteX6" fmla="*/ 248753 w 328571"/>
                <a:gd name="connsiteY6" fmla="*/ 50218 h 311340"/>
                <a:gd name="connsiteX7" fmla="*/ 244754 w 328571"/>
                <a:gd name="connsiteY7" fmla="*/ 46299 h 311340"/>
                <a:gd name="connsiteX8" fmla="*/ 244754 w 328571"/>
                <a:gd name="connsiteY8" fmla="*/ 46299 h 311340"/>
                <a:gd name="connsiteX9" fmla="*/ 201098 w 328571"/>
                <a:gd name="connsiteY9" fmla="*/ 3509 h 311340"/>
                <a:gd name="connsiteX10" fmla="*/ 201098 w 328571"/>
                <a:gd name="connsiteY10" fmla="*/ 3509 h 311340"/>
                <a:gd name="connsiteX11" fmla="*/ 199352 w 328571"/>
                <a:gd name="connsiteY11" fmla="*/ 1883 h 311340"/>
                <a:gd name="connsiteX12" fmla="*/ 194707 w 328571"/>
                <a:gd name="connsiteY12" fmla="*/ 0 h 311340"/>
                <a:gd name="connsiteX13" fmla="*/ 31310 w 328571"/>
                <a:gd name="connsiteY13" fmla="*/ 0 h 311340"/>
                <a:gd name="connsiteX14" fmla="*/ 0 w 328571"/>
                <a:gd name="connsiteY14" fmla="*/ 30501 h 311340"/>
                <a:gd name="connsiteX15" fmla="*/ 0 w 328571"/>
                <a:gd name="connsiteY15" fmla="*/ 280668 h 311340"/>
                <a:gd name="connsiteX16" fmla="*/ 31310 w 328571"/>
                <a:gd name="connsiteY16" fmla="*/ 311340 h 311340"/>
                <a:gd name="connsiteX17" fmla="*/ 219399 w 328571"/>
                <a:gd name="connsiteY17" fmla="*/ 311340 h 311340"/>
                <a:gd name="connsiteX18" fmla="*/ 250726 w 328571"/>
                <a:gd name="connsiteY18" fmla="*/ 280668 h 311340"/>
                <a:gd name="connsiteX19" fmla="*/ 250726 w 328571"/>
                <a:gd name="connsiteY19" fmla="*/ 151220 h 311340"/>
                <a:gd name="connsiteX20" fmla="*/ 321798 w 328571"/>
                <a:gd name="connsiteY20" fmla="*/ 81575 h 311340"/>
                <a:gd name="connsiteX21" fmla="*/ 321781 w 328571"/>
                <a:gd name="connsiteY21" fmla="*/ 49380 h 311340"/>
                <a:gd name="connsiteX22" fmla="*/ 203036 w 328571"/>
                <a:gd name="connsiteY22" fmla="*/ 23466 h 311340"/>
                <a:gd name="connsiteX23" fmla="*/ 224375 w 328571"/>
                <a:gd name="connsiteY23" fmla="*/ 44382 h 311340"/>
                <a:gd name="connsiteX24" fmla="*/ 202966 w 328571"/>
                <a:gd name="connsiteY24" fmla="*/ 44382 h 311340"/>
                <a:gd name="connsiteX25" fmla="*/ 237682 w 328571"/>
                <a:gd name="connsiteY25" fmla="*/ 280668 h 311340"/>
                <a:gd name="connsiteX26" fmla="*/ 219468 w 328571"/>
                <a:gd name="connsiteY26" fmla="*/ 298503 h 311340"/>
                <a:gd name="connsiteX27" fmla="*/ 31310 w 328571"/>
                <a:gd name="connsiteY27" fmla="*/ 298503 h 311340"/>
                <a:gd name="connsiteX28" fmla="*/ 13114 w 328571"/>
                <a:gd name="connsiteY28" fmla="*/ 280668 h 311340"/>
                <a:gd name="connsiteX29" fmla="*/ 13114 w 328571"/>
                <a:gd name="connsiteY29" fmla="*/ 30501 h 311340"/>
                <a:gd name="connsiteX30" fmla="*/ 31310 w 328571"/>
                <a:gd name="connsiteY30" fmla="*/ 12666 h 311340"/>
                <a:gd name="connsiteX31" fmla="*/ 189869 w 328571"/>
                <a:gd name="connsiteY31" fmla="*/ 12666 h 311340"/>
                <a:gd name="connsiteX32" fmla="*/ 189869 w 328571"/>
                <a:gd name="connsiteY32" fmla="*/ 50800 h 311340"/>
                <a:gd name="connsiteX33" fmla="*/ 196418 w 328571"/>
                <a:gd name="connsiteY33" fmla="*/ 57219 h 311340"/>
                <a:gd name="connsiteX34" fmla="*/ 237402 w 328571"/>
                <a:gd name="connsiteY34" fmla="*/ 57219 h 311340"/>
                <a:gd name="connsiteX35" fmla="*/ 237612 w 328571"/>
                <a:gd name="connsiteY35" fmla="*/ 57424 h 311340"/>
                <a:gd name="connsiteX36" fmla="*/ 237612 w 328571"/>
                <a:gd name="connsiteY36" fmla="*/ 75071 h 311340"/>
                <a:gd name="connsiteX37" fmla="*/ 180579 w 328571"/>
                <a:gd name="connsiteY37" fmla="*/ 130886 h 311340"/>
                <a:gd name="connsiteX38" fmla="*/ 180387 w 328571"/>
                <a:gd name="connsiteY38" fmla="*/ 131074 h 311340"/>
                <a:gd name="connsiteX39" fmla="*/ 180387 w 328571"/>
                <a:gd name="connsiteY39" fmla="*/ 131074 h 311340"/>
                <a:gd name="connsiteX40" fmla="*/ 180073 w 328571"/>
                <a:gd name="connsiteY40" fmla="*/ 131485 h 311340"/>
                <a:gd name="connsiteX41" fmla="*/ 180073 w 328571"/>
                <a:gd name="connsiteY41" fmla="*/ 131588 h 311340"/>
                <a:gd name="connsiteX42" fmla="*/ 179829 w 328571"/>
                <a:gd name="connsiteY42" fmla="*/ 131947 h 311340"/>
                <a:gd name="connsiteX43" fmla="*/ 179741 w 328571"/>
                <a:gd name="connsiteY43" fmla="*/ 132084 h 311340"/>
                <a:gd name="connsiteX44" fmla="*/ 179602 w 328571"/>
                <a:gd name="connsiteY44" fmla="*/ 132444 h 311340"/>
                <a:gd name="connsiteX45" fmla="*/ 179602 w 328571"/>
                <a:gd name="connsiteY45" fmla="*/ 132444 h 311340"/>
                <a:gd name="connsiteX46" fmla="*/ 159921 w 328571"/>
                <a:gd name="connsiteY46" fmla="*/ 189919 h 311340"/>
                <a:gd name="connsiteX47" fmla="*/ 162825 w 328571"/>
                <a:gd name="connsiteY47" fmla="*/ 195641 h 311340"/>
                <a:gd name="connsiteX48" fmla="*/ 164339 w 328571"/>
                <a:gd name="connsiteY48" fmla="*/ 195876 h 311340"/>
                <a:gd name="connsiteX49" fmla="*/ 165824 w 328571"/>
                <a:gd name="connsiteY49" fmla="*/ 195653 h 311340"/>
                <a:gd name="connsiteX50" fmla="*/ 224183 w 328571"/>
                <a:gd name="connsiteY50" fmla="*/ 176569 h 311340"/>
                <a:gd name="connsiteX51" fmla="*/ 224183 w 328571"/>
                <a:gd name="connsiteY51" fmla="*/ 176569 h 311340"/>
                <a:gd name="connsiteX52" fmla="*/ 224602 w 328571"/>
                <a:gd name="connsiteY52" fmla="*/ 176380 h 311340"/>
                <a:gd name="connsiteX53" fmla="*/ 224707 w 328571"/>
                <a:gd name="connsiteY53" fmla="*/ 176380 h 311340"/>
                <a:gd name="connsiteX54" fmla="*/ 225161 w 328571"/>
                <a:gd name="connsiteY54" fmla="*/ 176107 h 311340"/>
                <a:gd name="connsiteX55" fmla="*/ 225580 w 328571"/>
                <a:gd name="connsiteY55" fmla="*/ 175799 h 311340"/>
                <a:gd name="connsiteX56" fmla="*/ 225668 w 328571"/>
                <a:gd name="connsiteY56" fmla="*/ 175696 h 311340"/>
                <a:gd name="connsiteX57" fmla="*/ 225860 w 328571"/>
                <a:gd name="connsiteY57" fmla="*/ 175525 h 311340"/>
                <a:gd name="connsiteX58" fmla="*/ 237455 w 328571"/>
                <a:gd name="connsiteY58" fmla="*/ 164142 h 311340"/>
                <a:gd name="connsiteX59" fmla="*/ 185871 w 328571"/>
                <a:gd name="connsiteY59" fmla="*/ 142593 h 311340"/>
                <a:gd name="connsiteX60" fmla="*/ 214055 w 328571"/>
                <a:gd name="connsiteY60" fmla="*/ 170253 h 311340"/>
                <a:gd name="connsiteX61" fmla="*/ 171639 w 328571"/>
                <a:gd name="connsiteY61" fmla="*/ 184100 h 311340"/>
                <a:gd name="connsiteX62" fmla="*/ 222786 w 328571"/>
                <a:gd name="connsiteY62" fmla="*/ 165871 h 311340"/>
                <a:gd name="connsiteX63" fmla="*/ 190428 w 328571"/>
                <a:gd name="connsiteY63" fmla="*/ 134172 h 311340"/>
                <a:gd name="connsiteX64" fmla="*/ 271367 w 328571"/>
                <a:gd name="connsiteY64" fmla="*/ 54857 h 311340"/>
                <a:gd name="connsiteX65" fmla="*/ 303707 w 328571"/>
                <a:gd name="connsiteY65" fmla="*/ 86539 h 311340"/>
                <a:gd name="connsiteX66" fmla="*/ 315337 w 328571"/>
                <a:gd name="connsiteY66" fmla="*/ 75156 h 311340"/>
                <a:gd name="connsiteX67" fmla="*/ 310395 w 328571"/>
                <a:gd name="connsiteY67" fmla="*/ 80017 h 311340"/>
                <a:gd name="connsiteX68" fmla="*/ 277968 w 328571"/>
                <a:gd name="connsiteY68" fmla="*/ 48387 h 311340"/>
                <a:gd name="connsiteX69" fmla="*/ 282927 w 328571"/>
                <a:gd name="connsiteY69" fmla="*/ 43509 h 311340"/>
                <a:gd name="connsiteX70" fmla="*/ 302625 w 328571"/>
                <a:gd name="connsiteY70" fmla="*/ 43509 h 311340"/>
                <a:gd name="connsiteX71" fmla="*/ 315268 w 328571"/>
                <a:gd name="connsiteY71" fmla="*/ 55901 h 311340"/>
                <a:gd name="connsiteX72" fmla="*/ 315233 w 328571"/>
                <a:gd name="connsiteY72" fmla="*/ 75208 h 311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328571" h="311340">
                  <a:moveTo>
                    <a:pt x="321781" y="49380"/>
                  </a:moveTo>
                  <a:lnTo>
                    <a:pt x="309191" y="37090"/>
                  </a:lnTo>
                  <a:cubicBezTo>
                    <a:pt x="300116" y="28209"/>
                    <a:pt x="285418" y="28209"/>
                    <a:pt x="276344" y="37090"/>
                  </a:cubicBezTo>
                  <a:lnTo>
                    <a:pt x="268119" y="45186"/>
                  </a:lnTo>
                  <a:lnTo>
                    <a:pt x="250656" y="62302"/>
                  </a:lnTo>
                  <a:lnTo>
                    <a:pt x="250656" y="54754"/>
                  </a:lnTo>
                  <a:cubicBezTo>
                    <a:pt x="250656" y="53056"/>
                    <a:pt x="249972" y="51426"/>
                    <a:pt x="248753" y="50218"/>
                  </a:cubicBezTo>
                  <a:lnTo>
                    <a:pt x="244754" y="46299"/>
                  </a:lnTo>
                  <a:lnTo>
                    <a:pt x="244754" y="46299"/>
                  </a:lnTo>
                  <a:lnTo>
                    <a:pt x="201098" y="3509"/>
                  </a:lnTo>
                  <a:lnTo>
                    <a:pt x="201098" y="3509"/>
                  </a:lnTo>
                  <a:lnTo>
                    <a:pt x="199352" y="1883"/>
                  </a:lnTo>
                  <a:cubicBezTo>
                    <a:pt x="198123" y="671"/>
                    <a:pt x="196450" y="-7"/>
                    <a:pt x="194707" y="0"/>
                  </a:cubicBezTo>
                  <a:lnTo>
                    <a:pt x="31310" y="0"/>
                  </a:lnTo>
                  <a:cubicBezTo>
                    <a:pt x="14120" y="65"/>
                    <a:pt x="172" y="13653"/>
                    <a:pt x="0" y="30501"/>
                  </a:cubicBezTo>
                  <a:lnTo>
                    <a:pt x="0" y="280668"/>
                  </a:lnTo>
                  <a:cubicBezTo>
                    <a:pt x="77" y="297583"/>
                    <a:pt x="14053" y="311274"/>
                    <a:pt x="31310" y="311340"/>
                  </a:cubicBezTo>
                  <a:lnTo>
                    <a:pt x="219399" y="311340"/>
                  </a:lnTo>
                  <a:cubicBezTo>
                    <a:pt x="236687" y="311340"/>
                    <a:pt x="250707" y="297613"/>
                    <a:pt x="250726" y="280668"/>
                  </a:cubicBezTo>
                  <a:lnTo>
                    <a:pt x="250726" y="151220"/>
                  </a:lnTo>
                  <a:lnTo>
                    <a:pt x="321798" y="81575"/>
                  </a:lnTo>
                  <a:cubicBezTo>
                    <a:pt x="330836" y="72668"/>
                    <a:pt x="330828" y="58277"/>
                    <a:pt x="321781" y="49380"/>
                  </a:cubicBezTo>
                  <a:close/>
                  <a:moveTo>
                    <a:pt x="203036" y="23466"/>
                  </a:moveTo>
                  <a:lnTo>
                    <a:pt x="224375" y="44382"/>
                  </a:lnTo>
                  <a:lnTo>
                    <a:pt x="202966" y="44382"/>
                  </a:lnTo>
                  <a:close/>
                  <a:moveTo>
                    <a:pt x="237682" y="280668"/>
                  </a:moveTo>
                  <a:cubicBezTo>
                    <a:pt x="237672" y="290521"/>
                    <a:pt x="229521" y="298503"/>
                    <a:pt x="219468" y="298503"/>
                  </a:cubicBezTo>
                  <a:lnTo>
                    <a:pt x="31310" y="298503"/>
                  </a:lnTo>
                  <a:cubicBezTo>
                    <a:pt x="21269" y="298484"/>
                    <a:pt x="13134" y="290510"/>
                    <a:pt x="13114" y="280668"/>
                  </a:cubicBezTo>
                  <a:lnTo>
                    <a:pt x="13114" y="30501"/>
                  </a:lnTo>
                  <a:cubicBezTo>
                    <a:pt x="13134" y="20659"/>
                    <a:pt x="21269" y="12685"/>
                    <a:pt x="31310" y="12666"/>
                  </a:cubicBezTo>
                  <a:lnTo>
                    <a:pt x="189869" y="12666"/>
                  </a:lnTo>
                  <a:lnTo>
                    <a:pt x="189869" y="50800"/>
                  </a:lnTo>
                  <a:cubicBezTo>
                    <a:pt x="189869" y="54345"/>
                    <a:pt x="192801" y="57219"/>
                    <a:pt x="196418" y="57219"/>
                  </a:cubicBezTo>
                  <a:lnTo>
                    <a:pt x="237402" y="57219"/>
                  </a:lnTo>
                  <a:lnTo>
                    <a:pt x="237612" y="57424"/>
                  </a:lnTo>
                  <a:lnTo>
                    <a:pt x="237612" y="75071"/>
                  </a:lnTo>
                  <a:lnTo>
                    <a:pt x="180579" y="130886"/>
                  </a:lnTo>
                  <a:lnTo>
                    <a:pt x="180387" y="131074"/>
                  </a:lnTo>
                  <a:lnTo>
                    <a:pt x="180387" y="131074"/>
                  </a:lnTo>
                  <a:cubicBezTo>
                    <a:pt x="180300" y="131211"/>
                    <a:pt x="180160" y="131348"/>
                    <a:pt x="180073" y="131485"/>
                  </a:cubicBezTo>
                  <a:lnTo>
                    <a:pt x="180073" y="131588"/>
                  </a:lnTo>
                  <a:lnTo>
                    <a:pt x="179829" y="131947"/>
                  </a:lnTo>
                  <a:lnTo>
                    <a:pt x="179741" y="132084"/>
                  </a:lnTo>
                  <a:lnTo>
                    <a:pt x="179602" y="132444"/>
                  </a:lnTo>
                  <a:lnTo>
                    <a:pt x="179602" y="132444"/>
                  </a:lnTo>
                  <a:lnTo>
                    <a:pt x="159921" y="189919"/>
                  </a:lnTo>
                  <a:cubicBezTo>
                    <a:pt x="159111" y="192285"/>
                    <a:pt x="160411" y="194847"/>
                    <a:pt x="162825" y="195641"/>
                  </a:cubicBezTo>
                  <a:cubicBezTo>
                    <a:pt x="163313" y="195801"/>
                    <a:pt x="163825" y="195881"/>
                    <a:pt x="164339" y="195876"/>
                  </a:cubicBezTo>
                  <a:cubicBezTo>
                    <a:pt x="164842" y="195872"/>
                    <a:pt x="165342" y="195797"/>
                    <a:pt x="165824" y="195653"/>
                  </a:cubicBezTo>
                  <a:lnTo>
                    <a:pt x="224183" y="176569"/>
                  </a:lnTo>
                  <a:lnTo>
                    <a:pt x="224183" y="176569"/>
                  </a:lnTo>
                  <a:cubicBezTo>
                    <a:pt x="224332" y="176527"/>
                    <a:pt x="224473" y="176464"/>
                    <a:pt x="224602" y="176380"/>
                  </a:cubicBezTo>
                  <a:lnTo>
                    <a:pt x="224707" y="176380"/>
                  </a:lnTo>
                  <a:lnTo>
                    <a:pt x="225161" y="176107"/>
                  </a:lnTo>
                  <a:lnTo>
                    <a:pt x="225580" y="175799"/>
                  </a:lnTo>
                  <a:lnTo>
                    <a:pt x="225668" y="175696"/>
                  </a:lnTo>
                  <a:cubicBezTo>
                    <a:pt x="225744" y="175654"/>
                    <a:pt x="225810" y="175595"/>
                    <a:pt x="225860" y="175525"/>
                  </a:cubicBezTo>
                  <a:lnTo>
                    <a:pt x="237455" y="164142"/>
                  </a:lnTo>
                  <a:close/>
                  <a:moveTo>
                    <a:pt x="185871" y="142593"/>
                  </a:moveTo>
                  <a:lnTo>
                    <a:pt x="214055" y="170253"/>
                  </a:lnTo>
                  <a:lnTo>
                    <a:pt x="171639" y="184100"/>
                  </a:lnTo>
                  <a:close/>
                  <a:moveTo>
                    <a:pt x="222786" y="165871"/>
                  </a:moveTo>
                  <a:lnTo>
                    <a:pt x="190428" y="134172"/>
                  </a:lnTo>
                  <a:lnTo>
                    <a:pt x="271367" y="54857"/>
                  </a:lnTo>
                  <a:lnTo>
                    <a:pt x="303707" y="86539"/>
                  </a:lnTo>
                  <a:close/>
                  <a:moveTo>
                    <a:pt x="315337" y="75156"/>
                  </a:moveTo>
                  <a:lnTo>
                    <a:pt x="310395" y="80017"/>
                  </a:lnTo>
                  <a:lnTo>
                    <a:pt x="277968" y="48387"/>
                  </a:lnTo>
                  <a:lnTo>
                    <a:pt x="282927" y="43509"/>
                  </a:lnTo>
                  <a:cubicBezTo>
                    <a:pt x="288376" y="38200"/>
                    <a:pt x="297176" y="38200"/>
                    <a:pt x="302625" y="43509"/>
                  </a:cubicBezTo>
                  <a:lnTo>
                    <a:pt x="315268" y="55901"/>
                  </a:lnTo>
                  <a:cubicBezTo>
                    <a:pt x="320674" y="61251"/>
                    <a:pt x="320659" y="69876"/>
                    <a:pt x="315233" y="75208"/>
                  </a:cubicBezTo>
                  <a:close/>
                </a:path>
              </a:pathLst>
            </a:custGeom>
            <a:solidFill>
              <a:srgbClr val="1F6896"/>
            </a:solidFill>
            <a:ln w="170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4" name="Graphic 134">
            <a:extLst>
              <a:ext uri="{FF2B5EF4-FFF2-40B4-BE49-F238E27FC236}">
                <a16:creationId xmlns:a16="http://schemas.microsoft.com/office/drawing/2014/main" id="{61283B0F-B434-FF20-40A5-2AB681E6DE5C}"/>
              </a:ext>
            </a:extLst>
          </p:cNvPr>
          <p:cNvGrpSpPr/>
          <p:nvPr/>
        </p:nvGrpSpPr>
        <p:grpSpPr>
          <a:xfrm>
            <a:off x="3974353" y="2567360"/>
            <a:ext cx="361950" cy="361950"/>
            <a:chOff x="3911600" y="2181598"/>
            <a:chExt cx="361950" cy="361950"/>
          </a:xfrm>
        </p:grpSpPr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12D06C22-CDBB-58DF-DFA1-D435965C00A2}"/>
                </a:ext>
              </a:extLst>
            </p:cNvPr>
            <p:cNvSpPr/>
            <p:nvPr/>
          </p:nvSpPr>
          <p:spPr>
            <a:xfrm>
              <a:off x="3932683" y="2256793"/>
              <a:ext cx="156407" cy="235516"/>
            </a:xfrm>
            <a:custGeom>
              <a:avLst/>
              <a:gdLst>
                <a:gd name="connsiteX0" fmla="*/ 122407 w 156407"/>
                <a:gd name="connsiteY0" fmla="*/ 226241 h 235516"/>
                <a:gd name="connsiteX1" fmla="*/ 70377 w 156407"/>
                <a:gd name="connsiteY1" fmla="*/ 197783 h 235516"/>
                <a:gd name="connsiteX2" fmla="*/ 57007 w 156407"/>
                <a:gd name="connsiteY2" fmla="*/ 183871 h 235516"/>
                <a:gd name="connsiteX3" fmla="*/ 59066 w 156407"/>
                <a:gd name="connsiteY3" fmla="*/ 183871 h 235516"/>
                <a:gd name="connsiteX4" fmla="*/ 67775 w 156407"/>
                <a:gd name="connsiteY4" fmla="*/ 184165 h 235516"/>
                <a:gd name="connsiteX5" fmla="*/ 66033 w 156407"/>
                <a:gd name="connsiteY5" fmla="*/ 181767 h 235516"/>
                <a:gd name="connsiteX6" fmla="*/ 62844 w 156407"/>
                <a:gd name="connsiteY6" fmla="*/ 176609 h 235516"/>
                <a:gd name="connsiteX7" fmla="*/ 59066 w 156407"/>
                <a:gd name="connsiteY7" fmla="*/ 176745 h 235516"/>
                <a:gd name="connsiteX8" fmla="*/ 51895 w 156407"/>
                <a:gd name="connsiteY8" fmla="*/ 177039 h 235516"/>
                <a:gd name="connsiteX9" fmla="*/ 32983 w 156407"/>
                <a:gd name="connsiteY9" fmla="*/ 123221 h 235516"/>
                <a:gd name="connsiteX10" fmla="*/ 38502 w 156407"/>
                <a:gd name="connsiteY10" fmla="*/ 123448 h 235516"/>
                <a:gd name="connsiteX11" fmla="*/ 47280 w 156407"/>
                <a:gd name="connsiteY11" fmla="*/ 123719 h 235516"/>
                <a:gd name="connsiteX12" fmla="*/ 47031 w 156407"/>
                <a:gd name="connsiteY12" fmla="*/ 116028 h 235516"/>
                <a:gd name="connsiteX13" fmla="*/ 38502 w 156407"/>
                <a:gd name="connsiteY13" fmla="*/ 116299 h 235516"/>
                <a:gd name="connsiteX14" fmla="*/ 32870 w 156407"/>
                <a:gd name="connsiteY14" fmla="*/ 116548 h 235516"/>
                <a:gd name="connsiteX15" fmla="*/ 48479 w 156407"/>
                <a:gd name="connsiteY15" fmla="*/ 63681 h 235516"/>
                <a:gd name="connsiteX16" fmla="*/ 55831 w 156407"/>
                <a:gd name="connsiteY16" fmla="*/ 63997 h 235516"/>
                <a:gd name="connsiteX17" fmla="*/ 59518 w 156407"/>
                <a:gd name="connsiteY17" fmla="*/ 64110 h 235516"/>
                <a:gd name="connsiteX18" fmla="*/ 63500 w 156407"/>
                <a:gd name="connsiteY18" fmla="*/ 56600 h 235516"/>
                <a:gd name="connsiteX19" fmla="*/ 55831 w 156407"/>
                <a:gd name="connsiteY19" fmla="*/ 56849 h 235516"/>
                <a:gd name="connsiteX20" fmla="*/ 53003 w 156407"/>
                <a:gd name="connsiteY20" fmla="*/ 56849 h 235516"/>
                <a:gd name="connsiteX21" fmla="*/ 70445 w 156407"/>
                <a:gd name="connsiteY21" fmla="*/ 37620 h 235516"/>
                <a:gd name="connsiteX22" fmla="*/ 112182 w 156407"/>
                <a:gd name="connsiteY22" fmla="*/ 12691 h 235516"/>
                <a:gd name="connsiteX23" fmla="*/ 149214 w 156407"/>
                <a:gd name="connsiteY23" fmla="*/ 1086 h 235516"/>
                <a:gd name="connsiteX24" fmla="*/ 155797 w 156407"/>
                <a:gd name="connsiteY24" fmla="*/ 0 h 235516"/>
                <a:gd name="connsiteX25" fmla="*/ 134872 w 156407"/>
                <a:gd name="connsiteY25" fmla="*/ 0 h 235516"/>
                <a:gd name="connsiteX26" fmla="*/ 0 w 156407"/>
                <a:gd name="connsiteY26" fmla="*/ 117769 h 235516"/>
                <a:gd name="connsiteX27" fmla="*/ 134872 w 156407"/>
                <a:gd name="connsiteY27" fmla="*/ 235516 h 235516"/>
                <a:gd name="connsiteX28" fmla="*/ 156408 w 156407"/>
                <a:gd name="connsiteY28" fmla="*/ 235516 h 235516"/>
                <a:gd name="connsiteX29" fmla="*/ 122407 w 156407"/>
                <a:gd name="connsiteY29" fmla="*/ 226241 h 235516"/>
                <a:gd name="connsiteX30" fmla="*/ 4049 w 156407"/>
                <a:gd name="connsiteY30" fmla="*/ 117769 h 235516"/>
                <a:gd name="connsiteX31" fmla="*/ 119805 w 156407"/>
                <a:gd name="connsiteY31" fmla="*/ 4818 h 235516"/>
                <a:gd name="connsiteX32" fmla="*/ 41737 w 156407"/>
                <a:gd name="connsiteY32" fmla="*/ 57527 h 235516"/>
                <a:gd name="connsiteX33" fmla="*/ 26558 w 156407"/>
                <a:gd name="connsiteY33" fmla="*/ 60423 h 235516"/>
                <a:gd name="connsiteX34" fmla="*/ 38140 w 156407"/>
                <a:gd name="connsiteY34" fmla="*/ 63092 h 235516"/>
                <a:gd name="connsiteX35" fmla="*/ 22622 w 156407"/>
                <a:gd name="connsiteY35" fmla="*/ 117091 h 235516"/>
                <a:gd name="connsiteX36" fmla="*/ 9230 w 156407"/>
                <a:gd name="connsiteY36" fmla="*/ 119873 h 235516"/>
                <a:gd name="connsiteX37" fmla="*/ 22803 w 156407"/>
                <a:gd name="connsiteY37" fmla="*/ 122678 h 235516"/>
                <a:gd name="connsiteX38" fmla="*/ 41624 w 156407"/>
                <a:gd name="connsiteY38" fmla="*/ 177695 h 235516"/>
                <a:gd name="connsiteX39" fmla="*/ 29951 w 156407"/>
                <a:gd name="connsiteY39" fmla="*/ 180364 h 235516"/>
                <a:gd name="connsiteX40" fmla="*/ 45787 w 156407"/>
                <a:gd name="connsiteY40" fmla="*/ 183328 h 235516"/>
                <a:gd name="connsiteX41" fmla="*/ 119941 w 156407"/>
                <a:gd name="connsiteY41" fmla="*/ 230721 h 235516"/>
                <a:gd name="connsiteX42" fmla="*/ 4049 w 156407"/>
                <a:gd name="connsiteY42" fmla="*/ 117769 h 23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56407" h="235516">
                  <a:moveTo>
                    <a:pt x="122407" y="226241"/>
                  </a:moveTo>
                  <a:cubicBezTo>
                    <a:pt x="103183" y="220694"/>
                    <a:pt x="85418" y="210977"/>
                    <a:pt x="70377" y="197783"/>
                  </a:cubicBezTo>
                  <a:cubicBezTo>
                    <a:pt x="65562" y="193504"/>
                    <a:pt x="61092" y="188852"/>
                    <a:pt x="57007" y="183871"/>
                  </a:cubicBezTo>
                  <a:lnTo>
                    <a:pt x="59066" y="183871"/>
                  </a:lnTo>
                  <a:lnTo>
                    <a:pt x="67775" y="184165"/>
                  </a:lnTo>
                  <a:cubicBezTo>
                    <a:pt x="67210" y="183350"/>
                    <a:pt x="66576" y="182604"/>
                    <a:pt x="66033" y="181767"/>
                  </a:cubicBezTo>
                  <a:cubicBezTo>
                    <a:pt x="64925" y="180093"/>
                    <a:pt x="63771" y="178373"/>
                    <a:pt x="62844" y="176609"/>
                  </a:cubicBezTo>
                  <a:lnTo>
                    <a:pt x="59066" y="176745"/>
                  </a:lnTo>
                  <a:lnTo>
                    <a:pt x="51895" y="177039"/>
                  </a:lnTo>
                  <a:cubicBezTo>
                    <a:pt x="40656" y="161234"/>
                    <a:pt x="34101" y="142582"/>
                    <a:pt x="32983" y="123221"/>
                  </a:cubicBezTo>
                  <a:lnTo>
                    <a:pt x="38502" y="123448"/>
                  </a:lnTo>
                  <a:lnTo>
                    <a:pt x="47280" y="123719"/>
                  </a:lnTo>
                  <a:cubicBezTo>
                    <a:pt x="47121" y="121163"/>
                    <a:pt x="47031" y="118584"/>
                    <a:pt x="47031" y="116028"/>
                  </a:cubicBezTo>
                  <a:lnTo>
                    <a:pt x="38502" y="116299"/>
                  </a:lnTo>
                  <a:lnTo>
                    <a:pt x="32870" y="116548"/>
                  </a:lnTo>
                  <a:cubicBezTo>
                    <a:pt x="33127" y="97828"/>
                    <a:pt x="38527" y="79538"/>
                    <a:pt x="48479" y="63681"/>
                  </a:cubicBezTo>
                  <a:lnTo>
                    <a:pt x="55831" y="63997"/>
                  </a:lnTo>
                  <a:lnTo>
                    <a:pt x="59518" y="64110"/>
                  </a:lnTo>
                  <a:cubicBezTo>
                    <a:pt x="60740" y="61532"/>
                    <a:pt x="62074" y="59043"/>
                    <a:pt x="63500" y="56600"/>
                  </a:cubicBezTo>
                  <a:lnTo>
                    <a:pt x="55831" y="56849"/>
                  </a:lnTo>
                  <a:lnTo>
                    <a:pt x="53003" y="56849"/>
                  </a:lnTo>
                  <a:cubicBezTo>
                    <a:pt x="58097" y="49821"/>
                    <a:pt x="63946" y="43373"/>
                    <a:pt x="70445" y="37620"/>
                  </a:cubicBezTo>
                  <a:cubicBezTo>
                    <a:pt x="82727" y="26844"/>
                    <a:pt x="96871" y="18396"/>
                    <a:pt x="112182" y="12691"/>
                  </a:cubicBezTo>
                  <a:cubicBezTo>
                    <a:pt x="123876" y="6991"/>
                    <a:pt x="136359" y="3079"/>
                    <a:pt x="149214" y="1086"/>
                  </a:cubicBezTo>
                  <a:cubicBezTo>
                    <a:pt x="151476" y="679"/>
                    <a:pt x="153580" y="339"/>
                    <a:pt x="155797" y="0"/>
                  </a:cubicBezTo>
                  <a:lnTo>
                    <a:pt x="134872" y="0"/>
                  </a:lnTo>
                  <a:cubicBezTo>
                    <a:pt x="60514" y="0"/>
                    <a:pt x="0" y="52822"/>
                    <a:pt x="0" y="117769"/>
                  </a:cubicBezTo>
                  <a:cubicBezTo>
                    <a:pt x="0" y="182717"/>
                    <a:pt x="60514" y="235516"/>
                    <a:pt x="134872" y="235516"/>
                  </a:cubicBezTo>
                  <a:lnTo>
                    <a:pt x="156408" y="235516"/>
                  </a:lnTo>
                  <a:cubicBezTo>
                    <a:pt x="144770" y="233674"/>
                    <a:pt x="133368" y="230564"/>
                    <a:pt x="122407" y="226241"/>
                  </a:cubicBezTo>
                  <a:close/>
                  <a:moveTo>
                    <a:pt x="4049" y="117769"/>
                  </a:moveTo>
                  <a:cubicBezTo>
                    <a:pt x="4049" y="59496"/>
                    <a:pt x="54745" y="11311"/>
                    <a:pt x="119805" y="4818"/>
                  </a:cubicBezTo>
                  <a:cubicBezTo>
                    <a:pt x="88297" y="12442"/>
                    <a:pt x="60585" y="31152"/>
                    <a:pt x="41737" y="57527"/>
                  </a:cubicBezTo>
                  <a:cubicBezTo>
                    <a:pt x="26558" y="58432"/>
                    <a:pt x="26558" y="59405"/>
                    <a:pt x="26558" y="60423"/>
                  </a:cubicBezTo>
                  <a:cubicBezTo>
                    <a:pt x="26558" y="61441"/>
                    <a:pt x="26558" y="62255"/>
                    <a:pt x="38140" y="63092"/>
                  </a:cubicBezTo>
                  <a:cubicBezTo>
                    <a:pt x="28160" y="79349"/>
                    <a:pt x="22795" y="98016"/>
                    <a:pt x="22622" y="117091"/>
                  </a:cubicBezTo>
                  <a:cubicBezTo>
                    <a:pt x="9252" y="117950"/>
                    <a:pt x="9230" y="118901"/>
                    <a:pt x="9230" y="119873"/>
                  </a:cubicBezTo>
                  <a:cubicBezTo>
                    <a:pt x="9230" y="120846"/>
                    <a:pt x="9230" y="121796"/>
                    <a:pt x="22803" y="122678"/>
                  </a:cubicBezTo>
                  <a:cubicBezTo>
                    <a:pt x="23843" y="142410"/>
                    <a:pt x="30360" y="161461"/>
                    <a:pt x="41624" y="177695"/>
                  </a:cubicBezTo>
                  <a:cubicBezTo>
                    <a:pt x="29974" y="178554"/>
                    <a:pt x="29951" y="179437"/>
                    <a:pt x="29951" y="180364"/>
                  </a:cubicBezTo>
                  <a:cubicBezTo>
                    <a:pt x="29951" y="181292"/>
                    <a:pt x="29951" y="182400"/>
                    <a:pt x="45787" y="183328"/>
                  </a:cubicBezTo>
                  <a:cubicBezTo>
                    <a:pt x="64599" y="206874"/>
                    <a:pt x="90671" y="223537"/>
                    <a:pt x="119941" y="230721"/>
                  </a:cubicBezTo>
                  <a:cubicBezTo>
                    <a:pt x="54745" y="224205"/>
                    <a:pt x="4049" y="176021"/>
                    <a:pt x="4049" y="117769"/>
                  </a:cubicBezTo>
                  <a:close/>
                </a:path>
              </a:pathLst>
            </a:custGeom>
            <a:solidFill>
              <a:srgbClr val="BD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2B27EBAC-7B50-B132-15BF-BFE9384BBC0E}"/>
                </a:ext>
              </a:extLst>
            </p:cNvPr>
            <p:cNvSpPr/>
            <p:nvPr/>
          </p:nvSpPr>
          <p:spPr>
            <a:xfrm>
              <a:off x="3912453" y="2249076"/>
              <a:ext cx="369896" cy="252642"/>
            </a:xfrm>
            <a:custGeom>
              <a:avLst/>
              <a:gdLst>
                <a:gd name="connsiteX0" fmla="*/ 151935 w 369896"/>
                <a:gd name="connsiteY0" fmla="*/ 252576 h 252642"/>
                <a:gd name="connsiteX1" fmla="*/ 141619 w 369896"/>
                <a:gd name="connsiteY1" fmla="*/ 252576 h 252642"/>
                <a:gd name="connsiteX2" fmla="*/ 20049 w 369896"/>
                <a:gd name="connsiteY2" fmla="*/ 193759 h 252642"/>
                <a:gd name="connsiteX3" fmla="*/ 12312 w 369896"/>
                <a:gd name="connsiteY3" fmla="*/ 71759 h 252642"/>
                <a:gd name="connsiteX4" fmla="*/ 107121 w 369896"/>
                <a:gd name="connsiteY4" fmla="*/ 3894 h 252642"/>
                <a:gd name="connsiteX5" fmla="*/ 151912 w 369896"/>
                <a:gd name="connsiteY5" fmla="*/ 3 h 252642"/>
                <a:gd name="connsiteX6" fmla="*/ 211543 w 369896"/>
                <a:gd name="connsiteY6" fmla="*/ 3 h 252642"/>
                <a:gd name="connsiteX7" fmla="*/ 286195 w 369896"/>
                <a:gd name="connsiteY7" fmla="*/ 10522 h 252642"/>
                <a:gd name="connsiteX8" fmla="*/ 338475 w 369896"/>
                <a:gd name="connsiteY8" fmla="*/ 44070 h 252642"/>
                <a:gd name="connsiteX9" fmla="*/ 338475 w 369896"/>
                <a:gd name="connsiteY9" fmla="*/ 44228 h 252642"/>
                <a:gd name="connsiteX10" fmla="*/ 369896 w 369896"/>
                <a:gd name="connsiteY10" fmla="*/ 127680 h 252642"/>
                <a:gd name="connsiteX11" fmla="*/ 288458 w 369896"/>
                <a:gd name="connsiteY11" fmla="*/ 241830 h 252642"/>
                <a:gd name="connsiteX12" fmla="*/ 211543 w 369896"/>
                <a:gd name="connsiteY12" fmla="*/ 252553 h 252642"/>
                <a:gd name="connsiteX13" fmla="*/ 152478 w 369896"/>
                <a:gd name="connsiteY13" fmla="*/ 11359 h 252642"/>
                <a:gd name="connsiteX14" fmla="*/ 108976 w 369896"/>
                <a:gd name="connsiteY14" fmla="*/ 15114 h 252642"/>
                <a:gd name="connsiteX15" fmla="*/ 22447 w 369896"/>
                <a:gd name="connsiteY15" fmla="*/ 76736 h 252642"/>
                <a:gd name="connsiteX16" fmla="*/ 29437 w 369896"/>
                <a:gd name="connsiteY16" fmla="*/ 187470 h 252642"/>
                <a:gd name="connsiteX17" fmla="*/ 141890 w 369896"/>
                <a:gd name="connsiteY17" fmla="*/ 241174 h 252642"/>
                <a:gd name="connsiteX18" fmla="*/ 151935 w 369896"/>
                <a:gd name="connsiteY18" fmla="*/ 241174 h 252642"/>
                <a:gd name="connsiteX19" fmla="*/ 211408 w 369896"/>
                <a:gd name="connsiteY19" fmla="*/ 241174 h 252642"/>
                <a:gd name="connsiteX20" fmla="*/ 284793 w 369896"/>
                <a:gd name="connsiteY20" fmla="*/ 231040 h 252642"/>
                <a:gd name="connsiteX21" fmla="*/ 358631 w 369896"/>
                <a:gd name="connsiteY21" fmla="*/ 127477 h 252642"/>
                <a:gd name="connsiteX22" fmla="*/ 330059 w 369896"/>
                <a:gd name="connsiteY22" fmla="*/ 51626 h 252642"/>
                <a:gd name="connsiteX23" fmla="*/ 282689 w 369896"/>
                <a:gd name="connsiteY23" fmla="*/ 21222 h 252642"/>
                <a:gd name="connsiteX24" fmla="*/ 211656 w 369896"/>
                <a:gd name="connsiteY24" fmla="*/ 11291 h 252642"/>
                <a:gd name="connsiteX25" fmla="*/ 152478 w 369896"/>
                <a:gd name="connsiteY25" fmla="*/ 11291 h 25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9896" h="252642">
                  <a:moveTo>
                    <a:pt x="151935" y="252576"/>
                  </a:moveTo>
                  <a:lnTo>
                    <a:pt x="141619" y="252576"/>
                  </a:lnTo>
                  <a:cubicBezTo>
                    <a:pt x="93919" y="254017"/>
                    <a:pt x="48525" y="232055"/>
                    <a:pt x="20049" y="193759"/>
                  </a:cubicBezTo>
                  <a:cubicBezTo>
                    <a:pt x="-3594" y="157213"/>
                    <a:pt x="-6524" y="110999"/>
                    <a:pt x="12312" y="71759"/>
                  </a:cubicBezTo>
                  <a:cubicBezTo>
                    <a:pt x="30600" y="34725"/>
                    <a:pt x="66168" y="9265"/>
                    <a:pt x="107121" y="3894"/>
                  </a:cubicBezTo>
                  <a:cubicBezTo>
                    <a:pt x="121907" y="1278"/>
                    <a:pt x="136896" y="-24"/>
                    <a:pt x="151912" y="3"/>
                  </a:cubicBezTo>
                  <a:lnTo>
                    <a:pt x="211543" y="3"/>
                  </a:lnTo>
                  <a:cubicBezTo>
                    <a:pt x="236804" y="-110"/>
                    <a:pt x="261949" y="3433"/>
                    <a:pt x="286195" y="10522"/>
                  </a:cubicBezTo>
                  <a:cubicBezTo>
                    <a:pt x="306121" y="17224"/>
                    <a:pt x="324080" y="28749"/>
                    <a:pt x="338475" y="44070"/>
                  </a:cubicBezTo>
                  <a:lnTo>
                    <a:pt x="338475" y="44228"/>
                  </a:lnTo>
                  <a:cubicBezTo>
                    <a:pt x="358798" y="67269"/>
                    <a:pt x="369976" y="96957"/>
                    <a:pt x="369896" y="127680"/>
                  </a:cubicBezTo>
                  <a:cubicBezTo>
                    <a:pt x="368888" y="178884"/>
                    <a:pt x="336546" y="224216"/>
                    <a:pt x="288458" y="241830"/>
                  </a:cubicBezTo>
                  <a:cubicBezTo>
                    <a:pt x="263538" y="249406"/>
                    <a:pt x="237584" y="253024"/>
                    <a:pt x="211543" y="252553"/>
                  </a:cubicBezTo>
                  <a:close/>
                  <a:moveTo>
                    <a:pt x="152478" y="11359"/>
                  </a:moveTo>
                  <a:cubicBezTo>
                    <a:pt x="137894" y="11324"/>
                    <a:pt x="123337" y="12581"/>
                    <a:pt x="108976" y="15114"/>
                  </a:cubicBezTo>
                  <a:cubicBezTo>
                    <a:pt x="71645" y="19898"/>
                    <a:pt x="39175" y="43022"/>
                    <a:pt x="22447" y="76736"/>
                  </a:cubicBezTo>
                  <a:cubicBezTo>
                    <a:pt x="5632" y="112403"/>
                    <a:pt x="8271" y="154200"/>
                    <a:pt x="29437" y="187470"/>
                  </a:cubicBezTo>
                  <a:cubicBezTo>
                    <a:pt x="55943" y="222611"/>
                    <a:pt x="97898" y="242648"/>
                    <a:pt x="141890" y="241174"/>
                  </a:cubicBezTo>
                  <a:cubicBezTo>
                    <a:pt x="145223" y="241174"/>
                    <a:pt x="148571" y="241174"/>
                    <a:pt x="151935" y="241174"/>
                  </a:cubicBezTo>
                  <a:lnTo>
                    <a:pt x="211408" y="241174"/>
                  </a:lnTo>
                  <a:cubicBezTo>
                    <a:pt x="236247" y="241632"/>
                    <a:pt x="261007" y="238213"/>
                    <a:pt x="284793" y="231040"/>
                  </a:cubicBezTo>
                  <a:cubicBezTo>
                    <a:pt x="328390" y="215027"/>
                    <a:pt x="357704" y="173913"/>
                    <a:pt x="358631" y="127477"/>
                  </a:cubicBezTo>
                  <a:cubicBezTo>
                    <a:pt x="358679" y="99554"/>
                    <a:pt x="348517" y="72577"/>
                    <a:pt x="330059" y="51626"/>
                  </a:cubicBezTo>
                  <a:cubicBezTo>
                    <a:pt x="317003" y="37758"/>
                    <a:pt x="300735" y="27316"/>
                    <a:pt x="282689" y="21222"/>
                  </a:cubicBezTo>
                  <a:cubicBezTo>
                    <a:pt x="259613" y="14510"/>
                    <a:pt x="235689" y="11165"/>
                    <a:pt x="211656" y="11291"/>
                  </a:cubicBezTo>
                  <a:lnTo>
                    <a:pt x="152478" y="11291"/>
                  </a:ln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A7516998-7F3D-654C-83AD-1E75A43BD9F8}"/>
                </a:ext>
              </a:extLst>
            </p:cNvPr>
            <p:cNvSpPr/>
            <p:nvPr/>
          </p:nvSpPr>
          <p:spPr>
            <a:xfrm>
              <a:off x="3976890" y="2251722"/>
              <a:ext cx="304057" cy="247130"/>
            </a:xfrm>
            <a:custGeom>
              <a:avLst/>
              <a:gdLst>
                <a:gd name="connsiteX0" fmla="*/ 147197 w 304057"/>
                <a:gd name="connsiteY0" fmla="*/ 247057 h 247130"/>
                <a:gd name="connsiteX1" fmla="*/ 138600 w 304057"/>
                <a:gd name="connsiteY1" fmla="*/ 247057 h 247130"/>
                <a:gd name="connsiteX2" fmla="*/ 19632 w 304057"/>
                <a:gd name="connsiteY2" fmla="*/ 189575 h 247130"/>
                <a:gd name="connsiteX3" fmla="*/ 12053 w 304057"/>
                <a:gd name="connsiteY3" fmla="*/ 70131 h 247130"/>
                <a:gd name="connsiteX4" fmla="*/ 104803 w 304057"/>
                <a:gd name="connsiteY4" fmla="*/ 3781 h 247130"/>
                <a:gd name="connsiteX5" fmla="*/ 222120 w 304057"/>
                <a:gd name="connsiteY5" fmla="*/ 10251 h 247130"/>
                <a:gd name="connsiteX6" fmla="*/ 273200 w 304057"/>
                <a:gd name="connsiteY6" fmla="*/ 42985 h 247130"/>
                <a:gd name="connsiteX7" fmla="*/ 273336 w 304057"/>
                <a:gd name="connsiteY7" fmla="*/ 43143 h 247130"/>
                <a:gd name="connsiteX8" fmla="*/ 304057 w 304057"/>
                <a:gd name="connsiteY8" fmla="*/ 124853 h 247130"/>
                <a:gd name="connsiteX9" fmla="*/ 224269 w 304057"/>
                <a:gd name="connsiteY9" fmla="*/ 236538 h 247130"/>
                <a:gd name="connsiteX10" fmla="*/ 147197 w 304057"/>
                <a:gd name="connsiteY10" fmla="*/ 247057 h 247130"/>
                <a:gd name="connsiteX11" fmla="*/ 149097 w 304057"/>
                <a:gd name="connsiteY11" fmla="*/ 11314 h 247130"/>
                <a:gd name="connsiteX12" fmla="*/ 106636 w 304057"/>
                <a:gd name="connsiteY12" fmla="*/ 14866 h 247130"/>
                <a:gd name="connsiteX13" fmla="*/ 22188 w 304057"/>
                <a:gd name="connsiteY13" fmla="*/ 75063 h 247130"/>
                <a:gd name="connsiteX14" fmla="*/ 28975 w 304057"/>
                <a:gd name="connsiteY14" fmla="*/ 183173 h 247130"/>
                <a:gd name="connsiteX15" fmla="*/ 138804 w 304057"/>
                <a:gd name="connsiteY15" fmla="*/ 235655 h 247130"/>
                <a:gd name="connsiteX16" fmla="*/ 220627 w 304057"/>
                <a:gd name="connsiteY16" fmla="*/ 225838 h 247130"/>
                <a:gd name="connsiteX17" fmla="*/ 292700 w 304057"/>
                <a:gd name="connsiteY17" fmla="*/ 124695 h 247130"/>
                <a:gd name="connsiteX18" fmla="*/ 264989 w 304057"/>
                <a:gd name="connsiteY18" fmla="*/ 50608 h 247130"/>
                <a:gd name="connsiteX19" fmla="*/ 218614 w 304057"/>
                <a:gd name="connsiteY19" fmla="*/ 20929 h 247130"/>
                <a:gd name="connsiteX20" fmla="*/ 149097 w 304057"/>
                <a:gd name="connsiteY20" fmla="*/ 11314 h 24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04057" h="247130">
                  <a:moveTo>
                    <a:pt x="147197" y="247057"/>
                  </a:moveTo>
                  <a:cubicBezTo>
                    <a:pt x="144391" y="247057"/>
                    <a:pt x="141519" y="247057"/>
                    <a:pt x="138600" y="247057"/>
                  </a:cubicBezTo>
                  <a:cubicBezTo>
                    <a:pt x="91935" y="248480"/>
                    <a:pt x="47517" y="227019"/>
                    <a:pt x="19632" y="189575"/>
                  </a:cubicBezTo>
                  <a:cubicBezTo>
                    <a:pt x="-3518" y="153795"/>
                    <a:pt x="-6388" y="108550"/>
                    <a:pt x="12053" y="70131"/>
                  </a:cubicBezTo>
                  <a:cubicBezTo>
                    <a:pt x="29966" y="33927"/>
                    <a:pt x="64754" y="9041"/>
                    <a:pt x="104803" y="3781"/>
                  </a:cubicBezTo>
                  <a:cubicBezTo>
                    <a:pt x="143898" y="-2911"/>
                    <a:pt x="183998" y="-699"/>
                    <a:pt x="222120" y="10251"/>
                  </a:cubicBezTo>
                  <a:cubicBezTo>
                    <a:pt x="241580" y="16795"/>
                    <a:pt x="259125" y="28038"/>
                    <a:pt x="273200" y="42985"/>
                  </a:cubicBezTo>
                  <a:lnTo>
                    <a:pt x="273336" y="43143"/>
                  </a:lnTo>
                  <a:cubicBezTo>
                    <a:pt x="293230" y="65703"/>
                    <a:pt x="304160" y="94775"/>
                    <a:pt x="304057" y="124853"/>
                  </a:cubicBezTo>
                  <a:cubicBezTo>
                    <a:pt x="303037" y="174973"/>
                    <a:pt x="271351" y="219325"/>
                    <a:pt x="224269" y="236538"/>
                  </a:cubicBezTo>
                  <a:cubicBezTo>
                    <a:pt x="199307" y="244149"/>
                    <a:pt x="173285" y="247700"/>
                    <a:pt x="147197" y="247057"/>
                  </a:cubicBezTo>
                  <a:close/>
                  <a:moveTo>
                    <a:pt x="149097" y="11314"/>
                  </a:moveTo>
                  <a:cubicBezTo>
                    <a:pt x="134866" y="11237"/>
                    <a:pt x="120656" y="12426"/>
                    <a:pt x="106636" y="14866"/>
                  </a:cubicBezTo>
                  <a:cubicBezTo>
                    <a:pt x="70199" y="19569"/>
                    <a:pt x="38517" y="42153"/>
                    <a:pt x="22188" y="75063"/>
                  </a:cubicBezTo>
                  <a:cubicBezTo>
                    <a:pt x="5749" y="109876"/>
                    <a:pt x="8311" y="150688"/>
                    <a:pt x="28975" y="183173"/>
                  </a:cubicBezTo>
                  <a:cubicBezTo>
                    <a:pt x="54859" y="217501"/>
                    <a:pt x="95834" y="237081"/>
                    <a:pt x="138804" y="235655"/>
                  </a:cubicBezTo>
                  <a:cubicBezTo>
                    <a:pt x="166440" y="237117"/>
                    <a:pt x="194121" y="233795"/>
                    <a:pt x="220627" y="225838"/>
                  </a:cubicBezTo>
                  <a:cubicBezTo>
                    <a:pt x="263189" y="210184"/>
                    <a:pt x="291798" y="170035"/>
                    <a:pt x="292700" y="124695"/>
                  </a:cubicBezTo>
                  <a:cubicBezTo>
                    <a:pt x="292811" y="97446"/>
                    <a:pt x="282955" y="71096"/>
                    <a:pt x="264989" y="50608"/>
                  </a:cubicBezTo>
                  <a:cubicBezTo>
                    <a:pt x="252194" y="37067"/>
                    <a:pt x="236270" y="26875"/>
                    <a:pt x="218614" y="20929"/>
                  </a:cubicBezTo>
                  <a:cubicBezTo>
                    <a:pt x="196023" y="14406"/>
                    <a:pt x="172610" y="11168"/>
                    <a:pt x="149097" y="11314"/>
                  </a:cubicBez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0C3DD3E2-25A5-E820-6D89-906887723661}"/>
                </a:ext>
              </a:extLst>
            </p:cNvPr>
            <p:cNvSpPr/>
            <p:nvPr/>
          </p:nvSpPr>
          <p:spPr>
            <a:xfrm>
              <a:off x="4005807" y="2273519"/>
              <a:ext cx="197252" cy="141197"/>
            </a:xfrm>
            <a:custGeom>
              <a:avLst/>
              <a:gdLst>
                <a:gd name="connsiteX0" fmla="*/ 197252 w 197252"/>
                <a:gd name="connsiteY0" fmla="*/ 14017 h 141197"/>
                <a:gd name="connsiteX1" fmla="*/ 15440 w 197252"/>
                <a:gd name="connsiteY1" fmla="*/ 48719 h 141197"/>
                <a:gd name="connsiteX2" fmla="*/ 6595 w 197252"/>
                <a:gd name="connsiteY2" fmla="*/ 141197 h 141197"/>
                <a:gd name="connsiteX3" fmla="*/ 197252 w 197252"/>
                <a:gd name="connsiteY3" fmla="*/ 14017 h 14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252" h="141197">
                  <a:moveTo>
                    <a:pt x="197252" y="14017"/>
                  </a:moveTo>
                  <a:cubicBezTo>
                    <a:pt x="197252" y="14017"/>
                    <a:pt x="71814" y="-34394"/>
                    <a:pt x="15440" y="48719"/>
                  </a:cubicBezTo>
                  <a:cubicBezTo>
                    <a:pt x="-1395" y="76604"/>
                    <a:pt x="-4650" y="110627"/>
                    <a:pt x="6595" y="141197"/>
                  </a:cubicBezTo>
                  <a:cubicBezTo>
                    <a:pt x="6595" y="141197"/>
                    <a:pt x="2591" y="-22608"/>
                    <a:pt x="197252" y="14017"/>
                  </a:cubicBezTo>
                  <a:close/>
                </a:path>
              </a:pathLst>
            </a:custGeom>
            <a:solidFill>
              <a:srgbClr val="BD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8A0617E8-D9B2-7C01-E925-7FE77EED3938}"/>
                </a:ext>
              </a:extLst>
            </p:cNvPr>
            <p:cNvSpPr/>
            <p:nvPr/>
          </p:nvSpPr>
          <p:spPr>
            <a:xfrm>
              <a:off x="4056366" y="2318098"/>
              <a:ext cx="167349" cy="114430"/>
            </a:xfrm>
            <a:custGeom>
              <a:avLst/>
              <a:gdLst>
                <a:gd name="connsiteX0" fmla="*/ 65616 w 167349"/>
                <a:gd name="connsiteY0" fmla="*/ 1493 h 114430"/>
                <a:gd name="connsiteX1" fmla="*/ 51138 w 167349"/>
                <a:gd name="connsiteY1" fmla="*/ 31467 h 114430"/>
                <a:gd name="connsiteX2" fmla="*/ 44669 w 167349"/>
                <a:gd name="connsiteY2" fmla="*/ 101595 h 114430"/>
                <a:gd name="connsiteX3" fmla="*/ 46931 w 167349"/>
                <a:gd name="connsiteY3" fmla="*/ 103653 h 114430"/>
                <a:gd name="connsiteX4" fmla="*/ 58966 w 167349"/>
                <a:gd name="connsiteY4" fmla="*/ 93066 h 114430"/>
                <a:gd name="connsiteX5" fmla="*/ 81452 w 167349"/>
                <a:gd name="connsiteY5" fmla="*/ 6515 h 114430"/>
                <a:gd name="connsiteX6" fmla="*/ 89845 w 167349"/>
                <a:gd name="connsiteY6" fmla="*/ 204 h 114430"/>
                <a:gd name="connsiteX7" fmla="*/ 90342 w 167349"/>
                <a:gd name="connsiteY7" fmla="*/ 1991 h 114430"/>
                <a:gd name="connsiteX8" fmla="*/ 81565 w 167349"/>
                <a:gd name="connsiteY8" fmla="*/ 13302 h 114430"/>
                <a:gd name="connsiteX9" fmla="*/ 78986 w 167349"/>
                <a:gd name="connsiteY9" fmla="*/ 21423 h 114430"/>
                <a:gd name="connsiteX10" fmla="*/ 69394 w 167349"/>
                <a:gd name="connsiteY10" fmla="*/ 101142 h 114430"/>
                <a:gd name="connsiteX11" fmla="*/ 72675 w 167349"/>
                <a:gd name="connsiteY11" fmla="*/ 103405 h 114430"/>
                <a:gd name="connsiteX12" fmla="*/ 83171 w 167349"/>
                <a:gd name="connsiteY12" fmla="*/ 93044 h 114430"/>
                <a:gd name="connsiteX13" fmla="*/ 101789 w 167349"/>
                <a:gd name="connsiteY13" fmla="*/ 54587 h 114430"/>
                <a:gd name="connsiteX14" fmla="*/ 120588 w 167349"/>
                <a:gd name="connsiteY14" fmla="*/ 53931 h 114430"/>
                <a:gd name="connsiteX15" fmla="*/ 115633 w 167349"/>
                <a:gd name="connsiteY15" fmla="*/ 97998 h 114430"/>
                <a:gd name="connsiteX16" fmla="*/ 117602 w 167349"/>
                <a:gd name="connsiteY16" fmla="*/ 104128 h 114430"/>
                <a:gd name="connsiteX17" fmla="*/ 119637 w 167349"/>
                <a:gd name="connsiteY17" fmla="*/ 103653 h 114430"/>
                <a:gd name="connsiteX18" fmla="*/ 132193 w 167349"/>
                <a:gd name="connsiteY18" fmla="*/ 90759 h 114430"/>
                <a:gd name="connsiteX19" fmla="*/ 142146 w 167349"/>
                <a:gd name="connsiteY19" fmla="*/ 29386 h 114430"/>
                <a:gd name="connsiteX20" fmla="*/ 159610 w 167349"/>
                <a:gd name="connsiteY20" fmla="*/ 6583 h 114430"/>
                <a:gd name="connsiteX21" fmla="*/ 156036 w 167349"/>
                <a:gd name="connsiteY21" fmla="*/ 10723 h 114430"/>
                <a:gd name="connsiteX22" fmla="*/ 141355 w 167349"/>
                <a:gd name="connsiteY22" fmla="*/ 58704 h 114430"/>
                <a:gd name="connsiteX23" fmla="*/ 146965 w 167349"/>
                <a:gd name="connsiteY23" fmla="*/ 56442 h 114430"/>
                <a:gd name="connsiteX24" fmla="*/ 158751 w 167349"/>
                <a:gd name="connsiteY24" fmla="*/ 46601 h 114430"/>
                <a:gd name="connsiteX25" fmla="*/ 164022 w 167349"/>
                <a:gd name="connsiteY25" fmla="*/ 51759 h 114430"/>
                <a:gd name="connsiteX26" fmla="*/ 158049 w 167349"/>
                <a:gd name="connsiteY26" fmla="*/ 95804 h 114430"/>
                <a:gd name="connsiteX27" fmla="*/ 138798 w 167349"/>
                <a:gd name="connsiteY27" fmla="*/ 113901 h 114430"/>
                <a:gd name="connsiteX28" fmla="*/ 134704 w 167349"/>
                <a:gd name="connsiteY28" fmla="*/ 113494 h 114430"/>
                <a:gd name="connsiteX29" fmla="*/ 132441 w 167349"/>
                <a:gd name="connsiteY29" fmla="*/ 96799 h 114430"/>
                <a:gd name="connsiteX30" fmla="*/ 131672 w 167349"/>
                <a:gd name="connsiteY30" fmla="*/ 96301 h 114430"/>
                <a:gd name="connsiteX31" fmla="*/ 112218 w 167349"/>
                <a:gd name="connsiteY31" fmla="*/ 114218 h 114430"/>
                <a:gd name="connsiteX32" fmla="*/ 109955 w 167349"/>
                <a:gd name="connsiteY32" fmla="*/ 113698 h 114430"/>
                <a:gd name="connsiteX33" fmla="*/ 107263 w 167349"/>
                <a:gd name="connsiteY33" fmla="*/ 103472 h 114430"/>
                <a:gd name="connsiteX34" fmla="*/ 92695 w 167349"/>
                <a:gd name="connsiteY34" fmla="*/ 114308 h 114430"/>
                <a:gd name="connsiteX35" fmla="*/ 87673 w 167349"/>
                <a:gd name="connsiteY35" fmla="*/ 108789 h 114430"/>
                <a:gd name="connsiteX36" fmla="*/ 83714 w 167349"/>
                <a:gd name="connsiteY36" fmla="*/ 97636 h 114430"/>
                <a:gd name="connsiteX37" fmla="*/ 65277 w 167349"/>
                <a:gd name="connsiteY37" fmla="*/ 114060 h 114430"/>
                <a:gd name="connsiteX38" fmla="*/ 61522 w 167349"/>
                <a:gd name="connsiteY38" fmla="*/ 111209 h 114430"/>
                <a:gd name="connsiteX39" fmla="*/ 59260 w 167349"/>
                <a:gd name="connsiteY39" fmla="*/ 97432 h 114430"/>
                <a:gd name="connsiteX40" fmla="*/ 58242 w 167349"/>
                <a:gd name="connsiteY40" fmla="*/ 97659 h 114430"/>
                <a:gd name="connsiteX41" fmla="*/ 40325 w 167349"/>
                <a:gd name="connsiteY41" fmla="*/ 114082 h 114430"/>
                <a:gd name="connsiteX42" fmla="*/ 36796 w 167349"/>
                <a:gd name="connsiteY42" fmla="*/ 111820 h 114430"/>
                <a:gd name="connsiteX43" fmla="*/ 34398 w 167349"/>
                <a:gd name="connsiteY43" fmla="*/ 94243 h 114430"/>
                <a:gd name="connsiteX44" fmla="*/ 33380 w 167349"/>
                <a:gd name="connsiteY44" fmla="*/ 94243 h 114430"/>
                <a:gd name="connsiteX45" fmla="*/ 8066 w 167349"/>
                <a:gd name="connsiteY45" fmla="*/ 114399 h 114430"/>
                <a:gd name="connsiteX46" fmla="*/ 5284 w 167349"/>
                <a:gd name="connsiteY46" fmla="*/ 112340 h 114430"/>
                <a:gd name="connsiteX47" fmla="*/ 11143 w 167349"/>
                <a:gd name="connsiteY47" fmla="*/ 53750 h 114430"/>
                <a:gd name="connsiteX48" fmla="*/ 22454 w 167349"/>
                <a:gd name="connsiteY48" fmla="*/ 48682 h 114430"/>
                <a:gd name="connsiteX49" fmla="*/ 27634 w 167349"/>
                <a:gd name="connsiteY49" fmla="*/ 56690 h 114430"/>
                <a:gd name="connsiteX50" fmla="*/ 27634 w 167349"/>
                <a:gd name="connsiteY50" fmla="*/ 65106 h 114430"/>
                <a:gd name="connsiteX51" fmla="*/ 9967 w 167349"/>
                <a:gd name="connsiteY51" fmla="*/ 81529 h 114430"/>
                <a:gd name="connsiteX52" fmla="*/ 12568 w 167349"/>
                <a:gd name="connsiteY52" fmla="*/ 104513 h 114430"/>
                <a:gd name="connsiteX53" fmla="*/ 15894 w 167349"/>
                <a:gd name="connsiteY53" fmla="*/ 104988 h 114430"/>
                <a:gd name="connsiteX54" fmla="*/ 16369 w 167349"/>
                <a:gd name="connsiteY54" fmla="*/ 104513 h 114430"/>
                <a:gd name="connsiteX55" fmla="*/ 34466 w 167349"/>
                <a:gd name="connsiteY55" fmla="*/ 87343 h 114430"/>
                <a:gd name="connsiteX56" fmla="*/ 54441 w 167349"/>
                <a:gd name="connsiteY56" fmla="*/ 10248 h 114430"/>
                <a:gd name="connsiteX57" fmla="*/ 65390 w 167349"/>
                <a:gd name="connsiteY57" fmla="*/ 0 h 114430"/>
                <a:gd name="connsiteX58" fmla="*/ 65905 w 167349"/>
                <a:gd name="connsiteY58" fmla="*/ 1101 h 114430"/>
                <a:gd name="connsiteX59" fmla="*/ 65616 w 167349"/>
                <a:gd name="connsiteY59" fmla="*/ 1493 h 114430"/>
                <a:gd name="connsiteX60" fmla="*/ 20825 w 167349"/>
                <a:gd name="connsiteY60" fmla="*/ 50583 h 114430"/>
                <a:gd name="connsiteX61" fmla="*/ 17251 w 167349"/>
                <a:gd name="connsiteY61" fmla="*/ 52845 h 114430"/>
                <a:gd name="connsiteX62" fmla="*/ 10691 w 167349"/>
                <a:gd name="connsiteY62" fmla="*/ 76756 h 114430"/>
                <a:gd name="connsiteX63" fmla="*/ 21685 w 167349"/>
                <a:gd name="connsiteY63" fmla="*/ 67164 h 114430"/>
                <a:gd name="connsiteX64" fmla="*/ 23336 w 167349"/>
                <a:gd name="connsiteY64" fmla="*/ 53931 h 114430"/>
                <a:gd name="connsiteX65" fmla="*/ 20825 w 167349"/>
                <a:gd name="connsiteY65" fmla="*/ 50583 h 114430"/>
                <a:gd name="connsiteX66" fmla="*/ 111675 w 167349"/>
                <a:gd name="connsiteY66" fmla="*/ 55491 h 114430"/>
                <a:gd name="connsiteX67" fmla="*/ 101811 w 167349"/>
                <a:gd name="connsiteY67" fmla="*/ 58048 h 114430"/>
                <a:gd name="connsiteX68" fmla="*/ 93396 w 167349"/>
                <a:gd name="connsiteY68" fmla="*/ 90352 h 114430"/>
                <a:gd name="connsiteX69" fmla="*/ 97084 w 167349"/>
                <a:gd name="connsiteY69" fmla="*/ 104151 h 114430"/>
                <a:gd name="connsiteX70" fmla="*/ 106517 w 167349"/>
                <a:gd name="connsiteY70" fmla="*/ 98631 h 114430"/>
                <a:gd name="connsiteX71" fmla="*/ 111969 w 167349"/>
                <a:gd name="connsiteY71" fmla="*/ 56849 h 114430"/>
                <a:gd name="connsiteX72" fmla="*/ 152394 w 167349"/>
                <a:gd name="connsiteY72" fmla="*/ 56623 h 114430"/>
                <a:gd name="connsiteX73" fmla="*/ 142915 w 167349"/>
                <a:gd name="connsiteY73" fmla="*/ 66237 h 114430"/>
                <a:gd name="connsiteX74" fmla="*/ 142531 w 167349"/>
                <a:gd name="connsiteY74" fmla="*/ 103291 h 114430"/>
                <a:gd name="connsiteX75" fmla="*/ 143526 w 167349"/>
                <a:gd name="connsiteY75" fmla="*/ 105848 h 114430"/>
                <a:gd name="connsiteX76" fmla="*/ 150313 w 167349"/>
                <a:gd name="connsiteY76" fmla="*/ 101165 h 114430"/>
                <a:gd name="connsiteX77" fmla="*/ 156489 w 167349"/>
                <a:gd name="connsiteY77" fmla="*/ 61079 h 114430"/>
                <a:gd name="connsiteX78" fmla="*/ 152281 w 167349"/>
                <a:gd name="connsiteY78" fmla="*/ 56623 h 11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67349" h="114430">
                  <a:moveTo>
                    <a:pt x="65616" y="1493"/>
                  </a:moveTo>
                  <a:cubicBezTo>
                    <a:pt x="55414" y="7782"/>
                    <a:pt x="54781" y="20790"/>
                    <a:pt x="51138" y="31467"/>
                  </a:cubicBezTo>
                  <a:cubicBezTo>
                    <a:pt x="44631" y="54236"/>
                    <a:pt x="42437" y="78020"/>
                    <a:pt x="44669" y="101595"/>
                  </a:cubicBezTo>
                  <a:cubicBezTo>
                    <a:pt x="45089" y="102576"/>
                    <a:pt x="45914" y="103327"/>
                    <a:pt x="46931" y="103653"/>
                  </a:cubicBezTo>
                  <a:cubicBezTo>
                    <a:pt x="51401" y="100683"/>
                    <a:pt x="55449" y="97122"/>
                    <a:pt x="58966" y="93066"/>
                  </a:cubicBezTo>
                  <a:cubicBezTo>
                    <a:pt x="60055" y="62921"/>
                    <a:pt x="67730" y="33379"/>
                    <a:pt x="81452" y="6515"/>
                  </a:cubicBezTo>
                  <a:cubicBezTo>
                    <a:pt x="83402" y="3473"/>
                    <a:pt x="86381" y="1233"/>
                    <a:pt x="89845" y="204"/>
                  </a:cubicBezTo>
                  <a:cubicBezTo>
                    <a:pt x="90614" y="204"/>
                    <a:pt x="90862" y="1493"/>
                    <a:pt x="90342" y="1991"/>
                  </a:cubicBezTo>
                  <a:cubicBezTo>
                    <a:pt x="85184" y="3891"/>
                    <a:pt x="83375" y="8325"/>
                    <a:pt x="81565" y="13302"/>
                  </a:cubicBezTo>
                  <a:cubicBezTo>
                    <a:pt x="80542" y="15954"/>
                    <a:pt x="79681" y="18666"/>
                    <a:pt x="78986" y="21423"/>
                  </a:cubicBezTo>
                  <a:cubicBezTo>
                    <a:pt x="70677" y="47129"/>
                    <a:pt x="67420" y="74199"/>
                    <a:pt x="69394" y="101142"/>
                  </a:cubicBezTo>
                  <a:cubicBezTo>
                    <a:pt x="69892" y="102432"/>
                    <a:pt x="71136" y="103970"/>
                    <a:pt x="72675" y="103405"/>
                  </a:cubicBezTo>
                  <a:cubicBezTo>
                    <a:pt x="76779" y="100623"/>
                    <a:pt x="80337" y="97111"/>
                    <a:pt x="83171" y="93044"/>
                  </a:cubicBezTo>
                  <a:cubicBezTo>
                    <a:pt x="81650" y="77743"/>
                    <a:pt x="88844" y="62884"/>
                    <a:pt x="101789" y="54587"/>
                  </a:cubicBezTo>
                  <a:cubicBezTo>
                    <a:pt x="107580" y="51339"/>
                    <a:pt x="114584" y="51095"/>
                    <a:pt x="120588" y="53931"/>
                  </a:cubicBezTo>
                  <a:cubicBezTo>
                    <a:pt x="117522" y="68426"/>
                    <a:pt x="115863" y="83184"/>
                    <a:pt x="115633" y="97998"/>
                  </a:cubicBezTo>
                  <a:cubicBezTo>
                    <a:pt x="115792" y="99785"/>
                    <a:pt x="115633" y="102839"/>
                    <a:pt x="117602" y="104128"/>
                  </a:cubicBezTo>
                  <a:lnTo>
                    <a:pt x="119637" y="103653"/>
                  </a:lnTo>
                  <a:lnTo>
                    <a:pt x="132193" y="90759"/>
                  </a:lnTo>
                  <a:cubicBezTo>
                    <a:pt x="134190" y="70109"/>
                    <a:pt x="137515" y="49609"/>
                    <a:pt x="142146" y="29386"/>
                  </a:cubicBezTo>
                  <a:cubicBezTo>
                    <a:pt x="145019" y="20224"/>
                    <a:pt x="151715" y="7578"/>
                    <a:pt x="159610" y="6583"/>
                  </a:cubicBezTo>
                  <a:cubicBezTo>
                    <a:pt x="162529" y="9184"/>
                    <a:pt x="159316" y="7624"/>
                    <a:pt x="156036" y="10723"/>
                  </a:cubicBezTo>
                  <a:cubicBezTo>
                    <a:pt x="146696" y="25003"/>
                    <a:pt x="141604" y="41642"/>
                    <a:pt x="141355" y="58704"/>
                  </a:cubicBezTo>
                  <a:cubicBezTo>
                    <a:pt x="143323" y="59247"/>
                    <a:pt x="143617" y="59020"/>
                    <a:pt x="146965" y="56442"/>
                  </a:cubicBezTo>
                  <a:lnTo>
                    <a:pt x="158751" y="46601"/>
                  </a:lnTo>
                  <a:cubicBezTo>
                    <a:pt x="161533" y="46375"/>
                    <a:pt x="163026" y="49700"/>
                    <a:pt x="164022" y="51759"/>
                  </a:cubicBezTo>
                  <a:cubicBezTo>
                    <a:pt x="170055" y="66451"/>
                    <a:pt x="167778" y="83248"/>
                    <a:pt x="158049" y="95804"/>
                  </a:cubicBezTo>
                  <a:cubicBezTo>
                    <a:pt x="153095" y="103224"/>
                    <a:pt x="146510" y="109414"/>
                    <a:pt x="138798" y="113901"/>
                  </a:cubicBezTo>
                  <a:cubicBezTo>
                    <a:pt x="135699" y="114942"/>
                    <a:pt x="134885" y="113698"/>
                    <a:pt x="134704" y="113494"/>
                  </a:cubicBezTo>
                  <a:cubicBezTo>
                    <a:pt x="132828" y="108139"/>
                    <a:pt x="132058" y="102460"/>
                    <a:pt x="132441" y="96799"/>
                  </a:cubicBezTo>
                  <a:lnTo>
                    <a:pt x="131672" y="96301"/>
                  </a:lnTo>
                  <a:lnTo>
                    <a:pt x="112218" y="114218"/>
                  </a:lnTo>
                  <a:cubicBezTo>
                    <a:pt x="111720" y="114218"/>
                    <a:pt x="110385" y="114580"/>
                    <a:pt x="109955" y="113698"/>
                  </a:cubicBezTo>
                  <a:cubicBezTo>
                    <a:pt x="108448" y="110480"/>
                    <a:pt x="107536" y="107015"/>
                    <a:pt x="107263" y="103472"/>
                  </a:cubicBezTo>
                  <a:cubicBezTo>
                    <a:pt x="102151" y="106481"/>
                    <a:pt x="97807" y="111277"/>
                    <a:pt x="92695" y="114308"/>
                  </a:cubicBezTo>
                  <a:cubicBezTo>
                    <a:pt x="89912" y="114535"/>
                    <a:pt x="88646" y="111096"/>
                    <a:pt x="87673" y="108789"/>
                  </a:cubicBezTo>
                  <a:cubicBezTo>
                    <a:pt x="85411" y="103201"/>
                    <a:pt x="85297" y="101889"/>
                    <a:pt x="83714" y="97636"/>
                  </a:cubicBezTo>
                  <a:lnTo>
                    <a:pt x="65277" y="114060"/>
                  </a:lnTo>
                  <a:cubicBezTo>
                    <a:pt x="63241" y="115055"/>
                    <a:pt x="62042" y="112838"/>
                    <a:pt x="61522" y="111209"/>
                  </a:cubicBezTo>
                  <a:cubicBezTo>
                    <a:pt x="60476" y="106670"/>
                    <a:pt x="59721" y="102068"/>
                    <a:pt x="59260" y="97432"/>
                  </a:cubicBezTo>
                  <a:lnTo>
                    <a:pt x="58242" y="97659"/>
                  </a:lnTo>
                  <a:lnTo>
                    <a:pt x="40325" y="114082"/>
                  </a:lnTo>
                  <a:cubicBezTo>
                    <a:pt x="38425" y="114648"/>
                    <a:pt x="37746" y="113901"/>
                    <a:pt x="36796" y="111820"/>
                  </a:cubicBezTo>
                  <a:cubicBezTo>
                    <a:pt x="35469" y="106045"/>
                    <a:pt x="34667" y="100162"/>
                    <a:pt x="34398" y="94243"/>
                  </a:cubicBezTo>
                  <a:lnTo>
                    <a:pt x="33380" y="94243"/>
                  </a:lnTo>
                  <a:cubicBezTo>
                    <a:pt x="25525" y="101663"/>
                    <a:pt x="17057" y="108405"/>
                    <a:pt x="8066" y="114399"/>
                  </a:cubicBezTo>
                  <a:cubicBezTo>
                    <a:pt x="6800" y="114648"/>
                    <a:pt x="5804" y="113381"/>
                    <a:pt x="5284" y="112340"/>
                  </a:cubicBezTo>
                  <a:cubicBezTo>
                    <a:pt x="-3470" y="93182"/>
                    <a:pt x="-1231" y="70795"/>
                    <a:pt x="11143" y="53750"/>
                  </a:cubicBezTo>
                  <a:cubicBezTo>
                    <a:pt x="12704" y="52098"/>
                    <a:pt x="17274" y="46465"/>
                    <a:pt x="22454" y="48682"/>
                  </a:cubicBezTo>
                  <a:cubicBezTo>
                    <a:pt x="25395" y="49723"/>
                    <a:pt x="26775" y="52053"/>
                    <a:pt x="27634" y="56690"/>
                  </a:cubicBezTo>
                  <a:cubicBezTo>
                    <a:pt x="28526" y="59425"/>
                    <a:pt x="28526" y="62371"/>
                    <a:pt x="27634" y="65106"/>
                  </a:cubicBezTo>
                  <a:lnTo>
                    <a:pt x="9967" y="81529"/>
                  </a:lnTo>
                  <a:cubicBezTo>
                    <a:pt x="8753" y="89285"/>
                    <a:pt x="9652" y="97225"/>
                    <a:pt x="12568" y="104513"/>
                  </a:cubicBezTo>
                  <a:cubicBezTo>
                    <a:pt x="13355" y="105563"/>
                    <a:pt x="14844" y="105775"/>
                    <a:pt x="15894" y="104988"/>
                  </a:cubicBezTo>
                  <a:cubicBezTo>
                    <a:pt x="16074" y="104853"/>
                    <a:pt x="16234" y="104693"/>
                    <a:pt x="16369" y="104513"/>
                  </a:cubicBezTo>
                  <a:lnTo>
                    <a:pt x="34466" y="87343"/>
                  </a:lnTo>
                  <a:cubicBezTo>
                    <a:pt x="36201" y="60614"/>
                    <a:pt x="42978" y="34456"/>
                    <a:pt x="54441" y="10248"/>
                  </a:cubicBezTo>
                  <a:cubicBezTo>
                    <a:pt x="55889" y="7556"/>
                    <a:pt x="60640" y="204"/>
                    <a:pt x="65390" y="0"/>
                  </a:cubicBezTo>
                  <a:cubicBezTo>
                    <a:pt x="65837" y="162"/>
                    <a:pt x="66067" y="655"/>
                    <a:pt x="65905" y="1101"/>
                  </a:cubicBezTo>
                  <a:cubicBezTo>
                    <a:pt x="65849" y="1257"/>
                    <a:pt x="65748" y="1393"/>
                    <a:pt x="65616" y="1493"/>
                  </a:cubicBezTo>
                  <a:close/>
                  <a:moveTo>
                    <a:pt x="20825" y="50583"/>
                  </a:moveTo>
                  <a:cubicBezTo>
                    <a:pt x="19497" y="51096"/>
                    <a:pt x="18283" y="51864"/>
                    <a:pt x="17251" y="52845"/>
                  </a:cubicBezTo>
                  <a:cubicBezTo>
                    <a:pt x="13480" y="60294"/>
                    <a:pt x="11249" y="68426"/>
                    <a:pt x="10691" y="76756"/>
                  </a:cubicBezTo>
                  <a:cubicBezTo>
                    <a:pt x="14762" y="73521"/>
                    <a:pt x="18359" y="70196"/>
                    <a:pt x="21685" y="67164"/>
                  </a:cubicBezTo>
                  <a:lnTo>
                    <a:pt x="23336" y="53931"/>
                  </a:lnTo>
                  <a:cubicBezTo>
                    <a:pt x="24105" y="51895"/>
                    <a:pt x="22861" y="50605"/>
                    <a:pt x="20825" y="50583"/>
                  </a:cubicBezTo>
                  <a:close/>
                  <a:moveTo>
                    <a:pt x="111675" y="55491"/>
                  </a:moveTo>
                  <a:cubicBezTo>
                    <a:pt x="108193" y="53937"/>
                    <a:pt x="104099" y="54998"/>
                    <a:pt x="101811" y="58048"/>
                  </a:cubicBezTo>
                  <a:cubicBezTo>
                    <a:pt x="94432" y="67074"/>
                    <a:pt x="91359" y="78872"/>
                    <a:pt x="93396" y="90352"/>
                  </a:cubicBezTo>
                  <a:cubicBezTo>
                    <a:pt x="93414" y="95193"/>
                    <a:pt x="94684" y="99947"/>
                    <a:pt x="97084" y="104151"/>
                  </a:cubicBezTo>
                  <a:cubicBezTo>
                    <a:pt x="100929" y="104513"/>
                    <a:pt x="103870" y="100894"/>
                    <a:pt x="106517" y="98631"/>
                  </a:cubicBezTo>
                  <a:cubicBezTo>
                    <a:pt x="107919" y="84628"/>
                    <a:pt x="109571" y="70603"/>
                    <a:pt x="111969" y="56849"/>
                  </a:cubicBezTo>
                  <a:close/>
                  <a:moveTo>
                    <a:pt x="152394" y="56623"/>
                  </a:moveTo>
                  <a:cubicBezTo>
                    <a:pt x="147970" y="58271"/>
                    <a:pt x="144501" y="61790"/>
                    <a:pt x="142915" y="66237"/>
                  </a:cubicBezTo>
                  <a:cubicBezTo>
                    <a:pt x="141002" y="78505"/>
                    <a:pt x="140872" y="90986"/>
                    <a:pt x="142531" y="103291"/>
                  </a:cubicBezTo>
                  <a:lnTo>
                    <a:pt x="143526" y="105848"/>
                  </a:lnTo>
                  <a:cubicBezTo>
                    <a:pt x="146037" y="105848"/>
                    <a:pt x="149023" y="102794"/>
                    <a:pt x="150313" y="101165"/>
                  </a:cubicBezTo>
                  <a:cubicBezTo>
                    <a:pt x="158425" y="89463"/>
                    <a:pt x="160702" y="74680"/>
                    <a:pt x="156489" y="61079"/>
                  </a:cubicBezTo>
                  <a:cubicBezTo>
                    <a:pt x="156330" y="59948"/>
                    <a:pt x="155833" y="55537"/>
                    <a:pt x="152281" y="56623"/>
                  </a:cubicBezTo>
                  <a:close/>
                </a:path>
              </a:pathLst>
            </a:custGeom>
            <a:solidFill>
              <a:srgbClr val="BD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0" name="Graphic 142">
            <a:extLst>
              <a:ext uri="{FF2B5EF4-FFF2-40B4-BE49-F238E27FC236}">
                <a16:creationId xmlns:a16="http://schemas.microsoft.com/office/drawing/2014/main" id="{ACA2B2DD-A2B3-55EB-6FC0-9152E4769E45}"/>
              </a:ext>
            </a:extLst>
          </p:cNvPr>
          <p:cNvGrpSpPr/>
          <p:nvPr/>
        </p:nvGrpSpPr>
        <p:grpSpPr>
          <a:xfrm>
            <a:off x="4738580" y="2592514"/>
            <a:ext cx="298450" cy="298450"/>
            <a:chOff x="4675827" y="2206752"/>
            <a:chExt cx="298450" cy="298450"/>
          </a:xfrm>
        </p:grpSpPr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9CAECA19-DE1A-722A-EAC8-CCB713D3AA7F}"/>
                </a:ext>
              </a:extLst>
            </p:cNvPr>
            <p:cNvSpPr/>
            <p:nvPr/>
          </p:nvSpPr>
          <p:spPr>
            <a:xfrm>
              <a:off x="4751492" y="2209325"/>
              <a:ext cx="146420" cy="299737"/>
            </a:xfrm>
            <a:custGeom>
              <a:avLst/>
              <a:gdLst>
                <a:gd name="connsiteX0" fmla="*/ 112731 w 146420"/>
                <a:gd name="connsiteY0" fmla="*/ 164857 h 299737"/>
                <a:gd name="connsiteX1" fmla="*/ 112731 w 146420"/>
                <a:gd name="connsiteY1" fmla="*/ 38594 h 299737"/>
                <a:gd name="connsiteX2" fmla="*/ 72431 w 146420"/>
                <a:gd name="connsiteY2" fmla="*/ 10 h 299737"/>
                <a:gd name="connsiteX3" fmla="*/ 33847 w 146420"/>
                <a:gd name="connsiteY3" fmla="*/ 38594 h 299737"/>
                <a:gd name="connsiteX4" fmla="*/ 33847 w 146420"/>
                <a:gd name="connsiteY4" fmla="*/ 164801 h 299737"/>
                <a:gd name="connsiteX5" fmla="*/ 11499 w 146420"/>
                <a:gd name="connsiteY5" fmla="*/ 265900 h 299737"/>
                <a:gd name="connsiteX6" fmla="*/ 73019 w 146420"/>
                <a:gd name="connsiteY6" fmla="*/ 299738 h 299737"/>
                <a:gd name="connsiteX7" fmla="*/ 73410 w 146420"/>
                <a:gd name="connsiteY7" fmla="*/ 299738 h 299737"/>
                <a:gd name="connsiteX8" fmla="*/ 146420 w 146420"/>
                <a:gd name="connsiteY8" fmla="*/ 226320 h 299737"/>
                <a:gd name="connsiteX9" fmla="*/ 112582 w 146420"/>
                <a:gd name="connsiteY9" fmla="*/ 164801 h 299737"/>
                <a:gd name="connsiteX10" fmla="*/ 42428 w 146420"/>
                <a:gd name="connsiteY10" fmla="*/ 280301 h 299737"/>
                <a:gd name="connsiteX11" fmla="*/ 19701 w 146420"/>
                <a:gd name="connsiteY11" fmla="*/ 195530 h 299737"/>
                <a:gd name="connsiteX12" fmla="*/ 42428 w 146420"/>
                <a:gd name="connsiteY12" fmla="*/ 172803 h 299737"/>
                <a:gd name="connsiteX13" fmla="*/ 45226 w 146420"/>
                <a:gd name="connsiteY13" fmla="*/ 167935 h 299737"/>
                <a:gd name="connsiteX14" fmla="*/ 45226 w 146420"/>
                <a:gd name="connsiteY14" fmla="*/ 38594 h 299737"/>
                <a:gd name="connsiteX15" fmla="*/ 74183 w 146420"/>
                <a:gd name="connsiteY15" fmla="*/ 11088 h 299737"/>
                <a:gd name="connsiteX16" fmla="*/ 101689 w 146420"/>
                <a:gd name="connsiteY16" fmla="*/ 38594 h 299737"/>
                <a:gd name="connsiteX17" fmla="*/ 101689 w 146420"/>
                <a:gd name="connsiteY17" fmla="*/ 167935 h 299737"/>
                <a:gd name="connsiteX18" fmla="*/ 104487 w 146420"/>
                <a:gd name="connsiteY18" fmla="*/ 172803 h 299737"/>
                <a:gd name="connsiteX19" fmla="*/ 127206 w 146420"/>
                <a:gd name="connsiteY19" fmla="*/ 257581 h 299737"/>
                <a:gd name="connsiteX20" fmla="*/ 42428 w 146420"/>
                <a:gd name="connsiteY20" fmla="*/ 280301 h 29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6420" h="299737">
                  <a:moveTo>
                    <a:pt x="112731" y="164857"/>
                  </a:moveTo>
                  <a:lnTo>
                    <a:pt x="112731" y="38594"/>
                  </a:lnTo>
                  <a:cubicBezTo>
                    <a:pt x="112257" y="16811"/>
                    <a:pt x="94215" y="-464"/>
                    <a:pt x="72431" y="10"/>
                  </a:cubicBezTo>
                  <a:cubicBezTo>
                    <a:pt x="51315" y="469"/>
                    <a:pt x="34306" y="17477"/>
                    <a:pt x="33847" y="38594"/>
                  </a:cubicBezTo>
                  <a:lnTo>
                    <a:pt x="33847" y="164801"/>
                  </a:lnTo>
                  <a:cubicBezTo>
                    <a:pt x="-242" y="186547"/>
                    <a:pt x="-10247" y="231811"/>
                    <a:pt x="11499" y="265900"/>
                  </a:cubicBezTo>
                  <a:cubicBezTo>
                    <a:pt x="24907" y="286918"/>
                    <a:pt x="48089" y="299668"/>
                    <a:pt x="73019" y="299738"/>
                  </a:cubicBezTo>
                  <a:lnTo>
                    <a:pt x="73410" y="299738"/>
                  </a:lnTo>
                  <a:cubicBezTo>
                    <a:pt x="113845" y="299625"/>
                    <a:pt x="146532" y="266755"/>
                    <a:pt x="146420" y="226320"/>
                  </a:cubicBezTo>
                  <a:cubicBezTo>
                    <a:pt x="146350" y="201390"/>
                    <a:pt x="133600" y="178209"/>
                    <a:pt x="112582" y="164801"/>
                  </a:cubicBezTo>
                  <a:close/>
                  <a:moveTo>
                    <a:pt x="42428" y="280301"/>
                  </a:moveTo>
                  <a:cubicBezTo>
                    <a:pt x="12743" y="263168"/>
                    <a:pt x="2568" y="225215"/>
                    <a:pt x="19701" y="195530"/>
                  </a:cubicBezTo>
                  <a:cubicBezTo>
                    <a:pt x="25149" y="186090"/>
                    <a:pt x="32988" y="178251"/>
                    <a:pt x="42428" y="172803"/>
                  </a:cubicBezTo>
                  <a:cubicBezTo>
                    <a:pt x="44166" y="171799"/>
                    <a:pt x="45234" y="169942"/>
                    <a:pt x="45226" y="167935"/>
                  </a:cubicBezTo>
                  <a:lnTo>
                    <a:pt x="45226" y="38594"/>
                  </a:lnTo>
                  <a:cubicBezTo>
                    <a:pt x="45626" y="23002"/>
                    <a:pt x="58591" y="10687"/>
                    <a:pt x="74183" y="11088"/>
                  </a:cubicBezTo>
                  <a:cubicBezTo>
                    <a:pt x="89211" y="11474"/>
                    <a:pt x="101302" y="23566"/>
                    <a:pt x="101689" y="38594"/>
                  </a:cubicBezTo>
                  <a:lnTo>
                    <a:pt x="101689" y="167935"/>
                  </a:lnTo>
                  <a:cubicBezTo>
                    <a:pt x="101681" y="169942"/>
                    <a:pt x="102748" y="171799"/>
                    <a:pt x="104487" y="172803"/>
                  </a:cubicBezTo>
                  <a:cubicBezTo>
                    <a:pt x="134171" y="189940"/>
                    <a:pt x="144343" y="227897"/>
                    <a:pt x="127206" y="257581"/>
                  </a:cubicBezTo>
                  <a:cubicBezTo>
                    <a:pt x="110069" y="287266"/>
                    <a:pt x="72112" y="297438"/>
                    <a:pt x="42428" y="280301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B3D84983-49E6-483E-B53C-EAB9780556D5}"/>
                </a:ext>
              </a:extLst>
            </p:cNvPr>
            <p:cNvSpPr/>
            <p:nvPr/>
          </p:nvSpPr>
          <p:spPr>
            <a:xfrm>
              <a:off x="4786080" y="2304942"/>
              <a:ext cx="77719" cy="167963"/>
            </a:xfrm>
            <a:custGeom>
              <a:avLst/>
              <a:gdLst>
                <a:gd name="connsiteX0" fmla="*/ 44455 w 77719"/>
                <a:gd name="connsiteY0" fmla="*/ 90654 h 167963"/>
                <a:gd name="connsiteX1" fmla="*/ 44455 w 77719"/>
                <a:gd name="connsiteY1" fmla="*/ 5596 h 167963"/>
                <a:gd name="connsiteX2" fmla="*/ 38860 w 77719"/>
                <a:gd name="connsiteY2" fmla="*/ 0 h 167963"/>
                <a:gd name="connsiteX3" fmla="*/ 33264 w 77719"/>
                <a:gd name="connsiteY3" fmla="*/ 5596 h 167963"/>
                <a:gd name="connsiteX4" fmla="*/ 33264 w 77719"/>
                <a:gd name="connsiteY4" fmla="*/ 90654 h 167963"/>
                <a:gd name="connsiteX5" fmla="*/ 410 w 77719"/>
                <a:gd name="connsiteY5" fmla="*/ 134700 h 167963"/>
                <a:gd name="connsiteX6" fmla="*/ 44455 w 77719"/>
                <a:gd name="connsiteY6" fmla="*/ 167553 h 167963"/>
                <a:gd name="connsiteX7" fmla="*/ 77309 w 77719"/>
                <a:gd name="connsiteY7" fmla="*/ 123508 h 167963"/>
                <a:gd name="connsiteX8" fmla="*/ 44455 w 77719"/>
                <a:gd name="connsiteY8" fmla="*/ 90654 h 167963"/>
                <a:gd name="connsiteX9" fmla="*/ 38860 w 77719"/>
                <a:gd name="connsiteY9" fmla="*/ 156462 h 167963"/>
                <a:gd name="connsiteX10" fmla="*/ 10620 w 77719"/>
                <a:gd name="connsiteY10" fmla="*/ 129656 h 167963"/>
                <a:gd name="connsiteX11" fmla="*/ 37426 w 77719"/>
                <a:gd name="connsiteY11" fmla="*/ 101417 h 167963"/>
                <a:gd name="connsiteX12" fmla="*/ 38860 w 77719"/>
                <a:gd name="connsiteY12" fmla="*/ 101417 h 167963"/>
                <a:gd name="connsiteX13" fmla="*/ 38860 w 77719"/>
                <a:gd name="connsiteY13" fmla="*/ 101417 h 167963"/>
                <a:gd name="connsiteX14" fmla="*/ 67099 w 77719"/>
                <a:gd name="connsiteY14" fmla="*/ 128223 h 167963"/>
                <a:gd name="connsiteX15" fmla="*/ 40293 w 77719"/>
                <a:gd name="connsiteY15" fmla="*/ 156462 h 167963"/>
                <a:gd name="connsiteX16" fmla="*/ 38860 w 77719"/>
                <a:gd name="connsiteY16" fmla="*/ 156462 h 167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719" h="167963">
                  <a:moveTo>
                    <a:pt x="44455" y="90654"/>
                  </a:moveTo>
                  <a:lnTo>
                    <a:pt x="44455" y="5596"/>
                  </a:lnTo>
                  <a:cubicBezTo>
                    <a:pt x="44455" y="2505"/>
                    <a:pt x="41950" y="0"/>
                    <a:pt x="38860" y="0"/>
                  </a:cubicBezTo>
                  <a:cubicBezTo>
                    <a:pt x="35769" y="0"/>
                    <a:pt x="33264" y="2505"/>
                    <a:pt x="33264" y="5596"/>
                  </a:cubicBezTo>
                  <a:lnTo>
                    <a:pt x="33264" y="90654"/>
                  </a:lnTo>
                  <a:cubicBezTo>
                    <a:pt x="12029" y="93745"/>
                    <a:pt x="-2680" y="113464"/>
                    <a:pt x="410" y="134700"/>
                  </a:cubicBezTo>
                  <a:cubicBezTo>
                    <a:pt x="3501" y="155935"/>
                    <a:pt x="23220" y="170643"/>
                    <a:pt x="44455" y="167553"/>
                  </a:cubicBezTo>
                  <a:cubicBezTo>
                    <a:pt x="65690" y="164462"/>
                    <a:pt x="80399" y="144743"/>
                    <a:pt x="77309" y="123508"/>
                  </a:cubicBezTo>
                  <a:cubicBezTo>
                    <a:pt x="74833" y="106494"/>
                    <a:pt x="61469" y="93130"/>
                    <a:pt x="44455" y="90654"/>
                  </a:cubicBezTo>
                  <a:close/>
                  <a:moveTo>
                    <a:pt x="38860" y="156462"/>
                  </a:moveTo>
                  <a:cubicBezTo>
                    <a:pt x="23659" y="156858"/>
                    <a:pt x="11016" y="144857"/>
                    <a:pt x="10620" y="129656"/>
                  </a:cubicBezTo>
                  <a:cubicBezTo>
                    <a:pt x="10225" y="114456"/>
                    <a:pt x="22226" y="101813"/>
                    <a:pt x="37426" y="101417"/>
                  </a:cubicBezTo>
                  <a:cubicBezTo>
                    <a:pt x="37904" y="101405"/>
                    <a:pt x="38382" y="101405"/>
                    <a:pt x="38860" y="101417"/>
                  </a:cubicBezTo>
                  <a:lnTo>
                    <a:pt x="38860" y="101417"/>
                  </a:lnTo>
                  <a:cubicBezTo>
                    <a:pt x="54060" y="101021"/>
                    <a:pt x="66703" y="113023"/>
                    <a:pt x="67099" y="128223"/>
                  </a:cubicBezTo>
                  <a:cubicBezTo>
                    <a:pt x="67495" y="143424"/>
                    <a:pt x="55493" y="156067"/>
                    <a:pt x="40293" y="156462"/>
                  </a:cubicBezTo>
                  <a:cubicBezTo>
                    <a:pt x="39815" y="156475"/>
                    <a:pt x="39337" y="156475"/>
                    <a:pt x="38860" y="156462"/>
                  </a:cubicBezTo>
                  <a:close/>
                </a:path>
              </a:pathLst>
            </a:custGeom>
            <a:solidFill>
              <a:srgbClr val="BD5C7A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4AA1D212-A943-7276-5805-7C4C78A3CF21}"/>
                </a:ext>
              </a:extLst>
            </p:cNvPr>
            <p:cNvSpPr/>
            <p:nvPr/>
          </p:nvSpPr>
          <p:spPr>
            <a:xfrm>
              <a:off x="4878194" y="2247024"/>
              <a:ext cx="46222" cy="11191"/>
            </a:xfrm>
            <a:custGeom>
              <a:avLst/>
              <a:gdLst>
                <a:gd name="connsiteX0" fmla="*/ 40627 w 46222"/>
                <a:gd name="connsiteY0" fmla="*/ 0 h 11191"/>
                <a:gd name="connsiteX1" fmla="*/ 5596 w 46222"/>
                <a:gd name="connsiteY1" fmla="*/ 0 h 11191"/>
                <a:gd name="connsiteX2" fmla="*/ 0 w 46222"/>
                <a:gd name="connsiteY2" fmla="*/ 5596 h 11191"/>
                <a:gd name="connsiteX3" fmla="*/ 5596 w 46222"/>
                <a:gd name="connsiteY3" fmla="*/ 11192 h 11191"/>
                <a:gd name="connsiteX4" fmla="*/ 40627 w 46222"/>
                <a:gd name="connsiteY4" fmla="*/ 11192 h 11191"/>
                <a:gd name="connsiteX5" fmla="*/ 46222 w 46222"/>
                <a:gd name="connsiteY5" fmla="*/ 5596 h 11191"/>
                <a:gd name="connsiteX6" fmla="*/ 40627 w 46222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22" h="11191">
                  <a:moveTo>
                    <a:pt x="40627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40627" y="11192"/>
                  </a:lnTo>
                  <a:cubicBezTo>
                    <a:pt x="43717" y="11192"/>
                    <a:pt x="46222" y="8686"/>
                    <a:pt x="46222" y="5596"/>
                  </a:cubicBezTo>
                  <a:cubicBezTo>
                    <a:pt x="46222" y="2505"/>
                    <a:pt x="43717" y="0"/>
                    <a:pt x="40627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3CA1511F-0123-3F4D-87BD-1746ED945B59}"/>
                </a:ext>
              </a:extLst>
            </p:cNvPr>
            <p:cNvSpPr/>
            <p:nvPr/>
          </p:nvSpPr>
          <p:spPr>
            <a:xfrm>
              <a:off x="4885245" y="2275059"/>
              <a:ext cx="31710" cy="11191"/>
            </a:xfrm>
            <a:custGeom>
              <a:avLst/>
              <a:gdLst>
                <a:gd name="connsiteX0" fmla="*/ 26114 w 31710"/>
                <a:gd name="connsiteY0" fmla="*/ 0 h 11191"/>
                <a:gd name="connsiteX1" fmla="*/ 5596 w 31710"/>
                <a:gd name="connsiteY1" fmla="*/ 0 h 11191"/>
                <a:gd name="connsiteX2" fmla="*/ 0 w 31710"/>
                <a:gd name="connsiteY2" fmla="*/ 5596 h 11191"/>
                <a:gd name="connsiteX3" fmla="*/ 5596 w 31710"/>
                <a:gd name="connsiteY3" fmla="*/ 11192 h 11191"/>
                <a:gd name="connsiteX4" fmla="*/ 26114 w 31710"/>
                <a:gd name="connsiteY4" fmla="*/ 11192 h 11191"/>
                <a:gd name="connsiteX5" fmla="*/ 31710 w 31710"/>
                <a:gd name="connsiteY5" fmla="*/ 5596 h 11191"/>
                <a:gd name="connsiteX6" fmla="*/ 26114 w 31710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10" h="11191">
                  <a:moveTo>
                    <a:pt x="26114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26114" y="11192"/>
                  </a:lnTo>
                  <a:cubicBezTo>
                    <a:pt x="29205" y="11192"/>
                    <a:pt x="31710" y="8686"/>
                    <a:pt x="31710" y="5596"/>
                  </a:cubicBezTo>
                  <a:cubicBezTo>
                    <a:pt x="31710" y="2505"/>
                    <a:pt x="29205" y="0"/>
                    <a:pt x="26114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71F31E8D-E1D6-835D-1BC2-8D8D00395A1D}"/>
                </a:ext>
              </a:extLst>
            </p:cNvPr>
            <p:cNvSpPr/>
            <p:nvPr/>
          </p:nvSpPr>
          <p:spPr>
            <a:xfrm>
              <a:off x="4878194" y="2303095"/>
              <a:ext cx="46222" cy="11191"/>
            </a:xfrm>
            <a:custGeom>
              <a:avLst/>
              <a:gdLst>
                <a:gd name="connsiteX0" fmla="*/ 40627 w 46222"/>
                <a:gd name="connsiteY0" fmla="*/ 0 h 11191"/>
                <a:gd name="connsiteX1" fmla="*/ 5596 w 46222"/>
                <a:gd name="connsiteY1" fmla="*/ 0 h 11191"/>
                <a:gd name="connsiteX2" fmla="*/ 0 w 46222"/>
                <a:gd name="connsiteY2" fmla="*/ 5596 h 11191"/>
                <a:gd name="connsiteX3" fmla="*/ 5596 w 46222"/>
                <a:gd name="connsiteY3" fmla="*/ 11192 h 11191"/>
                <a:gd name="connsiteX4" fmla="*/ 40627 w 46222"/>
                <a:gd name="connsiteY4" fmla="*/ 11192 h 11191"/>
                <a:gd name="connsiteX5" fmla="*/ 46222 w 46222"/>
                <a:gd name="connsiteY5" fmla="*/ 5596 h 11191"/>
                <a:gd name="connsiteX6" fmla="*/ 40627 w 46222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22" h="11191">
                  <a:moveTo>
                    <a:pt x="40627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7"/>
                    <a:pt x="2505" y="11192"/>
                    <a:pt x="5596" y="11192"/>
                  </a:cubicBezTo>
                  <a:lnTo>
                    <a:pt x="40627" y="11192"/>
                  </a:lnTo>
                  <a:cubicBezTo>
                    <a:pt x="43717" y="11192"/>
                    <a:pt x="46222" y="8686"/>
                    <a:pt x="46222" y="5596"/>
                  </a:cubicBezTo>
                  <a:cubicBezTo>
                    <a:pt x="46222" y="2505"/>
                    <a:pt x="43717" y="0"/>
                    <a:pt x="40627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B2279901-F908-9487-6ABE-7609A081B06F}"/>
                </a:ext>
              </a:extLst>
            </p:cNvPr>
            <p:cNvSpPr/>
            <p:nvPr/>
          </p:nvSpPr>
          <p:spPr>
            <a:xfrm>
              <a:off x="4885245" y="2331112"/>
              <a:ext cx="31710" cy="11191"/>
            </a:xfrm>
            <a:custGeom>
              <a:avLst/>
              <a:gdLst>
                <a:gd name="connsiteX0" fmla="*/ 26114 w 31710"/>
                <a:gd name="connsiteY0" fmla="*/ 0 h 11191"/>
                <a:gd name="connsiteX1" fmla="*/ 5596 w 31710"/>
                <a:gd name="connsiteY1" fmla="*/ 0 h 11191"/>
                <a:gd name="connsiteX2" fmla="*/ 0 w 31710"/>
                <a:gd name="connsiteY2" fmla="*/ 5596 h 11191"/>
                <a:gd name="connsiteX3" fmla="*/ 5596 w 31710"/>
                <a:gd name="connsiteY3" fmla="*/ 11192 h 11191"/>
                <a:gd name="connsiteX4" fmla="*/ 26114 w 31710"/>
                <a:gd name="connsiteY4" fmla="*/ 11192 h 11191"/>
                <a:gd name="connsiteX5" fmla="*/ 31710 w 31710"/>
                <a:gd name="connsiteY5" fmla="*/ 5596 h 11191"/>
                <a:gd name="connsiteX6" fmla="*/ 26114 w 31710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10" h="11191">
                  <a:moveTo>
                    <a:pt x="26114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26114" y="11192"/>
                  </a:lnTo>
                  <a:cubicBezTo>
                    <a:pt x="29205" y="11192"/>
                    <a:pt x="31710" y="8686"/>
                    <a:pt x="31710" y="5596"/>
                  </a:cubicBezTo>
                  <a:cubicBezTo>
                    <a:pt x="31710" y="2505"/>
                    <a:pt x="29205" y="0"/>
                    <a:pt x="26114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B07425E9-6FBC-CBAB-10A5-5FF536E88040}"/>
                </a:ext>
              </a:extLst>
            </p:cNvPr>
            <p:cNvSpPr/>
            <p:nvPr/>
          </p:nvSpPr>
          <p:spPr>
            <a:xfrm>
              <a:off x="4878194" y="2359148"/>
              <a:ext cx="46222" cy="11191"/>
            </a:xfrm>
            <a:custGeom>
              <a:avLst/>
              <a:gdLst>
                <a:gd name="connsiteX0" fmla="*/ 40627 w 46222"/>
                <a:gd name="connsiteY0" fmla="*/ 0 h 11191"/>
                <a:gd name="connsiteX1" fmla="*/ 5596 w 46222"/>
                <a:gd name="connsiteY1" fmla="*/ 0 h 11191"/>
                <a:gd name="connsiteX2" fmla="*/ 0 w 46222"/>
                <a:gd name="connsiteY2" fmla="*/ 5596 h 11191"/>
                <a:gd name="connsiteX3" fmla="*/ 5596 w 46222"/>
                <a:gd name="connsiteY3" fmla="*/ 11192 h 11191"/>
                <a:gd name="connsiteX4" fmla="*/ 40627 w 46222"/>
                <a:gd name="connsiteY4" fmla="*/ 11192 h 11191"/>
                <a:gd name="connsiteX5" fmla="*/ 46222 w 46222"/>
                <a:gd name="connsiteY5" fmla="*/ 5596 h 11191"/>
                <a:gd name="connsiteX6" fmla="*/ 40627 w 46222"/>
                <a:gd name="connsiteY6" fmla="*/ 0 h 1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22" h="11191">
                  <a:moveTo>
                    <a:pt x="40627" y="0"/>
                  </a:moveTo>
                  <a:lnTo>
                    <a:pt x="5596" y="0"/>
                  </a:lnTo>
                  <a:cubicBezTo>
                    <a:pt x="2505" y="0"/>
                    <a:pt x="0" y="2505"/>
                    <a:pt x="0" y="5596"/>
                  </a:cubicBezTo>
                  <a:cubicBezTo>
                    <a:pt x="0" y="8686"/>
                    <a:pt x="2505" y="11192"/>
                    <a:pt x="5596" y="11192"/>
                  </a:cubicBezTo>
                  <a:lnTo>
                    <a:pt x="40627" y="11192"/>
                  </a:lnTo>
                  <a:cubicBezTo>
                    <a:pt x="43717" y="11192"/>
                    <a:pt x="46222" y="8686"/>
                    <a:pt x="46222" y="5596"/>
                  </a:cubicBezTo>
                  <a:cubicBezTo>
                    <a:pt x="46222" y="2505"/>
                    <a:pt x="43717" y="0"/>
                    <a:pt x="40627" y="0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8" name="Graphic 152">
            <a:extLst>
              <a:ext uri="{FF2B5EF4-FFF2-40B4-BE49-F238E27FC236}">
                <a16:creationId xmlns:a16="http://schemas.microsoft.com/office/drawing/2014/main" id="{ADF67640-6CE3-A3B1-0761-BF5C2F9BC9F2}"/>
              </a:ext>
            </a:extLst>
          </p:cNvPr>
          <p:cNvGrpSpPr/>
          <p:nvPr/>
        </p:nvGrpSpPr>
        <p:grpSpPr>
          <a:xfrm>
            <a:off x="5620270" y="2588483"/>
            <a:ext cx="300036" cy="300036"/>
            <a:chOff x="5557517" y="2202721"/>
            <a:chExt cx="300036" cy="300036"/>
          </a:xfrm>
        </p:grpSpPr>
        <p:sp>
          <p:nvSpPr>
            <p:cNvPr id="89" name="Freeform 88">
              <a:extLst>
                <a:ext uri="{FF2B5EF4-FFF2-40B4-BE49-F238E27FC236}">
                  <a16:creationId xmlns:a16="http://schemas.microsoft.com/office/drawing/2014/main" id="{D7D4E9DD-8A73-733D-FCB2-FF075D068604}"/>
                </a:ext>
              </a:extLst>
            </p:cNvPr>
            <p:cNvSpPr/>
            <p:nvPr/>
          </p:nvSpPr>
          <p:spPr>
            <a:xfrm>
              <a:off x="5597531" y="2207818"/>
              <a:ext cx="206369" cy="273273"/>
            </a:xfrm>
            <a:custGeom>
              <a:avLst/>
              <a:gdLst>
                <a:gd name="connsiteX0" fmla="*/ 175149 w 206369"/>
                <a:gd name="connsiteY0" fmla="*/ 29912 h 273273"/>
                <a:gd name="connsiteX1" fmla="*/ 31519 w 206369"/>
                <a:gd name="connsiteY1" fmla="*/ 29582 h 273273"/>
                <a:gd name="connsiteX2" fmla="*/ 31188 w 206369"/>
                <a:gd name="connsiteY2" fmla="*/ 29912 h 273273"/>
                <a:gd name="connsiteX3" fmla="*/ 134 w 206369"/>
                <a:gd name="connsiteY3" fmla="*/ 98958 h 273273"/>
                <a:gd name="connsiteX4" fmla="*/ 21868 w 206369"/>
                <a:gd name="connsiteY4" fmla="*/ 169767 h 273273"/>
                <a:gd name="connsiteX5" fmla="*/ 96877 w 206369"/>
                <a:gd name="connsiteY5" fmla="*/ 270148 h 273273"/>
                <a:gd name="connsiteX6" fmla="*/ 107797 w 206369"/>
                <a:gd name="connsiteY6" fmla="*/ 271716 h 273273"/>
                <a:gd name="connsiteX7" fmla="*/ 109366 w 206369"/>
                <a:gd name="connsiteY7" fmla="*/ 270148 h 273273"/>
                <a:gd name="connsiteX8" fmla="*/ 184375 w 206369"/>
                <a:gd name="connsiteY8" fmla="*/ 169767 h 273273"/>
                <a:gd name="connsiteX9" fmla="*/ 206203 w 206369"/>
                <a:gd name="connsiteY9" fmla="*/ 98977 h 273273"/>
                <a:gd name="connsiteX10" fmla="*/ 175149 w 206369"/>
                <a:gd name="connsiteY10" fmla="*/ 29912 h 273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6369" h="273273">
                  <a:moveTo>
                    <a:pt x="175149" y="29912"/>
                  </a:moveTo>
                  <a:cubicBezTo>
                    <a:pt x="135578" y="-9841"/>
                    <a:pt x="71272" y="-9989"/>
                    <a:pt x="31519" y="29582"/>
                  </a:cubicBezTo>
                  <a:cubicBezTo>
                    <a:pt x="31408" y="29692"/>
                    <a:pt x="31298" y="29802"/>
                    <a:pt x="31188" y="29912"/>
                  </a:cubicBezTo>
                  <a:cubicBezTo>
                    <a:pt x="12833" y="48419"/>
                    <a:pt x="1801" y="72947"/>
                    <a:pt x="134" y="98958"/>
                  </a:cubicBezTo>
                  <a:cubicBezTo>
                    <a:pt x="-1129" y="124377"/>
                    <a:pt x="6562" y="149434"/>
                    <a:pt x="21868" y="169767"/>
                  </a:cubicBezTo>
                  <a:lnTo>
                    <a:pt x="96877" y="270148"/>
                  </a:lnTo>
                  <a:cubicBezTo>
                    <a:pt x="99459" y="273596"/>
                    <a:pt x="104348" y="274299"/>
                    <a:pt x="107797" y="271716"/>
                  </a:cubicBezTo>
                  <a:cubicBezTo>
                    <a:pt x="108392" y="271271"/>
                    <a:pt x="108920" y="270743"/>
                    <a:pt x="109366" y="270148"/>
                  </a:cubicBezTo>
                  <a:lnTo>
                    <a:pt x="184375" y="169767"/>
                  </a:lnTo>
                  <a:cubicBezTo>
                    <a:pt x="199883" y="149540"/>
                    <a:pt x="207628" y="124425"/>
                    <a:pt x="206203" y="98977"/>
                  </a:cubicBezTo>
                  <a:cubicBezTo>
                    <a:pt x="204535" y="72960"/>
                    <a:pt x="193504" y="48426"/>
                    <a:pt x="175149" y="29912"/>
                  </a:cubicBezTo>
                  <a:close/>
                </a:path>
              </a:pathLst>
            </a:custGeom>
            <a:noFill/>
            <a:ln w="9227" cap="flat">
              <a:solidFill>
                <a:srgbClr val="BF5C7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 89">
              <a:extLst>
                <a:ext uri="{FF2B5EF4-FFF2-40B4-BE49-F238E27FC236}">
                  <a16:creationId xmlns:a16="http://schemas.microsoft.com/office/drawing/2014/main" id="{D2329F95-F07C-D280-8D6A-C87AF61DC37C}"/>
                </a:ext>
              </a:extLst>
            </p:cNvPr>
            <p:cNvSpPr/>
            <p:nvPr/>
          </p:nvSpPr>
          <p:spPr>
            <a:xfrm>
              <a:off x="5651822" y="2265372"/>
              <a:ext cx="95411" cy="95411"/>
            </a:xfrm>
            <a:custGeom>
              <a:avLst/>
              <a:gdLst>
                <a:gd name="connsiteX0" fmla="*/ 47687 w 95411"/>
                <a:gd name="connsiteY0" fmla="*/ 0 h 95411"/>
                <a:gd name="connsiteX1" fmla="*/ 0 w 95411"/>
                <a:gd name="connsiteY1" fmla="*/ 47724 h 95411"/>
                <a:gd name="connsiteX2" fmla="*/ 47724 w 95411"/>
                <a:gd name="connsiteY2" fmla="*/ 95411 h 95411"/>
                <a:gd name="connsiteX3" fmla="*/ 95411 w 95411"/>
                <a:gd name="connsiteY3" fmla="*/ 47706 h 95411"/>
                <a:gd name="connsiteX4" fmla="*/ 47706 w 95411"/>
                <a:gd name="connsiteY4" fmla="*/ 0 h 95411"/>
                <a:gd name="connsiteX5" fmla="*/ 47687 w 95411"/>
                <a:gd name="connsiteY5" fmla="*/ 0 h 9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411" h="95411">
                  <a:moveTo>
                    <a:pt x="47687" y="0"/>
                  </a:moveTo>
                  <a:cubicBezTo>
                    <a:pt x="21340" y="10"/>
                    <a:pt x="-10" y="21377"/>
                    <a:pt x="0" y="47724"/>
                  </a:cubicBezTo>
                  <a:cubicBezTo>
                    <a:pt x="10" y="74072"/>
                    <a:pt x="21377" y="95422"/>
                    <a:pt x="47724" y="95411"/>
                  </a:cubicBezTo>
                  <a:cubicBezTo>
                    <a:pt x="74064" y="95401"/>
                    <a:pt x="95411" y="74046"/>
                    <a:pt x="95411" y="47706"/>
                  </a:cubicBezTo>
                  <a:cubicBezTo>
                    <a:pt x="95411" y="21359"/>
                    <a:pt x="74053" y="0"/>
                    <a:pt x="47706" y="0"/>
                  </a:cubicBezTo>
                  <a:cubicBezTo>
                    <a:pt x="47699" y="0"/>
                    <a:pt x="47693" y="0"/>
                    <a:pt x="47687" y="0"/>
                  </a:cubicBezTo>
                  <a:close/>
                </a:path>
              </a:pathLst>
            </a:custGeom>
            <a:noFill/>
            <a:ln w="9227" cap="flat">
              <a:solidFill>
                <a:srgbClr val="BF5C7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 90">
              <a:extLst>
                <a:ext uri="{FF2B5EF4-FFF2-40B4-BE49-F238E27FC236}">
                  <a16:creationId xmlns:a16="http://schemas.microsoft.com/office/drawing/2014/main" id="{922D356F-92AE-297E-45B4-2ECF540694F0}"/>
                </a:ext>
              </a:extLst>
            </p:cNvPr>
            <p:cNvSpPr/>
            <p:nvPr/>
          </p:nvSpPr>
          <p:spPr>
            <a:xfrm>
              <a:off x="5626018" y="2447564"/>
              <a:ext cx="149361" cy="58136"/>
            </a:xfrm>
            <a:custGeom>
              <a:avLst/>
              <a:gdLst>
                <a:gd name="connsiteX0" fmla="*/ 74690 w 149361"/>
                <a:gd name="connsiteY0" fmla="*/ 58137 h 58136"/>
                <a:gd name="connsiteX1" fmla="*/ 0 w 149361"/>
                <a:gd name="connsiteY1" fmla="*/ 25076 h 58136"/>
                <a:gd name="connsiteX2" fmla="*/ 23459 w 149361"/>
                <a:gd name="connsiteY2" fmla="*/ 698 h 58136"/>
                <a:gd name="connsiteX3" fmla="*/ 29647 w 149361"/>
                <a:gd name="connsiteY3" fmla="*/ 3324 h 58136"/>
                <a:gd name="connsiteX4" fmla="*/ 27022 w 149361"/>
                <a:gd name="connsiteY4" fmla="*/ 9512 h 58136"/>
                <a:gd name="connsiteX5" fmla="*/ 9526 w 149361"/>
                <a:gd name="connsiteY5" fmla="*/ 25114 h 58136"/>
                <a:gd name="connsiteX6" fmla="*/ 74690 w 149361"/>
                <a:gd name="connsiteY6" fmla="*/ 48667 h 58136"/>
                <a:gd name="connsiteX7" fmla="*/ 139854 w 149361"/>
                <a:gd name="connsiteY7" fmla="*/ 25114 h 58136"/>
                <a:gd name="connsiteX8" fmla="*/ 123671 w 149361"/>
                <a:gd name="connsiteY8" fmla="*/ 9268 h 58136"/>
                <a:gd name="connsiteX9" fmla="*/ 120652 w 149361"/>
                <a:gd name="connsiteY9" fmla="*/ 3249 h 58136"/>
                <a:gd name="connsiteX10" fmla="*/ 126690 w 149361"/>
                <a:gd name="connsiteY10" fmla="*/ 230 h 58136"/>
                <a:gd name="connsiteX11" fmla="*/ 149362 w 149361"/>
                <a:gd name="connsiteY11" fmla="*/ 25114 h 58136"/>
                <a:gd name="connsiteX12" fmla="*/ 74690 w 149361"/>
                <a:gd name="connsiteY12" fmla="*/ 58137 h 5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9361" h="58136">
                  <a:moveTo>
                    <a:pt x="74690" y="58137"/>
                  </a:moveTo>
                  <a:cubicBezTo>
                    <a:pt x="32123" y="58137"/>
                    <a:pt x="0" y="43922"/>
                    <a:pt x="0" y="25076"/>
                  </a:cubicBezTo>
                  <a:cubicBezTo>
                    <a:pt x="0" y="15456"/>
                    <a:pt x="8326" y="6793"/>
                    <a:pt x="23459" y="698"/>
                  </a:cubicBezTo>
                  <a:cubicBezTo>
                    <a:pt x="25893" y="-285"/>
                    <a:pt x="28663" y="890"/>
                    <a:pt x="29647" y="3324"/>
                  </a:cubicBezTo>
                  <a:cubicBezTo>
                    <a:pt x="30631" y="5758"/>
                    <a:pt x="29456" y="8528"/>
                    <a:pt x="27022" y="9512"/>
                  </a:cubicBezTo>
                  <a:cubicBezTo>
                    <a:pt x="16071" y="13956"/>
                    <a:pt x="9526" y="19788"/>
                    <a:pt x="9526" y="25114"/>
                  </a:cubicBezTo>
                  <a:cubicBezTo>
                    <a:pt x="9526" y="36253"/>
                    <a:pt x="36286" y="48667"/>
                    <a:pt x="74690" y="48667"/>
                  </a:cubicBezTo>
                  <a:cubicBezTo>
                    <a:pt x="113095" y="48667"/>
                    <a:pt x="139854" y="36253"/>
                    <a:pt x="139854" y="25114"/>
                  </a:cubicBezTo>
                  <a:cubicBezTo>
                    <a:pt x="139854" y="19488"/>
                    <a:pt x="138635" y="14238"/>
                    <a:pt x="123671" y="9268"/>
                  </a:cubicBezTo>
                  <a:cubicBezTo>
                    <a:pt x="121183" y="8431"/>
                    <a:pt x="119835" y="5744"/>
                    <a:pt x="120652" y="3249"/>
                  </a:cubicBezTo>
                  <a:cubicBezTo>
                    <a:pt x="121514" y="772"/>
                    <a:pt x="124192" y="-567"/>
                    <a:pt x="126690" y="230"/>
                  </a:cubicBezTo>
                  <a:cubicBezTo>
                    <a:pt x="142798" y="5593"/>
                    <a:pt x="149362" y="12794"/>
                    <a:pt x="149362" y="25114"/>
                  </a:cubicBezTo>
                  <a:cubicBezTo>
                    <a:pt x="149362" y="43941"/>
                    <a:pt x="117258" y="58137"/>
                    <a:pt x="74690" y="58137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2" name="Graphic 158">
            <a:extLst>
              <a:ext uri="{FF2B5EF4-FFF2-40B4-BE49-F238E27FC236}">
                <a16:creationId xmlns:a16="http://schemas.microsoft.com/office/drawing/2014/main" id="{A38C2994-E88A-96C0-6F8C-EE4F00EE6A56}"/>
              </a:ext>
            </a:extLst>
          </p:cNvPr>
          <p:cNvGrpSpPr/>
          <p:nvPr/>
        </p:nvGrpSpPr>
        <p:grpSpPr>
          <a:xfrm>
            <a:off x="6461441" y="2477787"/>
            <a:ext cx="417512" cy="417512"/>
            <a:chOff x="6711950" y="2005027"/>
            <a:chExt cx="496888" cy="496888"/>
          </a:xfrm>
        </p:grpSpPr>
        <p:sp>
          <p:nvSpPr>
            <p:cNvPr id="93" name="Freeform 92">
              <a:extLst>
                <a:ext uri="{FF2B5EF4-FFF2-40B4-BE49-F238E27FC236}">
                  <a16:creationId xmlns:a16="http://schemas.microsoft.com/office/drawing/2014/main" id="{A74DD268-BEC7-6692-4862-53CE29DCAA53}"/>
                </a:ext>
              </a:extLst>
            </p:cNvPr>
            <p:cNvSpPr/>
            <p:nvPr/>
          </p:nvSpPr>
          <p:spPr>
            <a:xfrm>
              <a:off x="6859774" y="2330147"/>
              <a:ext cx="93228" cy="7018"/>
            </a:xfrm>
            <a:custGeom>
              <a:avLst/>
              <a:gdLst>
                <a:gd name="connsiteX0" fmla="*/ 0 w 93228"/>
                <a:gd name="connsiteY0" fmla="*/ 0 h 7018"/>
                <a:gd name="connsiteX1" fmla="*/ 93229 w 93228"/>
                <a:gd name="connsiteY1" fmla="*/ 0 h 7018"/>
                <a:gd name="connsiteX2" fmla="*/ 93229 w 93228"/>
                <a:gd name="connsiteY2" fmla="*/ 7019 h 7018"/>
                <a:gd name="connsiteX3" fmla="*/ 0 w 93228"/>
                <a:gd name="connsiteY3" fmla="*/ 7019 h 7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28" h="7018">
                  <a:moveTo>
                    <a:pt x="0" y="0"/>
                  </a:moveTo>
                  <a:lnTo>
                    <a:pt x="93229" y="0"/>
                  </a:lnTo>
                  <a:lnTo>
                    <a:pt x="93229" y="7019"/>
                  </a:lnTo>
                  <a:lnTo>
                    <a:pt x="0" y="7019"/>
                  </a:lnTo>
                  <a:close/>
                </a:path>
              </a:pathLst>
            </a:custGeom>
            <a:solidFill>
              <a:srgbClr val="C7527B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 93">
              <a:extLst>
                <a:ext uri="{FF2B5EF4-FFF2-40B4-BE49-F238E27FC236}">
                  <a16:creationId xmlns:a16="http://schemas.microsoft.com/office/drawing/2014/main" id="{4D3D2B6C-B3DB-3270-E247-3FA6970B3996}"/>
                </a:ext>
              </a:extLst>
            </p:cNvPr>
            <p:cNvSpPr/>
            <p:nvPr/>
          </p:nvSpPr>
          <p:spPr>
            <a:xfrm>
              <a:off x="6856140" y="2299898"/>
              <a:ext cx="103756" cy="192264"/>
            </a:xfrm>
            <a:custGeom>
              <a:avLst/>
              <a:gdLst>
                <a:gd name="connsiteX0" fmla="*/ 88229 w 103756"/>
                <a:gd name="connsiteY0" fmla="*/ 192265 h 192264"/>
                <a:gd name="connsiteX1" fmla="*/ 15528 w 103756"/>
                <a:gd name="connsiteY1" fmla="*/ 192265 h 192264"/>
                <a:gd name="connsiteX2" fmla="*/ 0 w 103756"/>
                <a:gd name="connsiteY2" fmla="*/ 176737 h 192264"/>
                <a:gd name="connsiteX3" fmla="*/ 0 w 103756"/>
                <a:gd name="connsiteY3" fmla="*/ 15528 h 192264"/>
                <a:gd name="connsiteX4" fmla="*/ 15528 w 103756"/>
                <a:gd name="connsiteY4" fmla="*/ 0 h 192264"/>
                <a:gd name="connsiteX5" fmla="*/ 88229 w 103756"/>
                <a:gd name="connsiteY5" fmla="*/ 0 h 192264"/>
                <a:gd name="connsiteX6" fmla="*/ 103756 w 103756"/>
                <a:gd name="connsiteY6" fmla="*/ 15528 h 192264"/>
                <a:gd name="connsiteX7" fmla="*/ 103756 w 103756"/>
                <a:gd name="connsiteY7" fmla="*/ 176706 h 192264"/>
                <a:gd name="connsiteX8" fmla="*/ 88260 w 103756"/>
                <a:gd name="connsiteY8" fmla="*/ 192265 h 192264"/>
                <a:gd name="connsiteX9" fmla="*/ 88229 w 103756"/>
                <a:gd name="connsiteY9" fmla="*/ 192265 h 192264"/>
                <a:gd name="connsiteX10" fmla="*/ 15528 w 103756"/>
                <a:gd name="connsiteY10" fmla="*/ 7298 h 192264"/>
                <a:gd name="connsiteX11" fmla="*/ 7298 w 103756"/>
                <a:gd name="connsiteY11" fmla="*/ 15528 h 192264"/>
                <a:gd name="connsiteX12" fmla="*/ 7298 w 103756"/>
                <a:gd name="connsiteY12" fmla="*/ 176706 h 192264"/>
                <a:gd name="connsiteX13" fmla="*/ 15528 w 103756"/>
                <a:gd name="connsiteY13" fmla="*/ 184904 h 192264"/>
                <a:gd name="connsiteX14" fmla="*/ 88229 w 103756"/>
                <a:gd name="connsiteY14" fmla="*/ 184904 h 192264"/>
                <a:gd name="connsiteX15" fmla="*/ 96458 w 103756"/>
                <a:gd name="connsiteY15" fmla="*/ 176706 h 192264"/>
                <a:gd name="connsiteX16" fmla="*/ 96458 w 103756"/>
                <a:gd name="connsiteY16" fmla="*/ 15528 h 192264"/>
                <a:gd name="connsiteX17" fmla="*/ 88229 w 103756"/>
                <a:gd name="connsiteY17" fmla="*/ 7298 h 19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3756" h="192264">
                  <a:moveTo>
                    <a:pt x="88229" y="192265"/>
                  </a:moveTo>
                  <a:lnTo>
                    <a:pt x="15528" y="192265"/>
                  </a:lnTo>
                  <a:cubicBezTo>
                    <a:pt x="6952" y="192265"/>
                    <a:pt x="0" y="185313"/>
                    <a:pt x="0" y="176737"/>
                  </a:cubicBezTo>
                  <a:lnTo>
                    <a:pt x="0" y="15528"/>
                  </a:lnTo>
                  <a:cubicBezTo>
                    <a:pt x="0" y="6952"/>
                    <a:pt x="6952" y="0"/>
                    <a:pt x="15528" y="0"/>
                  </a:cubicBezTo>
                  <a:lnTo>
                    <a:pt x="88229" y="0"/>
                  </a:lnTo>
                  <a:cubicBezTo>
                    <a:pt x="96804" y="0"/>
                    <a:pt x="103756" y="6952"/>
                    <a:pt x="103756" y="15528"/>
                  </a:cubicBezTo>
                  <a:lnTo>
                    <a:pt x="103756" y="176706"/>
                  </a:lnTo>
                  <a:cubicBezTo>
                    <a:pt x="103774" y="185282"/>
                    <a:pt x="96835" y="192247"/>
                    <a:pt x="88260" y="192265"/>
                  </a:cubicBezTo>
                  <a:cubicBezTo>
                    <a:pt x="88249" y="192265"/>
                    <a:pt x="88239" y="192265"/>
                    <a:pt x="88229" y="192265"/>
                  </a:cubicBezTo>
                  <a:close/>
                  <a:moveTo>
                    <a:pt x="15528" y="7298"/>
                  </a:moveTo>
                  <a:cubicBezTo>
                    <a:pt x="10983" y="7298"/>
                    <a:pt x="7298" y="10983"/>
                    <a:pt x="7298" y="15528"/>
                  </a:cubicBezTo>
                  <a:lnTo>
                    <a:pt x="7298" y="176706"/>
                  </a:lnTo>
                  <a:cubicBezTo>
                    <a:pt x="7315" y="181239"/>
                    <a:pt x="10995" y="184904"/>
                    <a:pt x="15528" y="184904"/>
                  </a:cubicBezTo>
                  <a:lnTo>
                    <a:pt x="88229" y="184904"/>
                  </a:lnTo>
                  <a:cubicBezTo>
                    <a:pt x="92762" y="184904"/>
                    <a:pt x="96441" y="181239"/>
                    <a:pt x="96458" y="176706"/>
                  </a:cubicBezTo>
                  <a:lnTo>
                    <a:pt x="96458" y="15528"/>
                  </a:lnTo>
                  <a:cubicBezTo>
                    <a:pt x="96458" y="10983"/>
                    <a:pt x="92774" y="7298"/>
                    <a:pt x="88229" y="7298"/>
                  </a:cubicBez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 94">
              <a:extLst>
                <a:ext uri="{FF2B5EF4-FFF2-40B4-BE49-F238E27FC236}">
                  <a16:creationId xmlns:a16="http://schemas.microsoft.com/office/drawing/2014/main" id="{F4D13D25-B4CB-8F4F-2815-996234B3EC65}"/>
                </a:ext>
              </a:extLst>
            </p:cNvPr>
            <p:cNvSpPr/>
            <p:nvPr/>
          </p:nvSpPr>
          <p:spPr>
            <a:xfrm>
              <a:off x="6993157" y="2330147"/>
              <a:ext cx="93228" cy="7018"/>
            </a:xfrm>
            <a:custGeom>
              <a:avLst/>
              <a:gdLst>
                <a:gd name="connsiteX0" fmla="*/ 0 w 93228"/>
                <a:gd name="connsiteY0" fmla="*/ 0 h 7018"/>
                <a:gd name="connsiteX1" fmla="*/ 93229 w 93228"/>
                <a:gd name="connsiteY1" fmla="*/ 0 h 7018"/>
                <a:gd name="connsiteX2" fmla="*/ 93229 w 93228"/>
                <a:gd name="connsiteY2" fmla="*/ 7019 h 7018"/>
                <a:gd name="connsiteX3" fmla="*/ 0 w 93228"/>
                <a:gd name="connsiteY3" fmla="*/ 7019 h 7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28" h="7018">
                  <a:moveTo>
                    <a:pt x="0" y="0"/>
                  </a:moveTo>
                  <a:lnTo>
                    <a:pt x="93229" y="0"/>
                  </a:lnTo>
                  <a:lnTo>
                    <a:pt x="93229" y="7019"/>
                  </a:lnTo>
                  <a:lnTo>
                    <a:pt x="0" y="7019"/>
                  </a:lnTo>
                  <a:close/>
                </a:path>
              </a:pathLst>
            </a:custGeom>
            <a:solidFill>
              <a:srgbClr val="C7527B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 95">
              <a:extLst>
                <a:ext uri="{FF2B5EF4-FFF2-40B4-BE49-F238E27FC236}">
                  <a16:creationId xmlns:a16="http://schemas.microsoft.com/office/drawing/2014/main" id="{8A54229C-5FB0-E18B-3A4B-45B0B1CB2D2D}"/>
                </a:ext>
              </a:extLst>
            </p:cNvPr>
            <p:cNvSpPr/>
            <p:nvPr/>
          </p:nvSpPr>
          <p:spPr>
            <a:xfrm>
              <a:off x="6989524" y="2299898"/>
              <a:ext cx="103756" cy="192264"/>
            </a:xfrm>
            <a:custGeom>
              <a:avLst/>
              <a:gdLst>
                <a:gd name="connsiteX0" fmla="*/ 88229 w 103756"/>
                <a:gd name="connsiteY0" fmla="*/ 192265 h 192264"/>
                <a:gd name="connsiteX1" fmla="*/ 15528 w 103756"/>
                <a:gd name="connsiteY1" fmla="*/ 192265 h 192264"/>
                <a:gd name="connsiteX2" fmla="*/ 0 w 103756"/>
                <a:gd name="connsiteY2" fmla="*/ 176737 h 192264"/>
                <a:gd name="connsiteX3" fmla="*/ 0 w 103756"/>
                <a:gd name="connsiteY3" fmla="*/ 15528 h 192264"/>
                <a:gd name="connsiteX4" fmla="*/ 15528 w 103756"/>
                <a:gd name="connsiteY4" fmla="*/ 0 h 192264"/>
                <a:gd name="connsiteX5" fmla="*/ 88229 w 103756"/>
                <a:gd name="connsiteY5" fmla="*/ 0 h 192264"/>
                <a:gd name="connsiteX6" fmla="*/ 103756 w 103756"/>
                <a:gd name="connsiteY6" fmla="*/ 15528 h 192264"/>
                <a:gd name="connsiteX7" fmla="*/ 103756 w 103756"/>
                <a:gd name="connsiteY7" fmla="*/ 176706 h 192264"/>
                <a:gd name="connsiteX8" fmla="*/ 88260 w 103756"/>
                <a:gd name="connsiteY8" fmla="*/ 192265 h 192264"/>
                <a:gd name="connsiteX9" fmla="*/ 88229 w 103756"/>
                <a:gd name="connsiteY9" fmla="*/ 192265 h 192264"/>
                <a:gd name="connsiteX10" fmla="*/ 15528 w 103756"/>
                <a:gd name="connsiteY10" fmla="*/ 7298 h 192264"/>
                <a:gd name="connsiteX11" fmla="*/ 7298 w 103756"/>
                <a:gd name="connsiteY11" fmla="*/ 15528 h 192264"/>
                <a:gd name="connsiteX12" fmla="*/ 7298 w 103756"/>
                <a:gd name="connsiteY12" fmla="*/ 176706 h 192264"/>
                <a:gd name="connsiteX13" fmla="*/ 15528 w 103756"/>
                <a:gd name="connsiteY13" fmla="*/ 184904 h 192264"/>
                <a:gd name="connsiteX14" fmla="*/ 88229 w 103756"/>
                <a:gd name="connsiteY14" fmla="*/ 184904 h 192264"/>
                <a:gd name="connsiteX15" fmla="*/ 96458 w 103756"/>
                <a:gd name="connsiteY15" fmla="*/ 176706 h 192264"/>
                <a:gd name="connsiteX16" fmla="*/ 96458 w 103756"/>
                <a:gd name="connsiteY16" fmla="*/ 15528 h 192264"/>
                <a:gd name="connsiteX17" fmla="*/ 88229 w 103756"/>
                <a:gd name="connsiteY17" fmla="*/ 7298 h 19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3756" h="192264">
                  <a:moveTo>
                    <a:pt x="88229" y="192265"/>
                  </a:moveTo>
                  <a:lnTo>
                    <a:pt x="15528" y="192265"/>
                  </a:lnTo>
                  <a:cubicBezTo>
                    <a:pt x="6952" y="192265"/>
                    <a:pt x="0" y="185313"/>
                    <a:pt x="0" y="176737"/>
                  </a:cubicBezTo>
                  <a:lnTo>
                    <a:pt x="0" y="15528"/>
                  </a:lnTo>
                  <a:cubicBezTo>
                    <a:pt x="0" y="6952"/>
                    <a:pt x="6952" y="0"/>
                    <a:pt x="15528" y="0"/>
                  </a:cubicBezTo>
                  <a:lnTo>
                    <a:pt x="88229" y="0"/>
                  </a:lnTo>
                  <a:cubicBezTo>
                    <a:pt x="96804" y="0"/>
                    <a:pt x="103756" y="6952"/>
                    <a:pt x="103756" y="15528"/>
                  </a:cubicBezTo>
                  <a:lnTo>
                    <a:pt x="103756" y="176706"/>
                  </a:lnTo>
                  <a:cubicBezTo>
                    <a:pt x="103774" y="185282"/>
                    <a:pt x="96835" y="192247"/>
                    <a:pt x="88260" y="192265"/>
                  </a:cubicBezTo>
                  <a:cubicBezTo>
                    <a:pt x="88249" y="192265"/>
                    <a:pt x="88239" y="192265"/>
                    <a:pt x="88229" y="192265"/>
                  </a:cubicBezTo>
                  <a:close/>
                  <a:moveTo>
                    <a:pt x="15528" y="7298"/>
                  </a:moveTo>
                  <a:cubicBezTo>
                    <a:pt x="10983" y="7298"/>
                    <a:pt x="7298" y="10983"/>
                    <a:pt x="7298" y="15528"/>
                  </a:cubicBezTo>
                  <a:lnTo>
                    <a:pt x="7298" y="176706"/>
                  </a:lnTo>
                  <a:cubicBezTo>
                    <a:pt x="7315" y="181239"/>
                    <a:pt x="10995" y="184904"/>
                    <a:pt x="15528" y="184904"/>
                  </a:cubicBezTo>
                  <a:lnTo>
                    <a:pt x="88229" y="184904"/>
                  </a:lnTo>
                  <a:cubicBezTo>
                    <a:pt x="92762" y="184904"/>
                    <a:pt x="96441" y="181239"/>
                    <a:pt x="96458" y="176706"/>
                  </a:cubicBezTo>
                  <a:lnTo>
                    <a:pt x="96458" y="15528"/>
                  </a:lnTo>
                  <a:cubicBezTo>
                    <a:pt x="96458" y="10983"/>
                    <a:pt x="92774" y="7298"/>
                    <a:pt x="88229" y="7298"/>
                  </a:cubicBez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9151F6F2-7F1A-33EF-E1F4-84F9B4AD7BD2}"/>
                </a:ext>
              </a:extLst>
            </p:cNvPr>
            <p:cNvSpPr/>
            <p:nvPr/>
          </p:nvSpPr>
          <p:spPr>
            <a:xfrm>
              <a:off x="6883469" y="2283967"/>
              <a:ext cx="48974" cy="21645"/>
            </a:xfrm>
            <a:custGeom>
              <a:avLst/>
              <a:gdLst>
                <a:gd name="connsiteX0" fmla="*/ 45434 w 48974"/>
                <a:gd name="connsiteY0" fmla="*/ 21646 h 21645"/>
                <a:gd name="connsiteX1" fmla="*/ 3665 w 48974"/>
                <a:gd name="connsiteY1" fmla="*/ 21646 h 21645"/>
                <a:gd name="connsiteX2" fmla="*/ 0 w 48974"/>
                <a:gd name="connsiteY2" fmla="*/ 17981 h 21645"/>
                <a:gd name="connsiteX3" fmla="*/ 0 w 48974"/>
                <a:gd name="connsiteY3" fmla="*/ 3665 h 21645"/>
                <a:gd name="connsiteX4" fmla="*/ 3665 w 48974"/>
                <a:gd name="connsiteY4" fmla="*/ 0 h 21645"/>
                <a:gd name="connsiteX5" fmla="*/ 45434 w 48974"/>
                <a:gd name="connsiteY5" fmla="*/ 0 h 21645"/>
                <a:gd name="connsiteX6" fmla="*/ 48975 w 48974"/>
                <a:gd name="connsiteY6" fmla="*/ 3665 h 21645"/>
                <a:gd name="connsiteX7" fmla="*/ 48975 w 48974"/>
                <a:gd name="connsiteY7" fmla="*/ 18105 h 21645"/>
                <a:gd name="connsiteX8" fmla="*/ 45434 w 48974"/>
                <a:gd name="connsiteY8" fmla="*/ 21646 h 21645"/>
                <a:gd name="connsiteX9" fmla="*/ 7329 w 48974"/>
                <a:gd name="connsiteY9" fmla="*/ 14317 h 21645"/>
                <a:gd name="connsiteX10" fmla="*/ 41770 w 48974"/>
                <a:gd name="connsiteY10" fmla="*/ 14317 h 21645"/>
                <a:gd name="connsiteX11" fmla="*/ 41770 w 48974"/>
                <a:gd name="connsiteY11" fmla="*/ 7205 h 21645"/>
                <a:gd name="connsiteX12" fmla="*/ 7329 w 48974"/>
                <a:gd name="connsiteY12" fmla="*/ 7205 h 2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974" h="21645">
                  <a:moveTo>
                    <a:pt x="45434" y="21646"/>
                  </a:moveTo>
                  <a:lnTo>
                    <a:pt x="3665" y="21646"/>
                  </a:lnTo>
                  <a:cubicBezTo>
                    <a:pt x="1641" y="21646"/>
                    <a:pt x="0" y="20005"/>
                    <a:pt x="0" y="17981"/>
                  </a:cubicBezTo>
                  <a:lnTo>
                    <a:pt x="0" y="3665"/>
                  </a:lnTo>
                  <a:cubicBezTo>
                    <a:pt x="0" y="1641"/>
                    <a:pt x="1641" y="0"/>
                    <a:pt x="3665" y="0"/>
                  </a:cubicBezTo>
                  <a:lnTo>
                    <a:pt x="45434" y="0"/>
                  </a:lnTo>
                  <a:cubicBezTo>
                    <a:pt x="47409" y="67"/>
                    <a:pt x="48976" y="1688"/>
                    <a:pt x="48975" y="3665"/>
                  </a:cubicBezTo>
                  <a:lnTo>
                    <a:pt x="48975" y="18105"/>
                  </a:lnTo>
                  <a:cubicBezTo>
                    <a:pt x="48910" y="20033"/>
                    <a:pt x="47362" y="21581"/>
                    <a:pt x="45434" y="21646"/>
                  </a:cubicBezTo>
                  <a:close/>
                  <a:moveTo>
                    <a:pt x="7329" y="14317"/>
                  </a:moveTo>
                  <a:lnTo>
                    <a:pt x="41770" y="14317"/>
                  </a:lnTo>
                  <a:lnTo>
                    <a:pt x="41770" y="7205"/>
                  </a:lnTo>
                  <a:lnTo>
                    <a:pt x="7329" y="7205"/>
                  </a:ln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0BA8004C-D0B6-2086-2F56-D90CECEBB3DE}"/>
                </a:ext>
              </a:extLst>
            </p:cNvPr>
            <p:cNvSpPr/>
            <p:nvPr/>
          </p:nvSpPr>
          <p:spPr>
            <a:xfrm>
              <a:off x="6899245" y="2135925"/>
              <a:ext cx="17484" cy="153662"/>
            </a:xfrm>
            <a:custGeom>
              <a:avLst/>
              <a:gdLst>
                <a:gd name="connsiteX0" fmla="*/ 13851 w 17484"/>
                <a:gd name="connsiteY0" fmla="*/ 153663 h 153662"/>
                <a:gd name="connsiteX1" fmla="*/ 3665 w 17484"/>
                <a:gd name="connsiteY1" fmla="*/ 153663 h 153662"/>
                <a:gd name="connsiteX2" fmla="*/ 0 w 17484"/>
                <a:gd name="connsiteY2" fmla="*/ 149998 h 153662"/>
                <a:gd name="connsiteX3" fmla="*/ 0 w 17484"/>
                <a:gd name="connsiteY3" fmla="*/ 8137 h 153662"/>
                <a:gd name="connsiteX4" fmla="*/ 8168 w 17484"/>
                <a:gd name="connsiteY4" fmla="*/ 0 h 153662"/>
                <a:gd name="connsiteX5" fmla="*/ 17484 w 17484"/>
                <a:gd name="connsiteY5" fmla="*/ 9317 h 153662"/>
                <a:gd name="connsiteX6" fmla="*/ 17484 w 17484"/>
                <a:gd name="connsiteY6" fmla="*/ 149998 h 153662"/>
                <a:gd name="connsiteX7" fmla="*/ 13851 w 17484"/>
                <a:gd name="connsiteY7" fmla="*/ 153663 h 153662"/>
                <a:gd name="connsiteX8" fmla="*/ 7329 w 17484"/>
                <a:gd name="connsiteY8" fmla="*/ 146334 h 153662"/>
                <a:gd name="connsiteX9" fmla="*/ 10186 w 17484"/>
                <a:gd name="connsiteY9" fmla="*/ 146334 h 153662"/>
                <a:gd name="connsiteX10" fmla="*/ 10186 w 17484"/>
                <a:gd name="connsiteY10" fmla="*/ 9379 h 153662"/>
                <a:gd name="connsiteX11" fmla="*/ 8168 w 17484"/>
                <a:gd name="connsiteY11" fmla="*/ 7329 h 153662"/>
                <a:gd name="connsiteX12" fmla="*/ 7329 w 17484"/>
                <a:gd name="connsiteY12" fmla="*/ 8137 h 15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84" h="153662">
                  <a:moveTo>
                    <a:pt x="13851" y="153663"/>
                  </a:moveTo>
                  <a:lnTo>
                    <a:pt x="3665" y="153663"/>
                  </a:lnTo>
                  <a:cubicBezTo>
                    <a:pt x="1641" y="153663"/>
                    <a:pt x="0" y="152022"/>
                    <a:pt x="0" y="149998"/>
                  </a:cubicBezTo>
                  <a:lnTo>
                    <a:pt x="0" y="8137"/>
                  </a:lnTo>
                  <a:cubicBezTo>
                    <a:pt x="17" y="3638"/>
                    <a:pt x="3669" y="0"/>
                    <a:pt x="8168" y="0"/>
                  </a:cubicBezTo>
                  <a:cubicBezTo>
                    <a:pt x="13313" y="0"/>
                    <a:pt x="17484" y="4171"/>
                    <a:pt x="17484" y="9317"/>
                  </a:cubicBezTo>
                  <a:lnTo>
                    <a:pt x="17484" y="149998"/>
                  </a:lnTo>
                  <a:cubicBezTo>
                    <a:pt x="17484" y="152010"/>
                    <a:pt x="15862" y="153646"/>
                    <a:pt x="13851" y="153663"/>
                  </a:cubicBezTo>
                  <a:close/>
                  <a:moveTo>
                    <a:pt x="7329" y="146334"/>
                  </a:moveTo>
                  <a:lnTo>
                    <a:pt x="10186" y="146334"/>
                  </a:lnTo>
                  <a:lnTo>
                    <a:pt x="10186" y="9379"/>
                  </a:lnTo>
                  <a:cubicBezTo>
                    <a:pt x="10186" y="8259"/>
                    <a:pt x="9287" y="7346"/>
                    <a:pt x="8168" y="7329"/>
                  </a:cubicBezTo>
                  <a:cubicBezTo>
                    <a:pt x="7716" y="7329"/>
                    <a:pt x="7346" y="7686"/>
                    <a:pt x="7329" y="8137"/>
                  </a:cubicBez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 98">
              <a:extLst>
                <a:ext uri="{FF2B5EF4-FFF2-40B4-BE49-F238E27FC236}">
                  <a16:creationId xmlns:a16="http://schemas.microsoft.com/office/drawing/2014/main" id="{C0EE3B29-6808-66EC-00E9-1D033AE43539}"/>
                </a:ext>
              </a:extLst>
            </p:cNvPr>
            <p:cNvSpPr/>
            <p:nvPr/>
          </p:nvSpPr>
          <p:spPr>
            <a:xfrm>
              <a:off x="6726390" y="2330147"/>
              <a:ext cx="93228" cy="7018"/>
            </a:xfrm>
            <a:custGeom>
              <a:avLst/>
              <a:gdLst>
                <a:gd name="connsiteX0" fmla="*/ 0 w 93228"/>
                <a:gd name="connsiteY0" fmla="*/ 0 h 7018"/>
                <a:gd name="connsiteX1" fmla="*/ 93229 w 93228"/>
                <a:gd name="connsiteY1" fmla="*/ 0 h 7018"/>
                <a:gd name="connsiteX2" fmla="*/ 93229 w 93228"/>
                <a:gd name="connsiteY2" fmla="*/ 7019 h 7018"/>
                <a:gd name="connsiteX3" fmla="*/ 0 w 93228"/>
                <a:gd name="connsiteY3" fmla="*/ 7019 h 7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28" h="7018">
                  <a:moveTo>
                    <a:pt x="0" y="0"/>
                  </a:moveTo>
                  <a:lnTo>
                    <a:pt x="93229" y="0"/>
                  </a:lnTo>
                  <a:lnTo>
                    <a:pt x="93229" y="7019"/>
                  </a:lnTo>
                  <a:lnTo>
                    <a:pt x="0" y="7019"/>
                  </a:lnTo>
                  <a:close/>
                </a:path>
              </a:pathLst>
            </a:custGeom>
            <a:solidFill>
              <a:srgbClr val="C7527B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14E77016-DB8E-D599-BE5C-AA135B74B8D4}"/>
                </a:ext>
              </a:extLst>
            </p:cNvPr>
            <p:cNvSpPr/>
            <p:nvPr/>
          </p:nvSpPr>
          <p:spPr>
            <a:xfrm>
              <a:off x="6722757" y="2299898"/>
              <a:ext cx="103725" cy="192264"/>
            </a:xfrm>
            <a:custGeom>
              <a:avLst/>
              <a:gdLst>
                <a:gd name="connsiteX0" fmla="*/ 88198 w 103725"/>
                <a:gd name="connsiteY0" fmla="*/ 192265 h 192264"/>
                <a:gd name="connsiteX1" fmla="*/ 15528 w 103725"/>
                <a:gd name="connsiteY1" fmla="*/ 192265 h 192264"/>
                <a:gd name="connsiteX2" fmla="*/ 0 w 103725"/>
                <a:gd name="connsiteY2" fmla="*/ 176737 h 192264"/>
                <a:gd name="connsiteX3" fmla="*/ 0 w 103725"/>
                <a:gd name="connsiteY3" fmla="*/ 15528 h 192264"/>
                <a:gd name="connsiteX4" fmla="*/ 15528 w 103725"/>
                <a:gd name="connsiteY4" fmla="*/ 0 h 192264"/>
                <a:gd name="connsiteX5" fmla="*/ 88198 w 103725"/>
                <a:gd name="connsiteY5" fmla="*/ 0 h 192264"/>
                <a:gd name="connsiteX6" fmla="*/ 103725 w 103725"/>
                <a:gd name="connsiteY6" fmla="*/ 15528 h 192264"/>
                <a:gd name="connsiteX7" fmla="*/ 103725 w 103725"/>
                <a:gd name="connsiteY7" fmla="*/ 176706 h 192264"/>
                <a:gd name="connsiteX8" fmla="*/ 88229 w 103725"/>
                <a:gd name="connsiteY8" fmla="*/ 192265 h 192264"/>
                <a:gd name="connsiteX9" fmla="*/ 88198 w 103725"/>
                <a:gd name="connsiteY9" fmla="*/ 192265 h 192264"/>
                <a:gd name="connsiteX10" fmla="*/ 15528 w 103725"/>
                <a:gd name="connsiteY10" fmla="*/ 7298 h 192264"/>
                <a:gd name="connsiteX11" fmla="*/ 7298 w 103725"/>
                <a:gd name="connsiteY11" fmla="*/ 15528 h 192264"/>
                <a:gd name="connsiteX12" fmla="*/ 7298 w 103725"/>
                <a:gd name="connsiteY12" fmla="*/ 176706 h 192264"/>
                <a:gd name="connsiteX13" fmla="*/ 15528 w 103725"/>
                <a:gd name="connsiteY13" fmla="*/ 184904 h 192264"/>
                <a:gd name="connsiteX14" fmla="*/ 88198 w 103725"/>
                <a:gd name="connsiteY14" fmla="*/ 184904 h 192264"/>
                <a:gd name="connsiteX15" fmla="*/ 96427 w 103725"/>
                <a:gd name="connsiteY15" fmla="*/ 176706 h 192264"/>
                <a:gd name="connsiteX16" fmla="*/ 96427 w 103725"/>
                <a:gd name="connsiteY16" fmla="*/ 15528 h 192264"/>
                <a:gd name="connsiteX17" fmla="*/ 88198 w 103725"/>
                <a:gd name="connsiteY17" fmla="*/ 7298 h 19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3725" h="192264">
                  <a:moveTo>
                    <a:pt x="88198" y="192265"/>
                  </a:moveTo>
                  <a:lnTo>
                    <a:pt x="15528" y="192265"/>
                  </a:lnTo>
                  <a:cubicBezTo>
                    <a:pt x="6952" y="192265"/>
                    <a:pt x="0" y="185313"/>
                    <a:pt x="0" y="176737"/>
                  </a:cubicBezTo>
                  <a:lnTo>
                    <a:pt x="0" y="15528"/>
                  </a:lnTo>
                  <a:cubicBezTo>
                    <a:pt x="0" y="6952"/>
                    <a:pt x="6952" y="0"/>
                    <a:pt x="15528" y="0"/>
                  </a:cubicBezTo>
                  <a:lnTo>
                    <a:pt x="88198" y="0"/>
                  </a:lnTo>
                  <a:cubicBezTo>
                    <a:pt x="96773" y="0"/>
                    <a:pt x="103725" y="6952"/>
                    <a:pt x="103725" y="15528"/>
                  </a:cubicBezTo>
                  <a:lnTo>
                    <a:pt x="103725" y="176706"/>
                  </a:lnTo>
                  <a:cubicBezTo>
                    <a:pt x="103743" y="185282"/>
                    <a:pt x="96804" y="192247"/>
                    <a:pt x="88229" y="192265"/>
                  </a:cubicBezTo>
                  <a:cubicBezTo>
                    <a:pt x="88218" y="192265"/>
                    <a:pt x="88208" y="192265"/>
                    <a:pt x="88198" y="192265"/>
                  </a:cubicBezTo>
                  <a:close/>
                  <a:moveTo>
                    <a:pt x="15528" y="7298"/>
                  </a:moveTo>
                  <a:cubicBezTo>
                    <a:pt x="10983" y="7298"/>
                    <a:pt x="7298" y="10983"/>
                    <a:pt x="7298" y="15528"/>
                  </a:cubicBezTo>
                  <a:lnTo>
                    <a:pt x="7298" y="176706"/>
                  </a:lnTo>
                  <a:cubicBezTo>
                    <a:pt x="7315" y="181239"/>
                    <a:pt x="10995" y="184904"/>
                    <a:pt x="15528" y="184904"/>
                  </a:cubicBezTo>
                  <a:lnTo>
                    <a:pt x="88198" y="184904"/>
                  </a:lnTo>
                  <a:cubicBezTo>
                    <a:pt x="92731" y="184904"/>
                    <a:pt x="96410" y="181239"/>
                    <a:pt x="96427" y="176706"/>
                  </a:cubicBezTo>
                  <a:lnTo>
                    <a:pt x="96427" y="15528"/>
                  </a:lnTo>
                  <a:cubicBezTo>
                    <a:pt x="96427" y="10983"/>
                    <a:pt x="92743" y="7298"/>
                    <a:pt x="88198" y="7298"/>
                  </a:cubicBez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7EC46948-6056-CB0C-FBBF-01F34FE68B9B}"/>
                </a:ext>
              </a:extLst>
            </p:cNvPr>
            <p:cNvSpPr/>
            <p:nvPr/>
          </p:nvSpPr>
          <p:spPr>
            <a:xfrm>
              <a:off x="6741639" y="2255675"/>
              <a:ext cx="65962" cy="49937"/>
            </a:xfrm>
            <a:custGeom>
              <a:avLst/>
              <a:gdLst>
                <a:gd name="connsiteX0" fmla="*/ 62297 w 65962"/>
                <a:gd name="connsiteY0" fmla="*/ 49937 h 49937"/>
                <a:gd name="connsiteX1" fmla="*/ 3665 w 65962"/>
                <a:gd name="connsiteY1" fmla="*/ 49937 h 49937"/>
                <a:gd name="connsiteX2" fmla="*/ 0 w 65962"/>
                <a:gd name="connsiteY2" fmla="*/ 46273 h 49937"/>
                <a:gd name="connsiteX3" fmla="*/ 0 w 65962"/>
                <a:gd name="connsiteY3" fmla="*/ 3665 h 49937"/>
                <a:gd name="connsiteX4" fmla="*/ 3665 w 65962"/>
                <a:gd name="connsiteY4" fmla="*/ 0 h 49937"/>
                <a:gd name="connsiteX5" fmla="*/ 62297 w 65962"/>
                <a:gd name="connsiteY5" fmla="*/ 0 h 49937"/>
                <a:gd name="connsiteX6" fmla="*/ 65962 w 65962"/>
                <a:gd name="connsiteY6" fmla="*/ 3665 h 49937"/>
                <a:gd name="connsiteX7" fmla="*/ 65962 w 65962"/>
                <a:gd name="connsiteY7" fmla="*/ 46273 h 49937"/>
                <a:gd name="connsiteX8" fmla="*/ 62360 w 65962"/>
                <a:gd name="connsiteY8" fmla="*/ 49937 h 49937"/>
                <a:gd name="connsiteX9" fmla="*/ 62297 w 65962"/>
                <a:gd name="connsiteY9" fmla="*/ 49937 h 49937"/>
                <a:gd name="connsiteX10" fmla="*/ 7329 w 65962"/>
                <a:gd name="connsiteY10" fmla="*/ 42608 h 49937"/>
                <a:gd name="connsiteX11" fmla="*/ 58633 w 65962"/>
                <a:gd name="connsiteY11" fmla="*/ 42608 h 49937"/>
                <a:gd name="connsiteX12" fmla="*/ 58633 w 65962"/>
                <a:gd name="connsiteY12" fmla="*/ 7329 h 49937"/>
                <a:gd name="connsiteX13" fmla="*/ 7329 w 65962"/>
                <a:gd name="connsiteY13" fmla="*/ 7329 h 49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962" h="49937">
                  <a:moveTo>
                    <a:pt x="62297" y="49937"/>
                  </a:moveTo>
                  <a:lnTo>
                    <a:pt x="3665" y="49937"/>
                  </a:lnTo>
                  <a:cubicBezTo>
                    <a:pt x="1641" y="49937"/>
                    <a:pt x="0" y="48297"/>
                    <a:pt x="0" y="46273"/>
                  </a:cubicBezTo>
                  <a:lnTo>
                    <a:pt x="0" y="3665"/>
                  </a:lnTo>
                  <a:cubicBezTo>
                    <a:pt x="0" y="1641"/>
                    <a:pt x="1641" y="0"/>
                    <a:pt x="3665" y="0"/>
                  </a:cubicBezTo>
                  <a:lnTo>
                    <a:pt x="62297" y="0"/>
                  </a:lnTo>
                  <a:cubicBezTo>
                    <a:pt x="64321" y="0"/>
                    <a:pt x="65962" y="1641"/>
                    <a:pt x="65962" y="3665"/>
                  </a:cubicBezTo>
                  <a:lnTo>
                    <a:pt x="65962" y="46273"/>
                  </a:lnTo>
                  <a:cubicBezTo>
                    <a:pt x="65979" y="48279"/>
                    <a:pt x="64366" y="49920"/>
                    <a:pt x="62360" y="49937"/>
                  </a:cubicBezTo>
                  <a:cubicBezTo>
                    <a:pt x="62339" y="49937"/>
                    <a:pt x="62318" y="49937"/>
                    <a:pt x="62297" y="49937"/>
                  </a:cubicBezTo>
                  <a:close/>
                  <a:moveTo>
                    <a:pt x="7329" y="42608"/>
                  </a:moveTo>
                  <a:lnTo>
                    <a:pt x="58633" y="42608"/>
                  </a:lnTo>
                  <a:lnTo>
                    <a:pt x="58633" y="7329"/>
                  </a:lnTo>
                  <a:lnTo>
                    <a:pt x="7329" y="7329"/>
                  </a:ln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C3E7646A-36AB-F23D-B0DA-B3F79EE1E427}"/>
                </a:ext>
              </a:extLst>
            </p:cNvPr>
            <p:cNvSpPr/>
            <p:nvPr/>
          </p:nvSpPr>
          <p:spPr>
            <a:xfrm>
              <a:off x="7003561" y="2279091"/>
              <a:ext cx="75402" cy="28105"/>
            </a:xfrm>
            <a:custGeom>
              <a:avLst/>
              <a:gdLst>
                <a:gd name="connsiteX0" fmla="*/ 71987 w 75402"/>
                <a:gd name="connsiteY0" fmla="*/ 28105 h 28105"/>
                <a:gd name="connsiteX1" fmla="*/ 3665 w 75402"/>
                <a:gd name="connsiteY1" fmla="*/ 28105 h 28105"/>
                <a:gd name="connsiteX2" fmla="*/ 0 w 75402"/>
                <a:gd name="connsiteY2" fmla="*/ 24441 h 28105"/>
                <a:gd name="connsiteX3" fmla="*/ 0 w 75402"/>
                <a:gd name="connsiteY3" fmla="*/ 9317 h 28105"/>
                <a:gd name="connsiteX4" fmla="*/ 9317 w 75402"/>
                <a:gd name="connsiteY4" fmla="*/ 0 h 28105"/>
                <a:gd name="connsiteX5" fmla="*/ 66086 w 75402"/>
                <a:gd name="connsiteY5" fmla="*/ 0 h 28105"/>
                <a:gd name="connsiteX6" fmla="*/ 75403 w 75402"/>
                <a:gd name="connsiteY6" fmla="*/ 9317 h 28105"/>
                <a:gd name="connsiteX7" fmla="*/ 75403 w 75402"/>
                <a:gd name="connsiteY7" fmla="*/ 24441 h 28105"/>
                <a:gd name="connsiteX8" fmla="*/ 71987 w 75402"/>
                <a:gd name="connsiteY8" fmla="*/ 28105 h 28105"/>
                <a:gd name="connsiteX9" fmla="*/ 7329 w 75402"/>
                <a:gd name="connsiteY9" fmla="*/ 20776 h 28105"/>
                <a:gd name="connsiteX10" fmla="*/ 68322 w 75402"/>
                <a:gd name="connsiteY10" fmla="*/ 20776 h 28105"/>
                <a:gd name="connsiteX11" fmla="*/ 68322 w 75402"/>
                <a:gd name="connsiteY11" fmla="*/ 9317 h 28105"/>
                <a:gd name="connsiteX12" fmla="*/ 66210 w 75402"/>
                <a:gd name="connsiteY12" fmla="*/ 7205 h 28105"/>
                <a:gd name="connsiteX13" fmla="*/ 9441 w 75402"/>
                <a:gd name="connsiteY13" fmla="*/ 7205 h 28105"/>
                <a:gd name="connsiteX14" fmla="*/ 7329 w 75402"/>
                <a:gd name="connsiteY14" fmla="*/ 9254 h 28105"/>
                <a:gd name="connsiteX15" fmla="*/ 7329 w 75402"/>
                <a:gd name="connsiteY15" fmla="*/ 9317 h 28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5402" h="28105">
                  <a:moveTo>
                    <a:pt x="71987" y="28105"/>
                  </a:moveTo>
                  <a:lnTo>
                    <a:pt x="3665" y="28105"/>
                  </a:lnTo>
                  <a:cubicBezTo>
                    <a:pt x="1641" y="28105"/>
                    <a:pt x="0" y="26465"/>
                    <a:pt x="0" y="24441"/>
                  </a:cubicBezTo>
                  <a:lnTo>
                    <a:pt x="0" y="9317"/>
                  </a:lnTo>
                  <a:cubicBezTo>
                    <a:pt x="0" y="4171"/>
                    <a:pt x="4171" y="0"/>
                    <a:pt x="9317" y="0"/>
                  </a:cubicBezTo>
                  <a:lnTo>
                    <a:pt x="66086" y="0"/>
                  </a:lnTo>
                  <a:cubicBezTo>
                    <a:pt x="71232" y="0"/>
                    <a:pt x="75403" y="4171"/>
                    <a:pt x="75403" y="9317"/>
                  </a:cubicBezTo>
                  <a:lnTo>
                    <a:pt x="75403" y="24441"/>
                  </a:lnTo>
                  <a:cubicBezTo>
                    <a:pt x="75407" y="26371"/>
                    <a:pt x="73913" y="27974"/>
                    <a:pt x="71987" y="28105"/>
                  </a:cubicBezTo>
                  <a:close/>
                  <a:moveTo>
                    <a:pt x="7329" y="20776"/>
                  </a:moveTo>
                  <a:lnTo>
                    <a:pt x="68322" y="20776"/>
                  </a:lnTo>
                  <a:lnTo>
                    <a:pt x="68322" y="9317"/>
                  </a:lnTo>
                  <a:cubicBezTo>
                    <a:pt x="68322" y="8150"/>
                    <a:pt x="67377" y="7205"/>
                    <a:pt x="66210" y="7205"/>
                  </a:cubicBezTo>
                  <a:lnTo>
                    <a:pt x="9441" y="7205"/>
                  </a:lnTo>
                  <a:cubicBezTo>
                    <a:pt x="8292" y="7188"/>
                    <a:pt x="7346" y="8105"/>
                    <a:pt x="7329" y="9254"/>
                  </a:cubicBezTo>
                  <a:cubicBezTo>
                    <a:pt x="7329" y="9275"/>
                    <a:pt x="7329" y="9296"/>
                    <a:pt x="7329" y="9317"/>
                  </a:cubicBez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AF636F13-5BC0-47D0-2628-69E87E49C1FD}"/>
                </a:ext>
              </a:extLst>
            </p:cNvPr>
            <p:cNvSpPr/>
            <p:nvPr/>
          </p:nvSpPr>
          <p:spPr>
            <a:xfrm>
              <a:off x="7014827" y="2202012"/>
              <a:ext cx="53014" cy="37701"/>
            </a:xfrm>
            <a:custGeom>
              <a:avLst/>
              <a:gdLst>
                <a:gd name="connsiteX0" fmla="*/ 49354 w 53014"/>
                <a:gd name="connsiteY0" fmla="*/ 37701 h 37701"/>
                <a:gd name="connsiteX1" fmla="*/ 3703 w 53014"/>
                <a:gd name="connsiteY1" fmla="*/ 37701 h 37701"/>
                <a:gd name="connsiteX2" fmla="*/ 0 w 53014"/>
                <a:gd name="connsiteY2" fmla="*/ 34013 h 37701"/>
                <a:gd name="connsiteX3" fmla="*/ 193 w 53014"/>
                <a:gd name="connsiteY3" fmla="*/ 32826 h 37701"/>
                <a:gd name="connsiteX4" fmla="*/ 9852 w 53014"/>
                <a:gd name="connsiteY4" fmla="*/ 2547 h 37701"/>
                <a:gd name="connsiteX5" fmla="*/ 13361 w 53014"/>
                <a:gd name="connsiteY5" fmla="*/ 0 h 37701"/>
                <a:gd name="connsiteX6" fmla="*/ 38547 w 53014"/>
                <a:gd name="connsiteY6" fmla="*/ 0 h 37701"/>
                <a:gd name="connsiteX7" fmla="*/ 41994 w 53014"/>
                <a:gd name="connsiteY7" fmla="*/ 2422 h 37701"/>
                <a:gd name="connsiteX8" fmla="*/ 52802 w 53014"/>
                <a:gd name="connsiteY8" fmla="*/ 32701 h 37701"/>
                <a:gd name="connsiteX9" fmla="*/ 52336 w 53014"/>
                <a:gd name="connsiteY9" fmla="*/ 36055 h 37701"/>
                <a:gd name="connsiteX10" fmla="*/ 49354 w 53014"/>
                <a:gd name="connsiteY10" fmla="*/ 37701 h 37701"/>
                <a:gd name="connsiteX11" fmla="*/ 8703 w 53014"/>
                <a:gd name="connsiteY11" fmla="*/ 30372 h 37701"/>
                <a:gd name="connsiteX12" fmla="*/ 44137 w 53014"/>
                <a:gd name="connsiteY12" fmla="*/ 30372 h 37701"/>
                <a:gd name="connsiteX13" fmla="*/ 35969 w 53014"/>
                <a:gd name="connsiteY13" fmla="*/ 7422 h 37701"/>
                <a:gd name="connsiteX14" fmla="*/ 16032 w 53014"/>
                <a:gd name="connsiteY14" fmla="*/ 7422 h 37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3014" h="37701">
                  <a:moveTo>
                    <a:pt x="49354" y="37701"/>
                  </a:moveTo>
                  <a:lnTo>
                    <a:pt x="3703" y="37701"/>
                  </a:lnTo>
                  <a:cubicBezTo>
                    <a:pt x="1662" y="37705"/>
                    <a:pt x="4" y="36054"/>
                    <a:pt x="0" y="34013"/>
                  </a:cubicBezTo>
                  <a:cubicBezTo>
                    <a:pt x="-1" y="33609"/>
                    <a:pt x="65" y="33208"/>
                    <a:pt x="193" y="32826"/>
                  </a:cubicBezTo>
                  <a:lnTo>
                    <a:pt x="9852" y="2547"/>
                  </a:lnTo>
                  <a:cubicBezTo>
                    <a:pt x="10348" y="1029"/>
                    <a:pt x="11764" y="1"/>
                    <a:pt x="13361" y="0"/>
                  </a:cubicBezTo>
                  <a:lnTo>
                    <a:pt x="38547" y="0"/>
                  </a:lnTo>
                  <a:cubicBezTo>
                    <a:pt x="40092" y="0"/>
                    <a:pt x="41471" y="969"/>
                    <a:pt x="41994" y="2422"/>
                  </a:cubicBezTo>
                  <a:lnTo>
                    <a:pt x="52802" y="32701"/>
                  </a:lnTo>
                  <a:cubicBezTo>
                    <a:pt x="53203" y="33828"/>
                    <a:pt x="53029" y="35081"/>
                    <a:pt x="52336" y="36055"/>
                  </a:cubicBezTo>
                  <a:cubicBezTo>
                    <a:pt x="51680" y="37069"/>
                    <a:pt x="50561" y="37687"/>
                    <a:pt x="49354" y="37701"/>
                  </a:cubicBezTo>
                  <a:close/>
                  <a:moveTo>
                    <a:pt x="8703" y="30372"/>
                  </a:moveTo>
                  <a:lnTo>
                    <a:pt x="44137" y="30372"/>
                  </a:lnTo>
                  <a:lnTo>
                    <a:pt x="35969" y="7422"/>
                  </a:lnTo>
                  <a:lnTo>
                    <a:pt x="16032" y="7422"/>
                  </a:ln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37EA9276-47EA-BB2B-6F3D-2ED2868D5F22}"/>
                </a:ext>
              </a:extLst>
            </p:cNvPr>
            <p:cNvSpPr/>
            <p:nvPr/>
          </p:nvSpPr>
          <p:spPr>
            <a:xfrm>
              <a:off x="7014430" y="2232384"/>
              <a:ext cx="53912" cy="53912"/>
            </a:xfrm>
            <a:custGeom>
              <a:avLst/>
              <a:gdLst>
                <a:gd name="connsiteX0" fmla="*/ 50248 w 53912"/>
                <a:gd name="connsiteY0" fmla="*/ 53912 h 53912"/>
                <a:gd name="connsiteX1" fmla="*/ 3665 w 53912"/>
                <a:gd name="connsiteY1" fmla="*/ 53912 h 53912"/>
                <a:gd name="connsiteX2" fmla="*/ 0 w 53912"/>
                <a:gd name="connsiteY2" fmla="*/ 50248 h 53912"/>
                <a:gd name="connsiteX3" fmla="*/ 0 w 53912"/>
                <a:gd name="connsiteY3" fmla="*/ 3665 h 53912"/>
                <a:gd name="connsiteX4" fmla="*/ 3665 w 53912"/>
                <a:gd name="connsiteY4" fmla="*/ 0 h 53912"/>
                <a:gd name="connsiteX5" fmla="*/ 50248 w 53912"/>
                <a:gd name="connsiteY5" fmla="*/ 0 h 53912"/>
                <a:gd name="connsiteX6" fmla="*/ 53912 w 53912"/>
                <a:gd name="connsiteY6" fmla="*/ 3665 h 53912"/>
                <a:gd name="connsiteX7" fmla="*/ 53912 w 53912"/>
                <a:gd name="connsiteY7" fmla="*/ 50248 h 53912"/>
                <a:gd name="connsiteX8" fmla="*/ 50248 w 53912"/>
                <a:gd name="connsiteY8" fmla="*/ 53912 h 53912"/>
                <a:gd name="connsiteX9" fmla="*/ 7329 w 53912"/>
                <a:gd name="connsiteY9" fmla="*/ 46583 h 53912"/>
                <a:gd name="connsiteX10" fmla="*/ 46583 w 53912"/>
                <a:gd name="connsiteY10" fmla="*/ 46583 h 53912"/>
                <a:gd name="connsiteX11" fmla="*/ 46583 w 53912"/>
                <a:gd name="connsiteY11" fmla="*/ 7329 h 53912"/>
                <a:gd name="connsiteX12" fmla="*/ 7329 w 53912"/>
                <a:gd name="connsiteY12" fmla="*/ 7329 h 5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912" h="53912">
                  <a:moveTo>
                    <a:pt x="50248" y="53912"/>
                  </a:moveTo>
                  <a:lnTo>
                    <a:pt x="3665" y="53912"/>
                  </a:lnTo>
                  <a:cubicBezTo>
                    <a:pt x="1641" y="53912"/>
                    <a:pt x="0" y="52272"/>
                    <a:pt x="0" y="50248"/>
                  </a:cubicBezTo>
                  <a:lnTo>
                    <a:pt x="0" y="3665"/>
                  </a:lnTo>
                  <a:cubicBezTo>
                    <a:pt x="0" y="1641"/>
                    <a:pt x="1641" y="0"/>
                    <a:pt x="3665" y="0"/>
                  </a:cubicBezTo>
                  <a:lnTo>
                    <a:pt x="50248" y="0"/>
                  </a:lnTo>
                  <a:cubicBezTo>
                    <a:pt x="52272" y="0"/>
                    <a:pt x="53912" y="1641"/>
                    <a:pt x="53912" y="3665"/>
                  </a:cubicBezTo>
                  <a:lnTo>
                    <a:pt x="53912" y="50248"/>
                  </a:lnTo>
                  <a:cubicBezTo>
                    <a:pt x="53912" y="52272"/>
                    <a:pt x="52272" y="53912"/>
                    <a:pt x="50248" y="53912"/>
                  </a:cubicBezTo>
                  <a:close/>
                  <a:moveTo>
                    <a:pt x="7329" y="46583"/>
                  </a:moveTo>
                  <a:lnTo>
                    <a:pt x="46583" y="46583"/>
                  </a:lnTo>
                  <a:lnTo>
                    <a:pt x="46583" y="7329"/>
                  </a:lnTo>
                  <a:lnTo>
                    <a:pt x="7329" y="7329"/>
                  </a:ln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 104">
              <a:extLst>
                <a:ext uri="{FF2B5EF4-FFF2-40B4-BE49-F238E27FC236}">
                  <a16:creationId xmlns:a16="http://schemas.microsoft.com/office/drawing/2014/main" id="{C5F8C1C9-58DE-2C9D-AF13-45BAE52C8EE8}"/>
                </a:ext>
              </a:extLst>
            </p:cNvPr>
            <p:cNvSpPr/>
            <p:nvPr/>
          </p:nvSpPr>
          <p:spPr>
            <a:xfrm>
              <a:off x="7023933" y="2190272"/>
              <a:ext cx="33508" cy="19161"/>
            </a:xfrm>
            <a:custGeom>
              <a:avLst/>
              <a:gdLst>
                <a:gd name="connsiteX0" fmla="*/ 29844 w 33508"/>
                <a:gd name="connsiteY0" fmla="*/ 19161 h 19161"/>
                <a:gd name="connsiteX1" fmla="*/ 3696 w 33508"/>
                <a:gd name="connsiteY1" fmla="*/ 19161 h 19161"/>
                <a:gd name="connsiteX2" fmla="*/ 0 w 33508"/>
                <a:gd name="connsiteY2" fmla="*/ 15528 h 19161"/>
                <a:gd name="connsiteX3" fmla="*/ 0 w 33508"/>
                <a:gd name="connsiteY3" fmla="*/ 15497 h 19161"/>
                <a:gd name="connsiteX4" fmla="*/ 0 w 33508"/>
                <a:gd name="connsiteY4" fmla="*/ 3665 h 19161"/>
                <a:gd name="connsiteX5" fmla="*/ 3664 w 33508"/>
                <a:gd name="connsiteY5" fmla="*/ 0 h 19161"/>
                <a:gd name="connsiteX6" fmla="*/ 3696 w 33508"/>
                <a:gd name="connsiteY6" fmla="*/ 0 h 19161"/>
                <a:gd name="connsiteX7" fmla="*/ 29844 w 33508"/>
                <a:gd name="connsiteY7" fmla="*/ 0 h 19161"/>
                <a:gd name="connsiteX8" fmla="*/ 33509 w 33508"/>
                <a:gd name="connsiteY8" fmla="*/ 3665 h 19161"/>
                <a:gd name="connsiteX9" fmla="*/ 33509 w 33508"/>
                <a:gd name="connsiteY9" fmla="*/ 15497 h 19161"/>
                <a:gd name="connsiteX10" fmla="*/ 29844 w 33508"/>
                <a:gd name="connsiteY10" fmla="*/ 19161 h 19161"/>
                <a:gd name="connsiteX11" fmla="*/ 7360 w 33508"/>
                <a:gd name="connsiteY11" fmla="*/ 11832 h 19161"/>
                <a:gd name="connsiteX12" fmla="*/ 26180 w 33508"/>
                <a:gd name="connsiteY12" fmla="*/ 11832 h 19161"/>
                <a:gd name="connsiteX13" fmla="*/ 26180 w 33508"/>
                <a:gd name="connsiteY13" fmla="*/ 7298 h 19161"/>
                <a:gd name="connsiteX14" fmla="*/ 7360 w 33508"/>
                <a:gd name="connsiteY14" fmla="*/ 7298 h 19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08" h="19161">
                  <a:moveTo>
                    <a:pt x="29844" y="19161"/>
                  </a:moveTo>
                  <a:lnTo>
                    <a:pt x="3696" y="19161"/>
                  </a:lnTo>
                  <a:cubicBezTo>
                    <a:pt x="1672" y="19179"/>
                    <a:pt x="17" y="17552"/>
                    <a:pt x="0" y="15528"/>
                  </a:cubicBezTo>
                  <a:cubicBezTo>
                    <a:pt x="0" y="15518"/>
                    <a:pt x="0" y="15507"/>
                    <a:pt x="0" y="15497"/>
                  </a:cubicBezTo>
                  <a:lnTo>
                    <a:pt x="0" y="3665"/>
                  </a:lnTo>
                  <a:cubicBezTo>
                    <a:pt x="0" y="1641"/>
                    <a:pt x="1641" y="0"/>
                    <a:pt x="3664" y="0"/>
                  </a:cubicBezTo>
                  <a:cubicBezTo>
                    <a:pt x="3675" y="0"/>
                    <a:pt x="3685" y="0"/>
                    <a:pt x="3696" y="0"/>
                  </a:cubicBezTo>
                  <a:lnTo>
                    <a:pt x="29844" y="0"/>
                  </a:lnTo>
                  <a:cubicBezTo>
                    <a:pt x="31868" y="0"/>
                    <a:pt x="33509" y="1641"/>
                    <a:pt x="33509" y="3665"/>
                  </a:cubicBezTo>
                  <a:lnTo>
                    <a:pt x="33509" y="15497"/>
                  </a:lnTo>
                  <a:cubicBezTo>
                    <a:pt x="33509" y="17521"/>
                    <a:pt x="31868" y="19161"/>
                    <a:pt x="29844" y="19161"/>
                  </a:cubicBezTo>
                  <a:close/>
                  <a:moveTo>
                    <a:pt x="7360" y="11832"/>
                  </a:moveTo>
                  <a:lnTo>
                    <a:pt x="26180" y="11832"/>
                  </a:lnTo>
                  <a:lnTo>
                    <a:pt x="26180" y="7298"/>
                  </a:lnTo>
                  <a:lnTo>
                    <a:pt x="7360" y="7298"/>
                  </a:ln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C02B5A05-DA08-1607-389A-A29FE2877C71}"/>
                </a:ext>
              </a:extLst>
            </p:cNvPr>
            <p:cNvSpPr/>
            <p:nvPr/>
          </p:nvSpPr>
          <p:spPr>
            <a:xfrm>
              <a:off x="7036614" y="2036948"/>
              <a:ext cx="165484" cy="177672"/>
            </a:xfrm>
            <a:custGeom>
              <a:avLst/>
              <a:gdLst>
                <a:gd name="connsiteX0" fmla="*/ 165423 w 165484"/>
                <a:gd name="connsiteY0" fmla="*/ 174815 h 177672"/>
                <a:gd name="connsiteX1" fmla="*/ 164833 w 165484"/>
                <a:gd name="connsiteY1" fmla="*/ 159288 h 177672"/>
                <a:gd name="connsiteX2" fmla="*/ 164833 w 165484"/>
                <a:gd name="connsiteY2" fmla="*/ 108916 h 177672"/>
                <a:gd name="connsiteX3" fmla="*/ 163063 w 165484"/>
                <a:gd name="connsiteY3" fmla="*/ 64071 h 177672"/>
                <a:gd name="connsiteX4" fmla="*/ 79669 w 165484"/>
                <a:gd name="connsiteY4" fmla="*/ 688 h 177672"/>
                <a:gd name="connsiteX5" fmla="*/ 48809 w 165484"/>
                <a:gd name="connsiteY5" fmla="*/ 12302 h 177672"/>
                <a:gd name="connsiteX6" fmla="*/ 45176 w 165484"/>
                <a:gd name="connsiteY6" fmla="*/ 14258 h 177672"/>
                <a:gd name="connsiteX7" fmla="*/ 332 w 165484"/>
                <a:gd name="connsiteY7" fmla="*/ 89506 h 177672"/>
                <a:gd name="connsiteX8" fmla="*/ 1543 w 165484"/>
                <a:gd name="connsiteY8" fmla="*/ 115593 h 177672"/>
                <a:gd name="connsiteX9" fmla="*/ 1201 w 165484"/>
                <a:gd name="connsiteY9" fmla="*/ 158542 h 177672"/>
                <a:gd name="connsiteX10" fmla="*/ 6294 w 165484"/>
                <a:gd name="connsiteY10" fmla="*/ 158822 h 177672"/>
                <a:gd name="connsiteX11" fmla="*/ 6294 w 165484"/>
                <a:gd name="connsiteY11" fmla="*/ 127922 h 177672"/>
                <a:gd name="connsiteX12" fmla="*/ 7630 w 165484"/>
                <a:gd name="connsiteY12" fmla="*/ 129568 h 177672"/>
                <a:gd name="connsiteX13" fmla="*/ 105544 w 165484"/>
                <a:gd name="connsiteY13" fmla="*/ 166532 h 177672"/>
                <a:gd name="connsiteX14" fmla="*/ 124678 w 165484"/>
                <a:gd name="connsiteY14" fmla="*/ 154008 h 177672"/>
                <a:gd name="connsiteX15" fmla="*/ 127784 w 165484"/>
                <a:gd name="connsiteY15" fmla="*/ 151772 h 177672"/>
                <a:gd name="connsiteX16" fmla="*/ 157566 w 165484"/>
                <a:gd name="connsiteY16" fmla="*/ 118853 h 177672"/>
                <a:gd name="connsiteX17" fmla="*/ 159274 w 165484"/>
                <a:gd name="connsiteY17" fmla="*/ 116307 h 177672"/>
                <a:gd name="connsiteX18" fmla="*/ 159274 w 165484"/>
                <a:gd name="connsiteY18" fmla="*/ 177673 h 177672"/>
                <a:gd name="connsiteX19" fmla="*/ 165485 w 165484"/>
                <a:gd name="connsiteY19" fmla="*/ 177673 h 177672"/>
                <a:gd name="connsiteX20" fmla="*/ 165423 w 165484"/>
                <a:gd name="connsiteY20" fmla="*/ 174815 h 177672"/>
                <a:gd name="connsiteX21" fmla="*/ 152535 w 165484"/>
                <a:gd name="connsiteY21" fmla="*/ 46494 h 177672"/>
                <a:gd name="connsiteX22" fmla="*/ 148218 w 165484"/>
                <a:gd name="connsiteY22" fmla="*/ 40842 h 177672"/>
                <a:gd name="connsiteX23" fmla="*/ 106728 w 165484"/>
                <a:gd name="connsiteY23" fmla="*/ 15345 h 177672"/>
                <a:gd name="connsiteX24" fmla="*/ 92318 w 165484"/>
                <a:gd name="connsiteY24" fmla="*/ 10811 h 177672"/>
                <a:gd name="connsiteX25" fmla="*/ 71449 w 165484"/>
                <a:gd name="connsiteY25" fmla="*/ 7861 h 177672"/>
                <a:gd name="connsiteX26" fmla="*/ 152535 w 165484"/>
                <a:gd name="connsiteY26" fmla="*/ 46494 h 177672"/>
                <a:gd name="connsiteX27" fmla="*/ 91480 w 165484"/>
                <a:gd name="connsiteY27" fmla="*/ 142890 h 177672"/>
                <a:gd name="connsiteX28" fmla="*/ 37226 w 165484"/>
                <a:gd name="connsiteY28" fmla="*/ 118450 h 177672"/>
                <a:gd name="connsiteX29" fmla="*/ 29586 w 165484"/>
                <a:gd name="connsiteY29" fmla="*/ 108077 h 177672"/>
                <a:gd name="connsiteX30" fmla="*/ 24897 w 165484"/>
                <a:gd name="connsiteY30" fmla="*/ 67984 h 177672"/>
                <a:gd name="connsiteX31" fmla="*/ 33965 w 165484"/>
                <a:gd name="connsiteY31" fmla="*/ 48916 h 177672"/>
                <a:gd name="connsiteX32" fmla="*/ 59710 w 165484"/>
                <a:gd name="connsiteY32" fmla="*/ 31929 h 177672"/>
                <a:gd name="connsiteX33" fmla="*/ 141945 w 165484"/>
                <a:gd name="connsiteY33" fmla="*/ 83419 h 177672"/>
                <a:gd name="connsiteX34" fmla="*/ 141417 w 165484"/>
                <a:gd name="connsiteY34" fmla="*/ 95655 h 177672"/>
                <a:gd name="connsiteX35" fmla="*/ 115454 w 165484"/>
                <a:gd name="connsiteY35" fmla="*/ 137021 h 177672"/>
                <a:gd name="connsiteX36" fmla="*/ 104212 w 165484"/>
                <a:gd name="connsiteY36" fmla="*/ 141151 h 177672"/>
                <a:gd name="connsiteX37" fmla="*/ 91480 w 165484"/>
                <a:gd name="connsiteY37" fmla="*/ 142890 h 177672"/>
                <a:gd name="connsiteX38" fmla="*/ 93250 w 165484"/>
                <a:gd name="connsiteY38" fmla="*/ 148201 h 177672"/>
                <a:gd name="connsiteX39" fmla="*/ 69120 w 165484"/>
                <a:gd name="connsiteY39" fmla="*/ 151120 h 177672"/>
                <a:gd name="connsiteX40" fmla="*/ 54244 w 165484"/>
                <a:gd name="connsiteY40" fmla="*/ 146058 h 177672"/>
                <a:gd name="connsiteX41" fmla="*/ 28996 w 165484"/>
                <a:gd name="connsiteY41" fmla="*/ 118108 h 177672"/>
                <a:gd name="connsiteX42" fmla="*/ 28095 w 165484"/>
                <a:gd name="connsiteY42" fmla="*/ 116214 h 177672"/>
                <a:gd name="connsiteX43" fmla="*/ 93374 w 165484"/>
                <a:gd name="connsiteY43" fmla="*/ 148201 h 177672"/>
                <a:gd name="connsiteX44" fmla="*/ 59586 w 165484"/>
                <a:gd name="connsiteY44" fmla="*/ 26401 h 177672"/>
                <a:gd name="connsiteX45" fmla="*/ 86387 w 165484"/>
                <a:gd name="connsiteY45" fmla="*/ 19072 h 177672"/>
                <a:gd name="connsiteX46" fmla="*/ 100393 w 165484"/>
                <a:gd name="connsiteY46" fmla="*/ 19538 h 177672"/>
                <a:gd name="connsiteX47" fmla="*/ 104088 w 165484"/>
                <a:gd name="connsiteY47" fmla="*/ 20563 h 177672"/>
                <a:gd name="connsiteX48" fmla="*/ 139367 w 165484"/>
                <a:gd name="connsiteY48" fmla="*/ 60655 h 177672"/>
                <a:gd name="connsiteX49" fmla="*/ 139367 w 165484"/>
                <a:gd name="connsiteY49" fmla="*/ 61867 h 177672"/>
                <a:gd name="connsiteX50" fmla="*/ 59586 w 165484"/>
                <a:gd name="connsiteY50" fmla="*/ 26401 h 177672"/>
                <a:gd name="connsiteX51" fmla="*/ 31356 w 165484"/>
                <a:gd name="connsiteY51" fmla="*/ 37612 h 177672"/>
                <a:gd name="connsiteX52" fmla="*/ 37878 w 165484"/>
                <a:gd name="connsiteY52" fmla="*/ 28761 h 177672"/>
                <a:gd name="connsiteX53" fmla="*/ 66635 w 165484"/>
                <a:gd name="connsiteY53" fmla="*/ 14041 h 177672"/>
                <a:gd name="connsiteX54" fmla="*/ 80548 w 165484"/>
                <a:gd name="connsiteY54" fmla="*/ 14041 h 177672"/>
                <a:gd name="connsiteX55" fmla="*/ 65890 w 165484"/>
                <a:gd name="connsiteY55" fmla="*/ 18109 h 177672"/>
                <a:gd name="connsiteX56" fmla="*/ 43934 w 165484"/>
                <a:gd name="connsiteY56" fmla="*/ 30532 h 177672"/>
                <a:gd name="connsiteX57" fmla="*/ 30456 w 165484"/>
                <a:gd name="connsiteY57" fmla="*/ 39662 h 177672"/>
                <a:gd name="connsiteX58" fmla="*/ 31356 w 165484"/>
                <a:gd name="connsiteY58" fmla="*/ 37612 h 177672"/>
                <a:gd name="connsiteX59" fmla="*/ 29089 w 165484"/>
                <a:gd name="connsiteY59" fmla="*/ 30190 h 177672"/>
                <a:gd name="connsiteX60" fmla="*/ 19773 w 165484"/>
                <a:gd name="connsiteY60" fmla="*/ 49631 h 177672"/>
                <a:gd name="connsiteX61" fmla="*/ 19493 w 165484"/>
                <a:gd name="connsiteY61" fmla="*/ 50097 h 177672"/>
                <a:gd name="connsiteX62" fmla="*/ 6357 w 165484"/>
                <a:gd name="connsiteY62" fmla="*/ 70935 h 177672"/>
                <a:gd name="connsiteX63" fmla="*/ 29089 w 165484"/>
                <a:gd name="connsiteY63" fmla="*/ 30190 h 177672"/>
                <a:gd name="connsiteX64" fmla="*/ 6729 w 165484"/>
                <a:gd name="connsiteY64" fmla="*/ 96028 h 177672"/>
                <a:gd name="connsiteX65" fmla="*/ 8344 w 165484"/>
                <a:gd name="connsiteY65" fmla="*/ 82705 h 177672"/>
                <a:gd name="connsiteX66" fmla="*/ 16139 w 165484"/>
                <a:gd name="connsiteY66" fmla="*/ 64071 h 177672"/>
                <a:gd name="connsiteX67" fmla="*/ 18002 w 165484"/>
                <a:gd name="connsiteY67" fmla="*/ 100251 h 177672"/>
                <a:gd name="connsiteX68" fmla="*/ 39089 w 165484"/>
                <a:gd name="connsiteY68" fmla="*/ 140623 h 177672"/>
                <a:gd name="connsiteX69" fmla="*/ 40362 w 165484"/>
                <a:gd name="connsiteY69" fmla="*/ 141959 h 177672"/>
                <a:gd name="connsiteX70" fmla="*/ 40114 w 165484"/>
                <a:gd name="connsiteY70" fmla="*/ 142300 h 177672"/>
                <a:gd name="connsiteX71" fmla="*/ 35766 w 165484"/>
                <a:gd name="connsiteY71" fmla="*/ 139630 h 177672"/>
                <a:gd name="connsiteX72" fmla="*/ 17909 w 165484"/>
                <a:gd name="connsiteY72" fmla="*/ 122642 h 177672"/>
                <a:gd name="connsiteX73" fmla="*/ 6729 w 165484"/>
                <a:gd name="connsiteY73" fmla="*/ 96090 h 177672"/>
                <a:gd name="connsiteX74" fmla="*/ 9617 w 165484"/>
                <a:gd name="connsiteY74" fmla="*/ 119288 h 177672"/>
                <a:gd name="connsiteX75" fmla="*/ 15642 w 165484"/>
                <a:gd name="connsiteY75" fmla="*/ 127828 h 177672"/>
                <a:gd name="connsiteX76" fmla="*/ 57816 w 165484"/>
                <a:gd name="connsiteY76" fmla="*/ 154660 h 177672"/>
                <a:gd name="connsiteX77" fmla="*/ 72474 w 165484"/>
                <a:gd name="connsiteY77" fmla="*/ 159319 h 177672"/>
                <a:gd name="connsiteX78" fmla="*/ 106231 w 165484"/>
                <a:gd name="connsiteY78" fmla="*/ 160064 h 177672"/>
                <a:gd name="connsiteX79" fmla="*/ 14205 w 165484"/>
                <a:gd name="connsiteY79" fmla="*/ 130620 h 177672"/>
                <a:gd name="connsiteX80" fmla="*/ 9617 w 165484"/>
                <a:gd name="connsiteY80" fmla="*/ 119350 h 177672"/>
                <a:gd name="connsiteX81" fmla="*/ 117628 w 165484"/>
                <a:gd name="connsiteY81" fmla="*/ 151306 h 177672"/>
                <a:gd name="connsiteX82" fmla="*/ 84772 w 165484"/>
                <a:gd name="connsiteY82" fmla="*/ 156120 h 177672"/>
                <a:gd name="connsiteX83" fmla="*/ 110827 w 165484"/>
                <a:gd name="connsiteY83" fmla="*/ 146803 h 177672"/>
                <a:gd name="connsiteX84" fmla="*/ 135082 w 165484"/>
                <a:gd name="connsiteY84" fmla="*/ 133232 h 177672"/>
                <a:gd name="connsiteX85" fmla="*/ 117628 w 165484"/>
                <a:gd name="connsiteY85" fmla="*/ 151306 h 177672"/>
                <a:gd name="connsiteX86" fmla="*/ 133933 w 165484"/>
                <a:gd name="connsiteY86" fmla="*/ 126462 h 177672"/>
                <a:gd name="connsiteX87" fmla="*/ 142783 w 165484"/>
                <a:gd name="connsiteY87" fmla="*/ 110934 h 177672"/>
                <a:gd name="connsiteX88" fmla="*/ 133933 w 165484"/>
                <a:gd name="connsiteY88" fmla="*/ 126462 h 177672"/>
                <a:gd name="connsiteX89" fmla="*/ 140330 w 165484"/>
                <a:gd name="connsiteY89" fmla="*/ 135468 h 177672"/>
                <a:gd name="connsiteX90" fmla="*/ 157100 w 165484"/>
                <a:gd name="connsiteY90" fmla="*/ 105593 h 177672"/>
                <a:gd name="connsiteX91" fmla="*/ 140330 w 165484"/>
                <a:gd name="connsiteY91" fmla="*/ 135375 h 177672"/>
                <a:gd name="connsiteX92" fmla="*/ 156696 w 165484"/>
                <a:gd name="connsiteY92" fmla="*/ 89816 h 177672"/>
                <a:gd name="connsiteX93" fmla="*/ 149367 w 165484"/>
                <a:gd name="connsiteY93" fmla="*/ 108295 h 177672"/>
                <a:gd name="connsiteX94" fmla="*/ 148063 w 165484"/>
                <a:gd name="connsiteY94" fmla="*/ 86183 h 177672"/>
                <a:gd name="connsiteX95" fmla="*/ 146417 w 165484"/>
                <a:gd name="connsiteY95" fmla="*/ 67301 h 177672"/>
                <a:gd name="connsiteX96" fmla="*/ 125982 w 165484"/>
                <a:gd name="connsiteY96" fmla="*/ 29631 h 177672"/>
                <a:gd name="connsiteX97" fmla="*/ 124709 w 165484"/>
                <a:gd name="connsiteY97" fmla="*/ 28016 h 177672"/>
                <a:gd name="connsiteX98" fmla="*/ 145050 w 165484"/>
                <a:gd name="connsiteY98" fmla="*/ 45252 h 177672"/>
                <a:gd name="connsiteX99" fmla="*/ 157069 w 165484"/>
                <a:gd name="connsiteY99" fmla="*/ 68637 h 177672"/>
                <a:gd name="connsiteX100" fmla="*/ 156696 w 165484"/>
                <a:gd name="connsiteY100" fmla="*/ 89816 h 177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165484" h="177672">
                  <a:moveTo>
                    <a:pt x="165423" y="174815"/>
                  </a:moveTo>
                  <a:cubicBezTo>
                    <a:pt x="165205" y="169629"/>
                    <a:pt x="164864" y="164443"/>
                    <a:pt x="164833" y="159288"/>
                  </a:cubicBezTo>
                  <a:cubicBezTo>
                    <a:pt x="164833" y="142487"/>
                    <a:pt x="164833" y="125686"/>
                    <a:pt x="164833" y="108916"/>
                  </a:cubicBezTo>
                  <a:cubicBezTo>
                    <a:pt x="165332" y="93944"/>
                    <a:pt x="164740" y="78957"/>
                    <a:pt x="163063" y="64071"/>
                  </a:cubicBezTo>
                  <a:cubicBezTo>
                    <a:pt x="157537" y="23540"/>
                    <a:pt x="120201" y="-4838"/>
                    <a:pt x="79669" y="688"/>
                  </a:cubicBezTo>
                  <a:cubicBezTo>
                    <a:pt x="68641" y="2191"/>
                    <a:pt x="58093" y="6161"/>
                    <a:pt x="48809" y="12302"/>
                  </a:cubicBezTo>
                  <a:cubicBezTo>
                    <a:pt x="47667" y="13075"/>
                    <a:pt x="46450" y="13730"/>
                    <a:pt x="45176" y="14258"/>
                  </a:cubicBezTo>
                  <a:cubicBezTo>
                    <a:pt x="15429" y="26890"/>
                    <a:pt x="-2713" y="57332"/>
                    <a:pt x="332" y="89506"/>
                  </a:cubicBezTo>
                  <a:cubicBezTo>
                    <a:pt x="1108" y="98170"/>
                    <a:pt x="1512" y="106897"/>
                    <a:pt x="1543" y="115593"/>
                  </a:cubicBezTo>
                  <a:cubicBezTo>
                    <a:pt x="1543" y="131369"/>
                    <a:pt x="1326" y="142766"/>
                    <a:pt x="1201" y="158542"/>
                  </a:cubicBezTo>
                  <a:cubicBezTo>
                    <a:pt x="2832" y="157743"/>
                    <a:pt x="4761" y="157849"/>
                    <a:pt x="6294" y="158822"/>
                  </a:cubicBezTo>
                  <a:lnTo>
                    <a:pt x="6294" y="127922"/>
                  </a:lnTo>
                  <a:cubicBezTo>
                    <a:pt x="6910" y="128306"/>
                    <a:pt x="7380" y="128885"/>
                    <a:pt x="7630" y="129568"/>
                  </a:cubicBezTo>
                  <a:cubicBezTo>
                    <a:pt x="24461" y="166813"/>
                    <a:pt x="68298" y="183363"/>
                    <a:pt x="105544" y="166532"/>
                  </a:cubicBezTo>
                  <a:cubicBezTo>
                    <a:pt x="112532" y="163374"/>
                    <a:pt x="118987" y="159149"/>
                    <a:pt x="124678" y="154008"/>
                  </a:cubicBezTo>
                  <a:cubicBezTo>
                    <a:pt x="125641" y="153168"/>
                    <a:pt x="126681" y="152419"/>
                    <a:pt x="127784" y="151772"/>
                  </a:cubicBezTo>
                  <a:cubicBezTo>
                    <a:pt x="141004" y="144302"/>
                    <a:pt x="151452" y="132753"/>
                    <a:pt x="157566" y="118853"/>
                  </a:cubicBezTo>
                  <a:cubicBezTo>
                    <a:pt x="158070" y="117963"/>
                    <a:pt x="158641" y="117111"/>
                    <a:pt x="159274" y="116307"/>
                  </a:cubicBezTo>
                  <a:lnTo>
                    <a:pt x="159274" y="177673"/>
                  </a:lnTo>
                  <a:lnTo>
                    <a:pt x="165485" y="177673"/>
                  </a:lnTo>
                  <a:cubicBezTo>
                    <a:pt x="165423" y="176617"/>
                    <a:pt x="165454" y="175716"/>
                    <a:pt x="165423" y="174815"/>
                  </a:cubicBezTo>
                  <a:close/>
                  <a:moveTo>
                    <a:pt x="152535" y="46494"/>
                  </a:moveTo>
                  <a:cubicBezTo>
                    <a:pt x="150858" y="44289"/>
                    <a:pt x="149585" y="42519"/>
                    <a:pt x="148218" y="40842"/>
                  </a:cubicBezTo>
                  <a:cubicBezTo>
                    <a:pt x="137633" y="27937"/>
                    <a:pt x="123023" y="18959"/>
                    <a:pt x="106728" y="15345"/>
                  </a:cubicBezTo>
                  <a:cubicBezTo>
                    <a:pt x="101852" y="14196"/>
                    <a:pt x="97225" y="11774"/>
                    <a:pt x="92318" y="10811"/>
                  </a:cubicBezTo>
                  <a:cubicBezTo>
                    <a:pt x="85082" y="9352"/>
                    <a:pt x="77691" y="8700"/>
                    <a:pt x="71449" y="7861"/>
                  </a:cubicBezTo>
                  <a:cubicBezTo>
                    <a:pt x="104361" y="-1656"/>
                    <a:pt x="139191" y="14939"/>
                    <a:pt x="152535" y="46494"/>
                  </a:cubicBezTo>
                  <a:close/>
                  <a:moveTo>
                    <a:pt x="91480" y="142890"/>
                  </a:moveTo>
                  <a:cubicBezTo>
                    <a:pt x="70646" y="143284"/>
                    <a:pt x="50735" y="134314"/>
                    <a:pt x="37226" y="118450"/>
                  </a:cubicBezTo>
                  <a:cubicBezTo>
                    <a:pt x="34352" y="115245"/>
                    <a:pt x="31794" y="111772"/>
                    <a:pt x="29586" y="108077"/>
                  </a:cubicBezTo>
                  <a:cubicBezTo>
                    <a:pt x="21780" y="96203"/>
                    <a:pt x="20042" y="81339"/>
                    <a:pt x="24897" y="67984"/>
                  </a:cubicBezTo>
                  <a:cubicBezTo>
                    <a:pt x="27470" y="61424"/>
                    <a:pt x="30500" y="55053"/>
                    <a:pt x="33965" y="48916"/>
                  </a:cubicBezTo>
                  <a:cubicBezTo>
                    <a:pt x="39509" y="39627"/>
                    <a:pt x="48988" y="33372"/>
                    <a:pt x="59710" y="31929"/>
                  </a:cubicBezTo>
                  <a:cubicBezTo>
                    <a:pt x="96613" y="23581"/>
                    <a:pt x="133337" y="46576"/>
                    <a:pt x="141945" y="83419"/>
                  </a:cubicBezTo>
                  <a:cubicBezTo>
                    <a:pt x="142559" y="87494"/>
                    <a:pt x="142379" y="91648"/>
                    <a:pt x="141417" y="95655"/>
                  </a:cubicBezTo>
                  <a:cubicBezTo>
                    <a:pt x="138478" y="112298"/>
                    <a:pt x="129164" y="127138"/>
                    <a:pt x="115454" y="137021"/>
                  </a:cubicBezTo>
                  <a:cubicBezTo>
                    <a:pt x="112016" y="139126"/>
                    <a:pt x="108196" y="140529"/>
                    <a:pt x="104212" y="141151"/>
                  </a:cubicBezTo>
                  <a:cubicBezTo>
                    <a:pt x="100000" y="141944"/>
                    <a:pt x="95750" y="142524"/>
                    <a:pt x="91480" y="142890"/>
                  </a:cubicBezTo>
                  <a:close/>
                  <a:moveTo>
                    <a:pt x="93250" y="148201"/>
                  </a:moveTo>
                  <a:cubicBezTo>
                    <a:pt x="85449" y="150625"/>
                    <a:pt x="77273" y="151614"/>
                    <a:pt x="69120" y="151120"/>
                  </a:cubicBezTo>
                  <a:cubicBezTo>
                    <a:pt x="63789" y="150837"/>
                    <a:pt x="58641" y="149085"/>
                    <a:pt x="54244" y="146058"/>
                  </a:cubicBezTo>
                  <a:cubicBezTo>
                    <a:pt x="43414" y="139245"/>
                    <a:pt x="34676" y="129573"/>
                    <a:pt x="28996" y="118108"/>
                  </a:cubicBezTo>
                  <a:lnTo>
                    <a:pt x="28095" y="116214"/>
                  </a:lnTo>
                  <a:cubicBezTo>
                    <a:pt x="43048" y="137227"/>
                    <a:pt x="67606" y="149260"/>
                    <a:pt x="93374" y="148201"/>
                  </a:cubicBezTo>
                  <a:close/>
                  <a:moveTo>
                    <a:pt x="59586" y="26401"/>
                  </a:moveTo>
                  <a:cubicBezTo>
                    <a:pt x="67882" y="22044"/>
                    <a:pt x="77027" y="19543"/>
                    <a:pt x="86387" y="19072"/>
                  </a:cubicBezTo>
                  <a:cubicBezTo>
                    <a:pt x="91045" y="18855"/>
                    <a:pt x="95703" y="19289"/>
                    <a:pt x="100393" y="19538"/>
                  </a:cubicBezTo>
                  <a:cubicBezTo>
                    <a:pt x="101678" y="19644"/>
                    <a:pt x="102932" y="19992"/>
                    <a:pt x="104088" y="20563"/>
                  </a:cubicBezTo>
                  <a:cubicBezTo>
                    <a:pt x="120800" y="28587"/>
                    <a:pt x="133534" y="43058"/>
                    <a:pt x="139367" y="60655"/>
                  </a:cubicBezTo>
                  <a:cubicBezTo>
                    <a:pt x="139391" y="61059"/>
                    <a:pt x="139391" y="61463"/>
                    <a:pt x="139367" y="61867"/>
                  </a:cubicBezTo>
                  <a:cubicBezTo>
                    <a:pt x="122999" y="34307"/>
                    <a:pt x="91012" y="20087"/>
                    <a:pt x="59586" y="26401"/>
                  </a:cubicBezTo>
                  <a:close/>
                  <a:moveTo>
                    <a:pt x="31356" y="37612"/>
                  </a:moveTo>
                  <a:cubicBezTo>
                    <a:pt x="33427" y="34631"/>
                    <a:pt x="35600" y="31681"/>
                    <a:pt x="37878" y="28761"/>
                  </a:cubicBezTo>
                  <a:cubicBezTo>
                    <a:pt x="44657" y="19655"/>
                    <a:pt x="55284" y="14216"/>
                    <a:pt x="66635" y="14041"/>
                  </a:cubicBezTo>
                  <a:cubicBezTo>
                    <a:pt x="71169" y="13762"/>
                    <a:pt x="75766" y="14041"/>
                    <a:pt x="80548" y="14041"/>
                  </a:cubicBezTo>
                  <a:cubicBezTo>
                    <a:pt x="75548" y="15408"/>
                    <a:pt x="70641" y="16526"/>
                    <a:pt x="65890" y="18109"/>
                  </a:cubicBezTo>
                  <a:cubicBezTo>
                    <a:pt x="57910" y="20953"/>
                    <a:pt x="50482" y="25156"/>
                    <a:pt x="43934" y="30532"/>
                  </a:cubicBezTo>
                  <a:cubicBezTo>
                    <a:pt x="39683" y="33917"/>
                    <a:pt x="35177" y="36970"/>
                    <a:pt x="30456" y="39662"/>
                  </a:cubicBezTo>
                  <a:cubicBezTo>
                    <a:pt x="30705" y="38957"/>
                    <a:pt x="31006" y="38272"/>
                    <a:pt x="31356" y="37612"/>
                  </a:cubicBezTo>
                  <a:close/>
                  <a:moveTo>
                    <a:pt x="29089" y="30190"/>
                  </a:moveTo>
                  <a:lnTo>
                    <a:pt x="19773" y="49631"/>
                  </a:lnTo>
                  <a:lnTo>
                    <a:pt x="19493" y="50097"/>
                  </a:lnTo>
                  <a:cubicBezTo>
                    <a:pt x="14128" y="56369"/>
                    <a:pt x="9703" y="63389"/>
                    <a:pt x="6357" y="70935"/>
                  </a:cubicBezTo>
                  <a:cubicBezTo>
                    <a:pt x="8833" y="55077"/>
                    <a:pt x="16895" y="40626"/>
                    <a:pt x="29089" y="30190"/>
                  </a:cubicBezTo>
                  <a:close/>
                  <a:moveTo>
                    <a:pt x="6729" y="96028"/>
                  </a:moveTo>
                  <a:cubicBezTo>
                    <a:pt x="6664" y="91534"/>
                    <a:pt x="7208" y="87053"/>
                    <a:pt x="8344" y="82705"/>
                  </a:cubicBezTo>
                  <a:cubicBezTo>
                    <a:pt x="9749" y="76059"/>
                    <a:pt x="12393" y="69738"/>
                    <a:pt x="16139" y="64071"/>
                  </a:cubicBezTo>
                  <a:cubicBezTo>
                    <a:pt x="15279" y="76162"/>
                    <a:pt x="15905" y="88313"/>
                    <a:pt x="18002" y="100251"/>
                  </a:cubicBezTo>
                  <a:cubicBezTo>
                    <a:pt x="20332" y="115684"/>
                    <a:pt x="27754" y="129894"/>
                    <a:pt x="39089" y="140623"/>
                  </a:cubicBezTo>
                  <a:lnTo>
                    <a:pt x="40362" y="141959"/>
                  </a:lnTo>
                  <a:lnTo>
                    <a:pt x="40114" y="142300"/>
                  </a:lnTo>
                  <a:cubicBezTo>
                    <a:pt x="38654" y="141400"/>
                    <a:pt x="37008" y="140592"/>
                    <a:pt x="35766" y="139630"/>
                  </a:cubicBezTo>
                  <a:cubicBezTo>
                    <a:pt x="28773" y="135173"/>
                    <a:pt x="22709" y="129404"/>
                    <a:pt x="17909" y="122642"/>
                  </a:cubicBezTo>
                  <a:cubicBezTo>
                    <a:pt x="11985" y="114886"/>
                    <a:pt x="8138" y="105747"/>
                    <a:pt x="6729" y="96090"/>
                  </a:cubicBezTo>
                  <a:close/>
                  <a:moveTo>
                    <a:pt x="9617" y="119288"/>
                  </a:moveTo>
                  <a:cubicBezTo>
                    <a:pt x="11636" y="122176"/>
                    <a:pt x="13499" y="125127"/>
                    <a:pt x="15642" y="127828"/>
                  </a:cubicBezTo>
                  <a:cubicBezTo>
                    <a:pt x="26177" y="141377"/>
                    <a:pt x="41079" y="150859"/>
                    <a:pt x="57816" y="154660"/>
                  </a:cubicBezTo>
                  <a:cubicBezTo>
                    <a:pt x="62784" y="155840"/>
                    <a:pt x="67536" y="158014"/>
                    <a:pt x="72474" y="159319"/>
                  </a:cubicBezTo>
                  <a:cubicBezTo>
                    <a:pt x="83514" y="162193"/>
                    <a:pt x="95074" y="162449"/>
                    <a:pt x="106231" y="160064"/>
                  </a:cubicBezTo>
                  <a:cubicBezTo>
                    <a:pt x="72688" y="177346"/>
                    <a:pt x="31486" y="164163"/>
                    <a:pt x="14205" y="130620"/>
                  </a:cubicBezTo>
                  <a:cubicBezTo>
                    <a:pt x="12343" y="127007"/>
                    <a:pt x="10808" y="123236"/>
                    <a:pt x="9617" y="119350"/>
                  </a:cubicBezTo>
                  <a:close/>
                  <a:moveTo>
                    <a:pt x="117628" y="151306"/>
                  </a:moveTo>
                  <a:cubicBezTo>
                    <a:pt x="107230" y="155555"/>
                    <a:pt x="95952" y="157208"/>
                    <a:pt x="84772" y="156120"/>
                  </a:cubicBezTo>
                  <a:cubicBezTo>
                    <a:pt x="93916" y="154490"/>
                    <a:pt x="102723" y="151341"/>
                    <a:pt x="110827" y="146803"/>
                  </a:cubicBezTo>
                  <a:cubicBezTo>
                    <a:pt x="118777" y="142300"/>
                    <a:pt x="126759" y="137890"/>
                    <a:pt x="135082" y="133232"/>
                  </a:cubicBezTo>
                  <a:cubicBezTo>
                    <a:pt x="130144" y="140251"/>
                    <a:pt x="126231" y="147766"/>
                    <a:pt x="117628" y="151306"/>
                  </a:cubicBezTo>
                  <a:close/>
                  <a:moveTo>
                    <a:pt x="133933" y="126462"/>
                  </a:moveTo>
                  <a:lnTo>
                    <a:pt x="142783" y="110934"/>
                  </a:lnTo>
                  <a:cubicBezTo>
                    <a:pt x="142888" y="117338"/>
                    <a:pt x="139495" y="123289"/>
                    <a:pt x="133933" y="126462"/>
                  </a:cubicBezTo>
                  <a:close/>
                  <a:moveTo>
                    <a:pt x="140330" y="135468"/>
                  </a:moveTo>
                  <a:cubicBezTo>
                    <a:pt x="144783" y="124913"/>
                    <a:pt x="150408" y="114891"/>
                    <a:pt x="157100" y="105593"/>
                  </a:cubicBezTo>
                  <a:cubicBezTo>
                    <a:pt x="154231" y="116824"/>
                    <a:pt x="148445" y="127098"/>
                    <a:pt x="140330" y="135375"/>
                  </a:cubicBezTo>
                  <a:close/>
                  <a:moveTo>
                    <a:pt x="156696" y="89816"/>
                  </a:moveTo>
                  <a:cubicBezTo>
                    <a:pt x="155261" y="96329"/>
                    <a:pt x="152786" y="102569"/>
                    <a:pt x="149367" y="108295"/>
                  </a:cubicBezTo>
                  <a:cubicBezTo>
                    <a:pt x="148963" y="101152"/>
                    <a:pt x="148560" y="93667"/>
                    <a:pt x="148063" y="86183"/>
                  </a:cubicBezTo>
                  <a:cubicBezTo>
                    <a:pt x="147890" y="79862"/>
                    <a:pt x="147340" y="73557"/>
                    <a:pt x="146417" y="67301"/>
                  </a:cubicBezTo>
                  <a:cubicBezTo>
                    <a:pt x="143637" y="52943"/>
                    <a:pt x="136502" y="39790"/>
                    <a:pt x="125982" y="29631"/>
                  </a:cubicBezTo>
                  <a:cubicBezTo>
                    <a:pt x="125475" y="29164"/>
                    <a:pt x="125045" y="28619"/>
                    <a:pt x="124709" y="28016"/>
                  </a:cubicBezTo>
                  <a:cubicBezTo>
                    <a:pt x="132613" y="32287"/>
                    <a:pt x="139540" y="38156"/>
                    <a:pt x="145050" y="45252"/>
                  </a:cubicBezTo>
                  <a:cubicBezTo>
                    <a:pt x="150432" y="52259"/>
                    <a:pt x="154504" y="60181"/>
                    <a:pt x="157069" y="68637"/>
                  </a:cubicBezTo>
                  <a:cubicBezTo>
                    <a:pt x="158890" y="75597"/>
                    <a:pt x="158761" y="82924"/>
                    <a:pt x="156696" y="89816"/>
                  </a:cubicBezTo>
                  <a:close/>
                </a:path>
              </a:pathLst>
            </a:custGeom>
            <a:solidFill>
              <a:srgbClr val="1F6895"/>
            </a:solidFill>
            <a:ln w="30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7" name="Graphic 175">
            <a:extLst>
              <a:ext uri="{FF2B5EF4-FFF2-40B4-BE49-F238E27FC236}">
                <a16:creationId xmlns:a16="http://schemas.microsoft.com/office/drawing/2014/main" id="{F2B6ADBF-2E3F-353F-C911-18FE2069028E}"/>
              </a:ext>
            </a:extLst>
          </p:cNvPr>
          <p:cNvGrpSpPr/>
          <p:nvPr/>
        </p:nvGrpSpPr>
        <p:grpSpPr>
          <a:xfrm>
            <a:off x="7344017" y="2562464"/>
            <a:ext cx="325465" cy="325465"/>
            <a:chOff x="7281264" y="2176702"/>
            <a:chExt cx="325465" cy="325465"/>
          </a:xfrm>
        </p:grpSpPr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5D7A9202-97F7-8319-1E79-CCB6D0050CDF}"/>
                </a:ext>
              </a:extLst>
            </p:cNvPr>
            <p:cNvSpPr/>
            <p:nvPr/>
          </p:nvSpPr>
          <p:spPr>
            <a:xfrm>
              <a:off x="7379981" y="2294276"/>
              <a:ext cx="136329" cy="136410"/>
            </a:xfrm>
            <a:custGeom>
              <a:avLst/>
              <a:gdLst>
                <a:gd name="connsiteX0" fmla="*/ 122741 w 136329"/>
                <a:gd name="connsiteY0" fmla="*/ 84743 h 136410"/>
                <a:gd name="connsiteX1" fmla="*/ 91578 w 136329"/>
                <a:gd name="connsiteY1" fmla="*/ 84743 h 136410"/>
                <a:gd name="connsiteX2" fmla="*/ 84743 w 136329"/>
                <a:gd name="connsiteY2" fmla="*/ 91537 h 136410"/>
                <a:gd name="connsiteX3" fmla="*/ 84743 w 136329"/>
                <a:gd name="connsiteY3" fmla="*/ 91578 h 136410"/>
                <a:gd name="connsiteX4" fmla="*/ 84743 w 136329"/>
                <a:gd name="connsiteY4" fmla="*/ 122741 h 136410"/>
                <a:gd name="connsiteX5" fmla="*/ 51586 w 136329"/>
                <a:gd name="connsiteY5" fmla="*/ 122741 h 136410"/>
                <a:gd name="connsiteX6" fmla="*/ 51586 w 136329"/>
                <a:gd name="connsiteY6" fmla="*/ 91578 h 136410"/>
                <a:gd name="connsiteX7" fmla="*/ 44792 w 136329"/>
                <a:gd name="connsiteY7" fmla="*/ 84743 h 136410"/>
                <a:gd name="connsiteX8" fmla="*/ 44772 w 136329"/>
                <a:gd name="connsiteY8" fmla="*/ 84743 h 136410"/>
                <a:gd name="connsiteX9" fmla="*/ 13608 w 136329"/>
                <a:gd name="connsiteY9" fmla="*/ 84743 h 136410"/>
                <a:gd name="connsiteX10" fmla="*/ 13608 w 136329"/>
                <a:gd name="connsiteY10" fmla="*/ 51647 h 136410"/>
                <a:gd name="connsiteX11" fmla="*/ 44772 w 136329"/>
                <a:gd name="connsiteY11" fmla="*/ 51647 h 136410"/>
                <a:gd name="connsiteX12" fmla="*/ 51586 w 136329"/>
                <a:gd name="connsiteY12" fmla="*/ 44833 h 136410"/>
                <a:gd name="connsiteX13" fmla="*/ 51586 w 136329"/>
                <a:gd name="connsiteY13" fmla="*/ 13588 h 136410"/>
                <a:gd name="connsiteX14" fmla="*/ 84682 w 136329"/>
                <a:gd name="connsiteY14" fmla="*/ 13588 h 136410"/>
                <a:gd name="connsiteX15" fmla="*/ 84682 w 136329"/>
                <a:gd name="connsiteY15" fmla="*/ 44751 h 136410"/>
                <a:gd name="connsiteX16" fmla="*/ 91476 w 136329"/>
                <a:gd name="connsiteY16" fmla="*/ 51586 h 136410"/>
                <a:gd name="connsiteX17" fmla="*/ 91496 w 136329"/>
                <a:gd name="connsiteY17" fmla="*/ 51586 h 136410"/>
                <a:gd name="connsiteX18" fmla="*/ 122741 w 136329"/>
                <a:gd name="connsiteY18" fmla="*/ 51586 h 136410"/>
                <a:gd name="connsiteX19" fmla="*/ 126219 w 136329"/>
                <a:gd name="connsiteY19" fmla="*/ 37957 h 136410"/>
                <a:gd name="connsiteX20" fmla="*/ 98392 w 136329"/>
                <a:gd name="connsiteY20" fmla="*/ 37957 h 136410"/>
                <a:gd name="connsiteX21" fmla="*/ 98392 w 136329"/>
                <a:gd name="connsiteY21" fmla="*/ 10171 h 136410"/>
                <a:gd name="connsiteX22" fmla="*/ 88221 w 136329"/>
                <a:gd name="connsiteY22" fmla="*/ 0 h 136410"/>
                <a:gd name="connsiteX23" fmla="*/ 48108 w 136329"/>
                <a:gd name="connsiteY23" fmla="*/ 0 h 136410"/>
                <a:gd name="connsiteX24" fmla="*/ 37937 w 136329"/>
                <a:gd name="connsiteY24" fmla="*/ 10171 h 136410"/>
                <a:gd name="connsiteX25" fmla="*/ 37937 w 136329"/>
                <a:gd name="connsiteY25" fmla="*/ 37937 h 136410"/>
                <a:gd name="connsiteX26" fmla="*/ 10171 w 136329"/>
                <a:gd name="connsiteY26" fmla="*/ 37937 h 136410"/>
                <a:gd name="connsiteX27" fmla="*/ 0 w 136329"/>
                <a:gd name="connsiteY27" fmla="*/ 48108 h 136410"/>
                <a:gd name="connsiteX28" fmla="*/ 0 w 136329"/>
                <a:gd name="connsiteY28" fmla="*/ 88282 h 136410"/>
                <a:gd name="connsiteX29" fmla="*/ 10171 w 136329"/>
                <a:gd name="connsiteY29" fmla="*/ 98453 h 136410"/>
                <a:gd name="connsiteX30" fmla="*/ 37957 w 136329"/>
                <a:gd name="connsiteY30" fmla="*/ 98453 h 136410"/>
                <a:gd name="connsiteX31" fmla="*/ 37957 w 136329"/>
                <a:gd name="connsiteY31" fmla="*/ 126240 h 136410"/>
                <a:gd name="connsiteX32" fmla="*/ 48128 w 136329"/>
                <a:gd name="connsiteY32" fmla="*/ 136411 h 136410"/>
                <a:gd name="connsiteX33" fmla="*/ 88160 w 136329"/>
                <a:gd name="connsiteY33" fmla="*/ 136411 h 136410"/>
                <a:gd name="connsiteX34" fmla="*/ 98331 w 136329"/>
                <a:gd name="connsiteY34" fmla="*/ 126240 h 136410"/>
                <a:gd name="connsiteX35" fmla="*/ 98331 w 136329"/>
                <a:gd name="connsiteY35" fmla="*/ 98372 h 136410"/>
                <a:gd name="connsiteX36" fmla="*/ 126158 w 136329"/>
                <a:gd name="connsiteY36" fmla="*/ 98372 h 136410"/>
                <a:gd name="connsiteX37" fmla="*/ 136329 w 136329"/>
                <a:gd name="connsiteY37" fmla="*/ 88201 h 136410"/>
                <a:gd name="connsiteX38" fmla="*/ 136329 w 136329"/>
                <a:gd name="connsiteY38" fmla="*/ 48169 h 136410"/>
                <a:gd name="connsiteX39" fmla="*/ 126158 w 136329"/>
                <a:gd name="connsiteY39" fmla="*/ 37998 h 136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36329" h="136410">
                  <a:moveTo>
                    <a:pt x="122741" y="84743"/>
                  </a:moveTo>
                  <a:lnTo>
                    <a:pt x="91578" y="84743"/>
                  </a:lnTo>
                  <a:cubicBezTo>
                    <a:pt x="87814" y="84732"/>
                    <a:pt x="84754" y="87773"/>
                    <a:pt x="84743" y="91537"/>
                  </a:cubicBezTo>
                  <a:cubicBezTo>
                    <a:pt x="84743" y="91551"/>
                    <a:pt x="84743" y="91564"/>
                    <a:pt x="84743" y="91578"/>
                  </a:cubicBezTo>
                  <a:lnTo>
                    <a:pt x="84743" y="122741"/>
                  </a:lnTo>
                  <a:lnTo>
                    <a:pt x="51586" y="122741"/>
                  </a:lnTo>
                  <a:lnTo>
                    <a:pt x="51586" y="91578"/>
                  </a:lnTo>
                  <a:cubicBezTo>
                    <a:pt x="51597" y="87814"/>
                    <a:pt x="48556" y="84754"/>
                    <a:pt x="44792" y="84743"/>
                  </a:cubicBezTo>
                  <a:cubicBezTo>
                    <a:pt x="44785" y="84743"/>
                    <a:pt x="44779" y="84743"/>
                    <a:pt x="44772" y="84743"/>
                  </a:cubicBezTo>
                  <a:lnTo>
                    <a:pt x="13608" y="84743"/>
                  </a:lnTo>
                  <a:lnTo>
                    <a:pt x="13608" y="51647"/>
                  </a:lnTo>
                  <a:lnTo>
                    <a:pt x="44772" y="51647"/>
                  </a:lnTo>
                  <a:cubicBezTo>
                    <a:pt x="48535" y="51647"/>
                    <a:pt x="51586" y="48596"/>
                    <a:pt x="51586" y="44833"/>
                  </a:cubicBezTo>
                  <a:lnTo>
                    <a:pt x="51586" y="13588"/>
                  </a:lnTo>
                  <a:lnTo>
                    <a:pt x="84682" y="13588"/>
                  </a:lnTo>
                  <a:lnTo>
                    <a:pt x="84682" y="44751"/>
                  </a:lnTo>
                  <a:cubicBezTo>
                    <a:pt x="84671" y="48515"/>
                    <a:pt x="87712" y="51575"/>
                    <a:pt x="91476" y="51586"/>
                  </a:cubicBezTo>
                  <a:cubicBezTo>
                    <a:pt x="91483" y="51586"/>
                    <a:pt x="91490" y="51586"/>
                    <a:pt x="91496" y="51586"/>
                  </a:cubicBezTo>
                  <a:lnTo>
                    <a:pt x="122741" y="51586"/>
                  </a:lnTo>
                  <a:close/>
                  <a:moveTo>
                    <a:pt x="126219" y="37957"/>
                  </a:moveTo>
                  <a:lnTo>
                    <a:pt x="98392" y="37957"/>
                  </a:lnTo>
                  <a:lnTo>
                    <a:pt x="98392" y="10171"/>
                  </a:lnTo>
                  <a:cubicBezTo>
                    <a:pt x="98392" y="4554"/>
                    <a:pt x="93839" y="0"/>
                    <a:pt x="88221" y="0"/>
                  </a:cubicBezTo>
                  <a:lnTo>
                    <a:pt x="48108" y="0"/>
                  </a:lnTo>
                  <a:cubicBezTo>
                    <a:pt x="42491" y="0"/>
                    <a:pt x="37937" y="4554"/>
                    <a:pt x="37937" y="10171"/>
                  </a:cubicBezTo>
                  <a:lnTo>
                    <a:pt x="37937" y="37937"/>
                  </a:lnTo>
                  <a:lnTo>
                    <a:pt x="10171" y="37937"/>
                  </a:lnTo>
                  <a:cubicBezTo>
                    <a:pt x="4554" y="37937"/>
                    <a:pt x="0" y="42491"/>
                    <a:pt x="0" y="48108"/>
                  </a:cubicBezTo>
                  <a:lnTo>
                    <a:pt x="0" y="88282"/>
                  </a:lnTo>
                  <a:cubicBezTo>
                    <a:pt x="0" y="93900"/>
                    <a:pt x="4554" y="98453"/>
                    <a:pt x="10171" y="98453"/>
                  </a:cubicBezTo>
                  <a:lnTo>
                    <a:pt x="37957" y="98453"/>
                  </a:lnTo>
                  <a:lnTo>
                    <a:pt x="37957" y="126240"/>
                  </a:lnTo>
                  <a:cubicBezTo>
                    <a:pt x="37957" y="131857"/>
                    <a:pt x="42511" y="136411"/>
                    <a:pt x="48128" y="136411"/>
                  </a:cubicBezTo>
                  <a:lnTo>
                    <a:pt x="88160" y="136411"/>
                  </a:lnTo>
                  <a:cubicBezTo>
                    <a:pt x="93778" y="136411"/>
                    <a:pt x="98331" y="131857"/>
                    <a:pt x="98331" y="126240"/>
                  </a:cubicBezTo>
                  <a:lnTo>
                    <a:pt x="98331" y="98372"/>
                  </a:lnTo>
                  <a:lnTo>
                    <a:pt x="126158" y="98372"/>
                  </a:lnTo>
                  <a:cubicBezTo>
                    <a:pt x="131776" y="98372"/>
                    <a:pt x="136329" y="93818"/>
                    <a:pt x="136329" y="88201"/>
                  </a:cubicBezTo>
                  <a:lnTo>
                    <a:pt x="136329" y="48169"/>
                  </a:lnTo>
                  <a:cubicBezTo>
                    <a:pt x="136329" y="42552"/>
                    <a:pt x="131776" y="37998"/>
                    <a:pt x="126158" y="37998"/>
                  </a:cubicBezTo>
                </a:path>
              </a:pathLst>
            </a:custGeom>
            <a:solidFill>
              <a:srgbClr val="BD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 108">
              <a:extLst>
                <a:ext uri="{FF2B5EF4-FFF2-40B4-BE49-F238E27FC236}">
                  <a16:creationId xmlns:a16="http://schemas.microsoft.com/office/drawing/2014/main" id="{591C654E-2A48-7ACB-4F4E-8230B2F9CDC4}"/>
                </a:ext>
              </a:extLst>
            </p:cNvPr>
            <p:cNvSpPr/>
            <p:nvPr/>
          </p:nvSpPr>
          <p:spPr>
            <a:xfrm>
              <a:off x="7282283" y="2198663"/>
              <a:ext cx="331748" cy="287023"/>
            </a:xfrm>
            <a:custGeom>
              <a:avLst/>
              <a:gdLst>
                <a:gd name="connsiteX0" fmla="*/ 317998 w 331748"/>
                <a:gd name="connsiteY0" fmla="*/ 239835 h 287023"/>
                <a:gd name="connsiteX1" fmla="*/ 290430 w 331748"/>
                <a:gd name="connsiteY1" fmla="*/ 273256 h 287023"/>
                <a:gd name="connsiteX2" fmla="*/ 284576 w 331748"/>
                <a:gd name="connsiteY2" fmla="*/ 273256 h 287023"/>
                <a:gd name="connsiteX3" fmla="*/ 47150 w 331748"/>
                <a:gd name="connsiteY3" fmla="*/ 273256 h 287023"/>
                <a:gd name="connsiteX4" fmla="*/ 13729 w 331748"/>
                <a:gd name="connsiteY4" fmla="*/ 245598 h 287023"/>
                <a:gd name="connsiteX5" fmla="*/ 13729 w 331748"/>
                <a:gd name="connsiteY5" fmla="*/ 239835 h 287023"/>
                <a:gd name="connsiteX6" fmla="*/ 13729 w 331748"/>
                <a:gd name="connsiteY6" fmla="*/ 91606 h 287023"/>
                <a:gd name="connsiteX7" fmla="*/ 41319 w 331748"/>
                <a:gd name="connsiteY7" fmla="*/ 58166 h 287023"/>
                <a:gd name="connsiteX8" fmla="*/ 47150 w 331748"/>
                <a:gd name="connsiteY8" fmla="*/ 58164 h 287023"/>
                <a:gd name="connsiteX9" fmla="*/ 284576 w 331748"/>
                <a:gd name="connsiteY9" fmla="*/ 58164 h 287023"/>
                <a:gd name="connsiteX10" fmla="*/ 317999 w 331748"/>
                <a:gd name="connsiteY10" fmla="*/ 85820 h 287023"/>
                <a:gd name="connsiteX11" fmla="*/ 317998 w 331748"/>
                <a:gd name="connsiteY11" fmla="*/ 91606 h 287023"/>
                <a:gd name="connsiteX12" fmla="*/ 116962 w 331748"/>
                <a:gd name="connsiteY12" fmla="*/ 20512 h 287023"/>
                <a:gd name="connsiteX13" fmla="*/ 122327 w 331748"/>
                <a:gd name="connsiteY13" fmla="*/ 13209 h 287023"/>
                <a:gd name="connsiteX14" fmla="*/ 124265 w 331748"/>
                <a:gd name="connsiteY14" fmla="*/ 13209 h 287023"/>
                <a:gd name="connsiteX15" fmla="*/ 207482 w 331748"/>
                <a:gd name="connsiteY15" fmla="*/ 13209 h 287023"/>
                <a:gd name="connsiteX16" fmla="*/ 214785 w 331748"/>
                <a:gd name="connsiteY16" fmla="*/ 20512 h 287023"/>
                <a:gd name="connsiteX17" fmla="*/ 214785 w 331748"/>
                <a:gd name="connsiteY17" fmla="*/ 44373 h 287023"/>
                <a:gd name="connsiteX18" fmla="*/ 116962 w 331748"/>
                <a:gd name="connsiteY18" fmla="*/ 44373 h 287023"/>
                <a:gd name="connsiteX19" fmla="*/ 284515 w 331748"/>
                <a:gd name="connsiteY19" fmla="*/ 44515 h 287023"/>
                <a:gd name="connsiteX20" fmla="*/ 228352 w 331748"/>
                <a:gd name="connsiteY20" fmla="*/ 44515 h 287023"/>
                <a:gd name="connsiteX21" fmla="*/ 228352 w 331748"/>
                <a:gd name="connsiteY21" fmla="*/ 20512 h 287023"/>
                <a:gd name="connsiteX22" fmla="*/ 209192 w 331748"/>
                <a:gd name="connsiteY22" fmla="*/ 29 h 287023"/>
                <a:gd name="connsiteX23" fmla="*/ 209170 w 331748"/>
                <a:gd name="connsiteY23" fmla="*/ 28 h 287023"/>
                <a:gd name="connsiteX24" fmla="*/ 207482 w 331748"/>
                <a:gd name="connsiteY24" fmla="*/ 28 h 287023"/>
                <a:gd name="connsiteX25" fmla="*/ 124244 w 331748"/>
                <a:gd name="connsiteY25" fmla="*/ 28 h 287023"/>
                <a:gd name="connsiteX26" fmla="*/ 103395 w 331748"/>
                <a:gd name="connsiteY26" fmla="*/ 18790 h 287023"/>
                <a:gd name="connsiteX27" fmla="*/ 103394 w 331748"/>
                <a:gd name="connsiteY27" fmla="*/ 18803 h 287023"/>
                <a:gd name="connsiteX28" fmla="*/ 103394 w 331748"/>
                <a:gd name="connsiteY28" fmla="*/ 20492 h 287023"/>
                <a:gd name="connsiteX29" fmla="*/ 103394 w 331748"/>
                <a:gd name="connsiteY29" fmla="*/ 44373 h 287023"/>
                <a:gd name="connsiteX30" fmla="*/ 47150 w 331748"/>
                <a:gd name="connsiteY30" fmla="*/ 44373 h 287023"/>
                <a:gd name="connsiteX31" fmla="*/ 97 w 331748"/>
                <a:gd name="connsiteY31" fmla="*/ 85615 h 287023"/>
                <a:gd name="connsiteX32" fmla="*/ 100 w 331748"/>
                <a:gd name="connsiteY32" fmla="*/ 91463 h 287023"/>
                <a:gd name="connsiteX33" fmla="*/ 100 w 331748"/>
                <a:gd name="connsiteY33" fmla="*/ 239835 h 287023"/>
                <a:gd name="connsiteX34" fmla="*/ 41301 w 331748"/>
                <a:gd name="connsiteY34" fmla="*/ 286923 h 287023"/>
                <a:gd name="connsiteX35" fmla="*/ 47150 w 331748"/>
                <a:gd name="connsiteY35" fmla="*/ 286925 h 287023"/>
                <a:gd name="connsiteX36" fmla="*/ 284576 w 331748"/>
                <a:gd name="connsiteY36" fmla="*/ 286925 h 287023"/>
                <a:gd name="connsiteX37" fmla="*/ 331648 w 331748"/>
                <a:gd name="connsiteY37" fmla="*/ 245705 h 287023"/>
                <a:gd name="connsiteX38" fmla="*/ 331647 w 331748"/>
                <a:gd name="connsiteY38" fmla="*/ 239835 h 287023"/>
                <a:gd name="connsiteX39" fmla="*/ 331647 w 331748"/>
                <a:gd name="connsiteY39" fmla="*/ 91606 h 287023"/>
                <a:gd name="connsiteX40" fmla="*/ 290490 w 331748"/>
                <a:gd name="connsiteY40" fmla="*/ 44516 h 287023"/>
                <a:gd name="connsiteX41" fmla="*/ 284576 w 331748"/>
                <a:gd name="connsiteY41" fmla="*/ 44515 h 287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31748" h="287023">
                  <a:moveTo>
                    <a:pt x="317998" y="239835"/>
                  </a:moveTo>
                  <a:cubicBezTo>
                    <a:pt x="319614" y="256676"/>
                    <a:pt x="307272" y="271639"/>
                    <a:pt x="290430" y="273256"/>
                  </a:cubicBezTo>
                  <a:cubicBezTo>
                    <a:pt x="288484" y="273443"/>
                    <a:pt x="286523" y="273443"/>
                    <a:pt x="284576" y="273256"/>
                  </a:cubicBezTo>
                  <a:lnTo>
                    <a:pt x="47150" y="273256"/>
                  </a:lnTo>
                  <a:cubicBezTo>
                    <a:pt x="30283" y="274847"/>
                    <a:pt x="15320" y="262465"/>
                    <a:pt x="13729" y="245598"/>
                  </a:cubicBezTo>
                  <a:cubicBezTo>
                    <a:pt x="13548" y="243681"/>
                    <a:pt x="13548" y="241752"/>
                    <a:pt x="13729" y="239835"/>
                  </a:cubicBezTo>
                  <a:lnTo>
                    <a:pt x="13729" y="91606"/>
                  </a:lnTo>
                  <a:cubicBezTo>
                    <a:pt x="12113" y="74753"/>
                    <a:pt x="24466" y="59781"/>
                    <a:pt x="41319" y="58166"/>
                  </a:cubicBezTo>
                  <a:cubicBezTo>
                    <a:pt x="43258" y="57980"/>
                    <a:pt x="45210" y="57979"/>
                    <a:pt x="47150" y="58164"/>
                  </a:cubicBezTo>
                  <a:lnTo>
                    <a:pt x="284576" y="58164"/>
                  </a:lnTo>
                  <a:cubicBezTo>
                    <a:pt x="301443" y="56572"/>
                    <a:pt x="316407" y="68953"/>
                    <a:pt x="317999" y="85820"/>
                  </a:cubicBezTo>
                  <a:cubicBezTo>
                    <a:pt x="318181" y="87744"/>
                    <a:pt x="318181" y="89681"/>
                    <a:pt x="317998" y="91606"/>
                  </a:cubicBezTo>
                  <a:close/>
                  <a:moveTo>
                    <a:pt x="116962" y="20512"/>
                  </a:moveTo>
                  <a:cubicBezTo>
                    <a:pt x="116427" y="17014"/>
                    <a:pt x="118829" y="13744"/>
                    <a:pt x="122327" y="13209"/>
                  </a:cubicBezTo>
                  <a:cubicBezTo>
                    <a:pt x="122969" y="13111"/>
                    <a:pt x="123623" y="13111"/>
                    <a:pt x="124265" y="13209"/>
                  </a:cubicBezTo>
                  <a:lnTo>
                    <a:pt x="207482" y="13209"/>
                  </a:lnTo>
                  <a:cubicBezTo>
                    <a:pt x="214785" y="13209"/>
                    <a:pt x="214785" y="18457"/>
                    <a:pt x="214785" y="20512"/>
                  </a:cubicBezTo>
                  <a:lnTo>
                    <a:pt x="214785" y="44373"/>
                  </a:lnTo>
                  <a:lnTo>
                    <a:pt x="116962" y="44373"/>
                  </a:lnTo>
                  <a:close/>
                  <a:moveTo>
                    <a:pt x="284515" y="44515"/>
                  </a:moveTo>
                  <a:lnTo>
                    <a:pt x="228352" y="44515"/>
                  </a:lnTo>
                  <a:lnTo>
                    <a:pt x="228352" y="20512"/>
                  </a:lnTo>
                  <a:cubicBezTo>
                    <a:pt x="228718" y="9565"/>
                    <a:pt x="220139" y="394"/>
                    <a:pt x="209192" y="29"/>
                  </a:cubicBezTo>
                  <a:cubicBezTo>
                    <a:pt x="209185" y="28"/>
                    <a:pt x="209177" y="28"/>
                    <a:pt x="209170" y="28"/>
                  </a:cubicBezTo>
                  <a:cubicBezTo>
                    <a:pt x="208608" y="-3"/>
                    <a:pt x="208044" y="-3"/>
                    <a:pt x="207482" y="28"/>
                  </a:cubicBezTo>
                  <a:lnTo>
                    <a:pt x="124244" y="28"/>
                  </a:lnTo>
                  <a:cubicBezTo>
                    <a:pt x="113306" y="-549"/>
                    <a:pt x="103971" y="7851"/>
                    <a:pt x="103395" y="18790"/>
                  </a:cubicBezTo>
                  <a:cubicBezTo>
                    <a:pt x="103395" y="18794"/>
                    <a:pt x="103394" y="18799"/>
                    <a:pt x="103394" y="18803"/>
                  </a:cubicBezTo>
                  <a:cubicBezTo>
                    <a:pt x="103364" y="19366"/>
                    <a:pt x="103364" y="19929"/>
                    <a:pt x="103394" y="20492"/>
                  </a:cubicBezTo>
                  <a:lnTo>
                    <a:pt x="103394" y="44373"/>
                  </a:lnTo>
                  <a:lnTo>
                    <a:pt x="47150" y="44373"/>
                  </a:lnTo>
                  <a:cubicBezTo>
                    <a:pt x="22768" y="42768"/>
                    <a:pt x="1702" y="61233"/>
                    <a:pt x="97" y="85615"/>
                  </a:cubicBezTo>
                  <a:cubicBezTo>
                    <a:pt x="-31" y="87562"/>
                    <a:pt x="-30" y="89516"/>
                    <a:pt x="100" y="91463"/>
                  </a:cubicBezTo>
                  <a:lnTo>
                    <a:pt x="100" y="239835"/>
                  </a:lnTo>
                  <a:cubicBezTo>
                    <a:pt x="-1526" y="264215"/>
                    <a:pt x="16921" y="285297"/>
                    <a:pt x="41301" y="286923"/>
                  </a:cubicBezTo>
                  <a:cubicBezTo>
                    <a:pt x="43249" y="287053"/>
                    <a:pt x="45202" y="287054"/>
                    <a:pt x="47150" y="286925"/>
                  </a:cubicBezTo>
                  <a:lnTo>
                    <a:pt x="284576" y="286925"/>
                  </a:lnTo>
                  <a:cubicBezTo>
                    <a:pt x="308958" y="288541"/>
                    <a:pt x="330032" y="270086"/>
                    <a:pt x="331648" y="245705"/>
                  </a:cubicBezTo>
                  <a:cubicBezTo>
                    <a:pt x="331778" y="243750"/>
                    <a:pt x="331777" y="241789"/>
                    <a:pt x="331647" y="239835"/>
                  </a:cubicBezTo>
                  <a:lnTo>
                    <a:pt x="331647" y="91606"/>
                  </a:lnTo>
                  <a:cubicBezTo>
                    <a:pt x="333285" y="67237"/>
                    <a:pt x="314859" y="46155"/>
                    <a:pt x="290490" y="44516"/>
                  </a:cubicBezTo>
                  <a:cubicBezTo>
                    <a:pt x="288521" y="44384"/>
                    <a:pt x="286546" y="44383"/>
                    <a:pt x="284576" y="44515"/>
                  </a:cubicBezTo>
                </a:path>
              </a:pathLst>
            </a:custGeom>
            <a:solidFill>
              <a:srgbClr val="1F6896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0" name="Graphic 180">
            <a:extLst>
              <a:ext uri="{FF2B5EF4-FFF2-40B4-BE49-F238E27FC236}">
                <a16:creationId xmlns:a16="http://schemas.microsoft.com/office/drawing/2014/main" id="{E5FCA402-8E3A-91AB-E5F7-7D0691783786}"/>
              </a:ext>
            </a:extLst>
          </p:cNvPr>
          <p:cNvGrpSpPr/>
          <p:nvPr/>
        </p:nvGrpSpPr>
        <p:grpSpPr>
          <a:xfrm>
            <a:off x="3948158" y="3183729"/>
            <a:ext cx="374652" cy="374652"/>
            <a:chOff x="3885405" y="2797967"/>
            <a:chExt cx="374652" cy="374652"/>
          </a:xfrm>
        </p:grpSpPr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0785171B-46E9-25DC-C0E1-F804C304A575}"/>
                </a:ext>
              </a:extLst>
            </p:cNvPr>
            <p:cNvSpPr/>
            <p:nvPr/>
          </p:nvSpPr>
          <p:spPr>
            <a:xfrm>
              <a:off x="3891212" y="2803563"/>
              <a:ext cx="159695" cy="143783"/>
            </a:xfrm>
            <a:custGeom>
              <a:avLst/>
              <a:gdLst>
                <a:gd name="connsiteX0" fmla="*/ 0 w 159695"/>
                <a:gd name="connsiteY0" fmla="*/ 23978 h 143783"/>
                <a:gd name="connsiteX1" fmla="*/ 0 w 159695"/>
                <a:gd name="connsiteY1" fmla="*/ 93218 h 143783"/>
                <a:gd name="connsiteX2" fmla="*/ 23954 w 159695"/>
                <a:gd name="connsiteY2" fmla="*/ 117172 h 143783"/>
                <a:gd name="connsiteX3" fmla="*/ 79192 w 159695"/>
                <a:gd name="connsiteY3" fmla="*/ 117172 h 143783"/>
                <a:gd name="connsiteX4" fmla="*/ 129185 w 159695"/>
                <a:gd name="connsiteY4" fmla="*/ 143468 h 143783"/>
                <a:gd name="connsiteX5" fmla="*/ 132768 w 159695"/>
                <a:gd name="connsiteY5" fmla="*/ 142389 h 143783"/>
                <a:gd name="connsiteX6" fmla="*/ 133025 w 159695"/>
                <a:gd name="connsiteY6" fmla="*/ 140588 h 143783"/>
                <a:gd name="connsiteX7" fmla="*/ 128342 w 159695"/>
                <a:gd name="connsiteY7" fmla="*/ 117172 h 143783"/>
                <a:gd name="connsiteX8" fmla="*/ 135741 w 159695"/>
                <a:gd name="connsiteY8" fmla="*/ 117172 h 143783"/>
                <a:gd name="connsiteX9" fmla="*/ 159695 w 159695"/>
                <a:gd name="connsiteY9" fmla="*/ 93171 h 143783"/>
                <a:gd name="connsiteX10" fmla="*/ 159695 w 159695"/>
                <a:gd name="connsiteY10" fmla="*/ 23978 h 143783"/>
                <a:gd name="connsiteX11" fmla="*/ 135741 w 159695"/>
                <a:gd name="connsiteY11" fmla="*/ 0 h 143783"/>
                <a:gd name="connsiteX12" fmla="*/ 23954 w 159695"/>
                <a:gd name="connsiteY12" fmla="*/ 0 h 143783"/>
                <a:gd name="connsiteX13" fmla="*/ 0 w 159695"/>
                <a:gd name="connsiteY13" fmla="*/ 23978 h 143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9695" h="143783">
                  <a:moveTo>
                    <a:pt x="0" y="23978"/>
                  </a:moveTo>
                  <a:lnTo>
                    <a:pt x="0" y="93218"/>
                  </a:lnTo>
                  <a:cubicBezTo>
                    <a:pt x="13" y="106442"/>
                    <a:pt x="10730" y="117159"/>
                    <a:pt x="23954" y="117172"/>
                  </a:cubicBezTo>
                  <a:lnTo>
                    <a:pt x="79192" y="117172"/>
                  </a:lnTo>
                  <a:lnTo>
                    <a:pt x="129185" y="143468"/>
                  </a:lnTo>
                  <a:cubicBezTo>
                    <a:pt x="130472" y="144160"/>
                    <a:pt x="132076" y="143676"/>
                    <a:pt x="132768" y="142389"/>
                  </a:cubicBezTo>
                  <a:cubicBezTo>
                    <a:pt x="133064" y="141838"/>
                    <a:pt x="133155" y="141200"/>
                    <a:pt x="133025" y="140588"/>
                  </a:cubicBezTo>
                  <a:lnTo>
                    <a:pt x="128342" y="117172"/>
                  </a:lnTo>
                  <a:lnTo>
                    <a:pt x="135741" y="117172"/>
                  </a:lnTo>
                  <a:cubicBezTo>
                    <a:pt x="148984" y="117159"/>
                    <a:pt x="159708" y="106414"/>
                    <a:pt x="159695" y="93171"/>
                  </a:cubicBezTo>
                  <a:lnTo>
                    <a:pt x="159695" y="23978"/>
                  </a:lnTo>
                  <a:cubicBezTo>
                    <a:pt x="159683" y="10750"/>
                    <a:pt x="148969" y="26"/>
                    <a:pt x="135741" y="0"/>
                  </a:cubicBezTo>
                  <a:lnTo>
                    <a:pt x="23954" y="0"/>
                  </a:lnTo>
                  <a:cubicBezTo>
                    <a:pt x="10726" y="26"/>
                    <a:pt x="13" y="10750"/>
                    <a:pt x="0" y="23978"/>
                  </a:cubicBezTo>
                  <a:close/>
                </a:path>
              </a:pathLst>
            </a:custGeom>
            <a:noFill/>
            <a:ln w="9287" cap="rnd">
              <a:solidFill>
                <a:srgbClr val="1F689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F59A8F14-51D7-D76A-C4F2-579464E96C28}"/>
                </a:ext>
              </a:extLst>
            </p:cNvPr>
            <p:cNvSpPr/>
            <p:nvPr/>
          </p:nvSpPr>
          <p:spPr>
            <a:xfrm>
              <a:off x="4032738" y="2883143"/>
              <a:ext cx="219325" cy="278704"/>
            </a:xfrm>
            <a:custGeom>
              <a:avLst/>
              <a:gdLst>
                <a:gd name="connsiteX0" fmla="*/ 136652 w 219325"/>
                <a:gd name="connsiteY0" fmla="*/ 254539 h 278704"/>
                <a:gd name="connsiteX1" fmla="*/ 191867 w 219325"/>
                <a:gd name="connsiteY1" fmla="*/ 196773 h 278704"/>
                <a:gd name="connsiteX2" fmla="*/ 194934 w 219325"/>
                <a:gd name="connsiteY2" fmla="*/ 176565 h 278704"/>
                <a:gd name="connsiteX3" fmla="*/ 193389 w 219325"/>
                <a:gd name="connsiteY3" fmla="*/ 173849 h 278704"/>
                <a:gd name="connsiteX4" fmla="*/ 181189 w 219325"/>
                <a:gd name="connsiteY4" fmla="*/ 169329 h 278704"/>
                <a:gd name="connsiteX5" fmla="*/ 180206 w 219325"/>
                <a:gd name="connsiteY5" fmla="*/ 172233 h 278704"/>
                <a:gd name="connsiteX6" fmla="*/ 153160 w 219325"/>
                <a:gd name="connsiteY6" fmla="*/ 214920 h 278704"/>
                <a:gd name="connsiteX7" fmla="*/ 68078 w 219325"/>
                <a:gd name="connsiteY7" fmla="*/ 216894 h 278704"/>
                <a:gd name="connsiteX8" fmla="*/ 65749 w 219325"/>
                <a:gd name="connsiteY8" fmla="*/ 214545 h 278704"/>
                <a:gd name="connsiteX9" fmla="*/ 38166 w 219325"/>
                <a:gd name="connsiteY9" fmla="*/ 169353 h 278704"/>
                <a:gd name="connsiteX10" fmla="*/ 25591 w 219325"/>
                <a:gd name="connsiteY10" fmla="*/ 173638 h 278704"/>
                <a:gd name="connsiteX11" fmla="*/ 8943 w 219325"/>
                <a:gd name="connsiteY11" fmla="*/ 173942 h 278704"/>
                <a:gd name="connsiteX12" fmla="*/ 183 w 219325"/>
                <a:gd name="connsiteY12" fmla="*/ 164543 h 278704"/>
                <a:gd name="connsiteX13" fmla="*/ 209 w 219325"/>
                <a:gd name="connsiteY13" fmla="*/ 164108 h 278704"/>
                <a:gd name="connsiteX14" fmla="*/ 209 w 219325"/>
                <a:gd name="connsiteY14" fmla="*/ 143244 h 278704"/>
                <a:gd name="connsiteX15" fmla="*/ 864 w 219325"/>
                <a:gd name="connsiteY15" fmla="*/ 94961 h 278704"/>
                <a:gd name="connsiteX16" fmla="*/ 59872 w 219325"/>
                <a:gd name="connsiteY16" fmla="*/ 11039 h 278704"/>
                <a:gd name="connsiteX17" fmla="*/ 166835 w 219325"/>
                <a:gd name="connsiteY17" fmla="*/ 14551 h 278704"/>
                <a:gd name="connsiteX18" fmla="*/ 218350 w 219325"/>
                <a:gd name="connsiteY18" fmla="*/ 92338 h 278704"/>
                <a:gd name="connsiteX19" fmla="*/ 219193 w 219325"/>
                <a:gd name="connsiteY19" fmla="*/ 140270 h 278704"/>
                <a:gd name="connsiteX20" fmla="*/ 219193 w 219325"/>
                <a:gd name="connsiteY20" fmla="*/ 162515 h 278704"/>
                <a:gd name="connsiteX21" fmla="*/ 208258 w 219325"/>
                <a:gd name="connsiteY21" fmla="*/ 174223 h 278704"/>
                <a:gd name="connsiteX22" fmla="*/ 206712 w 219325"/>
                <a:gd name="connsiteY22" fmla="*/ 174387 h 278704"/>
                <a:gd name="connsiteX23" fmla="*/ 204628 w 219325"/>
                <a:gd name="connsiteY23" fmla="*/ 190778 h 278704"/>
                <a:gd name="connsiteX24" fmla="*/ 139532 w 219325"/>
                <a:gd name="connsiteY24" fmla="*/ 265217 h 278704"/>
                <a:gd name="connsiteX25" fmla="*/ 136324 w 219325"/>
                <a:gd name="connsiteY25" fmla="*/ 268776 h 278704"/>
                <a:gd name="connsiteX26" fmla="*/ 125834 w 219325"/>
                <a:gd name="connsiteY26" fmla="*/ 278564 h 278704"/>
                <a:gd name="connsiteX27" fmla="*/ 93848 w 219325"/>
                <a:gd name="connsiteY27" fmla="*/ 278564 h 278704"/>
                <a:gd name="connsiteX28" fmla="*/ 82983 w 219325"/>
                <a:gd name="connsiteY28" fmla="*/ 267582 h 278704"/>
                <a:gd name="connsiteX29" fmla="*/ 82983 w 219325"/>
                <a:gd name="connsiteY29" fmla="*/ 255406 h 278704"/>
                <a:gd name="connsiteX30" fmla="*/ 94036 w 219325"/>
                <a:gd name="connsiteY30" fmla="*/ 244588 h 278704"/>
                <a:gd name="connsiteX31" fmla="*/ 125319 w 219325"/>
                <a:gd name="connsiteY31" fmla="*/ 244588 h 278704"/>
                <a:gd name="connsiteX32" fmla="*/ 136652 w 219325"/>
                <a:gd name="connsiteY32" fmla="*/ 254539 h 278704"/>
                <a:gd name="connsiteX33" fmla="*/ 45612 w 219325"/>
                <a:gd name="connsiteY33" fmla="*/ 123879 h 278704"/>
                <a:gd name="connsiteX34" fmla="*/ 45612 w 219325"/>
                <a:gd name="connsiteY34" fmla="*/ 143853 h 278704"/>
                <a:gd name="connsiteX35" fmla="*/ 75865 w 219325"/>
                <a:gd name="connsiteY35" fmla="*/ 208598 h 278704"/>
                <a:gd name="connsiteX36" fmla="*/ 142694 w 219325"/>
                <a:gd name="connsiteY36" fmla="*/ 209323 h 278704"/>
                <a:gd name="connsiteX37" fmla="*/ 169739 w 219325"/>
                <a:gd name="connsiteY37" fmla="*/ 168440 h 278704"/>
                <a:gd name="connsiteX38" fmla="*/ 173673 w 219325"/>
                <a:gd name="connsiteY38" fmla="*/ 132707 h 278704"/>
                <a:gd name="connsiteX39" fmla="*/ 93146 w 219325"/>
                <a:gd name="connsiteY39" fmla="*/ 99808 h 278704"/>
                <a:gd name="connsiteX40" fmla="*/ 45612 w 219325"/>
                <a:gd name="connsiteY40" fmla="*/ 123879 h 278704"/>
                <a:gd name="connsiteX41" fmla="*/ 207953 w 219325"/>
                <a:gd name="connsiteY41" fmla="*/ 113155 h 278704"/>
                <a:gd name="connsiteX42" fmla="*/ 207953 w 219325"/>
                <a:gd name="connsiteY42" fmla="*/ 99433 h 278704"/>
                <a:gd name="connsiteX43" fmla="*/ 160138 w 219325"/>
                <a:gd name="connsiteY43" fmla="*/ 23449 h 278704"/>
                <a:gd name="connsiteX44" fmla="*/ 90172 w 219325"/>
                <a:gd name="connsiteY44" fmla="*/ 13497 h 278704"/>
                <a:gd name="connsiteX45" fmla="*/ 12338 w 219325"/>
                <a:gd name="connsiteY45" fmla="*/ 90769 h 278704"/>
                <a:gd name="connsiteX46" fmla="*/ 11074 w 219325"/>
                <a:gd name="connsiteY46" fmla="*/ 113038 h 278704"/>
                <a:gd name="connsiteX47" fmla="*/ 34302 w 219325"/>
                <a:gd name="connsiteY47" fmla="*/ 115379 h 278704"/>
                <a:gd name="connsiteX48" fmla="*/ 52800 w 219325"/>
                <a:gd name="connsiteY48" fmla="*/ 60001 h 278704"/>
                <a:gd name="connsiteX49" fmla="*/ 106188 w 219325"/>
                <a:gd name="connsiteY49" fmla="*/ 33893 h 278704"/>
                <a:gd name="connsiteX50" fmla="*/ 156017 w 219325"/>
                <a:gd name="connsiteY50" fmla="*/ 49932 h 278704"/>
                <a:gd name="connsiteX51" fmla="*/ 185053 w 219325"/>
                <a:gd name="connsiteY51" fmla="*/ 115497 h 278704"/>
                <a:gd name="connsiteX52" fmla="*/ 173907 w 219325"/>
                <a:gd name="connsiteY52" fmla="*/ 121585 h 278704"/>
                <a:gd name="connsiteX53" fmla="*/ 173907 w 219325"/>
                <a:gd name="connsiteY53" fmla="*/ 109877 h 278704"/>
                <a:gd name="connsiteX54" fmla="*/ 109630 w 219325"/>
                <a:gd name="connsiteY54" fmla="*/ 45741 h 278704"/>
                <a:gd name="connsiteX55" fmla="*/ 45495 w 219325"/>
                <a:gd name="connsiteY55" fmla="*/ 110017 h 278704"/>
                <a:gd name="connsiteX56" fmla="*/ 47485 w 219325"/>
                <a:gd name="connsiteY56" fmla="*/ 112827 h 278704"/>
                <a:gd name="connsiteX57" fmla="*/ 77457 w 219325"/>
                <a:gd name="connsiteY57" fmla="*/ 103086 h 278704"/>
                <a:gd name="connsiteX58" fmla="*/ 86824 w 219325"/>
                <a:gd name="connsiteY58" fmla="*/ 85360 h 278704"/>
                <a:gd name="connsiteX59" fmla="*/ 92233 w 219325"/>
                <a:gd name="connsiteY59" fmla="*/ 80349 h 278704"/>
                <a:gd name="connsiteX60" fmla="*/ 98110 w 219325"/>
                <a:gd name="connsiteY60" fmla="*/ 84845 h 278704"/>
                <a:gd name="connsiteX61" fmla="*/ 104011 w 219325"/>
                <a:gd name="connsiteY61" fmla="*/ 95406 h 278704"/>
                <a:gd name="connsiteX62" fmla="*/ 173907 w 219325"/>
                <a:gd name="connsiteY62" fmla="*/ 121585 h 278704"/>
                <a:gd name="connsiteX63" fmla="*/ 11495 w 219325"/>
                <a:gd name="connsiteY63" fmla="*/ 162562 h 278704"/>
                <a:gd name="connsiteX64" fmla="*/ 25427 w 219325"/>
                <a:gd name="connsiteY64" fmla="*/ 162445 h 278704"/>
                <a:gd name="connsiteX65" fmla="*/ 34208 w 219325"/>
                <a:gd name="connsiteY65" fmla="*/ 151533 h 278704"/>
                <a:gd name="connsiteX66" fmla="*/ 34208 w 219325"/>
                <a:gd name="connsiteY66" fmla="*/ 135915 h 278704"/>
                <a:gd name="connsiteX67" fmla="*/ 26341 w 219325"/>
                <a:gd name="connsiteY67" fmla="*/ 125729 h 278704"/>
                <a:gd name="connsiteX68" fmla="*/ 11565 w 219325"/>
                <a:gd name="connsiteY68" fmla="*/ 124793 h 278704"/>
                <a:gd name="connsiteX69" fmla="*/ 207860 w 219325"/>
                <a:gd name="connsiteY69" fmla="*/ 125097 h 278704"/>
                <a:gd name="connsiteX70" fmla="*/ 195707 w 219325"/>
                <a:gd name="connsiteY70" fmla="*/ 125097 h 278704"/>
                <a:gd name="connsiteX71" fmla="*/ 185053 w 219325"/>
                <a:gd name="connsiteY71" fmla="*/ 136664 h 278704"/>
                <a:gd name="connsiteX72" fmla="*/ 185053 w 219325"/>
                <a:gd name="connsiteY72" fmla="*/ 151604 h 278704"/>
                <a:gd name="connsiteX73" fmla="*/ 194419 w 219325"/>
                <a:gd name="connsiteY73" fmla="*/ 162539 h 278704"/>
                <a:gd name="connsiteX74" fmla="*/ 207930 w 219325"/>
                <a:gd name="connsiteY74" fmla="*/ 162539 h 278704"/>
                <a:gd name="connsiteX75" fmla="*/ 94106 w 219325"/>
                <a:gd name="connsiteY75" fmla="*/ 267254 h 278704"/>
                <a:gd name="connsiteX76" fmla="*/ 125061 w 219325"/>
                <a:gd name="connsiteY76" fmla="*/ 267254 h 278704"/>
                <a:gd name="connsiteX77" fmla="*/ 125061 w 219325"/>
                <a:gd name="connsiteY77" fmla="*/ 256038 h 278704"/>
                <a:gd name="connsiteX78" fmla="*/ 94106 w 219325"/>
                <a:gd name="connsiteY78" fmla="*/ 256038 h 278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219325" h="278704">
                  <a:moveTo>
                    <a:pt x="136652" y="254539"/>
                  </a:moveTo>
                  <a:cubicBezTo>
                    <a:pt x="164202" y="246773"/>
                    <a:pt x="185352" y="224645"/>
                    <a:pt x="191867" y="196773"/>
                  </a:cubicBezTo>
                  <a:cubicBezTo>
                    <a:pt x="193304" y="190106"/>
                    <a:pt x="194329" y="183357"/>
                    <a:pt x="194934" y="176565"/>
                  </a:cubicBezTo>
                  <a:cubicBezTo>
                    <a:pt x="194887" y="175463"/>
                    <a:pt x="194312" y="174452"/>
                    <a:pt x="193389" y="173849"/>
                  </a:cubicBezTo>
                  <a:cubicBezTo>
                    <a:pt x="189502" y="172233"/>
                    <a:pt x="185498" y="170898"/>
                    <a:pt x="181189" y="169329"/>
                  </a:cubicBezTo>
                  <a:lnTo>
                    <a:pt x="180206" y="172233"/>
                  </a:lnTo>
                  <a:cubicBezTo>
                    <a:pt x="174914" y="188505"/>
                    <a:pt x="165613" y="203185"/>
                    <a:pt x="153160" y="214920"/>
                  </a:cubicBezTo>
                  <a:cubicBezTo>
                    <a:pt x="130211" y="238960"/>
                    <a:pt x="92118" y="239844"/>
                    <a:pt x="68078" y="216894"/>
                  </a:cubicBezTo>
                  <a:cubicBezTo>
                    <a:pt x="67280" y="216132"/>
                    <a:pt x="66504" y="215349"/>
                    <a:pt x="65749" y="214545"/>
                  </a:cubicBezTo>
                  <a:cubicBezTo>
                    <a:pt x="52820" y="202105"/>
                    <a:pt x="43319" y="186539"/>
                    <a:pt x="38166" y="169353"/>
                  </a:cubicBezTo>
                  <a:cubicBezTo>
                    <a:pt x="34124" y="171187"/>
                    <a:pt x="29912" y="172622"/>
                    <a:pt x="25591" y="173638"/>
                  </a:cubicBezTo>
                  <a:cubicBezTo>
                    <a:pt x="20064" y="174267"/>
                    <a:pt x="14489" y="174368"/>
                    <a:pt x="8943" y="173942"/>
                  </a:cubicBezTo>
                  <a:cubicBezTo>
                    <a:pt x="3928" y="173766"/>
                    <a:pt x="6" y="169557"/>
                    <a:pt x="183" y="164543"/>
                  </a:cubicBezTo>
                  <a:cubicBezTo>
                    <a:pt x="188" y="164397"/>
                    <a:pt x="197" y="164252"/>
                    <a:pt x="209" y="164108"/>
                  </a:cubicBezTo>
                  <a:cubicBezTo>
                    <a:pt x="209" y="157083"/>
                    <a:pt x="209" y="150199"/>
                    <a:pt x="209" y="143244"/>
                  </a:cubicBezTo>
                  <a:cubicBezTo>
                    <a:pt x="209" y="127158"/>
                    <a:pt x="-564" y="110954"/>
                    <a:pt x="864" y="94961"/>
                  </a:cubicBezTo>
                  <a:cubicBezTo>
                    <a:pt x="2474" y="57870"/>
                    <a:pt x="25513" y="25103"/>
                    <a:pt x="59872" y="11039"/>
                  </a:cubicBezTo>
                  <a:cubicBezTo>
                    <a:pt x="94063" y="-4831"/>
                    <a:pt x="133759" y="-3528"/>
                    <a:pt x="166835" y="14551"/>
                  </a:cubicBezTo>
                  <a:cubicBezTo>
                    <a:pt x="196494" y="29613"/>
                    <a:pt x="216057" y="59153"/>
                    <a:pt x="218350" y="92338"/>
                  </a:cubicBezTo>
                  <a:cubicBezTo>
                    <a:pt x="219989" y="108167"/>
                    <a:pt x="219029" y="124277"/>
                    <a:pt x="219193" y="140270"/>
                  </a:cubicBezTo>
                  <a:cubicBezTo>
                    <a:pt x="219193" y="147670"/>
                    <a:pt x="219193" y="155093"/>
                    <a:pt x="219193" y="162515"/>
                  </a:cubicBezTo>
                  <a:cubicBezTo>
                    <a:pt x="219193" y="170500"/>
                    <a:pt x="216149" y="173708"/>
                    <a:pt x="208258" y="174223"/>
                  </a:cubicBezTo>
                  <a:cubicBezTo>
                    <a:pt x="207813" y="174223"/>
                    <a:pt x="207368" y="174223"/>
                    <a:pt x="206712" y="174387"/>
                  </a:cubicBezTo>
                  <a:cubicBezTo>
                    <a:pt x="206010" y="179913"/>
                    <a:pt x="205612" y="185439"/>
                    <a:pt x="204628" y="190778"/>
                  </a:cubicBezTo>
                  <a:cubicBezTo>
                    <a:pt x="199729" y="226358"/>
                    <a:pt x="174142" y="255618"/>
                    <a:pt x="139532" y="265217"/>
                  </a:cubicBezTo>
                  <a:cubicBezTo>
                    <a:pt x="137565" y="265849"/>
                    <a:pt x="136535" y="266411"/>
                    <a:pt x="136324" y="268776"/>
                  </a:cubicBezTo>
                  <a:cubicBezTo>
                    <a:pt x="135826" y="274232"/>
                    <a:pt x="131311" y="278444"/>
                    <a:pt x="125834" y="278564"/>
                  </a:cubicBezTo>
                  <a:cubicBezTo>
                    <a:pt x="115172" y="278751"/>
                    <a:pt x="104510" y="278751"/>
                    <a:pt x="93848" y="278564"/>
                  </a:cubicBezTo>
                  <a:cubicBezTo>
                    <a:pt x="87855" y="278438"/>
                    <a:pt x="83045" y="273576"/>
                    <a:pt x="82983" y="267582"/>
                  </a:cubicBezTo>
                  <a:cubicBezTo>
                    <a:pt x="82796" y="263531"/>
                    <a:pt x="82796" y="259457"/>
                    <a:pt x="82983" y="255406"/>
                  </a:cubicBezTo>
                  <a:cubicBezTo>
                    <a:pt x="83207" y="249435"/>
                    <a:pt x="88062" y="244683"/>
                    <a:pt x="94036" y="244588"/>
                  </a:cubicBezTo>
                  <a:cubicBezTo>
                    <a:pt x="104456" y="244447"/>
                    <a:pt x="114899" y="244424"/>
                    <a:pt x="125319" y="244588"/>
                  </a:cubicBezTo>
                  <a:cubicBezTo>
                    <a:pt x="131015" y="244706"/>
                    <a:pt x="135799" y="248906"/>
                    <a:pt x="136652" y="254539"/>
                  </a:cubicBezTo>
                  <a:close/>
                  <a:moveTo>
                    <a:pt x="45612" y="123879"/>
                  </a:moveTo>
                  <a:cubicBezTo>
                    <a:pt x="45612" y="130904"/>
                    <a:pt x="45612" y="137390"/>
                    <a:pt x="45612" y="143853"/>
                  </a:cubicBezTo>
                  <a:cubicBezTo>
                    <a:pt x="45862" y="168793"/>
                    <a:pt x="56895" y="192404"/>
                    <a:pt x="75865" y="208598"/>
                  </a:cubicBezTo>
                  <a:cubicBezTo>
                    <a:pt x="94302" y="226817"/>
                    <a:pt x="123865" y="227138"/>
                    <a:pt x="142694" y="209323"/>
                  </a:cubicBezTo>
                  <a:cubicBezTo>
                    <a:pt x="155365" y="198502"/>
                    <a:pt x="164737" y="184335"/>
                    <a:pt x="169739" y="168440"/>
                  </a:cubicBezTo>
                  <a:cubicBezTo>
                    <a:pt x="173377" y="156901"/>
                    <a:pt x="174714" y="144761"/>
                    <a:pt x="173673" y="132707"/>
                  </a:cubicBezTo>
                  <a:cubicBezTo>
                    <a:pt x="142881" y="136908"/>
                    <a:pt x="112187" y="124367"/>
                    <a:pt x="93146" y="99808"/>
                  </a:cubicBezTo>
                  <a:cubicBezTo>
                    <a:pt x="84970" y="118046"/>
                    <a:pt x="65152" y="128082"/>
                    <a:pt x="45612" y="123879"/>
                  </a:cubicBezTo>
                  <a:close/>
                  <a:moveTo>
                    <a:pt x="207953" y="113155"/>
                  </a:moveTo>
                  <a:cubicBezTo>
                    <a:pt x="207953" y="108683"/>
                    <a:pt x="208211" y="104046"/>
                    <a:pt x="207953" y="99433"/>
                  </a:cubicBezTo>
                  <a:cubicBezTo>
                    <a:pt x="207202" y="67239"/>
                    <a:pt x="188838" y="38056"/>
                    <a:pt x="160138" y="23449"/>
                  </a:cubicBezTo>
                  <a:cubicBezTo>
                    <a:pt x="138544" y="12530"/>
                    <a:pt x="113954" y="9033"/>
                    <a:pt x="90172" y="13497"/>
                  </a:cubicBezTo>
                  <a:cubicBezTo>
                    <a:pt x="49585" y="18374"/>
                    <a:pt x="17509" y="50219"/>
                    <a:pt x="12338" y="90769"/>
                  </a:cubicBezTo>
                  <a:cubicBezTo>
                    <a:pt x="11214" y="98216"/>
                    <a:pt x="11448" y="105896"/>
                    <a:pt x="11074" y="113038"/>
                  </a:cubicBezTo>
                  <a:lnTo>
                    <a:pt x="34302" y="115379"/>
                  </a:lnTo>
                  <a:cubicBezTo>
                    <a:pt x="32889" y="95198"/>
                    <a:pt x="39542" y="75281"/>
                    <a:pt x="52800" y="60001"/>
                  </a:cubicBezTo>
                  <a:cubicBezTo>
                    <a:pt x="66130" y="44173"/>
                    <a:pt x="85511" y="34695"/>
                    <a:pt x="106188" y="33893"/>
                  </a:cubicBezTo>
                  <a:cubicBezTo>
                    <a:pt x="124226" y="32771"/>
                    <a:pt x="142021" y="38499"/>
                    <a:pt x="156017" y="49932"/>
                  </a:cubicBezTo>
                  <a:cubicBezTo>
                    <a:pt x="176130" y="65495"/>
                    <a:pt x="187046" y="90144"/>
                    <a:pt x="185053" y="115497"/>
                  </a:cubicBezTo>
                  <a:close/>
                  <a:moveTo>
                    <a:pt x="173907" y="121585"/>
                  </a:moveTo>
                  <a:cubicBezTo>
                    <a:pt x="173907" y="117417"/>
                    <a:pt x="173907" y="113623"/>
                    <a:pt x="173907" y="109877"/>
                  </a:cubicBezTo>
                  <a:cubicBezTo>
                    <a:pt x="173868" y="74417"/>
                    <a:pt x="145090" y="45702"/>
                    <a:pt x="109630" y="45741"/>
                  </a:cubicBezTo>
                  <a:cubicBezTo>
                    <a:pt x="74170" y="45780"/>
                    <a:pt x="45456" y="74557"/>
                    <a:pt x="45495" y="110017"/>
                  </a:cubicBezTo>
                  <a:cubicBezTo>
                    <a:pt x="45495" y="111001"/>
                    <a:pt x="46689" y="112710"/>
                    <a:pt x="47485" y="112827"/>
                  </a:cubicBezTo>
                  <a:cubicBezTo>
                    <a:pt x="58496" y="115117"/>
                    <a:pt x="69897" y="111412"/>
                    <a:pt x="77457" y="103086"/>
                  </a:cubicBezTo>
                  <a:cubicBezTo>
                    <a:pt x="81868" y="97954"/>
                    <a:pt x="85069" y="91896"/>
                    <a:pt x="86824" y="85360"/>
                  </a:cubicBezTo>
                  <a:cubicBezTo>
                    <a:pt x="87643" y="82574"/>
                    <a:pt x="89165" y="80490"/>
                    <a:pt x="92233" y="80349"/>
                  </a:cubicBezTo>
                  <a:cubicBezTo>
                    <a:pt x="95300" y="80209"/>
                    <a:pt x="96916" y="82246"/>
                    <a:pt x="98110" y="84845"/>
                  </a:cubicBezTo>
                  <a:cubicBezTo>
                    <a:pt x="99713" y="88557"/>
                    <a:pt x="101690" y="92095"/>
                    <a:pt x="104011" y="95406"/>
                  </a:cubicBezTo>
                  <a:cubicBezTo>
                    <a:pt x="121234" y="115605"/>
                    <a:pt x="147652" y="125499"/>
                    <a:pt x="173907" y="121585"/>
                  </a:cubicBezTo>
                  <a:close/>
                  <a:moveTo>
                    <a:pt x="11495" y="162562"/>
                  </a:moveTo>
                  <a:cubicBezTo>
                    <a:pt x="16137" y="162817"/>
                    <a:pt x="20790" y="162778"/>
                    <a:pt x="25427" y="162445"/>
                  </a:cubicBezTo>
                  <a:cubicBezTo>
                    <a:pt x="30704" y="161571"/>
                    <a:pt x="34483" y="156875"/>
                    <a:pt x="34208" y="151533"/>
                  </a:cubicBezTo>
                  <a:cubicBezTo>
                    <a:pt x="34208" y="146335"/>
                    <a:pt x="34208" y="141113"/>
                    <a:pt x="34208" y="135915"/>
                  </a:cubicBezTo>
                  <a:cubicBezTo>
                    <a:pt x="34317" y="131089"/>
                    <a:pt x="31038" y="126844"/>
                    <a:pt x="26341" y="125729"/>
                  </a:cubicBezTo>
                  <a:cubicBezTo>
                    <a:pt x="21439" y="125119"/>
                    <a:pt x="16505" y="124806"/>
                    <a:pt x="11565" y="124793"/>
                  </a:cubicBezTo>
                  <a:close/>
                  <a:moveTo>
                    <a:pt x="207860" y="125097"/>
                  </a:moveTo>
                  <a:cubicBezTo>
                    <a:pt x="203551" y="125097"/>
                    <a:pt x="199617" y="124863"/>
                    <a:pt x="195707" y="125097"/>
                  </a:cubicBezTo>
                  <a:cubicBezTo>
                    <a:pt x="189617" y="125449"/>
                    <a:pt x="184904" y="130566"/>
                    <a:pt x="185053" y="136664"/>
                  </a:cubicBezTo>
                  <a:cubicBezTo>
                    <a:pt x="185053" y="141652"/>
                    <a:pt x="185053" y="146616"/>
                    <a:pt x="185053" y="151604"/>
                  </a:cubicBezTo>
                  <a:cubicBezTo>
                    <a:pt x="184900" y="157114"/>
                    <a:pt x="188950" y="161843"/>
                    <a:pt x="194419" y="162539"/>
                  </a:cubicBezTo>
                  <a:cubicBezTo>
                    <a:pt x="198918" y="162809"/>
                    <a:pt x="203430" y="162809"/>
                    <a:pt x="207930" y="162539"/>
                  </a:cubicBezTo>
                  <a:close/>
                  <a:moveTo>
                    <a:pt x="94106" y="267254"/>
                  </a:moveTo>
                  <a:lnTo>
                    <a:pt x="125061" y="267254"/>
                  </a:lnTo>
                  <a:lnTo>
                    <a:pt x="125061" y="256038"/>
                  </a:lnTo>
                  <a:lnTo>
                    <a:pt x="94106" y="256038"/>
                  </a:lnTo>
                  <a:close/>
                </a:path>
              </a:pathLst>
            </a:custGeom>
            <a:solidFill>
              <a:srgbClr val="1F6898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5CF9E970-D483-46C5-FADA-67ECB66CFA23}"/>
                </a:ext>
              </a:extLst>
            </p:cNvPr>
            <p:cNvSpPr/>
            <p:nvPr/>
          </p:nvSpPr>
          <p:spPr>
            <a:xfrm>
              <a:off x="3909939" y="2854783"/>
              <a:ext cx="120247" cy="10082"/>
            </a:xfrm>
            <a:custGeom>
              <a:avLst/>
              <a:gdLst>
                <a:gd name="connsiteX0" fmla="*/ 60442 w 120247"/>
                <a:gd name="connsiteY0" fmla="*/ 37 h 10082"/>
                <a:gd name="connsiteX1" fmla="*/ 113876 w 120247"/>
                <a:gd name="connsiteY1" fmla="*/ 37 h 10082"/>
                <a:gd name="connsiteX2" fmla="*/ 120245 w 120247"/>
                <a:gd name="connsiteY2" fmla="*/ 4837 h 10082"/>
                <a:gd name="connsiteX3" fmla="*/ 113853 w 120247"/>
                <a:gd name="connsiteY3" fmla="*/ 10082 h 10082"/>
                <a:gd name="connsiteX4" fmla="*/ 6140 w 120247"/>
                <a:gd name="connsiteY4" fmla="*/ 10082 h 10082"/>
                <a:gd name="connsiteX5" fmla="*/ 193 w 120247"/>
                <a:gd name="connsiteY5" fmla="*/ 6078 h 10082"/>
                <a:gd name="connsiteX6" fmla="*/ 2792 w 120247"/>
                <a:gd name="connsiteY6" fmla="*/ 599 h 10082"/>
                <a:gd name="connsiteX7" fmla="*/ 6773 w 120247"/>
                <a:gd name="connsiteY7" fmla="*/ 13 h 10082"/>
                <a:gd name="connsiteX8" fmla="*/ 60629 w 120247"/>
                <a:gd name="connsiteY8" fmla="*/ 13 h 10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247" h="10082">
                  <a:moveTo>
                    <a:pt x="60442" y="37"/>
                  </a:moveTo>
                  <a:lnTo>
                    <a:pt x="113876" y="37"/>
                  </a:lnTo>
                  <a:cubicBezTo>
                    <a:pt x="118044" y="37"/>
                    <a:pt x="120175" y="1652"/>
                    <a:pt x="120245" y="4837"/>
                  </a:cubicBezTo>
                  <a:cubicBezTo>
                    <a:pt x="120316" y="8022"/>
                    <a:pt x="118044" y="10082"/>
                    <a:pt x="113853" y="10082"/>
                  </a:cubicBezTo>
                  <a:lnTo>
                    <a:pt x="6140" y="10082"/>
                  </a:lnTo>
                  <a:cubicBezTo>
                    <a:pt x="3237" y="10082"/>
                    <a:pt x="895" y="9169"/>
                    <a:pt x="193" y="6078"/>
                  </a:cubicBezTo>
                  <a:cubicBezTo>
                    <a:pt x="-477" y="3855"/>
                    <a:pt x="647" y="1486"/>
                    <a:pt x="2792" y="599"/>
                  </a:cubicBezTo>
                  <a:cubicBezTo>
                    <a:pt x="4067" y="143"/>
                    <a:pt x="5420" y="-56"/>
                    <a:pt x="6773" y="13"/>
                  </a:cubicBezTo>
                  <a:lnTo>
                    <a:pt x="60629" y="13"/>
                  </a:lnTo>
                  <a:close/>
                </a:path>
              </a:pathLst>
            </a:custGeom>
            <a:solidFill>
              <a:srgbClr val="BD5C7A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BF58EB0D-DEA3-34F9-3648-EBE4E7CB059B}"/>
                </a:ext>
              </a:extLst>
            </p:cNvPr>
            <p:cNvSpPr/>
            <p:nvPr/>
          </p:nvSpPr>
          <p:spPr>
            <a:xfrm>
              <a:off x="3909909" y="2831886"/>
              <a:ext cx="120225" cy="10116"/>
            </a:xfrm>
            <a:custGeom>
              <a:avLst/>
              <a:gdLst>
                <a:gd name="connsiteX0" fmla="*/ 60120 w 120225"/>
                <a:gd name="connsiteY0" fmla="*/ 10055 h 10116"/>
                <a:gd name="connsiteX1" fmla="*/ 7646 w 120225"/>
                <a:gd name="connsiteY1" fmla="*/ 10055 h 10116"/>
                <a:gd name="connsiteX2" fmla="*/ 4204 w 120225"/>
                <a:gd name="connsiteY2" fmla="*/ 10055 h 10116"/>
                <a:gd name="connsiteX3" fmla="*/ 59 w 120225"/>
                <a:gd name="connsiteY3" fmla="*/ 5630 h 10116"/>
                <a:gd name="connsiteX4" fmla="*/ 3595 w 120225"/>
                <a:gd name="connsiteY4" fmla="*/ 338 h 10116"/>
                <a:gd name="connsiteX5" fmla="*/ 7013 w 120225"/>
                <a:gd name="connsiteY5" fmla="*/ 10 h 10116"/>
                <a:gd name="connsiteX6" fmla="*/ 113204 w 120225"/>
                <a:gd name="connsiteY6" fmla="*/ 10 h 10116"/>
                <a:gd name="connsiteX7" fmla="*/ 116623 w 120225"/>
                <a:gd name="connsiteY7" fmla="*/ 361 h 10116"/>
                <a:gd name="connsiteX8" fmla="*/ 120158 w 120225"/>
                <a:gd name="connsiteY8" fmla="*/ 5559 h 10116"/>
                <a:gd name="connsiteX9" fmla="*/ 115990 w 120225"/>
                <a:gd name="connsiteY9" fmla="*/ 9938 h 10116"/>
                <a:gd name="connsiteX10" fmla="*/ 112853 w 120225"/>
                <a:gd name="connsiteY10" fmla="*/ 9938 h 1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0225" h="10116">
                  <a:moveTo>
                    <a:pt x="60120" y="10055"/>
                  </a:moveTo>
                  <a:lnTo>
                    <a:pt x="7646" y="10055"/>
                  </a:lnTo>
                  <a:cubicBezTo>
                    <a:pt x="6500" y="10137"/>
                    <a:pt x="5349" y="10137"/>
                    <a:pt x="4204" y="10055"/>
                  </a:cubicBezTo>
                  <a:cubicBezTo>
                    <a:pt x="1896" y="9853"/>
                    <a:pt x="110" y="7946"/>
                    <a:pt x="59" y="5630"/>
                  </a:cubicBezTo>
                  <a:cubicBezTo>
                    <a:pt x="-326" y="3213"/>
                    <a:pt x="1214" y="907"/>
                    <a:pt x="3595" y="338"/>
                  </a:cubicBezTo>
                  <a:cubicBezTo>
                    <a:pt x="4714" y="75"/>
                    <a:pt x="5864" y="-35"/>
                    <a:pt x="7013" y="10"/>
                  </a:cubicBezTo>
                  <a:cubicBezTo>
                    <a:pt x="42418" y="10"/>
                    <a:pt x="77815" y="10"/>
                    <a:pt x="113204" y="10"/>
                  </a:cubicBezTo>
                  <a:cubicBezTo>
                    <a:pt x="114354" y="-28"/>
                    <a:pt x="115504" y="90"/>
                    <a:pt x="116623" y="361"/>
                  </a:cubicBezTo>
                  <a:cubicBezTo>
                    <a:pt x="119011" y="856"/>
                    <a:pt x="120576" y="3156"/>
                    <a:pt x="120158" y="5559"/>
                  </a:cubicBezTo>
                  <a:cubicBezTo>
                    <a:pt x="120093" y="7870"/>
                    <a:pt x="118295" y="9759"/>
                    <a:pt x="115990" y="9938"/>
                  </a:cubicBezTo>
                  <a:cubicBezTo>
                    <a:pt x="114946" y="10020"/>
                    <a:pt x="113897" y="10020"/>
                    <a:pt x="112853" y="9938"/>
                  </a:cubicBezTo>
                  <a:close/>
                </a:path>
              </a:pathLst>
            </a:custGeom>
            <a:solidFill>
              <a:srgbClr val="BD5C7A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809AA270-6710-B86F-B28E-23F99810D81A}"/>
                </a:ext>
              </a:extLst>
            </p:cNvPr>
            <p:cNvSpPr/>
            <p:nvPr/>
          </p:nvSpPr>
          <p:spPr>
            <a:xfrm>
              <a:off x="3909859" y="2877627"/>
              <a:ext cx="82711" cy="10032"/>
            </a:xfrm>
            <a:custGeom>
              <a:avLst/>
              <a:gdLst>
                <a:gd name="connsiteX0" fmla="*/ 41531 w 82711"/>
                <a:gd name="connsiteY0" fmla="*/ 10022 h 10032"/>
                <a:gd name="connsiteX1" fmla="*/ 5986 w 82711"/>
                <a:gd name="connsiteY1" fmla="*/ 10022 h 10032"/>
                <a:gd name="connsiteX2" fmla="*/ 109 w 82711"/>
                <a:gd name="connsiteY2" fmla="*/ 6018 h 10032"/>
                <a:gd name="connsiteX3" fmla="*/ 5869 w 82711"/>
                <a:gd name="connsiteY3" fmla="*/ 0 h 10032"/>
                <a:gd name="connsiteX4" fmla="*/ 49539 w 82711"/>
                <a:gd name="connsiteY4" fmla="*/ 0 h 10032"/>
                <a:gd name="connsiteX5" fmla="*/ 77544 w 82711"/>
                <a:gd name="connsiteY5" fmla="*/ 0 h 10032"/>
                <a:gd name="connsiteX6" fmla="*/ 82696 w 82711"/>
                <a:gd name="connsiteY6" fmla="*/ 3606 h 10032"/>
                <a:gd name="connsiteX7" fmla="*/ 81033 w 82711"/>
                <a:gd name="connsiteY7" fmla="*/ 8828 h 10032"/>
                <a:gd name="connsiteX8" fmla="*/ 76725 w 82711"/>
                <a:gd name="connsiteY8" fmla="*/ 9999 h 10032"/>
                <a:gd name="connsiteX9" fmla="*/ 41531 w 82711"/>
                <a:gd name="connsiteY9" fmla="*/ 10022 h 1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711" h="10032">
                  <a:moveTo>
                    <a:pt x="41531" y="10022"/>
                  </a:moveTo>
                  <a:lnTo>
                    <a:pt x="5986" y="10022"/>
                  </a:lnTo>
                  <a:cubicBezTo>
                    <a:pt x="2591" y="10022"/>
                    <a:pt x="577" y="8594"/>
                    <a:pt x="109" y="6018"/>
                  </a:cubicBezTo>
                  <a:cubicBezTo>
                    <a:pt x="-547" y="2529"/>
                    <a:pt x="1818" y="0"/>
                    <a:pt x="5869" y="0"/>
                  </a:cubicBezTo>
                  <a:cubicBezTo>
                    <a:pt x="20410" y="0"/>
                    <a:pt x="34975" y="0"/>
                    <a:pt x="49539" y="0"/>
                  </a:cubicBezTo>
                  <a:lnTo>
                    <a:pt x="77544" y="0"/>
                  </a:lnTo>
                  <a:cubicBezTo>
                    <a:pt x="80144" y="0"/>
                    <a:pt x="82368" y="1054"/>
                    <a:pt x="82696" y="3606"/>
                  </a:cubicBezTo>
                  <a:cubicBezTo>
                    <a:pt x="82819" y="5494"/>
                    <a:pt x="82225" y="7358"/>
                    <a:pt x="81033" y="8828"/>
                  </a:cubicBezTo>
                  <a:cubicBezTo>
                    <a:pt x="79794" y="9743"/>
                    <a:pt x="78257" y="10161"/>
                    <a:pt x="76725" y="9999"/>
                  </a:cubicBezTo>
                  <a:cubicBezTo>
                    <a:pt x="64994" y="10045"/>
                    <a:pt x="53262" y="10022"/>
                    <a:pt x="41531" y="10022"/>
                  </a:cubicBezTo>
                  <a:close/>
                </a:path>
              </a:pathLst>
            </a:custGeom>
            <a:solidFill>
              <a:srgbClr val="BD5C7A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CBB2C48B-6630-5BBA-7E5B-6496A7D4989A}"/>
                </a:ext>
              </a:extLst>
            </p:cNvPr>
            <p:cNvSpPr/>
            <p:nvPr/>
          </p:nvSpPr>
          <p:spPr>
            <a:xfrm>
              <a:off x="4123134" y="3069903"/>
              <a:ext cx="38455" cy="16639"/>
            </a:xfrm>
            <a:custGeom>
              <a:avLst/>
              <a:gdLst>
                <a:gd name="connsiteX0" fmla="*/ 19352 w 38455"/>
                <a:gd name="connsiteY0" fmla="*/ 16639 h 16639"/>
                <a:gd name="connsiteX1" fmla="*/ 2235 w 38455"/>
                <a:gd name="connsiteY1" fmla="*/ 10013 h 16639"/>
                <a:gd name="connsiteX2" fmla="*/ 1052 w 38455"/>
                <a:gd name="connsiteY2" fmla="*/ 2388 h 16639"/>
                <a:gd name="connsiteX3" fmla="*/ 1112 w 38455"/>
                <a:gd name="connsiteY3" fmla="*/ 2309 h 16639"/>
                <a:gd name="connsiteX4" fmla="*/ 8322 w 38455"/>
                <a:gd name="connsiteY4" fmla="*/ 878 h 16639"/>
                <a:gd name="connsiteX5" fmla="*/ 8792 w 38455"/>
                <a:gd name="connsiteY5" fmla="*/ 1232 h 16639"/>
                <a:gd name="connsiteX6" fmla="*/ 29866 w 38455"/>
                <a:gd name="connsiteY6" fmla="*/ 1232 h 16639"/>
                <a:gd name="connsiteX7" fmla="*/ 37079 w 38455"/>
                <a:gd name="connsiteY7" fmla="*/ 1985 h 16639"/>
                <a:gd name="connsiteX8" fmla="*/ 37289 w 38455"/>
                <a:gd name="connsiteY8" fmla="*/ 2262 h 16639"/>
                <a:gd name="connsiteX9" fmla="*/ 36376 w 38455"/>
                <a:gd name="connsiteY9" fmla="*/ 10036 h 16639"/>
                <a:gd name="connsiteX10" fmla="*/ 19352 w 38455"/>
                <a:gd name="connsiteY10" fmla="*/ 16639 h 1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455" h="16639">
                  <a:moveTo>
                    <a:pt x="19352" y="16639"/>
                  </a:moveTo>
                  <a:cubicBezTo>
                    <a:pt x="13056" y="16457"/>
                    <a:pt x="7013" y="14117"/>
                    <a:pt x="2235" y="10013"/>
                  </a:cubicBezTo>
                  <a:cubicBezTo>
                    <a:pt x="-197" y="8234"/>
                    <a:pt x="-726" y="4820"/>
                    <a:pt x="1052" y="2388"/>
                  </a:cubicBezTo>
                  <a:cubicBezTo>
                    <a:pt x="1072" y="2362"/>
                    <a:pt x="1092" y="2335"/>
                    <a:pt x="1112" y="2309"/>
                  </a:cubicBezTo>
                  <a:cubicBezTo>
                    <a:pt x="2708" y="-77"/>
                    <a:pt x="5936" y="-718"/>
                    <a:pt x="8322" y="878"/>
                  </a:cubicBezTo>
                  <a:cubicBezTo>
                    <a:pt x="8485" y="987"/>
                    <a:pt x="8642" y="1105"/>
                    <a:pt x="8792" y="1232"/>
                  </a:cubicBezTo>
                  <a:cubicBezTo>
                    <a:pt x="14723" y="6776"/>
                    <a:pt x="23935" y="6776"/>
                    <a:pt x="29866" y="1232"/>
                  </a:cubicBezTo>
                  <a:cubicBezTo>
                    <a:pt x="32066" y="-552"/>
                    <a:pt x="35295" y="-215"/>
                    <a:pt x="37079" y="1985"/>
                  </a:cubicBezTo>
                  <a:cubicBezTo>
                    <a:pt x="37152" y="2075"/>
                    <a:pt x="37222" y="2167"/>
                    <a:pt x="37289" y="2262"/>
                  </a:cubicBezTo>
                  <a:cubicBezTo>
                    <a:pt x="39149" y="4671"/>
                    <a:pt x="38743" y="8124"/>
                    <a:pt x="36376" y="10036"/>
                  </a:cubicBezTo>
                  <a:cubicBezTo>
                    <a:pt x="31623" y="14119"/>
                    <a:pt x="25615" y="16450"/>
                    <a:pt x="19352" y="16639"/>
                  </a:cubicBezTo>
                  <a:close/>
                </a:path>
              </a:pathLst>
            </a:custGeom>
            <a:solidFill>
              <a:srgbClr val="1F6898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 116">
              <a:extLst>
                <a:ext uri="{FF2B5EF4-FFF2-40B4-BE49-F238E27FC236}">
                  <a16:creationId xmlns:a16="http://schemas.microsoft.com/office/drawing/2014/main" id="{C508AB93-6507-B143-A47D-4BCC2AD694A7}"/>
                </a:ext>
              </a:extLst>
            </p:cNvPr>
            <p:cNvSpPr/>
            <p:nvPr/>
          </p:nvSpPr>
          <p:spPr>
            <a:xfrm>
              <a:off x="4107054" y="3028047"/>
              <a:ext cx="15249" cy="15246"/>
            </a:xfrm>
            <a:custGeom>
              <a:avLst/>
              <a:gdLst>
                <a:gd name="connsiteX0" fmla="*/ 4 w 15249"/>
                <a:gd name="connsiteY0" fmla="*/ 7402 h 15246"/>
                <a:gd name="connsiteX1" fmla="*/ 7354 w 15249"/>
                <a:gd name="connsiteY1" fmla="*/ 0 h 15246"/>
                <a:gd name="connsiteX2" fmla="*/ 7568 w 15249"/>
                <a:gd name="connsiteY2" fmla="*/ 2 h 15246"/>
                <a:gd name="connsiteX3" fmla="*/ 15249 w 15249"/>
                <a:gd name="connsiteY3" fmla="*/ 7541 h 15246"/>
                <a:gd name="connsiteX4" fmla="*/ 15248 w 15249"/>
                <a:gd name="connsiteY4" fmla="*/ 7753 h 15246"/>
                <a:gd name="connsiteX5" fmla="*/ 7568 w 15249"/>
                <a:gd name="connsiteY5" fmla="*/ 15246 h 15246"/>
                <a:gd name="connsiteX6" fmla="*/ 0 w 15249"/>
                <a:gd name="connsiteY6" fmla="*/ 7640 h 15246"/>
                <a:gd name="connsiteX7" fmla="*/ 4 w 15249"/>
                <a:gd name="connsiteY7" fmla="*/ 7402 h 1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49" h="15246">
                  <a:moveTo>
                    <a:pt x="4" y="7402"/>
                  </a:moveTo>
                  <a:cubicBezTo>
                    <a:pt x="-10" y="3328"/>
                    <a:pt x="3281" y="14"/>
                    <a:pt x="7354" y="0"/>
                  </a:cubicBezTo>
                  <a:cubicBezTo>
                    <a:pt x="7426" y="0"/>
                    <a:pt x="7497" y="1"/>
                    <a:pt x="7568" y="2"/>
                  </a:cubicBezTo>
                  <a:cubicBezTo>
                    <a:pt x="11770" y="-37"/>
                    <a:pt x="15209" y="3338"/>
                    <a:pt x="15249" y="7541"/>
                  </a:cubicBezTo>
                  <a:cubicBezTo>
                    <a:pt x="15250" y="7611"/>
                    <a:pt x="15249" y="7682"/>
                    <a:pt x="15248" y="7753"/>
                  </a:cubicBezTo>
                  <a:cubicBezTo>
                    <a:pt x="15064" y="11885"/>
                    <a:pt x="11703" y="15164"/>
                    <a:pt x="7568" y="15246"/>
                  </a:cubicBezTo>
                  <a:cubicBezTo>
                    <a:pt x="3378" y="15236"/>
                    <a:pt x="-10" y="11830"/>
                    <a:pt x="0" y="7640"/>
                  </a:cubicBezTo>
                  <a:cubicBezTo>
                    <a:pt x="0" y="7561"/>
                    <a:pt x="2" y="7481"/>
                    <a:pt x="4" y="7402"/>
                  </a:cubicBezTo>
                  <a:close/>
                </a:path>
              </a:pathLst>
            </a:custGeom>
            <a:solidFill>
              <a:srgbClr val="1F6898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 117">
              <a:extLst>
                <a:ext uri="{FF2B5EF4-FFF2-40B4-BE49-F238E27FC236}">
                  <a16:creationId xmlns:a16="http://schemas.microsoft.com/office/drawing/2014/main" id="{40A4A087-6CB9-CB7E-FD2C-1AEB8981279F}"/>
                </a:ext>
              </a:extLst>
            </p:cNvPr>
            <p:cNvSpPr/>
            <p:nvPr/>
          </p:nvSpPr>
          <p:spPr>
            <a:xfrm>
              <a:off x="4162644" y="3028048"/>
              <a:ext cx="15248" cy="15245"/>
            </a:xfrm>
            <a:custGeom>
              <a:avLst/>
              <a:gdLst>
                <a:gd name="connsiteX0" fmla="*/ 3 w 15248"/>
                <a:gd name="connsiteY0" fmla="*/ 7401 h 15245"/>
                <a:gd name="connsiteX1" fmla="*/ 7447 w 15248"/>
                <a:gd name="connsiteY1" fmla="*/ 0 h 15245"/>
                <a:gd name="connsiteX2" fmla="*/ 7590 w 15248"/>
                <a:gd name="connsiteY2" fmla="*/ 2 h 15245"/>
                <a:gd name="connsiteX3" fmla="*/ 15248 w 15248"/>
                <a:gd name="connsiteY3" fmla="*/ 7516 h 15245"/>
                <a:gd name="connsiteX4" fmla="*/ 15247 w 15248"/>
                <a:gd name="connsiteY4" fmla="*/ 7752 h 15245"/>
                <a:gd name="connsiteX5" fmla="*/ 7566 w 15248"/>
                <a:gd name="connsiteY5" fmla="*/ 15245 h 15245"/>
                <a:gd name="connsiteX6" fmla="*/ 0 w 15248"/>
                <a:gd name="connsiteY6" fmla="*/ 7545 h 15245"/>
                <a:gd name="connsiteX7" fmla="*/ 3 w 15248"/>
                <a:gd name="connsiteY7" fmla="*/ 7401 h 1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48" h="15245">
                  <a:moveTo>
                    <a:pt x="3" y="7401"/>
                  </a:moveTo>
                  <a:cubicBezTo>
                    <a:pt x="15" y="3302"/>
                    <a:pt x="3348" y="-12"/>
                    <a:pt x="7447" y="0"/>
                  </a:cubicBezTo>
                  <a:cubicBezTo>
                    <a:pt x="7495" y="0"/>
                    <a:pt x="7542" y="1"/>
                    <a:pt x="7590" y="2"/>
                  </a:cubicBezTo>
                  <a:cubicBezTo>
                    <a:pt x="11779" y="-38"/>
                    <a:pt x="15208" y="3326"/>
                    <a:pt x="15248" y="7516"/>
                  </a:cubicBezTo>
                  <a:cubicBezTo>
                    <a:pt x="15249" y="7595"/>
                    <a:pt x="15248" y="7674"/>
                    <a:pt x="15247" y="7752"/>
                  </a:cubicBezTo>
                  <a:cubicBezTo>
                    <a:pt x="15074" y="11889"/>
                    <a:pt x="11706" y="15175"/>
                    <a:pt x="7566" y="15245"/>
                  </a:cubicBezTo>
                  <a:cubicBezTo>
                    <a:pt x="3350" y="15208"/>
                    <a:pt x="-37" y="11761"/>
                    <a:pt x="0" y="7545"/>
                  </a:cubicBezTo>
                  <a:cubicBezTo>
                    <a:pt x="1" y="7497"/>
                    <a:pt x="2" y="7449"/>
                    <a:pt x="3" y="7401"/>
                  </a:cubicBezTo>
                  <a:close/>
                </a:path>
              </a:pathLst>
            </a:custGeom>
            <a:solidFill>
              <a:srgbClr val="1F6898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18E90667-0FFA-7E10-06EA-08713E31B4E8}"/>
                </a:ext>
              </a:extLst>
            </p:cNvPr>
            <p:cNvSpPr/>
            <p:nvPr/>
          </p:nvSpPr>
          <p:spPr>
            <a:xfrm>
              <a:off x="3912933" y="2974629"/>
              <a:ext cx="76858" cy="73321"/>
            </a:xfrm>
            <a:custGeom>
              <a:avLst/>
              <a:gdLst>
                <a:gd name="connsiteX0" fmla="*/ 55597 w 76858"/>
                <a:gd name="connsiteY0" fmla="*/ 594 h 73321"/>
                <a:gd name="connsiteX1" fmla="*/ 48318 w 76858"/>
                <a:gd name="connsiteY1" fmla="*/ 2947 h 73321"/>
                <a:gd name="connsiteX2" fmla="*/ 47776 w 76858"/>
                <a:gd name="connsiteY2" fmla="*/ 4669 h 73321"/>
                <a:gd name="connsiteX3" fmla="*/ 45130 w 76858"/>
                <a:gd name="connsiteY3" fmla="*/ 23401 h 73321"/>
                <a:gd name="connsiteX4" fmla="*/ 31690 w 76858"/>
                <a:gd name="connsiteY4" fmla="*/ 23401 h 73321"/>
                <a:gd name="connsiteX5" fmla="*/ 28669 w 76858"/>
                <a:gd name="connsiteY5" fmla="*/ 4716 h 73321"/>
                <a:gd name="connsiteX6" fmla="*/ 22451 w 76858"/>
                <a:gd name="connsiteY6" fmla="*/ 204 h 73321"/>
                <a:gd name="connsiteX7" fmla="*/ 20871 w 76858"/>
                <a:gd name="connsiteY7" fmla="*/ 711 h 73321"/>
                <a:gd name="connsiteX8" fmla="*/ 4256 w 76858"/>
                <a:gd name="connsiteY8" fmla="*/ 52451 h 73321"/>
                <a:gd name="connsiteX9" fmla="*/ 55995 w 76858"/>
                <a:gd name="connsiteY9" fmla="*/ 69066 h 73321"/>
                <a:gd name="connsiteX10" fmla="*/ 76858 w 76858"/>
                <a:gd name="connsiteY10" fmla="*/ 34969 h 73321"/>
                <a:gd name="connsiteX11" fmla="*/ 76858 w 76858"/>
                <a:gd name="connsiteY11" fmla="*/ 34969 h 73321"/>
                <a:gd name="connsiteX12" fmla="*/ 55597 w 76858"/>
                <a:gd name="connsiteY12" fmla="*/ 594 h 73321"/>
                <a:gd name="connsiteX13" fmla="*/ 66134 w 76858"/>
                <a:gd name="connsiteY13" fmla="*/ 35016 h 73321"/>
                <a:gd name="connsiteX14" fmla="*/ 38504 w 76858"/>
                <a:gd name="connsiteY14" fmla="*/ 62787 h 73321"/>
                <a:gd name="connsiteX15" fmla="*/ 10733 w 76858"/>
                <a:gd name="connsiteY15" fmla="*/ 35157 h 73321"/>
                <a:gd name="connsiteX16" fmla="*/ 18858 w 76858"/>
                <a:gd name="connsiteY16" fmla="*/ 15487 h 73321"/>
                <a:gd name="connsiteX17" fmla="*/ 19303 w 76858"/>
                <a:gd name="connsiteY17" fmla="*/ 14901 h 73321"/>
                <a:gd name="connsiteX18" fmla="*/ 21644 w 76858"/>
                <a:gd name="connsiteY18" fmla="*/ 29583 h 73321"/>
                <a:gd name="connsiteX19" fmla="*/ 27006 w 76858"/>
                <a:gd name="connsiteY19" fmla="*/ 34266 h 73321"/>
                <a:gd name="connsiteX20" fmla="*/ 49743 w 76858"/>
                <a:gd name="connsiteY20" fmla="*/ 34266 h 73321"/>
                <a:gd name="connsiteX21" fmla="*/ 55105 w 76858"/>
                <a:gd name="connsiteY21" fmla="*/ 29583 h 73321"/>
                <a:gd name="connsiteX22" fmla="*/ 57189 w 76858"/>
                <a:gd name="connsiteY22" fmla="*/ 14995 h 73321"/>
                <a:gd name="connsiteX23" fmla="*/ 66134 w 76858"/>
                <a:gd name="connsiteY23" fmla="*/ 35016 h 7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6858" h="73321">
                  <a:moveTo>
                    <a:pt x="55597" y="594"/>
                  </a:moveTo>
                  <a:cubicBezTo>
                    <a:pt x="52937" y="-766"/>
                    <a:pt x="49679" y="288"/>
                    <a:pt x="48318" y="2947"/>
                  </a:cubicBezTo>
                  <a:cubicBezTo>
                    <a:pt x="48042" y="3487"/>
                    <a:pt x="47859" y="4069"/>
                    <a:pt x="47776" y="4669"/>
                  </a:cubicBezTo>
                  <a:lnTo>
                    <a:pt x="45130" y="23401"/>
                  </a:lnTo>
                  <a:lnTo>
                    <a:pt x="31690" y="23401"/>
                  </a:lnTo>
                  <a:lnTo>
                    <a:pt x="28669" y="4716"/>
                  </a:lnTo>
                  <a:cubicBezTo>
                    <a:pt x="28198" y="1753"/>
                    <a:pt x="25414" y="-267"/>
                    <a:pt x="22451" y="204"/>
                  </a:cubicBezTo>
                  <a:cubicBezTo>
                    <a:pt x="21901" y="291"/>
                    <a:pt x="21369" y="462"/>
                    <a:pt x="20871" y="711"/>
                  </a:cubicBezTo>
                  <a:cubicBezTo>
                    <a:pt x="1996" y="10411"/>
                    <a:pt x="-5443" y="33575"/>
                    <a:pt x="4256" y="52451"/>
                  </a:cubicBezTo>
                  <a:cubicBezTo>
                    <a:pt x="13955" y="71326"/>
                    <a:pt x="37120" y="78765"/>
                    <a:pt x="55995" y="69066"/>
                  </a:cubicBezTo>
                  <a:cubicBezTo>
                    <a:pt x="68779" y="62497"/>
                    <a:pt x="76829" y="49342"/>
                    <a:pt x="76858" y="34969"/>
                  </a:cubicBezTo>
                  <a:lnTo>
                    <a:pt x="76858" y="34969"/>
                  </a:lnTo>
                  <a:cubicBezTo>
                    <a:pt x="76792" y="20426"/>
                    <a:pt x="68579" y="7149"/>
                    <a:pt x="55597" y="594"/>
                  </a:cubicBezTo>
                  <a:close/>
                  <a:moveTo>
                    <a:pt x="66134" y="35016"/>
                  </a:moveTo>
                  <a:cubicBezTo>
                    <a:pt x="66173" y="50314"/>
                    <a:pt x="53803" y="62748"/>
                    <a:pt x="38504" y="62787"/>
                  </a:cubicBezTo>
                  <a:cubicBezTo>
                    <a:pt x="23205" y="62826"/>
                    <a:pt x="10772" y="50455"/>
                    <a:pt x="10733" y="35157"/>
                  </a:cubicBezTo>
                  <a:cubicBezTo>
                    <a:pt x="10714" y="27780"/>
                    <a:pt x="13638" y="20700"/>
                    <a:pt x="18858" y="15487"/>
                  </a:cubicBezTo>
                  <a:lnTo>
                    <a:pt x="19303" y="14901"/>
                  </a:lnTo>
                  <a:lnTo>
                    <a:pt x="21644" y="29583"/>
                  </a:lnTo>
                  <a:cubicBezTo>
                    <a:pt x="22017" y="32261"/>
                    <a:pt x="24303" y="34257"/>
                    <a:pt x="27006" y="34266"/>
                  </a:cubicBezTo>
                  <a:lnTo>
                    <a:pt x="49743" y="34266"/>
                  </a:lnTo>
                  <a:cubicBezTo>
                    <a:pt x="52447" y="34257"/>
                    <a:pt x="54732" y="32261"/>
                    <a:pt x="55105" y="29583"/>
                  </a:cubicBezTo>
                  <a:lnTo>
                    <a:pt x="57189" y="14995"/>
                  </a:lnTo>
                  <a:cubicBezTo>
                    <a:pt x="62759" y="20182"/>
                    <a:pt x="65987" y="27406"/>
                    <a:pt x="66134" y="35016"/>
                  </a:cubicBezTo>
                  <a:close/>
                </a:path>
              </a:pathLst>
            </a:custGeom>
            <a:solidFill>
              <a:srgbClr val="BD5C7A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 119">
              <a:extLst>
                <a:ext uri="{FF2B5EF4-FFF2-40B4-BE49-F238E27FC236}">
                  <a16:creationId xmlns:a16="http://schemas.microsoft.com/office/drawing/2014/main" id="{1A07A4A8-9A04-6167-FDAB-43DF6A73139D}"/>
                </a:ext>
              </a:extLst>
            </p:cNvPr>
            <p:cNvSpPr/>
            <p:nvPr/>
          </p:nvSpPr>
          <p:spPr>
            <a:xfrm>
              <a:off x="3926897" y="3036807"/>
              <a:ext cx="48704" cy="122862"/>
            </a:xfrm>
            <a:custGeom>
              <a:avLst/>
              <a:gdLst>
                <a:gd name="connsiteX0" fmla="*/ 37863 w 48704"/>
                <a:gd name="connsiteY0" fmla="*/ 0 h 122862"/>
                <a:gd name="connsiteX1" fmla="*/ 37863 w 48704"/>
                <a:gd name="connsiteY1" fmla="*/ 98463 h 122862"/>
                <a:gd name="connsiteX2" fmla="*/ 24352 w 48704"/>
                <a:gd name="connsiteY2" fmla="*/ 111974 h 122862"/>
                <a:gd name="connsiteX3" fmla="*/ 10841 w 48704"/>
                <a:gd name="connsiteY3" fmla="*/ 98463 h 122862"/>
                <a:gd name="connsiteX4" fmla="*/ 10841 w 48704"/>
                <a:gd name="connsiteY4" fmla="*/ 304 h 122862"/>
                <a:gd name="connsiteX5" fmla="*/ 0 w 48704"/>
                <a:gd name="connsiteY5" fmla="*/ 304 h 122862"/>
                <a:gd name="connsiteX6" fmla="*/ 0 w 48704"/>
                <a:gd name="connsiteY6" fmla="*/ 98510 h 122862"/>
                <a:gd name="connsiteX7" fmla="*/ 24352 w 48704"/>
                <a:gd name="connsiteY7" fmla="*/ 122862 h 122862"/>
                <a:gd name="connsiteX8" fmla="*/ 48705 w 48704"/>
                <a:gd name="connsiteY8" fmla="*/ 98510 h 122862"/>
                <a:gd name="connsiteX9" fmla="*/ 48705 w 48704"/>
                <a:gd name="connsiteY9" fmla="*/ 0 h 12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704" h="122862">
                  <a:moveTo>
                    <a:pt x="37863" y="0"/>
                  </a:moveTo>
                  <a:lnTo>
                    <a:pt x="37863" y="98463"/>
                  </a:lnTo>
                  <a:cubicBezTo>
                    <a:pt x="37863" y="105925"/>
                    <a:pt x="31814" y="111974"/>
                    <a:pt x="24352" y="111974"/>
                  </a:cubicBezTo>
                  <a:cubicBezTo>
                    <a:pt x="16891" y="111974"/>
                    <a:pt x="10841" y="105925"/>
                    <a:pt x="10841" y="98463"/>
                  </a:cubicBezTo>
                  <a:lnTo>
                    <a:pt x="10841" y="304"/>
                  </a:lnTo>
                  <a:lnTo>
                    <a:pt x="0" y="304"/>
                  </a:lnTo>
                  <a:lnTo>
                    <a:pt x="0" y="98510"/>
                  </a:lnTo>
                  <a:cubicBezTo>
                    <a:pt x="0" y="111960"/>
                    <a:pt x="10903" y="122862"/>
                    <a:pt x="24352" y="122862"/>
                  </a:cubicBezTo>
                  <a:cubicBezTo>
                    <a:pt x="37802" y="122862"/>
                    <a:pt x="48705" y="111960"/>
                    <a:pt x="48705" y="98510"/>
                  </a:cubicBezTo>
                  <a:lnTo>
                    <a:pt x="48705" y="0"/>
                  </a:lnTo>
                  <a:close/>
                </a:path>
              </a:pathLst>
            </a:custGeom>
            <a:solidFill>
              <a:srgbClr val="BD5C7A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1DEAC3B5-D2C6-4EA8-0232-0AA0CCBE9EE8}"/>
                </a:ext>
              </a:extLst>
            </p:cNvPr>
            <p:cNvSpPr/>
            <p:nvPr/>
          </p:nvSpPr>
          <p:spPr>
            <a:xfrm>
              <a:off x="3943169" y="3126606"/>
              <a:ext cx="15687" cy="15782"/>
            </a:xfrm>
            <a:custGeom>
              <a:avLst/>
              <a:gdLst>
                <a:gd name="connsiteX0" fmla="*/ 7799 w 15687"/>
                <a:gd name="connsiteY0" fmla="*/ 1 h 15782"/>
                <a:gd name="connsiteX1" fmla="*/ 2 w 15687"/>
                <a:gd name="connsiteY1" fmla="*/ 7704 h 15782"/>
                <a:gd name="connsiteX2" fmla="*/ 2 w 15687"/>
                <a:gd name="connsiteY2" fmla="*/ 7798 h 15782"/>
                <a:gd name="connsiteX3" fmla="*/ 2343 w 15687"/>
                <a:gd name="connsiteY3" fmla="*/ 13441 h 15782"/>
                <a:gd name="connsiteX4" fmla="*/ 7986 w 15687"/>
                <a:gd name="connsiteY4" fmla="*/ 15783 h 15782"/>
                <a:gd name="connsiteX5" fmla="*/ 13606 w 15687"/>
                <a:gd name="connsiteY5" fmla="*/ 13441 h 15782"/>
                <a:gd name="connsiteX6" fmla="*/ 15643 w 15687"/>
                <a:gd name="connsiteY6" fmla="*/ 7798 h 15782"/>
                <a:gd name="connsiteX7" fmla="*/ 7940 w 15687"/>
                <a:gd name="connsiteY7" fmla="*/ 0 h 15782"/>
                <a:gd name="connsiteX8" fmla="*/ 7799 w 15687"/>
                <a:gd name="connsiteY8" fmla="*/ 1 h 15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87" h="15782">
                  <a:moveTo>
                    <a:pt x="7799" y="1"/>
                  </a:moveTo>
                  <a:cubicBezTo>
                    <a:pt x="3519" y="-25"/>
                    <a:pt x="28" y="3424"/>
                    <a:pt x="2" y="7704"/>
                  </a:cubicBezTo>
                  <a:cubicBezTo>
                    <a:pt x="2" y="7735"/>
                    <a:pt x="2" y="7767"/>
                    <a:pt x="2" y="7798"/>
                  </a:cubicBezTo>
                  <a:cubicBezTo>
                    <a:pt x="-43" y="9924"/>
                    <a:pt x="806" y="11971"/>
                    <a:pt x="2343" y="13441"/>
                  </a:cubicBezTo>
                  <a:cubicBezTo>
                    <a:pt x="3841" y="14937"/>
                    <a:pt x="5870" y="15779"/>
                    <a:pt x="7986" y="15783"/>
                  </a:cubicBezTo>
                  <a:cubicBezTo>
                    <a:pt x="10100" y="15796"/>
                    <a:pt x="12128" y="14951"/>
                    <a:pt x="13606" y="13441"/>
                  </a:cubicBezTo>
                  <a:cubicBezTo>
                    <a:pt x="15131" y="11982"/>
                    <a:pt x="15885" y="9894"/>
                    <a:pt x="15643" y="7798"/>
                  </a:cubicBezTo>
                  <a:cubicBezTo>
                    <a:pt x="15670" y="3518"/>
                    <a:pt x="12221" y="26"/>
                    <a:pt x="7940" y="0"/>
                  </a:cubicBezTo>
                  <a:cubicBezTo>
                    <a:pt x="7893" y="0"/>
                    <a:pt x="7846" y="0"/>
                    <a:pt x="7799" y="1"/>
                  </a:cubicBezTo>
                  <a:close/>
                </a:path>
              </a:pathLst>
            </a:custGeom>
            <a:solidFill>
              <a:srgbClr val="BD5C7A"/>
            </a:solidFill>
            <a:ln w="232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2" name="Graphic 194">
            <a:extLst>
              <a:ext uri="{FF2B5EF4-FFF2-40B4-BE49-F238E27FC236}">
                <a16:creationId xmlns:a16="http://schemas.microsoft.com/office/drawing/2014/main" id="{8DB99CC2-FA1A-7A73-CB04-6B3461160FEB}"/>
              </a:ext>
            </a:extLst>
          </p:cNvPr>
          <p:cNvGrpSpPr/>
          <p:nvPr/>
        </p:nvGrpSpPr>
        <p:grpSpPr>
          <a:xfrm>
            <a:off x="4687892" y="3168725"/>
            <a:ext cx="396139" cy="396139"/>
            <a:chOff x="4625139" y="2782963"/>
            <a:chExt cx="396139" cy="396139"/>
          </a:xfrm>
        </p:grpSpPr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11766677-CF1A-B0B6-FD1D-27F08CEF2D17}"/>
                </a:ext>
              </a:extLst>
            </p:cNvPr>
            <p:cNvSpPr/>
            <p:nvPr/>
          </p:nvSpPr>
          <p:spPr>
            <a:xfrm>
              <a:off x="4657993" y="2843253"/>
              <a:ext cx="332954" cy="332951"/>
            </a:xfrm>
            <a:custGeom>
              <a:avLst/>
              <a:gdLst>
                <a:gd name="connsiteX0" fmla="*/ 330652 w 332954"/>
                <a:gd name="connsiteY0" fmla="*/ 123171 h 332951"/>
                <a:gd name="connsiteX1" fmla="*/ 299555 w 332954"/>
                <a:gd name="connsiteY1" fmla="*/ 99601 h 332951"/>
                <a:gd name="connsiteX2" fmla="*/ 299555 w 332954"/>
                <a:gd name="connsiteY2" fmla="*/ 38744 h 332951"/>
                <a:gd name="connsiteX3" fmla="*/ 294009 w 332954"/>
                <a:gd name="connsiteY3" fmla="*/ 33198 h 332951"/>
                <a:gd name="connsiteX4" fmla="*/ 212256 w 332954"/>
                <a:gd name="connsiteY4" fmla="*/ 33198 h 332951"/>
                <a:gd name="connsiteX5" fmla="*/ 169770 w 332954"/>
                <a:gd name="connsiteY5" fmla="*/ 1111 h 332951"/>
                <a:gd name="connsiteX6" fmla="*/ 163061 w 332954"/>
                <a:gd name="connsiteY6" fmla="*/ 1111 h 332951"/>
                <a:gd name="connsiteX7" fmla="*/ 120649 w 332954"/>
                <a:gd name="connsiteY7" fmla="*/ 33297 h 332951"/>
                <a:gd name="connsiteX8" fmla="*/ 38945 w 332954"/>
                <a:gd name="connsiteY8" fmla="*/ 33297 h 332951"/>
                <a:gd name="connsiteX9" fmla="*/ 33276 w 332954"/>
                <a:gd name="connsiteY9" fmla="*/ 38744 h 332951"/>
                <a:gd name="connsiteX10" fmla="*/ 33276 w 332954"/>
                <a:gd name="connsiteY10" fmla="*/ 99576 h 332951"/>
                <a:gd name="connsiteX11" fmla="*/ 2228 w 332954"/>
                <a:gd name="connsiteY11" fmla="*/ 123171 h 332951"/>
                <a:gd name="connsiteX12" fmla="*/ 0 w 332954"/>
                <a:gd name="connsiteY12" fmla="*/ 127603 h 332951"/>
                <a:gd name="connsiteX13" fmla="*/ 0 w 332954"/>
                <a:gd name="connsiteY13" fmla="*/ 327431 h 332951"/>
                <a:gd name="connsiteX14" fmla="*/ 5521 w 332954"/>
                <a:gd name="connsiteY14" fmla="*/ 332952 h 332951"/>
                <a:gd name="connsiteX15" fmla="*/ 5546 w 332954"/>
                <a:gd name="connsiteY15" fmla="*/ 332952 h 332951"/>
                <a:gd name="connsiteX16" fmla="*/ 327409 w 332954"/>
                <a:gd name="connsiteY16" fmla="*/ 332952 h 332951"/>
                <a:gd name="connsiteX17" fmla="*/ 332955 w 332954"/>
                <a:gd name="connsiteY17" fmla="*/ 327455 h 332951"/>
                <a:gd name="connsiteX18" fmla="*/ 332955 w 332954"/>
                <a:gd name="connsiteY18" fmla="*/ 327455 h 332951"/>
                <a:gd name="connsiteX19" fmla="*/ 332955 w 332954"/>
                <a:gd name="connsiteY19" fmla="*/ 327455 h 332951"/>
                <a:gd name="connsiteX20" fmla="*/ 332955 w 332954"/>
                <a:gd name="connsiteY20" fmla="*/ 127603 h 332951"/>
                <a:gd name="connsiteX21" fmla="*/ 330652 w 332954"/>
                <a:gd name="connsiteY21" fmla="*/ 123171 h 332951"/>
                <a:gd name="connsiteX22" fmla="*/ 11092 w 332954"/>
                <a:gd name="connsiteY22" fmla="*/ 138695 h 332951"/>
                <a:gd name="connsiteX23" fmla="*/ 128077 w 332954"/>
                <a:gd name="connsiteY23" fmla="*/ 227381 h 332951"/>
                <a:gd name="connsiteX24" fmla="*/ 11092 w 332954"/>
                <a:gd name="connsiteY24" fmla="*/ 316165 h 332951"/>
                <a:gd name="connsiteX25" fmla="*/ 166453 w 332954"/>
                <a:gd name="connsiteY25" fmla="*/ 212055 h 332951"/>
                <a:gd name="connsiteX26" fmla="*/ 310845 w 332954"/>
                <a:gd name="connsiteY26" fmla="*/ 321761 h 332951"/>
                <a:gd name="connsiteX27" fmla="*/ 22035 w 332954"/>
                <a:gd name="connsiteY27" fmla="*/ 321761 h 332951"/>
                <a:gd name="connsiteX28" fmla="*/ 204878 w 332954"/>
                <a:gd name="connsiteY28" fmla="*/ 227282 h 332951"/>
                <a:gd name="connsiteX29" fmla="*/ 321789 w 332954"/>
                <a:gd name="connsiteY29" fmla="*/ 138596 h 332951"/>
                <a:gd name="connsiteX30" fmla="*/ 321789 w 332954"/>
                <a:gd name="connsiteY30" fmla="*/ 316042 h 332951"/>
                <a:gd name="connsiteX31" fmla="*/ 318149 w 332954"/>
                <a:gd name="connsiteY31" fmla="*/ 127380 h 332951"/>
                <a:gd name="connsiteX32" fmla="*/ 299605 w 332954"/>
                <a:gd name="connsiteY32" fmla="*/ 141443 h 332951"/>
                <a:gd name="connsiteX33" fmla="*/ 299605 w 332954"/>
                <a:gd name="connsiteY33" fmla="*/ 113540 h 332951"/>
                <a:gd name="connsiteX34" fmla="*/ 166453 w 332954"/>
                <a:gd name="connsiteY34" fmla="*/ 12500 h 332951"/>
                <a:gd name="connsiteX35" fmla="*/ 193836 w 332954"/>
                <a:gd name="connsiteY35" fmla="*/ 33322 h 332951"/>
                <a:gd name="connsiteX36" fmla="*/ 139070 w 332954"/>
                <a:gd name="connsiteY36" fmla="*/ 33322 h 332951"/>
                <a:gd name="connsiteX37" fmla="*/ 288513 w 332954"/>
                <a:gd name="connsiteY37" fmla="*/ 44389 h 332951"/>
                <a:gd name="connsiteX38" fmla="*/ 288513 w 332954"/>
                <a:gd name="connsiteY38" fmla="*/ 150158 h 332951"/>
                <a:gd name="connsiteX39" fmla="*/ 195668 w 332954"/>
                <a:gd name="connsiteY39" fmla="*/ 220498 h 332951"/>
                <a:gd name="connsiteX40" fmla="*/ 169770 w 332954"/>
                <a:gd name="connsiteY40" fmla="*/ 200839 h 332951"/>
                <a:gd name="connsiteX41" fmla="*/ 163061 w 332954"/>
                <a:gd name="connsiteY41" fmla="*/ 200839 h 332951"/>
                <a:gd name="connsiteX42" fmla="*/ 137213 w 332954"/>
                <a:gd name="connsiteY42" fmla="*/ 220473 h 332951"/>
                <a:gd name="connsiteX43" fmla="*/ 44368 w 332954"/>
                <a:gd name="connsiteY43" fmla="*/ 150158 h 332951"/>
                <a:gd name="connsiteX44" fmla="*/ 44368 w 332954"/>
                <a:gd name="connsiteY44" fmla="*/ 44389 h 332951"/>
                <a:gd name="connsiteX45" fmla="*/ 33276 w 332954"/>
                <a:gd name="connsiteY45" fmla="*/ 141666 h 332951"/>
                <a:gd name="connsiteX46" fmla="*/ 14731 w 332954"/>
                <a:gd name="connsiteY46" fmla="*/ 127603 h 332951"/>
                <a:gd name="connsiteX47" fmla="*/ 33276 w 332954"/>
                <a:gd name="connsiteY47" fmla="*/ 113540 h 332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32954" h="332951">
                  <a:moveTo>
                    <a:pt x="330652" y="123171"/>
                  </a:moveTo>
                  <a:lnTo>
                    <a:pt x="299555" y="99601"/>
                  </a:lnTo>
                  <a:lnTo>
                    <a:pt x="299555" y="38744"/>
                  </a:lnTo>
                  <a:cubicBezTo>
                    <a:pt x="299555" y="35681"/>
                    <a:pt x="297072" y="33198"/>
                    <a:pt x="294009" y="33198"/>
                  </a:cubicBezTo>
                  <a:lnTo>
                    <a:pt x="212256" y="33198"/>
                  </a:lnTo>
                  <a:lnTo>
                    <a:pt x="169770" y="1111"/>
                  </a:lnTo>
                  <a:cubicBezTo>
                    <a:pt x="167779" y="-370"/>
                    <a:pt x="165052" y="-370"/>
                    <a:pt x="163061" y="1111"/>
                  </a:cubicBezTo>
                  <a:lnTo>
                    <a:pt x="120649" y="33297"/>
                  </a:lnTo>
                  <a:lnTo>
                    <a:pt x="38945" y="33297"/>
                  </a:lnTo>
                  <a:cubicBezTo>
                    <a:pt x="35878" y="33242"/>
                    <a:pt x="33343" y="35677"/>
                    <a:pt x="33276" y="38744"/>
                  </a:cubicBezTo>
                  <a:lnTo>
                    <a:pt x="33276" y="99576"/>
                  </a:lnTo>
                  <a:lnTo>
                    <a:pt x="2228" y="123171"/>
                  </a:lnTo>
                  <a:cubicBezTo>
                    <a:pt x="832" y="124218"/>
                    <a:pt x="8" y="125859"/>
                    <a:pt x="0" y="127603"/>
                  </a:cubicBezTo>
                  <a:lnTo>
                    <a:pt x="0" y="327431"/>
                  </a:lnTo>
                  <a:cubicBezTo>
                    <a:pt x="0" y="330480"/>
                    <a:pt x="2472" y="332952"/>
                    <a:pt x="5521" y="332952"/>
                  </a:cubicBezTo>
                  <a:cubicBezTo>
                    <a:pt x="5529" y="332952"/>
                    <a:pt x="5538" y="332952"/>
                    <a:pt x="5546" y="332952"/>
                  </a:cubicBezTo>
                  <a:lnTo>
                    <a:pt x="327409" y="332952"/>
                  </a:lnTo>
                  <a:cubicBezTo>
                    <a:pt x="330458" y="332966"/>
                    <a:pt x="332941" y="330505"/>
                    <a:pt x="332955" y="327455"/>
                  </a:cubicBezTo>
                  <a:cubicBezTo>
                    <a:pt x="332955" y="327455"/>
                    <a:pt x="332955" y="327455"/>
                    <a:pt x="332955" y="327455"/>
                  </a:cubicBezTo>
                  <a:lnTo>
                    <a:pt x="332955" y="327455"/>
                  </a:lnTo>
                  <a:lnTo>
                    <a:pt x="332955" y="127603"/>
                  </a:lnTo>
                  <a:cubicBezTo>
                    <a:pt x="332938" y="125843"/>
                    <a:pt x="332082" y="124197"/>
                    <a:pt x="330652" y="123171"/>
                  </a:cubicBezTo>
                  <a:close/>
                  <a:moveTo>
                    <a:pt x="11092" y="138695"/>
                  </a:moveTo>
                  <a:lnTo>
                    <a:pt x="128077" y="227381"/>
                  </a:lnTo>
                  <a:lnTo>
                    <a:pt x="11092" y="316165"/>
                  </a:lnTo>
                  <a:close/>
                  <a:moveTo>
                    <a:pt x="166453" y="212055"/>
                  </a:moveTo>
                  <a:lnTo>
                    <a:pt x="310845" y="321761"/>
                  </a:lnTo>
                  <a:lnTo>
                    <a:pt x="22035" y="321761"/>
                  </a:lnTo>
                  <a:close/>
                  <a:moveTo>
                    <a:pt x="204878" y="227282"/>
                  </a:moveTo>
                  <a:lnTo>
                    <a:pt x="321789" y="138596"/>
                  </a:lnTo>
                  <a:lnTo>
                    <a:pt x="321789" y="316042"/>
                  </a:lnTo>
                  <a:close/>
                  <a:moveTo>
                    <a:pt x="318149" y="127380"/>
                  </a:moveTo>
                  <a:lnTo>
                    <a:pt x="299605" y="141443"/>
                  </a:lnTo>
                  <a:lnTo>
                    <a:pt x="299605" y="113540"/>
                  </a:lnTo>
                  <a:close/>
                  <a:moveTo>
                    <a:pt x="166453" y="12500"/>
                  </a:moveTo>
                  <a:lnTo>
                    <a:pt x="193836" y="33322"/>
                  </a:lnTo>
                  <a:lnTo>
                    <a:pt x="139070" y="33322"/>
                  </a:lnTo>
                  <a:close/>
                  <a:moveTo>
                    <a:pt x="288513" y="44389"/>
                  </a:moveTo>
                  <a:lnTo>
                    <a:pt x="288513" y="150158"/>
                  </a:lnTo>
                  <a:lnTo>
                    <a:pt x="195668" y="220498"/>
                  </a:lnTo>
                  <a:lnTo>
                    <a:pt x="169770" y="200839"/>
                  </a:lnTo>
                  <a:cubicBezTo>
                    <a:pt x="167787" y="199333"/>
                    <a:pt x="165044" y="199333"/>
                    <a:pt x="163061" y="200839"/>
                  </a:cubicBezTo>
                  <a:lnTo>
                    <a:pt x="137213" y="220473"/>
                  </a:lnTo>
                  <a:lnTo>
                    <a:pt x="44368" y="150158"/>
                  </a:lnTo>
                  <a:lnTo>
                    <a:pt x="44368" y="44389"/>
                  </a:lnTo>
                  <a:close/>
                  <a:moveTo>
                    <a:pt x="33276" y="141666"/>
                  </a:moveTo>
                  <a:lnTo>
                    <a:pt x="14731" y="127603"/>
                  </a:lnTo>
                  <a:lnTo>
                    <a:pt x="33276" y="113540"/>
                  </a:lnTo>
                  <a:close/>
                </a:path>
              </a:pathLst>
            </a:custGeom>
            <a:solidFill>
              <a:srgbClr val="1F6898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 123">
              <a:extLst>
                <a:ext uri="{FF2B5EF4-FFF2-40B4-BE49-F238E27FC236}">
                  <a16:creationId xmlns:a16="http://schemas.microsoft.com/office/drawing/2014/main" id="{26B68C52-6E3C-36DB-2CC0-E53DE3DCA98D}"/>
                </a:ext>
              </a:extLst>
            </p:cNvPr>
            <p:cNvSpPr/>
            <p:nvPr/>
          </p:nvSpPr>
          <p:spPr>
            <a:xfrm>
              <a:off x="4769556" y="2906756"/>
              <a:ext cx="96781" cy="55211"/>
            </a:xfrm>
            <a:custGeom>
              <a:avLst/>
              <a:gdLst>
                <a:gd name="connsiteX0" fmla="*/ 6908 w 96781"/>
                <a:gd name="connsiteY0" fmla="*/ 55212 h 55211"/>
                <a:gd name="connsiteX1" fmla="*/ 89849 w 96781"/>
                <a:gd name="connsiteY1" fmla="*/ 55212 h 55211"/>
                <a:gd name="connsiteX2" fmla="*/ 96782 w 96781"/>
                <a:gd name="connsiteY2" fmla="*/ 48329 h 55211"/>
                <a:gd name="connsiteX3" fmla="*/ 96782 w 96781"/>
                <a:gd name="connsiteY3" fmla="*/ 48304 h 55211"/>
                <a:gd name="connsiteX4" fmla="*/ 96782 w 96781"/>
                <a:gd name="connsiteY4" fmla="*/ 6833 h 55211"/>
                <a:gd name="connsiteX5" fmla="*/ 89849 w 96781"/>
                <a:gd name="connsiteY5" fmla="*/ 0 h 55211"/>
                <a:gd name="connsiteX6" fmla="*/ 6908 w 96781"/>
                <a:gd name="connsiteY6" fmla="*/ 0 h 55211"/>
                <a:gd name="connsiteX7" fmla="*/ 0 w 96781"/>
                <a:gd name="connsiteY7" fmla="*/ 6858 h 55211"/>
                <a:gd name="connsiteX8" fmla="*/ 0 w 96781"/>
                <a:gd name="connsiteY8" fmla="*/ 6908 h 55211"/>
                <a:gd name="connsiteX9" fmla="*/ 0 w 96781"/>
                <a:gd name="connsiteY9" fmla="*/ 48304 h 55211"/>
                <a:gd name="connsiteX10" fmla="*/ 6908 w 96781"/>
                <a:gd name="connsiteY10" fmla="*/ 55212 h 55211"/>
                <a:gd name="connsiteX11" fmla="*/ 13815 w 96781"/>
                <a:gd name="connsiteY11" fmla="*/ 13741 h 55211"/>
                <a:gd name="connsiteX12" fmla="*/ 82942 w 96781"/>
                <a:gd name="connsiteY12" fmla="*/ 13741 h 55211"/>
                <a:gd name="connsiteX13" fmla="*/ 82942 w 96781"/>
                <a:gd name="connsiteY13" fmla="*/ 41397 h 55211"/>
                <a:gd name="connsiteX14" fmla="*/ 13815 w 96781"/>
                <a:gd name="connsiteY14" fmla="*/ 41397 h 55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781" h="55211">
                  <a:moveTo>
                    <a:pt x="6908" y="55212"/>
                  </a:moveTo>
                  <a:lnTo>
                    <a:pt x="89849" y="55212"/>
                  </a:lnTo>
                  <a:cubicBezTo>
                    <a:pt x="93664" y="55226"/>
                    <a:pt x="96768" y="52144"/>
                    <a:pt x="96782" y="48329"/>
                  </a:cubicBezTo>
                  <a:cubicBezTo>
                    <a:pt x="96782" y="48321"/>
                    <a:pt x="96782" y="48313"/>
                    <a:pt x="96782" y="48304"/>
                  </a:cubicBezTo>
                  <a:lnTo>
                    <a:pt x="96782" y="6833"/>
                  </a:lnTo>
                  <a:cubicBezTo>
                    <a:pt x="96741" y="3038"/>
                    <a:pt x="93645" y="-14"/>
                    <a:pt x="89849" y="0"/>
                  </a:cubicBezTo>
                  <a:lnTo>
                    <a:pt x="6908" y="0"/>
                  </a:lnTo>
                  <a:cubicBezTo>
                    <a:pt x="3106" y="-14"/>
                    <a:pt x="14" y="3057"/>
                    <a:pt x="0" y="6858"/>
                  </a:cubicBezTo>
                  <a:cubicBezTo>
                    <a:pt x="0" y="6875"/>
                    <a:pt x="0" y="6891"/>
                    <a:pt x="0" y="6908"/>
                  </a:cubicBezTo>
                  <a:lnTo>
                    <a:pt x="0" y="48304"/>
                  </a:lnTo>
                  <a:cubicBezTo>
                    <a:pt x="0" y="52119"/>
                    <a:pt x="3093" y="55212"/>
                    <a:pt x="6908" y="55212"/>
                  </a:cubicBezTo>
                  <a:close/>
                  <a:moveTo>
                    <a:pt x="13815" y="13741"/>
                  </a:moveTo>
                  <a:lnTo>
                    <a:pt x="82942" y="13741"/>
                  </a:lnTo>
                  <a:lnTo>
                    <a:pt x="82942" y="41397"/>
                  </a:lnTo>
                  <a:lnTo>
                    <a:pt x="13815" y="41397"/>
                  </a:ln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 124">
              <a:extLst>
                <a:ext uri="{FF2B5EF4-FFF2-40B4-BE49-F238E27FC236}">
                  <a16:creationId xmlns:a16="http://schemas.microsoft.com/office/drawing/2014/main" id="{A7ED36C3-48CB-A836-B57B-CB04FDD78920}"/>
                </a:ext>
              </a:extLst>
            </p:cNvPr>
            <p:cNvSpPr/>
            <p:nvPr/>
          </p:nvSpPr>
          <p:spPr>
            <a:xfrm>
              <a:off x="4769556" y="2975783"/>
              <a:ext cx="110597" cy="13815"/>
            </a:xfrm>
            <a:custGeom>
              <a:avLst/>
              <a:gdLst>
                <a:gd name="connsiteX0" fmla="*/ 0 w 110597"/>
                <a:gd name="connsiteY0" fmla="*/ 0 h 13815"/>
                <a:gd name="connsiteX1" fmla="*/ 110597 w 110597"/>
                <a:gd name="connsiteY1" fmla="*/ 0 h 13815"/>
                <a:gd name="connsiteX2" fmla="*/ 110597 w 110597"/>
                <a:gd name="connsiteY2" fmla="*/ 13815 h 13815"/>
                <a:gd name="connsiteX3" fmla="*/ 0 w 110597"/>
                <a:gd name="connsiteY3" fmla="*/ 13815 h 1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97" h="13815">
                  <a:moveTo>
                    <a:pt x="0" y="0"/>
                  </a:moveTo>
                  <a:lnTo>
                    <a:pt x="110597" y="0"/>
                  </a:lnTo>
                  <a:lnTo>
                    <a:pt x="110597" y="13815"/>
                  </a:lnTo>
                  <a:lnTo>
                    <a:pt x="0" y="13815"/>
                  </a:ln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E4969304-3F05-67C0-3BBA-D8DA129F6D0A}"/>
                </a:ext>
              </a:extLst>
            </p:cNvPr>
            <p:cNvSpPr/>
            <p:nvPr/>
          </p:nvSpPr>
          <p:spPr>
            <a:xfrm>
              <a:off x="4769556" y="3003439"/>
              <a:ext cx="110597" cy="13815"/>
            </a:xfrm>
            <a:custGeom>
              <a:avLst/>
              <a:gdLst>
                <a:gd name="connsiteX0" fmla="*/ 0 w 110597"/>
                <a:gd name="connsiteY0" fmla="*/ 0 h 13815"/>
                <a:gd name="connsiteX1" fmla="*/ 110597 w 110597"/>
                <a:gd name="connsiteY1" fmla="*/ 0 h 13815"/>
                <a:gd name="connsiteX2" fmla="*/ 110597 w 110597"/>
                <a:gd name="connsiteY2" fmla="*/ 13815 h 13815"/>
                <a:gd name="connsiteX3" fmla="*/ 0 w 110597"/>
                <a:gd name="connsiteY3" fmla="*/ 13815 h 1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97" h="13815">
                  <a:moveTo>
                    <a:pt x="0" y="0"/>
                  </a:moveTo>
                  <a:lnTo>
                    <a:pt x="110597" y="0"/>
                  </a:lnTo>
                  <a:lnTo>
                    <a:pt x="110597" y="13815"/>
                  </a:lnTo>
                  <a:lnTo>
                    <a:pt x="0" y="13815"/>
                  </a:ln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01CF0558-B177-5250-289D-5D3A6062550E}"/>
                </a:ext>
              </a:extLst>
            </p:cNvPr>
            <p:cNvSpPr/>
            <p:nvPr/>
          </p:nvSpPr>
          <p:spPr>
            <a:xfrm>
              <a:off x="4990962" y="2847593"/>
              <a:ext cx="38339" cy="38341"/>
            </a:xfrm>
            <a:custGeom>
              <a:avLst/>
              <a:gdLst>
                <a:gd name="connsiteX0" fmla="*/ 6844 w 38339"/>
                <a:gd name="connsiteY0" fmla="*/ 38341 h 38341"/>
                <a:gd name="connsiteX1" fmla="*/ 11796 w 38339"/>
                <a:gd name="connsiteY1" fmla="*/ 36311 h 38341"/>
                <a:gd name="connsiteX2" fmla="*/ 36233 w 38339"/>
                <a:gd name="connsiteY2" fmla="*/ 11874 h 38341"/>
                <a:gd name="connsiteX3" fmla="*/ 36398 w 38339"/>
                <a:gd name="connsiteY3" fmla="*/ 2107 h 38341"/>
                <a:gd name="connsiteX4" fmla="*/ 26631 w 38339"/>
                <a:gd name="connsiteY4" fmla="*/ 1941 h 38341"/>
                <a:gd name="connsiteX5" fmla="*/ 26453 w 38339"/>
                <a:gd name="connsiteY5" fmla="*/ 2119 h 38341"/>
                <a:gd name="connsiteX6" fmla="*/ 2016 w 38339"/>
                <a:gd name="connsiteY6" fmla="*/ 26556 h 38341"/>
                <a:gd name="connsiteX7" fmla="*/ 2030 w 38339"/>
                <a:gd name="connsiteY7" fmla="*/ 36325 h 38341"/>
                <a:gd name="connsiteX8" fmla="*/ 6968 w 38339"/>
                <a:gd name="connsiteY8" fmla="*/ 38341 h 38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339" h="38341">
                  <a:moveTo>
                    <a:pt x="6844" y="38341"/>
                  </a:moveTo>
                  <a:cubicBezTo>
                    <a:pt x="8701" y="38360"/>
                    <a:pt x="10487" y="37628"/>
                    <a:pt x="11796" y="36311"/>
                  </a:cubicBezTo>
                  <a:lnTo>
                    <a:pt x="36233" y="11874"/>
                  </a:lnTo>
                  <a:cubicBezTo>
                    <a:pt x="38976" y="9223"/>
                    <a:pt x="39050" y="4849"/>
                    <a:pt x="36398" y="2107"/>
                  </a:cubicBezTo>
                  <a:cubicBezTo>
                    <a:pt x="33747" y="-636"/>
                    <a:pt x="29374" y="-710"/>
                    <a:pt x="26631" y="1941"/>
                  </a:cubicBezTo>
                  <a:cubicBezTo>
                    <a:pt x="26571" y="1999"/>
                    <a:pt x="26511" y="2059"/>
                    <a:pt x="26453" y="2119"/>
                  </a:cubicBezTo>
                  <a:lnTo>
                    <a:pt x="2016" y="26556"/>
                  </a:lnTo>
                  <a:cubicBezTo>
                    <a:pt x="-677" y="29257"/>
                    <a:pt x="-671" y="33631"/>
                    <a:pt x="2030" y="36325"/>
                  </a:cubicBezTo>
                  <a:cubicBezTo>
                    <a:pt x="3340" y="37631"/>
                    <a:pt x="5119" y="38357"/>
                    <a:pt x="6968" y="38341"/>
                  </a:cubicBez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332A6A52-B638-DA23-5CDB-4C0898EDA12D}"/>
                </a:ext>
              </a:extLst>
            </p:cNvPr>
            <p:cNvSpPr/>
            <p:nvPr/>
          </p:nvSpPr>
          <p:spPr>
            <a:xfrm>
              <a:off x="4627204" y="2847519"/>
              <a:ext cx="38252" cy="38153"/>
            </a:xfrm>
            <a:custGeom>
              <a:avLst/>
              <a:gdLst>
                <a:gd name="connsiteX0" fmla="*/ 26729 w 38252"/>
                <a:gd name="connsiteY0" fmla="*/ 36384 h 38153"/>
                <a:gd name="connsiteX1" fmla="*/ 36483 w 38252"/>
                <a:gd name="connsiteY1" fmla="*/ 35862 h 38153"/>
                <a:gd name="connsiteX2" fmla="*/ 36483 w 38252"/>
                <a:gd name="connsiteY2" fmla="*/ 26630 h 38153"/>
                <a:gd name="connsiteX3" fmla="*/ 12047 w 38252"/>
                <a:gd name="connsiteY3" fmla="*/ 2292 h 38153"/>
                <a:gd name="connsiteX4" fmla="*/ 2292 w 38252"/>
                <a:gd name="connsiteY4" fmla="*/ 1769 h 38153"/>
                <a:gd name="connsiteX5" fmla="*/ 1769 w 38252"/>
                <a:gd name="connsiteY5" fmla="*/ 11524 h 38153"/>
                <a:gd name="connsiteX6" fmla="*/ 2292 w 38252"/>
                <a:gd name="connsiteY6" fmla="*/ 12047 h 38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252" h="38153">
                  <a:moveTo>
                    <a:pt x="26729" y="36384"/>
                  </a:moveTo>
                  <a:cubicBezTo>
                    <a:pt x="29567" y="38934"/>
                    <a:pt x="33934" y="38700"/>
                    <a:pt x="36483" y="35862"/>
                  </a:cubicBezTo>
                  <a:cubicBezTo>
                    <a:pt x="38842" y="33236"/>
                    <a:pt x="38842" y="29255"/>
                    <a:pt x="36483" y="26630"/>
                  </a:cubicBezTo>
                  <a:lnTo>
                    <a:pt x="12047" y="2292"/>
                  </a:lnTo>
                  <a:cubicBezTo>
                    <a:pt x="9497" y="-546"/>
                    <a:pt x="5130" y="-781"/>
                    <a:pt x="2292" y="1769"/>
                  </a:cubicBezTo>
                  <a:cubicBezTo>
                    <a:pt x="-546" y="4318"/>
                    <a:pt x="-781" y="8686"/>
                    <a:pt x="1769" y="11524"/>
                  </a:cubicBezTo>
                  <a:cubicBezTo>
                    <a:pt x="1934" y="11707"/>
                    <a:pt x="2108" y="11882"/>
                    <a:pt x="2292" y="12047"/>
                  </a:cubicBez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2F71709E-770D-2992-1AC8-57B239524787}"/>
                </a:ext>
              </a:extLst>
            </p:cNvPr>
            <p:cNvSpPr/>
            <p:nvPr/>
          </p:nvSpPr>
          <p:spPr>
            <a:xfrm>
              <a:off x="4935514" y="2802889"/>
              <a:ext cx="27634" cy="48481"/>
            </a:xfrm>
            <a:custGeom>
              <a:avLst/>
              <a:gdLst>
                <a:gd name="connsiteX0" fmla="*/ 4431 w 27634"/>
                <a:gd name="connsiteY0" fmla="*/ 47987 h 48481"/>
                <a:gd name="connsiteX1" fmla="*/ 6907 w 27634"/>
                <a:gd name="connsiteY1" fmla="*/ 48482 h 48481"/>
                <a:gd name="connsiteX2" fmla="*/ 13319 w 27634"/>
                <a:gd name="connsiteY2" fmla="*/ 44149 h 48481"/>
                <a:gd name="connsiteX3" fmla="*/ 27135 w 27634"/>
                <a:gd name="connsiteY3" fmla="*/ 9487 h 48481"/>
                <a:gd name="connsiteX4" fmla="*/ 23297 w 27634"/>
                <a:gd name="connsiteY4" fmla="*/ 499 h 48481"/>
                <a:gd name="connsiteX5" fmla="*/ 14310 w 27634"/>
                <a:gd name="connsiteY5" fmla="*/ 4337 h 48481"/>
                <a:gd name="connsiteX6" fmla="*/ 494 w 27634"/>
                <a:gd name="connsiteY6" fmla="*/ 38999 h 48481"/>
                <a:gd name="connsiteX7" fmla="*/ 4328 w 27634"/>
                <a:gd name="connsiteY7" fmla="*/ 47946 h 48481"/>
                <a:gd name="connsiteX8" fmla="*/ 4431 w 27634"/>
                <a:gd name="connsiteY8" fmla="*/ 47987 h 48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34" h="48481">
                  <a:moveTo>
                    <a:pt x="4431" y="47987"/>
                  </a:moveTo>
                  <a:cubicBezTo>
                    <a:pt x="5217" y="48307"/>
                    <a:pt x="6058" y="48475"/>
                    <a:pt x="6907" y="48482"/>
                  </a:cubicBezTo>
                  <a:cubicBezTo>
                    <a:pt x="9729" y="48483"/>
                    <a:pt x="12267" y="46768"/>
                    <a:pt x="13319" y="44149"/>
                  </a:cubicBezTo>
                  <a:lnTo>
                    <a:pt x="27135" y="9487"/>
                  </a:lnTo>
                  <a:cubicBezTo>
                    <a:pt x="28557" y="5945"/>
                    <a:pt x="26839" y="1922"/>
                    <a:pt x="23297" y="499"/>
                  </a:cubicBezTo>
                  <a:cubicBezTo>
                    <a:pt x="19756" y="-923"/>
                    <a:pt x="15732" y="796"/>
                    <a:pt x="14310" y="4337"/>
                  </a:cubicBezTo>
                  <a:lnTo>
                    <a:pt x="494" y="38999"/>
                  </a:lnTo>
                  <a:cubicBezTo>
                    <a:pt x="-918" y="42529"/>
                    <a:pt x="799" y="46534"/>
                    <a:pt x="4328" y="47946"/>
                  </a:cubicBezTo>
                  <a:cubicBezTo>
                    <a:pt x="4362" y="47960"/>
                    <a:pt x="4397" y="47974"/>
                    <a:pt x="4431" y="47987"/>
                  </a:cubicBez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31E3EF46-5575-551D-D6C2-F6BF95C9505A}"/>
                </a:ext>
              </a:extLst>
            </p:cNvPr>
            <p:cNvSpPr/>
            <p:nvPr/>
          </p:nvSpPr>
          <p:spPr>
            <a:xfrm>
              <a:off x="4700216" y="2802844"/>
              <a:ext cx="27648" cy="48526"/>
            </a:xfrm>
            <a:custGeom>
              <a:avLst/>
              <a:gdLst>
                <a:gd name="connsiteX0" fmla="*/ 14376 w 27648"/>
                <a:gd name="connsiteY0" fmla="*/ 44194 h 48526"/>
                <a:gd name="connsiteX1" fmla="*/ 20813 w 27648"/>
                <a:gd name="connsiteY1" fmla="*/ 48527 h 48526"/>
                <a:gd name="connsiteX2" fmla="*/ 23289 w 27648"/>
                <a:gd name="connsiteY2" fmla="*/ 48032 h 48526"/>
                <a:gd name="connsiteX3" fmla="*/ 27158 w 27648"/>
                <a:gd name="connsiteY3" fmla="*/ 39062 h 48526"/>
                <a:gd name="connsiteX4" fmla="*/ 27151 w 27648"/>
                <a:gd name="connsiteY4" fmla="*/ 39044 h 48526"/>
                <a:gd name="connsiteX5" fmla="*/ 13386 w 27648"/>
                <a:gd name="connsiteY5" fmla="*/ 4506 h 48526"/>
                <a:gd name="connsiteX6" fmla="*/ 4506 w 27648"/>
                <a:gd name="connsiteY6" fmla="*/ 434 h 48526"/>
                <a:gd name="connsiteX7" fmla="*/ 434 w 27648"/>
                <a:gd name="connsiteY7" fmla="*/ 9313 h 48526"/>
                <a:gd name="connsiteX8" fmla="*/ 561 w 27648"/>
                <a:gd name="connsiteY8" fmla="*/ 9631 h 48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48" h="48526">
                  <a:moveTo>
                    <a:pt x="14376" y="44194"/>
                  </a:moveTo>
                  <a:cubicBezTo>
                    <a:pt x="15437" y="46816"/>
                    <a:pt x="17984" y="48531"/>
                    <a:pt x="20813" y="48527"/>
                  </a:cubicBezTo>
                  <a:cubicBezTo>
                    <a:pt x="21662" y="48521"/>
                    <a:pt x="22503" y="48353"/>
                    <a:pt x="23289" y="48032"/>
                  </a:cubicBezTo>
                  <a:cubicBezTo>
                    <a:pt x="26834" y="46623"/>
                    <a:pt x="28567" y="42607"/>
                    <a:pt x="27158" y="39062"/>
                  </a:cubicBezTo>
                  <a:cubicBezTo>
                    <a:pt x="27156" y="39056"/>
                    <a:pt x="27154" y="39050"/>
                    <a:pt x="27151" y="39044"/>
                  </a:cubicBezTo>
                  <a:lnTo>
                    <a:pt x="13386" y="4506"/>
                  </a:lnTo>
                  <a:cubicBezTo>
                    <a:pt x="12058" y="929"/>
                    <a:pt x="8082" y="-894"/>
                    <a:pt x="4506" y="434"/>
                  </a:cubicBezTo>
                  <a:cubicBezTo>
                    <a:pt x="929" y="1761"/>
                    <a:pt x="-894" y="5737"/>
                    <a:pt x="434" y="9313"/>
                  </a:cubicBezTo>
                  <a:cubicBezTo>
                    <a:pt x="473" y="9420"/>
                    <a:pt x="516" y="9526"/>
                    <a:pt x="561" y="9631"/>
                  </a:cubicBezTo>
                  <a:close/>
                </a:path>
              </a:pathLst>
            </a:custGeom>
            <a:solidFill>
              <a:srgbClr val="BD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1" name="Graphic 205">
            <a:extLst>
              <a:ext uri="{FF2B5EF4-FFF2-40B4-BE49-F238E27FC236}">
                <a16:creationId xmlns:a16="http://schemas.microsoft.com/office/drawing/2014/main" id="{537AD3BC-032B-EE4F-881A-5B0444659B98}"/>
              </a:ext>
            </a:extLst>
          </p:cNvPr>
          <p:cNvGrpSpPr/>
          <p:nvPr/>
        </p:nvGrpSpPr>
        <p:grpSpPr>
          <a:xfrm>
            <a:off x="5590428" y="3221990"/>
            <a:ext cx="441325" cy="353060"/>
            <a:chOff x="5527675" y="2836228"/>
            <a:chExt cx="441325" cy="353060"/>
          </a:xfrm>
        </p:grpSpPr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9A1A5635-9C33-F95B-7638-9F29114B71DF}"/>
                </a:ext>
              </a:extLst>
            </p:cNvPr>
            <p:cNvSpPr/>
            <p:nvPr/>
          </p:nvSpPr>
          <p:spPr>
            <a:xfrm>
              <a:off x="5672135" y="3055789"/>
              <a:ext cx="44468" cy="10965"/>
            </a:xfrm>
            <a:custGeom>
              <a:avLst/>
              <a:gdLst>
                <a:gd name="connsiteX0" fmla="*/ 38921 w 44468"/>
                <a:gd name="connsiteY0" fmla="*/ 10966 h 10965"/>
                <a:gd name="connsiteX1" fmla="*/ 5548 w 44468"/>
                <a:gd name="connsiteY1" fmla="*/ 10966 h 10965"/>
                <a:gd name="connsiteX2" fmla="*/ 0 w 44468"/>
                <a:gd name="connsiteY2" fmla="*/ 5483 h 10965"/>
                <a:gd name="connsiteX3" fmla="*/ 5548 w 44468"/>
                <a:gd name="connsiteY3" fmla="*/ 0 h 10965"/>
                <a:gd name="connsiteX4" fmla="*/ 38921 w 44468"/>
                <a:gd name="connsiteY4" fmla="*/ 0 h 10965"/>
                <a:gd name="connsiteX5" fmla="*/ 44469 w 44468"/>
                <a:gd name="connsiteY5" fmla="*/ 5483 h 10965"/>
                <a:gd name="connsiteX6" fmla="*/ 38921 w 44468"/>
                <a:gd name="connsiteY6" fmla="*/ 10966 h 1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68" h="10965">
                  <a:moveTo>
                    <a:pt x="38921" y="10966"/>
                  </a:moveTo>
                  <a:lnTo>
                    <a:pt x="5548" y="10966"/>
                  </a:lnTo>
                  <a:cubicBezTo>
                    <a:pt x="2484" y="10966"/>
                    <a:pt x="0" y="8511"/>
                    <a:pt x="0" y="5483"/>
                  </a:cubicBezTo>
                  <a:cubicBezTo>
                    <a:pt x="0" y="2455"/>
                    <a:pt x="2484" y="0"/>
                    <a:pt x="5548" y="0"/>
                  </a:cubicBezTo>
                  <a:lnTo>
                    <a:pt x="38921" y="0"/>
                  </a:lnTo>
                  <a:cubicBezTo>
                    <a:pt x="41985" y="0"/>
                    <a:pt x="44469" y="2455"/>
                    <a:pt x="44469" y="5483"/>
                  </a:cubicBezTo>
                  <a:cubicBezTo>
                    <a:pt x="44469" y="8511"/>
                    <a:pt x="41985" y="10966"/>
                    <a:pt x="38921" y="10966"/>
                  </a:cubicBezTo>
                  <a:close/>
                </a:path>
              </a:pathLst>
            </a:custGeom>
            <a:solidFill>
              <a:srgbClr val="1F6896"/>
            </a:solidFill>
            <a:ln w="208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85BA2052-07F6-C5F5-A9EE-A4C257E12613}"/>
                </a:ext>
              </a:extLst>
            </p:cNvPr>
            <p:cNvSpPr/>
            <p:nvPr/>
          </p:nvSpPr>
          <p:spPr>
            <a:xfrm>
              <a:off x="5602595" y="2906594"/>
              <a:ext cx="165318" cy="90203"/>
            </a:xfrm>
            <a:custGeom>
              <a:avLst/>
              <a:gdLst>
                <a:gd name="connsiteX0" fmla="*/ 143809 w 165318"/>
                <a:gd name="connsiteY0" fmla="*/ 391 h 90203"/>
                <a:gd name="connsiteX1" fmla="*/ 122983 w 165318"/>
                <a:gd name="connsiteY1" fmla="*/ 20993 h 90203"/>
                <a:gd name="connsiteX2" fmla="*/ 125084 w 165318"/>
                <a:gd name="connsiteY2" fmla="*/ 29758 h 90203"/>
                <a:gd name="connsiteX3" fmla="*/ 104069 w 165318"/>
                <a:gd name="connsiteY3" fmla="*/ 50526 h 90203"/>
                <a:gd name="connsiteX4" fmla="*/ 95179 w 165318"/>
                <a:gd name="connsiteY4" fmla="*/ 48449 h 90203"/>
                <a:gd name="connsiteX5" fmla="*/ 86290 w 165318"/>
                <a:gd name="connsiteY5" fmla="*/ 50526 h 90203"/>
                <a:gd name="connsiteX6" fmla="*/ 65274 w 165318"/>
                <a:gd name="connsiteY6" fmla="*/ 29758 h 90203"/>
                <a:gd name="connsiteX7" fmla="*/ 67376 w 165318"/>
                <a:gd name="connsiteY7" fmla="*/ 20973 h 90203"/>
                <a:gd name="connsiteX8" fmla="*/ 46907 w 165318"/>
                <a:gd name="connsiteY8" fmla="*/ 3 h 90203"/>
                <a:gd name="connsiteX9" fmla="*/ 25688 w 165318"/>
                <a:gd name="connsiteY9" fmla="*/ 20232 h 90203"/>
                <a:gd name="connsiteX10" fmla="*/ 27846 w 165318"/>
                <a:gd name="connsiteY10" fmla="*/ 29737 h 90203"/>
                <a:gd name="connsiteX11" fmla="*/ 0 w 165318"/>
                <a:gd name="connsiteY11" fmla="*/ 57317 h 90203"/>
                <a:gd name="connsiteX12" fmla="*/ 9814 w 165318"/>
                <a:gd name="connsiteY12" fmla="*/ 67016 h 90203"/>
                <a:gd name="connsiteX13" fmla="*/ 37723 w 165318"/>
                <a:gd name="connsiteY13" fmla="*/ 39456 h 90203"/>
                <a:gd name="connsiteX14" fmla="*/ 55418 w 165318"/>
                <a:gd name="connsiteY14" fmla="*/ 39456 h 90203"/>
                <a:gd name="connsiteX15" fmla="*/ 76433 w 165318"/>
                <a:gd name="connsiteY15" fmla="*/ 60225 h 90203"/>
                <a:gd name="connsiteX16" fmla="*/ 74332 w 165318"/>
                <a:gd name="connsiteY16" fmla="*/ 68947 h 90203"/>
                <a:gd name="connsiteX17" fmla="*/ 94507 w 165318"/>
                <a:gd name="connsiteY17" fmla="*/ 90193 h 90203"/>
                <a:gd name="connsiteX18" fmla="*/ 116005 w 165318"/>
                <a:gd name="connsiteY18" fmla="*/ 70256 h 90203"/>
                <a:gd name="connsiteX19" fmla="*/ 116005 w 165318"/>
                <a:gd name="connsiteY19" fmla="*/ 68947 h 90203"/>
                <a:gd name="connsiteX20" fmla="*/ 113904 w 165318"/>
                <a:gd name="connsiteY20" fmla="*/ 60204 h 90203"/>
                <a:gd name="connsiteX21" fmla="*/ 134919 w 165318"/>
                <a:gd name="connsiteY21" fmla="*/ 39436 h 90203"/>
                <a:gd name="connsiteX22" fmla="*/ 143767 w 165318"/>
                <a:gd name="connsiteY22" fmla="*/ 41512 h 90203"/>
                <a:gd name="connsiteX23" fmla="*/ 165308 w 165318"/>
                <a:gd name="connsiteY23" fmla="*/ 21533 h 90203"/>
                <a:gd name="connsiteX24" fmla="*/ 145091 w 165318"/>
                <a:gd name="connsiteY24" fmla="*/ 246 h 90203"/>
                <a:gd name="connsiteX25" fmla="*/ 143767 w 165318"/>
                <a:gd name="connsiteY25" fmla="*/ 246 h 90203"/>
                <a:gd name="connsiteX26" fmla="*/ 39635 w 165318"/>
                <a:gd name="connsiteY26" fmla="*/ 21014 h 90203"/>
                <a:gd name="connsiteX27" fmla="*/ 46570 w 165318"/>
                <a:gd name="connsiteY27" fmla="*/ 14119 h 90203"/>
                <a:gd name="connsiteX28" fmla="*/ 53547 w 165318"/>
                <a:gd name="connsiteY28" fmla="*/ 20973 h 90203"/>
                <a:gd name="connsiteX29" fmla="*/ 46612 w 165318"/>
                <a:gd name="connsiteY29" fmla="*/ 27868 h 90203"/>
                <a:gd name="connsiteX30" fmla="*/ 46612 w 165318"/>
                <a:gd name="connsiteY30" fmla="*/ 27868 h 90203"/>
                <a:gd name="connsiteX31" fmla="*/ 39635 w 165318"/>
                <a:gd name="connsiteY31" fmla="*/ 21014 h 90203"/>
                <a:gd name="connsiteX32" fmla="*/ 95305 w 165318"/>
                <a:gd name="connsiteY32" fmla="*/ 75905 h 90203"/>
                <a:gd name="connsiteX33" fmla="*/ 88349 w 165318"/>
                <a:gd name="connsiteY33" fmla="*/ 69030 h 90203"/>
                <a:gd name="connsiteX34" fmla="*/ 95305 w 165318"/>
                <a:gd name="connsiteY34" fmla="*/ 62156 h 90203"/>
                <a:gd name="connsiteX35" fmla="*/ 102261 w 165318"/>
                <a:gd name="connsiteY35" fmla="*/ 69030 h 90203"/>
                <a:gd name="connsiteX36" fmla="*/ 95305 w 165318"/>
                <a:gd name="connsiteY36" fmla="*/ 75905 h 90203"/>
                <a:gd name="connsiteX37" fmla="*/ 143914 w 165318"/>
                <a:gd name="connsiteY37" fmla="*/ 27847 h 90203"/>
                <a:gd name="connsiteX38" fmla="*/ 136958 w 165318"/>
                <a:gd name="connsiteY38" fmla="*/ 20973 h 90203"/>
                <a:gd name="connsiteX39" fmla="*/ 143914 w 165318"/>
                <a:gd name="connsiteY39" fmla="*/ 14098 h 90203"/>
                <a:gd name="connsiteX40" fmla="*/ 150870 w 165318"/>
                <a:gd name="connsiteY40" fmla="*/ 20973 h 90203"/>
                <a:gd name="connsiteX41" fmla="*/ 150870 w 165318"/>
                <a:gd name="connsiteY41" fmla="*/ 20973 h 90203"/>
                <a:gd name="connsiteX42" fmla="*/ 143935 w 165318"/>
                <a:gd name="connsiteY42" fmla="*/ 27826 h 90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65318" h="90203">
                  <a:moveTo>
                    <a:pt x="143809" y="391"/>
                  </a:moveTo>
                  <a:cubicBezTo>
                    <a:pt x="132308" y="414"/>
                    <a:pt x="122994" y="9628"/>
                    <a:pt x="122983" y="20993"/>
                  </a:cubicBezTo>
                  <a:cubicBezTo>
                    <a:pt x="123002" y="24034"/>
                    <a:pt x="123720" y="27031"/>
                    <a:pt x="125084" y="29758"/>
                  </a:cubicBezTo>
                  <a:lnTo>
                    <a:pt x="104069" y="50526"/>
                  </a:lnTo>
                  <a:cubicBezTo>
                    <a:pt x="101295" y="49198"/>
                    <a:pt x="98261" y="48489"/>
                    <a:pt x="95179" y="48449"/>
                  </a:cubicBezTo>
                  <a:cubicBezTo>
                    <a:pt x="92095" y="48468"/>
                    <a:pt x="89056" y="49178"/>
                    <a:pt x="86290" y="50526"/>
                  </a:cubicBezTo>
                  <a:lnTo>
                    <a:pt x="65274" y="29758"/>
                  </a:lnTo>
                  <a:cubicBezTo>
                    <a:pt x="66638" y="27024"/>
                    <a:pt x="67357" y="24020"/>
                    <a:pt x="67376" y="20973"/>
                  </a:cubicBezTo>
                  <a:cubicBezTo>
                    <a:pt x="67583" y="9596"/>
                    <a:pt x="58418" y="208"/>
                    <a:pt x="46907" y="3"/>
                  </a:cubicBezTo>
                  <a:cubicBezTo>
                    <a:pt x="35395" y="-201"/>
                    <a:pt x="25895" y="8855"/>
                    <a:pt x="25688" y="20232"/>
                  </a:cubicBezTo>
                  <a:cubicBezTo>
                    <a:pt x="25628" y="23525"/>
                    <a:pt x="26368" y="26784"/>
                    <a:pt x="27846" y="29737"/>
                  </a:cubicBezTo>
                  <a:lnTo>
                    <a:pt x="0" y="57317"/>
                  </a:lnTo>
                  <a:lnTo>
                    <a:pt x="9814" y="67016"/>
                  </a:lnTo>
                  <a:lnTo>
                    <a:pt x="37723" y="39456"/>
                  </a:lnTo>
                  <a:cubicBezTo>
                    <a:pt x="43280" y="42260"/>
                    <a:pt x="49861" y="42260"/>
                    <a:pt x="55418" y="39456"/>
                  </a:cubicBezTo>
                  <a:lnTo>
                    <a:pt x="76433" y="60225"/>
                  </a:lnTo>
                  <a:cubicBezTo>
                    <a:pt x="75080" y="62940"/>
                    <a:pt x="74362" y="65921"/>
                    <a:pt x="74332" y="68947"/>
                  </a:cubicBezTo>
                  <a:cubicBezTo>
                    <a:pt x="73966" y="80320"/>
                    <a:pt x="82999" y="89832"/>
                    <a:pt x="94507" y="90193"/>
                  </a:cubicBezTo>
                  <a:cubicBezTo>
                    <a:pt x="106014" y="90554"/>
                    <a:pt x="115640" y="81628"/>
                    <a:pt x="116005" y="70256"/>
                  </a:cubicBezTo>
                  <a:cubicBezTo>
                    <a:pt x="116005" y="69813"/>
                    <a:pt x="116005" y="69376"/>
                    <a:pt x="116005" y="68947"/>
                  </a:cubicBezTo>
                  <a:cubicBezTo>
                    <a:pt x="115966" y="65915"/>
                    <a:pt x="115248" y="62930"/>
                    <a:pt x="113904" y="60204"/>
                  </a:cubicBezTo>
                  <a:lnTo>
                    <a:pt x="134919" y="39436"/>
                  </a:lnTo>
                  <a:cubicBezTo>
                    <a:pt x="137674" y="40773"/>
                    <a:pt x="140698" y="41483"/>
                    <a:pt x="143767" y="41512"/>
                  </a:cubicBezTo>
                  <a:cubicBezTo>
                    <a:pt x="155298" y="41874"/>
                    <a:pt x="164942" y="32929"/>
                    <a:pt x="165308" y="21533"/>
                  </a:cubicBezTo>
                  <a:cubicBezTo>
                    <a:pt x="165673" y="10138"/>
                    <a:pt x="156622" y="607"/>
                    <a:pt x="145091" y="246"/>
                  </a:cubicBezTo>
                  <a:lnTo>
                    <a:pt x="143767" y="246"/>
                  </a:lnTo>
                  <a:close/>
                  <a:moveTo>
                    <a:pt x="39635" y="21014"/>
                  </a:moveTo>
                  <a:cubicBezTo>
                    <a:pt x="39624" y="17218"/>
                    <a:pt x="42729" y="14131"/>
                    <a:pt x="46570" y="14119"/>
                  </a:cubicBezTo>
                  <a:cubicBezTo>
                    <a:pt x="50412" y="14108"/>
                    <a:pt x="53536" y="17176"/>
                    <a:pt x="53547" y="20973"/>
                  </a:cubicBezTo>
                  <a:cubicBezTo>
                    <a:pt x="53559" y="24769"/>
                    <a:pt x="50454" y="27856"/>
                    <a:pt x="46612" y="27868"/>
                  </a:cubicBezTo>
                  <a:lnTo>
                    <a:pt x="46612" y="27868"/>
                  </a:lnTo>
                  <a:cubicBezTo>
                    <a:pt x="42775" y="27868"/>
                    <a:pt x="39658" y="24806"/>
                    <a:pt x="39635" y="21014"/>
                  </a:cubicBezTo>
                  <a:close/>
                  <a:moveTo>
                    <a:pt x="95305" y="75905"/>
                  </a:moveTo>
                  <a:cubicBezTo>
                    <a:pt x="91463" y="75905"/>
                    <a:pt x="88349" y="72827"/>
                    <a:pt x="88349" y="69030"/>
                  </a:cubicBezTo>
                  <a:cubicBezTo>
                    <a:pt x="88349" y="65234"/>
                    <a:pt x="91463" y="62156"/>
                    <a:pt x="95305" y="62156"/>
                  </a:cubicBezTo>
                  <a:cubicBezTo>
                    <a:pt x="99147" y="62156"/>
                    <a:pt x="102261" y="65234"/>
                    <a:pt x="102261" y="69030"/>
                  </a:cubicBezTo>
                  <a:cubicBezTo>
                    <a:pt x="102261" y="72827"/>
                    <a:pt x="99147" y="75905"/>
                    <a:pt x="95305" y="75905"/>
                  </a:cubicBezTo>
                  <a:close/>
                  <a:moveTo>
                    <a:pt x="143914" y="27847"/>
                  </a:moveTo>
                  <a:cubicBezTo>
                    <a:pt x="140072" y="27847"/>
                    <a:pt x="136958" y="24769"/>
                    <a:pt x="136958" y="20973"/>
                  </a:cubicBezTo>
                  <a:cubicBezTo>
                    <a:pt x="136958" y="17176"/>
                    <a:pt x="140072" y="14098"/>
                    <a:pt x="143914" y="14098"/>
                  </a:cubicBezTo>
                  <a:cubicBezTo>
                    <a:pt x="147756" y="14098"/>
                    <a:pt x="150870" y="17176"/>
                    <a:pt x="150870" y="20973"/>
                  </a:cubicBezTo>
                  <a:lnTo>
                    <a:pt x="150870" y="20973"/>
                  </a:lnTo>
                  <a:cubicBezTo>
                    <a:pt x="150870" y="24758"/>
                    <a:pt x="147765" y="27826"/>
                    <a:pt x="143935" y="27826"/>
                  </a:cubicBezTo>
                  <a:close/>
                </a:path>
              </a:pathLst>
            </a:custGeom>
            <a:solidFill>
              <a:srgbClr val="BD5C7A"/>
            </a:solidFill>
            <a:ln w="208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361B4CE8-A643-3C60-64C0-0E7E8F3507DB}"/>
                </a:ext>
              </a:extLst>
            </p:cNvPr>
            <p:cNvSpPr/>
            <p:nvPr/>
          </p:nvSpPr>
          <p:spPr>
            <a:xfrm>
              <a:off x="5527674" y="2836227"/>
              <a:ext cx="333368" cy="318410"/>
            </a:xfrm>
            <a:custGeom>
              <a:avLst/>
              <a:gdLst>
                <a:gd name="connsiteX0" fmla="*/ 238904 w 333368"/>
                <a:gd name="connsiteY0" fmla="*/ 285522 h 318410"/>
                <a:gd name="connsiteX1" fmla="*/ 227808 w 333368"/>
                <a:gd name="connsiteY1" fmla="*/ 285522 h 318410"/>
                <a:gd name="connsiteX2" fmla="*/ 200172 w 333368"/>
                <a:gd name="connsiteY2" fmla="*/ 252583 h 318410"/>
                <a:gd name="connsiteX3" fmla="*/ 224025 w 333368"/>
                <a:gd name="connsiteY3" fmla="*/ 252583 h 318410"/>
                <a:gd name="connsiteX4" fmla="*/ 219402 w 333368"/>
                <a:gd name="connsiteY4" fmla="*/ 241597 h 318410"/>
                <a:gd name="connsiteX5" fmla="*/ 22234 w 333368"/>
                <a:gd name="connsiteY5" fmla="*/ 241597 h 318410"/>
                <a:gd name="connsiteX6" fmla="*/ 11117 w 333368"/>
                <a:gd name="connsiteY6" fmla="*/ 230611 h 318410"/>
                <a:gd name="connsiteX7" fmla="*/ 11117 w 333368"/>
                <a:gd name="connsiteY7" fmla="*/ 230527 h 318410"/>
                <a:gd name="connsiteX8" fmla="*/ 11117 w 333368"/>
                <a:gd name="connsiteY8" fmla="*/ 230527 h 318410"/>
                <a:gd name="connsiteX9" fmla="*/ 11117 w 333368"/>
                <a:gd name="connsiteY9" fmla="*/ 208658 h 318410"/>
                <a:gd name="connsiteX10" fmla="*/ 214757 w 333368"/>
                <a:gd name="connsiteY10" fmla="*/ 208658 h 318410"/>
                <a:gd name="connsiteX11" fmla="*/ 215976 w 333368"/>
                <a:gd name="connsiteY11" fmla="*/ 197672 h 318410"/>
                <a:gd name="connsiteX12" fmla="*/ 33331 w 333368"/>
                <a:gd name="connsiteY12" fmla="*/ 197672 h 318410"/>
                <a:gd name="connsiteX13" fmla="*/ 33331 w 333368"/>
                <a:gd name="connsiteY13" fmla="*/ 32980 h 318410"/>
                <a:gd name="connsiteX14" fmla="*/ 300038 w 333368"/>
                <a:gd name="connsiteY14" fmla="*/ 32980 h 318410"/>
                <a:gd name="connsiteX15" fmla="*/ 300038 w 333368"/>
                <a:gd name="connsiteY15" fmla="*/ 123675 h 318410"/>
                <a:gd name="connsiteX16" fmla="*/ 305166 w 333368"/>
                <a:gd name="connsiteY16" fmla="*/ 123529 h 318410"/>
                <a:gd name="connsiteX17" fmla="*/ 311155 w 333368"/>
                <a:gd name="connsiteY17" fmla="*/ 123737 h 318410"/>
                <a:gd name="connsiteX18" fmla="*/ 311155 w 333368"/>
                <a:gd name="connsiteY18" fmla="*/ 27456 h 318410"/>
                <a:gd name="connsiteX19" fmla="*/ 305586 w 333368"/>
                <a:gd name="connsiteY19" fmla="*/ 21973 h 318410"/>
                <a:gd name="connsiteX20" fmla="*/ 27867 w 333368"/>
                <a:gd name="connsiteY20" fmla="*/ 21973 h 318410"/>
                <a:gd name="connsiteX21" fmla="*/ 22297 w 333368"/>
                <a:gd name="connsiteY21" fmla="*/ 27456 h 318410"/>
                <a:gd name="connsiteX22" fmla="*/ 22297 w 333368"/>
                <a:gd name="connsiteY22" fmla="*/ 197755 h 318410"/>
                <a:gd name="connsiteX23" fmla="*/ 11054 w 333368"/>
                <a:gd name="connsiteY23" fmla="*/ 197755 h 318410"/>
                <a:gd name="connsiteX24" fmla="*/ 11054 w 333368"/>
                <a:gd name="connsiteY24" fmla="*/ 21973 h 318410"/>
                <a:gd name="connsiteX25" fmla="*/ 22171 w 333368"/>
                <a:gd name="connsiteY25" fmla="*/ 10986 h 318410"/>
                <a:gd name="connsiteX26" fmla="*/ 311134 w 333368"/>
                <a:gd name="connsiteY26" fmla="*/ 10986 h 318410"/>
                <a:gd name="connsiteX27" fmla="*/ 322251 w 333368"/>
                <a:gd name="connsiteY27" fmla="*/ 21973 h 318410"/>
                <a:gd name="connsiteX28" fmla="*/ 322251 w 333368"/>
                <a:gd name="connsiteY28" fmla="*/ 125087 h 318410"/>
                <a:gd name="connsiteX29" fmla="*/ 333369 w 333368"/>
                <a:gd name="connsiteY29" fmla="*/ 127932 h 318410"/>
                <a:gd name="connsiteX30" fmla="*/ 333369 w 333368"/>
                <a:gd name="connsiteY30" fmla="*/ 22014 h 318410"/>
                <a:gd name="connsiteX31" fmla="*/ 311134 w 333368"/>
                <a:gd name="connsiteY31" fmla="*/ 0 h 318410"/>
                <a:gd name="connsiteX32" fmla="*/ 22234 w 333368"/>
                <a:gd name="connsiteY32" fmla="*/ 0 h 318410"/>
                <a:gd name="connsiteX33" fmla="*/ 0 w 333368"/>
                <a:gd name="connsiteY33" fmla="*/ 21973 h 318410"/>
                <a:gd name="connsiteX34" fmla="*/ 0 w 333368"/>
                <a:gd name="connsiteY34" fmla="*/ 230527 h 318410"/>
                <a:gd name="connsiteX35" fmla="*/ 22234 w 333368"/>
                <a:gd name="connsiteY35" fmla="*/ 252500 h 318410"/>
                <a:gd name="connsiteX36" fmla="*/ 133175 w 333368"/>
                <a:gd name="connsiteY36" fmla="*/ 252500 h 318410"/>
                <a:gd name="connsiteX37" fmla="*/ 105561 w 333368"/>
                <a:gd name="connsiteY37" fmla="*/ 285439 h 318410"/>
                <a:gd name="connsiteX38" fmla="*/ 94444 w 333368"/>
                <a:gd name="connsiteY38" fmla="*/ 285439 h 318410"/>
                <a:gd name="connsiteX39" fmla="*/ 78360 w 333368"/>
                <a:gd name="connsiteY39" fmla="*/ 302503 h 318410"/>
                <a:gd name="connsiteX40" fmla="*/ 94444 w 333368"/>
                <a:gd name="connsiteY40" fmla="*/ 318398 h 318410"/>
                <a:gd name="connsiteX41" fmla="*/ 238904 w 333368"/>
                <a:gd name="connsiteY41" fmla="*/ 318398 h 318410"/>
                <a:gd name="connsiteX42" fmla="*/ 256231 w 333368"/>
                <a:gd name="connsiteY42" fmla="*/ 302567 h 318410"/>
                <a:gd name="connsiteX43" fmla="*/ 240212 w 333368"/>
                <a:gd name="connsiteY43" fmla="*/ 285443 h 318410"/>
                <a:gd name="connsiteX44" fmla="*/ 240081 w 333368"/>
                <a:gd name="connsiteY44" fmla="*/ 285439 h 318410"/>
                <a:gd name="connsiteX45" fmla="*/ 144334 w 333368"/>
                <a:gd name="connsiteY45" fmla="*/ 252583 h 318410"/>
                <a:gd name="connsiteX46" fmla="*/ 189139 w 333368"/>
                <a:gd name="connsiteY46" fmla="*/ 252583 h 318410"/>
                <a:gd name="connsiteX47" fmla="*/ 200824 w 333368"/>
                <a:gd name="connsiteY47" fmla="*/ 285522 h 318410"/>
                <a:gd name="connsiteX48" fmla="*/ 132629 w 333368"/>
                <a:gd name="connsiteY48" fmla="*/ 285522 h 318410"/>
                <a:gd name="connsiteX49" fmla="*/ 144313 w 333368"/>
                <a:gd name="connsiteY49" fmla="*/ 252583 h 318410"/>
                <a:gd name="connsiteX50" fmla="*/ 238904 w 333368"/>
                <a:gd name="connsiteY50" fmla="*/ 307495 h 318410"/>
                <a:gd name="connsiteX51" fmla="*/ 94444 w 333368"/>
                <a:gd name="connsiteY51" fmla="*/ 307495 h 318410"/>
                <a:gd name="connsiteX52" fmla="*/ 89227 w 333368"/>
                <a:gd name="connsiteY52" fmla="*/ 301663 h 318410"/>
                <a:gd name="connsiteX53" fmla="*/ 94444 w 333368"/>
                <a:gd name="connsiteY53" fmla="*/ 296508 h 318410"/>
                <a:gd name="connsiteX54" fmla="*/ 238904 w 333368"/>
                <a:gd name="connsiteY54" fmla="*/ 296508 h 318410"/>
                <a:gd name="connsiteX55" fmla="*/ 244809 w 333368"/>
                <a:gd name="connsiteY55" fmla="*/ 301659 h 318410"/>
                <a:gd name="connsiteX56" fmla="*/ 239597 w 333368"/>
                <a:gd name="connsiteY56" fmla="*/ 307495 h 318410"/>
                <a:gd name="connsiteX57" fmla="*/ 238904 w 333368"/>
                <a:gd name="connsiteY57" fmla="*/ 307495 h 31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33368" h="318410">
                  <a:moveTo>
                    <a:pt x="238904" y="285522"/>
                  </a:moveTo>
                  <a:lnTo>
                    <a:pt x="227808" y="285522"/>
                  </a:lnTo>
                  <a:cubicBezTo>
                    <a:pt x="210743" y="285522"/>
                    <a:pt x="201475" y="274452"/>
                    <a:pt x="200172" y="252583"/>
                  </a:cubicBezTo>
                  <a:lnTo>
                    <a:pt x="224025" y="252583"/>
                  </a:lnTo>
                  <a:cubicBezTo>
                    <a:pt x="222233" y="249029"/>
                    <a:pt x="220689" y="245358"/>
                    <a:pt x="219402" y="241597"/>
                  </a:cubicBezTo>
                  <a:lnTo>
                    <a:pt x="22234" y="241597"/>
                  </a:lnTo>
                  <a:cubicBezTo>
                    <a:pt x="16095" y="241597"/>
                    <a:pt x="11117" y="236678"/>
                    <a:pt x="11117" y="230611"/>
                  </a:cubicBezTo>
                  <a:cubicBezTo>
                    <a:pt x="11117" y="230583"/>
                    <a:pt x="11117" y="230555"/>
                    <a:pt x="11117" y="230527"/>
                  </a:cubicBezTo>
                  <a:lnTo>
                    <a:pt x="11117" y="230527"/>
                  </a:lnTo>
                  <a:lnTo>
                    <a:pt x="11117" y="208658"/>
                  </a:lnTo>
                  <a:lnTo>
                    <a:pt x="214757" y="208658"/>
                  </a:lnTo>
                  <a:cubicBezTo>
                    <a:pt x="214943" y="204976"/>
                    <a:pt x="215350" y="201307"/>
                    <a:pt x="215976" y="197672"/>
                  </a:cubicBezTo>
                  <a:lnTo>
                    <a:pt x="33331" y="197672"/>
                  </a:lnTo>
                  <a:lnTo>
                    <a:pt x="33331" y="32980"/>
                  </a:lnTo>
                  <a:lnTo>
                    <a:pt x="300038" y="32980"/>
                  </a:lnTo>
                  <a:lnTo>
                    <a:pt x="300038" y="123675"/>
                  </a:lnTo>
                  <a:cubicBezTo>
                    <a:pt x="301740" y="123675"/>
                    <a:pt x="303442" y="123529"/>
                    <a:pt x="305166" y="123529"/>
                  </a:cubicBezTo>
                  <a:cubicBezTo>
                    <a:pt x="307164" y="123500"/>
                    <a:pt x="309163" y="123569"/>
                    <a:pt x="311155" y="123737"/>
                  </a:cubicBezTo>
                  <a:lnTo>
                    <a:pt x="311155" y="27456"/>
                  </a:lnTo>
                  <a:cubicBezTo>
                    <a:pt x="311144" y="24424"/>
                    <a:pt x="308654" y="21973"/>
                    <a:pt x="305586" y="21973"/>
                  </a:cubicBezTo>
                  <a:lnTo>
                    <a:pt x="27867" y="21973"/>
                  </a:lnTo>
                  <a:cubicBezTo>
                    <a:pt x="24799" y="21973"/>
                    <a:pt x="22309" y="24424"/>
                    <a:pt x="22297" y="27456"/>
                  </a:cubicBezTo>
                  <a:lnTo>
                    <a:pt x="22297" y="197755"/>
                  </a:lnTo>
                  <a:lnTo>
                    <a:pt x="11054" y="197755"/>
                  </a:lnTo>
                  <a:lnTo>
                    <a:pt x="11054" y="21973"/>
                  </a:lnTo>
                  <a:cubicBezTo>
                    <a:pt x="11054" y="15905"/>
                    <a:pt x="16031" y="10986"/>
                    <a:pt x="22171" y="10986"/>
                  </a:cubicBezTo>
                  <a:lnTo>
                    <a:pt x="311134" y="10986"/>
                  </a:lnTo>
                  <a:cubicBezTo>
                    <a:pt x="317274" y="10986"/>
                    <a:pt x="322251" y="15905"/>
                    <a:pt x="322251" y="21973"/>
                  </a:cubicBezTo>
                  <a:lnTo>
                    <a:pt x="322251" y="125087"/>
                  </a:lnTo>
                  <a:cubicBezTo>
                    <a:pt x="326016" y="125796"/>
                    <a:pt x="329729" y="126746"/>
                    <a:pt x="333369" y="127932"/>
                  </a:cubicBezTo>
                  <a:lnTo>
                    <a:pt x="333369" y="22014"/>
                  </a:lnTo>
                  <a:cubicBezTo>
                    <a:pt x="333369" y="9872"/>
                    <a:pt x="323421" y="23"/>
                    <a:pt x="311134" y="0"/>
                  </a:cubicBezTo>
                  <a:lnTo>
                    <a:pt x="22234" y="0"/>
                  </a:lnTo>
                  <a:cubicBezTo>
                    <a:pt x="9964" y="23"/>
                    <a:pt x="23" y="9847"/>
                    <a:pt x="0" y="21973"/>
                  </a:cubicBezTo>
                  <a:lnTo>
                    <a:pt x="0" y="230527"/>
                  </a:lnTo>
                  <a:cubicBezTo>
                    <a:pt x="23" y="242653"/>
                    <a:pt x="9964" y="252477"/>
                    <a:pt x="22234" y="252500"/>
                  </a:cubicBezTo>
                  <a:lnTo>
                    <a:pt x="133175" y="252500"/>
                  </a:lnTo>
                  <a:cubicBezTo>
                    <a:pt x="131893" y="274369"/>
                    <a:pt x="122667" y="285439"/>
                    <a:pt x="105561" y="285439"/>
                  </a:cubicBezTo>
                  <a:lnTo>
                    <a:pt x="94444" y="285439"/>
                  </a:lnTo>
                  <a:cubicBezTo>
                    <a:pt x="85234" y="285762"/>
                    <a:pt x="78033" y="293402"/>
                    <a:pt x="78360" y="302503"/>
                  </a:cubicBezTo>
                  <a:cubicBezTo>
                    <a:pt x="78671" y="311151"/>
                    <a:pt x="85693" y="318091"/>
                    <a:pt x="94444" y="318398"/>
                  </a:cubicBezTo>
                  <a:lnTo>
                    <a:pt x="238904" y="318398"/>
                  </a:lnTo>
                  <a:cubicBezTo>
                    <a:pt x="248112" y="318755"/>
                    <a:pt x="255870" y="311667"/>
                    <a:pt x="256231" y="302567"/>
                  </a:cubicBezTo>
                  <a:cubicBezTo>
                    <a:pt x="256593" y="293467"/>
                    <a:pt x="249420" y="285800"/>
                    <a:pt x="240212" y="285443"/>
                  </a:cubicBezTo>
                  <a:cubicBezTo>
                    <a:pt x="240168" y="285442"/>
                    <a:pt x="240125" y="285440"/>
                    <a:pt x="240081" y="285439"/>
                  </a:cubicBezTo>
                  <a:close/>
                  <a:moveTo>
                    <a:pt x="144334" y="252583"/>
                  </a:moveTo>
                  <a:lnTo>
                    <a:pt x="189139" y="252583"/>
                  </a:lnTo>
                  <a:cubicBezTo>
                    <a:pt x="189116" y="264559"/>
                    <a:pt x="193239" y="276182"/>
                    <a:pt x="200824" y="285522"/>
                  </a:cubicBezTo>
                  <a:lnTo>
                    <a:pt x="132629" y="285522"/>
                  </a:lnTo>
                  <a:cubicBezTo>
                    <a:pt x="140196" y="276172"/>
                    <a:pt x="144317" y="264556"/>
                    <a:pt x="144313" y="252583"/>
                  </a:cubicBezTo>
                  <a:close/>
                  <a:moveTo>
                    <a:pt x="238904" y="307495"/>
                  </a:moveTo>
                  <a:lnTo>
                    <a:pt x="94444" y="307495"/>
                  </a:lnTo>
                  <a:cubicBezTo>
                    <a:pt x="91374" y="307308"/>
                    <a:pt x="89038" y="304697"/>
                    <a:pt x="89227" y="301663"/>
                  </a:cubicBezTo>
                  <a:cubicBezTo>
                    <a:pt x="89400" y="298890"/>
                    <a:pt x="91637" y="296679"/>
                    <a:pt x="94444" y="296508"/>
                  </a:cubicBezTo>
                  <a:lnTo>
                    <a:pt x="238904" y="296508"/>
                  </a:lnTo>
                  <a:cubicBezTo>
                    <a:pt x="241974" y="296319"/>
                    <a:pt x="244618" y="298625"/>
                    <a:pt x="244809" y="301659"/>
                  </a:cubicBezTo>
                  <a:cubicBezTo>
                    <a:pt x="245001" y="304692"/>
                    <a:pt x="242667" y="307305"/>
                    <a:pt x="239597" y="307495"/>
                  </a:cubicBezTo>
                  <a:cubicBezTo>
                    <a:pt x="239367" y="307515"/>
                    <a:pt x="239135" y="307515"/>
                    <a:pt x="238904" y="307495"/>
                  </a:cubicBezTo>
                  <a:close/>
                </a:path>
              </a:pathLst>
            </a:custGeom>
            <a:solidFill>
              <a:srgbClr val="1F6896"/>
            </a:solidFill>
            <a:ln w="208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551936B9-6112-DD6A-6086-67132A39D8FD}"/>
                </a:ext>
              </a:extLst>
            </p:cNvPr>
            <p:cNvSpPr/>
            <p:nvPr/>
          </p:nvSpPr>
          <p:spPr>
            <a:xfrm>
              <a:off x="5756718" y="2974458"/>
              <a:ext cx="208713" cy="206522"/>
            </a:xfrm>
            <a:custGeom>
              <a:avLst/>
              <a:gdLst>
                <a:gd name="connsiteX0" fmla="*/ 206692 w 208713"/>
                <a:gd name="connsiteY0" fmla="*/ 175515 h 206522"/>
                <a:gd name="connsiteX1" fmla="*/ 163105 w 208713"/>
                <a:gd name="connsiteY1" fmla="*/ 132442 h 206522"/>
                <a:gd name="connsiteX2" fmla="*/ 153270 w 208713"/>
                <a:gd name="connsiteY2" fmla="*/ 132442 h 206522"/>
                <a:gd name="connsiteX3" fmla="*/ 148500 w 208713"/>
                <a:gd name="connsiteY3" fmla="*/ 137156 h 206522"/>
                <a:gd name="connsiteX4" fmla="*/ 133789 w 208713"/>
                <a:gd name="connsiteY4" fmla="*/ 122618 h 206522"/>
                <a:gd name="connsiteX5" fmla="*/ 124078 w 208713"/>
                <a:gd name="connsiteY5" fmla="*/ 17320 h 206522"/>
                <a:gd name="connsiteX6" fmla="*/ 17526 w 208713"/>
                <a:gd name="connsiteY6" fmla="*/ 26917 h 206522"/>
                <a:gd name="connsiteX7" fmla="*/ 27237 w 208713"/>
                <a:gd name="connsiteY7" fmla="*/ 132215 h 206522"/>
                <a:gd name="connsiteX8" fmla="*/ 123954 w 208713"/>
                <a:gd name="connsiteY8" fmla="*/ 132317 h 206522"/>
                <a:gd name="connsiteX9" fmla="*/ 138664 w 208713"/>
                <a:gd name="connsiteY9" fmla="*/ 146855 h 206522"/>
                <a:gd name="connsiteX10" fmla="*/ 133873 w 208713"/>
                <a:gd name="connsiteY10" fmla="*/ 151590 h 206522"/>
                <a:gd name="connsiteX11" fmla="*/ 133866 w 208713"/>
                <a:gd name="connsiteY11" fmla="*/ 161282 h 206522"/>
                <a:gd name="connsiteX12" fmla="*/ 133873 w 208713"/>
                <a:gd name="connsiteY12" fmla="*/ 161289 h 206522"/>
                <a:gd name="connsiteX13" fmla="*/ 133873 w 208713"/>
                <a:gd name="connsiteY13" fmla="*/ 161289 h 206522"/>
                <a:gd name="connsiteX14" fmla="*/ 177480 w 208713"/>
                <a:gd name="connsiteY14" fmla="*/ 204445 h 206522"/>
                <a:gd name="connsiteX15" fmla="*/ 182377 w 208713"/>
                <a:gd name="connsiteY15" fmla="*/ 206522 h 206522"/>
                <a:gd name="connsiteX16" fmla="*/ 187294 w 208713"/>
                <a:gd name="connsiteY16" fmla="*/ 204445 h 206522"/>
                <a:gd name="connsiteX17" fmla="*/ 206671 w 208713"/>
                <a:gd name="connsiteY17" fmla="*/ 185297 h 206522"/>
                <a:gd name="connsiteX18" fmla="*/ 206707 w 208713"/>
                <a:gd name="connsiteY18" fmla="*/ 175634 h 206522"/>
                <a:gd name="connsiteX19" fmla="*/ 206671 w 208713"/>
                <a:gd name="connsiteY19" fmla="*/ 175598 h 206522"/>
                <a:gd name="connsiteX20" fmla="*/ 75786 w 208713"/>
                <a:gd name="connsiteY20" fmla="*/ 135910 h 206522"/>
                <a:gd name="connsiteX21" fmla="*/ 14232 w 208713"/>
                <a:gd name="connsiteY21" fmla="*/ 75038 h 206522"/>
                <a:gd name="connsiteX22" fmla="*/ 75828 w 208713"/>
                <a:gd name="connsiteY22" fmla="*/ 14208 h 206522"/>
                <a:gd name="connsiteX23" fmla="*/ 137383 w 208713"/>
                <a:gd name="connsiteY23" fmla="*/ 75080 h 206522"/>
                <a:gd name="connsiteX24" fmla="*/ 137383 w 208713"/>
                <a:gd name="connsiteY24" fmla="*/ 75080 h 206522"/>
                <a:gd name="connsiteX25" fmla="*/ 75786 w 208713"/>
                <a:gd name="connsiteY25" fmla="*/ 135910 h 206522"/>
                <a:gd name="connsiteX26" fmla="*/ 182398 w 208713"/>
                <a:gd name="connsiteY26" fmla="*/ 189907 h 206522"/>
                <a:gd name="connsiteX27" fmla="*/ 148626 w 208713"/>
                <a:gd name="connsiteY27" fmla="*/ 156429 h 206522"/>
                <a:gd name="connsiteX28" fmla="*/ 158188 w 208713"/>
                <a:gd name="connsiteY28" fmla="*/ 147000 h 206522"/>
                <a:gd name="connsiteX29" fmla="*/ 191960 w 208713"/>
                <a:gd name="connsiteY29" fmla="*/ 180375 h 206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08713" h="206522">
                  <a:moveTo>
                    <a:pt x="206692" y="175515"/>
                  </a:moveTo>
                  <a:lnTo>
                    <a:pt x="163105" y="132442"/>
                  </a:lnTo>
                  <a:cubicBezTo>
                    <a:pt x="160389" y="129759"/>
                    <a:pt x="155987" y="129759"/>
                    <a:pt x="153270" y="132442"/>
                  </a:cubicBezTo>
                  <a:lnTo>
                    <a:pt x="148500" y="137156"/>
                  </a:lnTo>
                  <a:lnTo>
                    <a:pt x="133789" y="122618"/>
                  </a:lnTo>
                  <a:cubicBezTo>
                    <a:pt x="160531" y="90891"/>
                    <a:pt x="156183" y="43747"/>
                    <a:pt x="124078" y="17320"/>
                  </a:cubicBezTo>
                  <a:cubicBezTo>
                    <a:pt x="91973" y="-9107"/>
                    <a:pt x="44268" y="-4811"/>
                    <a:pt x="17526" y="26917"/>
                  </a:cubicBezTo>
                  <a:cubicBezTo>
                    <a:pt x="-9216" y="58644"/>
                    <a:pt x="-4868" y="105788"/>
                    <a:pt x="27237" y="132215"/>
                  </a:cubicBezTo>
                  <a:cubicBezTo>
                    <a:pt x="55242" y="155267"/>
                    <a:pt x="95899" y="155310"/>
                    <a:pt x="123954" y="132317"/>
                  </a:cubicBezTo>
                  <a:lnTo>
                    <a:pt x="138664" y="146855"/>
                  </a:lnTo>
                  <a:lnTo>
                    <a:pt x="133873" y="151590"/>
                  </a:lnTo>
                  <a:cubicBezTo>
                    <a:pt x="131163" y="154265"/>
                    <a:pt x="131160" y="158604"/>
                    <a:pt x="133866" y="161282"/>
                  </a:cubicBezTo>
                  <a:cubicBezTo>
                    <a:pt x="133869" y="161285"/>
                    <a:pt x="133871" y="161287"/>
                    <a:pt x="133873" y="161289"/>
                  </a:cubicBezTo>
                  <a:lnTo>
                    <a:pt x="133873" y="161289"/>
                  </a:lnTo>
                  <a:lnTo>
                    <a:pt x="177480" y="204445"/>
                  </a:lnTo>
                  <a:cubicBezTo>
                    <a:pt x="178767" y="205754"/>
                    <a:pt x="180530" y="206502"/>
                    <a:pt x="182377" y="206522"/>
                  </a:cubicBezTo>
                  <a:cubicBezTo>
                    <a:pt x="184229" y="206498"/>
                    <a:pt x="185997" y="205752"/>
                    <a:pt x="187294" y="204445"/>
                  </a:cubicBezTo>
                  <a:lnTo>
                    <a:pt x="206671" y="185297"/>
                  </a:lnTo>
                  <a:cubicBezTo>
                    <a:pt x="209381" y="182638"/>
                    <a:pt x="209397" y="178312"/>
                    <a:pt x="206707" y="175634"/>
                  </a:cubicBezTo>
                  <a:cubicBezTo>
                    <a:pt x="206695" y="175622"/>
                    <a:pt x="206683" y="175610"/>
                    <a:pt x="206671" y="175598"/>
                  </a:cubicBezTo>
                  <a:close/>
                  <a:moveTo>
                    <a:pt x="75786" y="135910"/>
                  </a:moveTo>
                  <a:cubicBezTo>
                    <a:pt x="41779" y="135899"/>
                    <a:pt x="14220" y="108645"/>
                    <a:pt x="14232" y="75038"/>
                  </a:cubicBezTo>
                  <a:cubicBezTo>
                    <a:pt x="14243" y="41431"/>
                    <a:pt x="41821" y="14197"/>
                    <a:pt x="75828" y="14208"/>
                  </a:cubicBezTo>
                  <a:cubicBezTo>
                    <a:pt x="109835" y="14220"/>
                    <a:pt x="137394" y="41473"/>
                    <a:pt x="137383" y="75080"/>
                  </a:cubicBezTo>
                  <a:lnTo>
                    <a:pt x="137383" y="75080"/>
                  </a:lnTo>
                  <a:cubicBezTo>
                    <a:pt x="137371" y="108687"/>
                    <a:pt x="109793" y="135921"/>
                    <a:pt x="75786" y="135910"/>
                  </a:cubicBezTo>
                  <a:close/>
                  <a:moveTo>
                    <a:pt x="182398" y="189907"/>
                  </a:moveTo>
                  <a:lnTo>
                    <a:pt x="148626" y="156429"/>
                  </a:lnTo>
                  <a:lnTo>
                    <a:pt x="158188" y="147000"/>
                  </a:lnTo>
                  <a:lnTo>
                    <a:pt x="191960" y="180375"/>
                  </a:lnTo>
                  <a:close/>
                </a:path>
              </a:pathLst>
            </a:custGeom>
            <a:solidFill>
              <a:srgbClr val="1F6896"/>
            </a:solidFill>
            <a:ln w="208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 135">
              <a:extLst>
                <a:ext uri="{FF2B5EF4-FFF2-40B4-BE49-F238E27FC236}">
                  <a16:creationId xmlns:a16="http://schemas.microsoft.com/office/drawing/2014/main" id="{F05C9F59-F439-2F97-E343-FE88151AF806}"/>
                </a:ext>
              </a:extLst>
            </p:cNvPr>
            <p:cNvSpPr/>
            <p:nvPr/>
          </p:nvSpPr>
          <p:spPr>
            <a:xfrm>
              <a:off x="5833492" y="3002373"/>
              <a:ext cx="48524" cy="48078"/>
            </a:xfrm>
            <a:custGeom>
              <a:avLst/>
              <a:gdLst>
                <a:gd name="connsiteX0" fmla="*/ 0 w 48524"/>
                <a:gd name="connsiteY0" fmla="*/ 0 h 48078"/>
                <a:gd name="connsiteX1" fmla="*/ 0 w 48524"/>
                <a:gd name="connsiteY1" fmla="*/ 13728 h 48078"/>
                <a:gd name="connsiteX2" fmla="*/ 34634 w 48524"/>
                <a:gd name="connsiteY2" fmla="*/ 48078 h 48078"/>
                <a:gd name="connsiteX3" fmla="*/ 48525 w 48524"/>
                <a:gd name="connsiteY3" fmla="*/ 48078 h 48078"/>
                <a:gd name="connsiteX4" fmla="*/ 0 w 48524"/>
                <a:gd name="connsiteY4" fmla="*/ 0 h 48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24" h="48078">
                  <a:moveTo>
                    <a:pt x="0" y="0"/>
                  </a:moveTo>
                  <a:lnTo>
                    <a:pt x="0" y="13728"/>
                  </a:lnTo>
                  <a:cubicBezTo>
                    <a:pt x="19143" y="13808"/>
                    <a:pt x="34622" y="29160"/>
                    <a:pt x="34634" y="48078"/>
                  </a:cubicBezTo>
                  <a:lnTo>
                    <a:pt x="48525" y="48078"/>
                  </a:lnTo>
                  <a:cubicBezTo>
                    <a:pt x="48513" y="21579"/>
                    <a:pt x="26815" y="80"/>
                    <a:pt x="0" y="0"/>
                  </a:cubicBezTo>
                  <a:close/>
                </a:path>
              </a:pathLst>
            </a:custGeom>
            <a:solidFill>
              <a:srgbClr val="1F6896"/>
            </a:solidFill>
            <a:ln w="208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7" name="Graphic 213">
            <a:extLst>
              <a:ext uri="{FF2B5EF4-FFF2-40B4-BE49-F238E27FC236}">
                <a16:creationId xmlns:a16="http://schemas.microsoft.com/office/drawing/2014/main" id="{F403178B-4AAD-3EC3-BBA1-AAF26FADA829}"/>
              </a:ext>
            </a:extLst>
          </p:cNvPr>
          <p:cNvGrpSpPr/>
          <p:nvPr/>
        </p:nvGrpSpPr>
        <p:grpSpPr>
          <a:xfrm>
            <a:off x="6436566" y="3187700"/>
            <a:ext cx="361950" cy="361950"/>
            <a:chOff x="6373813" y="2801938"/>
            <a:chExt cx="361950" cy="361950"/>
          </a:xfrm>
        </p:grpSpPr>
        <p:sp>
          <p:nvSpPr>
            <p:cNvPr id="138" name="Freeform 137">
              <a:extLst>
                <a:ext uri="{FF2B5EF4-FFF2-40B4-BE49-F238E27FC236}">
                  <a16:creationId xmlns:a16="http://schemas.microsoft.com/office/drawing/2014/main" id="{68F8DA62-924F-020B-9676-D2FD5985E287}"/>
                </a:ext>
              </a:extLst>
            </p:cNvPr>
            <p:cNvSpPr/>
            <p:nvPr/>
          </p:nvSpPr>
          <p:spPr>
            <a:xfrm>
              <a:off x="6538500" y="3095615"/>
              <a:ext cx="45741" cy="45741"/>
            </a:xfrm>
            <a:custGeom>
              <a:avLst/>
              <a:gdLst>
                <a:gd name="connsiteX0" fmla="*/ 45741 w 45741"/>
                <a:gd name="connsiteY0" fmla="*/ 22871 h 45741"/>
                <a:gd name="connsiteX1" fmla="*/ 22871 w 45741"/>
                <a:gd name="connsiteY1" fmla="*/ 45741 h 45741"/>
                <a:gd name="connsiteX2" fmla="*/ 0 w 45741"/>
                <a:gd name="connsiteY2" fmla="*/ 22871 h 45741"/>
                <a:gd name="connsiteX3" fmla="*/ 22871 w 45741"/>
                <a:gd name="connsiteY3" fmla="*/ 0 h 45741"/>
                <a:gd name="connsiteX4" fmla="*/ 45741 w 45741"/>
                <a:gd name="connsiteY4" fmla="*/ 22871 h 4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41" h="45741">
                  <a:moveTo>
                    <a:pt x="45741" y="22871"/>
                  </a:moveTo>
                  <a:cubicBezTo>
                    <a:pt x="45741" y="35502"/>
                    <a:pt x="35502" y="45741"/>
                    <a:pt x="22871" y="45741"/>
                  </a:cubicBezTo>
                  <a:cubicBezTo>
                    <a:pt x="10240" y="45741"/>
                    <a:pt x="0" y="35502"/>
                    <a:pt x="0" y="22871"/>
                  </a:cubicBezTo>
                  <a:cubicBezTo>
                    <a:pt x="0" y="10240"/>
                    <a:pt x="10240" y="0"/>
                    <a:pt x="22871" y="0"/>
                  </a:cubicBezTo>
                  <a:cubicBezTo>
                    <a:pt x="35502" y="0"/>
                    <a:pt x="45741" y="10240"/>
                    <a:pt x="45741" y="22871"/>
                  </a:cubicBezTo>
                  <a:close/>
                </a:path>
              </a:pathLst>
            </a:custGeom>
            <a:solidFill>
              <a:srgbClr val="BD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 138">
              <a:extLst>
                <a:ext uri="{FF2B5EF4-FFF2-40B4-BE49-F238E27FC236}">
                  <a16:creationId xmlns:a16="http://schemas.microsoft.com/office/drawing/2014/main" id="{23943FDF-99CA-E43D-AE0A-58F688FCD849}"/>
                </a:ext>
              </a:extLst>
            </p:cNvPr>
            <p:cNvSpPr/>
            <p:nvPr/>
          </p:nvSpPr>
          <p:spPr>
            <a:xfrm>
              <a:off x="6384788" y="2849690"/>
              <a:ext cx="354719" cy="99189"/>
            </a:xfrm>
            <a:custGeom>
              <a:avLst/>
              <a:gdLst>
                <a:gd name="connsiteX0" fmla="*/ 350975 w 354719"/>
                <a:gd name="connsiteY0" fmla="*/ 75763 h 99189"/>
                <a:gd name="connsiteX1" fmla="*/ 16252 w 354719"/>
                <a:gd name="connsiteY1" fmla="*/ 63218 h 99189"/>
                <a:gd name="connsiteX2" fmla="*/ 3707 w 354719"/>
                <a:gd name="connsiteY2" fmla="*/ 75763 h 99189"/>
                <a:gd name="connsiteX3" fmla="*/ 4442 w 354719"/>
                <a:gd name="connsiteY3" fmla="*/ 95388 h 99189"/>
                <a:gd name="connsiteX4" fmla="*/ 24066 w 354719"/>
                <a:gd name="connsiteY4" fmla="*/ 94653 h 99189"/>
                <a:gd name="connsiteX5" fmla="*/ 319667 w 354719"/>
                <a:gd name="connsiteY5" fmla="*/ 83809 h 99189"/>
                <a:gd name="connsiteX6" fmla="*/ 330615 w 354719"/>
                <a:gd name="connsiteY6" fmla="*/ 94766 h 99189"/>
                <a:gd name="connsiteX7" fmla="*/ 350296 w 354719"/>
                <a:gd name="connsiteY7" fmla="*/ 95444 h 99189"/>
                <a:gd name="connsiteX8" fmla="*/ 350975 w 354719"/>
                <a:gd name="connsiteY8" fmla="*/ 75763 h 99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719" h="99189">
                  <a:moveTo>
                    <a:pt x="350975" y="75763"/>
                  </a:moveTo>
                  <a:cubicBezTo>
                    <a:pt x="262008" y="-20132"/>
                    <a:pt x="112148" y="-25749"/>
                    <a:pt x="16252" y="63218"/>
                  </a:cubicBezTo>
                  <a:cubicBezTo>
                    <a:pt x="11915" y="67242"/>
                    <a:pt x="7730" y="71426"/>
                    <a:pt x="3707" y="75763"/>
                  </a:cubicBezTo>
                  <a:cubicBezTo>
                    <a:pt x="-1510" y="81386"/>
                    <a:pt x="-1180" y="90172"/>
                    <a:pt x="4442" y="95388"/>
                  </a:cubicBezTo>
                  <a:cubicBezTo>
                    <a:pt x="10064" y="100604"/>
                    <a:pt x="18850" y="100275"/>
                    <a:pt x="24066" y="94653"/>
                  </a:cubicBezTo>
                  <a:cubicBezTo>
                    <a:pt x="102700" y="10030"/>
                    <a:pt x="235045" y="5176"/>
                    <a:pt x="319667" y="83809"/>
                  </a:cubicBezTo>
                  <a:cubicBezTo>
                    <a:pt x="323450" y="87325"/>
                    <a:pt x="327102" y="90980"/>
                    <a:pt x="330615" y="94766"/>
                  </a:cubicBezTo>
                  <a:cubicBezTo>
                    <a:pt x="335863" y="100388"/>
                    <a:pt x="344674" y="100692"/>
                    <a:pt x="350296" y="95444"/>
                  </a:cubicBezTo>
                  <a:cubicBezTo>
                    <a:pt x="355918" y="90197"/>
                    <a:pt x="356222" y="81386"/>
                    <a:pt x="350975" y="75763"/>
                  </a:cubicBez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F043764D-7B36-0304-D729-3214F7A5CD5E}"/>
                </a:ext>
              </a:extLst>
            </p:cNvPr>
            <p:cNvSpPr/>
            <p:nvPr/>
          </p:nvSpPr>
          <p:spPr>
            <a:xfrm>
              <a:off x="6435392" y="2930068"/>
              <a:ext cx="253153" cy="76209"/>
            </a:xfrm>
            <a:custGeom>
              <a:avLst/>
              <a:gdLst>
                <a:gd name="connsiteX0" fmla="*/ 249426 w 253153"/>
                <a:gd name="connsiteY0" fmla="*/ 52596 h 76209"/>
                <a:gd name="connsiteX1" fmla="*/ 126657 w 253153"/>
                <a:gd name="connsiteY1" fmla="*/ 0 h 76209"/>
                <a:gd name="connsiteX2" fmla="*/ 4023 w 253153"/>
                <a:gd name="connsiteY2" fmla="*/ 52596 h 76209"/>
                <a:gd name="connsiteX3" fmla="*/ 4091 w 253153"/>
                <a:gd name="connsiteY3" fmla="*/ 72186 h 76209"/>
                <a:gd name="connsiteX4" fmla="*/ 23682 w 253153"/>
                <a:gd name="connsiteY4" fmla="*/ 72119 h 76209"/>
                <a:gd name="connsiteX5" fmla="*/ 126657 w 253153"/>
                <a:gd name="connsiteY5" fmla="*/ 27712 h 76209"/>
                <a:gd name="connsiteX6" fmla="*/ 229745 w 253153"/>
                <a:gd name="connsiteY6" fmla="*/ 72119 h 76209"/>
                <a:gd name="connsiteX7" fmla="*/ 249349 w 253153"/>
                <a:gd name="connsiteY7" fmla="*/ 71598 h 76209"/>
                <a:gd name="connsiteX8" fmla="*/ 249426 w 253153"/>
                <a:gd name="connsiteY8" fmla="*/ 52596 h 7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153" h="76209">
                  <a:moveTo>
                    <a:pt x="249426" y="52596"/>
                  </a:moveTo>
                  <a:cubicBezTo>
                    <a:pt x="217219" y="19300"/>
                    <a:pt x="172980" y="347"/>
                    <a:pt x="126657" y="0"/>
                  </a:cubicBezTo>
                  <a:cubicBezTo>
                    <a:pt x="80380" y="378"/>
                    <a:pt x="36195" y="19329"/>
                    <a:pt x="4023" y="52596"/>
                  </a:cubicBezTo>
                  <a:cubicBezTo>
                    <a:pt x="-1368" y="58024"/>
                    <a:pt x="-1337" y="66795"/>
                    <a:pt x="4091" y="72186"/>
                  </a:cubicBezTo>
                  <a:cubicBezTo>
                    <a:pt x="9520" y="77577"/>
                    <a:pt x="18291" y="77547"/>
                    <a:pt x="23682" y="72119"/>
                  </a:cubicBezTo>
                  <a:cubicBezTo>
                    <a:pt x="50667" y="44112"/>
                    <a:pt x="87767" y="28113"/>
                    <a:pt x="126657" y="27712"/>
                  </a:cubicBezTo>
                  <a:cubicBezTo>
                    <a:pt x="165587" y="28077"/>
                    <a:pt x="202735" y="44080"/>
                    <a:pt x="229745" y="72119"/>
                  </a:cubicBezTo>
                  <a:cubicBezTo>
                    <a:pt x="235302" y="77388"/>
                    <a:pt x="244079" y="77155"/>
                    <a:pt x="249349" y="71598"/>
                  </a:cubicBezTo>
                  <a:cubicBezTo>
                    <a:pt x="254392" y="66279"/>
                    <a:pt x="254426" y="57955"/>
                    <a:pt x="249426" y="52596"/>
                  </a:cubicBez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2C79220E-80BC-5DC9-6D96-F7EB426525EC}"/>
                </a:ext>
              </a:extLst>
            </p:cNvPr>
            <p:cNvSpPr/>
            <p:nvPr/>
          </p:nvSpPr>
          <p:spPr>
            <a:xfrm>
              <a:off x="6489379" y="3011099"/>
              <a:ext cx="144399" cy="52962"/>
            </a:xfrm>
            <a:custGeom>
              <a:avLst/>
              <a:gdLst>
                <a:gd name="connsiteX0" fmla="*/ 140060 w 144399"/>
                <a:gd name="connsiteY0" fmla="*/ 28956 h 52962"/>
                <a:gd name="connsiteX1" fmla="*/ 72624 w 144399"/>
                <a:gd name="connsiteY1" fmla="*/ 0 h 52962"/>
                <a:gd name="connsiteX2" fmla="*/ 71539 w 144399"/>
                <a:gd name="connsiteY2" fmla="*/ 0 h 52962"/>
                <a:gd name="connsiteX3" fmla="*/ 4103 w 144399"/>
                <a:gd name="connsiteY3" fmla="*/ 28956 h 52962"/>
                <a:gd name="connsiteX4" fmla="*/ 4012 w 144399"/>
                <a:gd name="connsiteY4" fmla="*/ 48547 h 52962"/>
                <a:gd name="connsiteX5" fmla="*/ 23603 w 144399"/>
                <a:gd name="connsiteY5" fmla="*/ 48637 h 52962"/>
                <a:gd name="connsiteX6" fmla="*/ 71539 w 144399"/>
                <a:gd name="connsiteY6" fmla="*/ 27712 h 52962"/>
                <a:gd name="connsiteX7" fmla="*/ 72557 w 144399"/>
                <a:gd name="connsiteY7" fmla="*/ 27712 h 52962"/>
                <a:gd name="connsiteX8" fmla="*/ 120470 w 144399"/>
                <a:gd name="connsiteY8" fmla="*/ 48637 h 52962"/>
                <a:gd name="connsiteX9" fmla="*/ 140074 w 144399"/>
                <a:gd name="connsiteY9" fmla="*/ 49158 h 52962"/>
                <a:gd name="connsiteX10" fmla="*/ 140595 w 144399"/>
                <a:gd name="connsiteY10" fmla="*/ 29554 h 52962"/>
                <a:gd name="connsiteX11" fmla="*/ 139992 w 144399"/>
                <a:gd name="connsiteY11" fmla="*/ 28956 h 52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4399" h="52962">
                  <a:moveTo>
                    <a:pt x="140060" y="28956"/>
                  </a:moveTo>
                  <a:cubicBezTo>
                    <a:pt x="122067" y="11101"/>
                    <a:pt x="97962" y="751"/>
                    <a:pt x="72624" y="0"/>
                  </a:cubicBezTo>
                  <a:lnTo>
                    <a:pt x="71539" y="0"/>
                  </a:lnTo>
                  <a:cubicBezTo>
                    <a:pt x="46200" y="746"/>
                    <a:pt x="22093" y="11098"/>
                    <a:pt x="4103" y="28956"/>
                  </a:cubicBezTo>
                  <a:cubicBezTo>
                    <a:pt x="-1332" y="34341"/>
                    <a:pt x="-1373" y="43112"/>
                    <a:pt x="4012" y="48547"/>
                  </a:cubicBezTo>
                  <a:cubicBezTo>
                    <a:pt x="9397" y="53981"/>
                    <a:pt x="18168" y="54022"/>
                    <a:pt x="23603" y="48637"/>
                  </a:cubicBezTo>
                  <a:cubicBezTo>
                    <a:pt x="36415" y="35931"/>
                    <a:pt x="53510" y="28469"/>
                    <a:pt x="71539" y="27712"/>
                  </a:cubicBezTo>
                  <a:lnTo>
                    <a:pt x="72557" y="27712"/>
                  </a:lnTo>
                  <a:cubicBezTo>
                    <a:pt x="90577" y="28474"/>
                    <a:pt x="107663" y="35937"/>
                    <a:pt x="120470" y="48637"/>
                  </a:cubicBezTo>
                  <a:cubicBezTo>
                    <a:pt x="125739" y="54194"/>
                    <a:pt x="134517" y="54428"/>
                    <a:pt x="140074" y="49158"/>
                  </a:cubicBezTo>
                  <a:cubicBezTo>
                    <a:pt x="145631" y="43888"/>
                    <a:pt x="145865" y="35111"/>
                    <a:pt x="140595" y="29554"/>
                  </a:cubicBezTo>
                  <a:cubicBezTo>
                    <a:pt x="140400" y="29348"/>
                    <a:pt x="140199" y="29149"/>
                    <a:pt x="139992" y="28956"/>
                  </a:cubicBez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2" name="Graphic 220">
            <a:extLst>
              <a:ext uri="{FF2B5EF4-FFF2-40B4-BE49-F238E27FC236}">
                <a16:creationId xmlns:a16="http://schemas.microsoft.com/office/drawing/2014/main" id="{0D79A599-FF2D-5FD8-1F25-1352ABB0A2D7}"/>
              </a:ext>
            </a:extLst>
          </p:cNvPr>
          <p:cNvGrpSpPr/>
          <p:nvPr/>
        </p:nvGrpSpPr>
        <p:grpSpPr>
          <a:xfrm>
            <a:off x="7354142" y="3190874"/>
            <a:ext cx="361949" cy="361949"/>
            <a:chOff x="7291389" y="2805112"/>
            <a:chExt cx="361949" cy="361949"/>
          </a:xfrm>
        </p:grpSpPr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56DF86EA-6DC3-B8A9-9AEE-7D3B6DD73B5D}"/>
                </a:ext>
              </a:extLst>
            </p:cNvPr>
            <p:cNvSpPr/>
            <p:nvPr/>
          </p:nvSpPr>
          <p:spPr>
            <a:xfrm>
              <a:off x="7327944" y="2888061"/>
              <a:ext cx="86846" cy="83207"/>
            </a:xfrm>
            <a:custGeom>
              <a:avLst/>
              <a:gdLst>
                <a:gd name="connsiteX0" fmla="*/ 20202 w 86846"/>
                <a:gd name="connsiteY0" fmla="*/ 83208 h 83207"/>
                <a:gd name="connsiteX1" fmla="*/ 16809 w 86846"/>
                <a:gd name="connsiteY1" fmla="*/ 82099 h 83207"/>
                <a:gd name="connsiteX2" fmla="*/ 14705 w 86846"/>
                <a:gd name="connsiteY2" fmla="*/ 75652 h 83207"/>
                <a:gd name="connsiteX3" fmla="*/ 22261 w 86846"/>
                <a:gd name="connsiteY3" fmla="*/ 52261 h 83207"/>
                <a:gd name="connsiteX4" fmla="*/ 2354 w 86846"/>
                <a:gd name="connsiteY4" fmla="*/ 37806 h 83207"/>
                <a:gd name="connsiteX5" fmla="*/ 1131 w 86846"/>
                <a:gd name="connsiteY5" fmla="*/ 29708 h 83207"/>
                <a:gd name="connsiteX6" fmla="*/ 5747 w 86846"/>
                <a:gd name="connsiteY6" fmla="*/ 27355 h 83207"/>
                <a:gd name="connsiteX7" fmla="*/ 30382 w 86846"/>
                <a:gd name="connsiteY7" fmla="*/ 27355 h 83207"/>
                <a:gd name="connsiteX8" fmla="*/ 38096 w 86846"/>
                <a:gd name="connsiteY8" fmla="*/ 3986 h 83207"/>
                <a:gd name="connsiteX9" fmla="*/ 45366 w 86846"/>
                <a:gd name="connsiteY9" fmla="*/ 284 h 83207"/>
                <a:gd name="connsiteX10" fmla="*/ 49068 w 86846"/>
                <a:gd name="connsiteY10" fmla="*/ 3986 h 83207"/>
                <a:gd name="connsiteX11" fmla="*/ 56691 w 86846"/>
                <a:gd name="connsiteY11" fmla="*/ 27355 h 83207"/>
                <a:gd name="connsiteX12" fmla="*/ 81077 w 86846"/>
                <a:gd name="connsiteY12" fmla="*/ 27355 h 83207"/>
                <a:gd name="connsiteX13" fmla="*/ 86846 w 86846"/>
                <a:gd name="connsiteY13" fmla="*/ 33168 h 83207"/>
                <a:gd name="connsiteX14" fmla="*/ 84493 w 86846"/>
                <a:gd name="connsiteY14" fmla="*/ 37806 h 83207"/>
                <a:gd name="connsiteX15" fmla="*/ 64586 w 86846"/>
                <a:gd name="connsiteY15" fmla="*/ 52261 h 83207"/>
                <a:gd name="connsiteX16" fmla="*/ 72255 w 86846"/>
                <a:gd name="connsiteY16" fmla="*/ 75652 h 83207"/>
                <a:gd name="connsiteX17" fmla="*/ 70151 w 86846"/>
                <a:gd name="connsiteY17" fmla="*/ 82099 h 83207"/>
                <a:gd name="connsiteX18" fmla="*/ 63365 w 86846"/>
                <a:gd name="connsiteY18" fmla="*/ 82099 h 83207"/>
                <a:gd name="connsiteX19" fmla="*/ 43480 w 86846"/>
                <a:gd name="connsiteY19" fmla="*/ 67644 h 83207"/>
                <a:gd name="connsiteX20" fmla="*/ 23573 w 86846"/>
                <a:gd name="connsiteY20" fmla="*/ 82099 h 83207"/>
                <a:gd name="connsiteX21" fmla="*/ 20202 w 86846"/>
                <a:gd name="connsiteY21" fmla="*/ 83208 h 83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846" h="83207">
                  <a:moveTo>
                    <a:pt x="20202" y="83208"/>
                  </a:moveTo>
                  <a:cubicBezTo>
                    <a:pt x="18982" y="83211"/>
                    <a:pt x="17792" y="82823"/>
                    <a:pt x="16809" y="82099"/>
                  </a:cubicBezTo>
                  <a:cubicBezTo>
                    <a:pt x="14779" y="80637"/>
                    <a:pt x="13928" y="78030"/>
                    <a:pt x="14705" y="75652"/>
                  </a:cubicBezTo>
                  <a:lnTo>
                    <a:pt x="22261" y="52261"/>
                  </a:lnTo>
                  <a:lnTo>
                    <a:pt x="2354" y="37806"/>
                  </a:lnTo>
                  <a:cubicBezTo>
                    <a:pt x="-220" y="35907"/>
                    <a:pt x="-767" y="32281"/>
                    <a:pt x="1131" y="29708"/>
                  </a:cubicBezTo>
                  <a:cubicBezTo>
                    <a:pt x="2214" y="28240"/>
                    <a:pt x="3924" y="27369"/>
                    <a:pt x="5747" y="27355"/>
                  </a:cubicBezTo>
                  <a:lnTo>
                    <a:pt x="30382" y="27355"/>
                  </a:lnTo>
                  <a:lnTo>
                    <a:pt x="38096" y="3986"/>
                  </a:lnTo>
                  <a:cubicBezTo>
                    <a:pt x="39081" y="956"/>
                    <a:pt x="42336" y="-701"/>
                    <a:pt x="45366" y="284"/>
                  </a:cubicBezTo>
                  <a:cubicBezTo>
                    <a:pt x="47121" y="855"/>
                    <a:pt x="48497" y="2231"/>
                    <a:pt x="49068" y="3986"/>
                  </a:cubicBezTo>
                  <a:lnTo>
                    <a:pt x="56691" y="27355"/>
                  </a:lnTo>
                  <a:lnTo>
                    <a:pt x="81077" y="27355"/>
                  </a:lnTo>
                  <a:cubicBezTo>
                    <a:pt x="84276" y="27367"/>
                    <a:pt x="86859" y="29970"/>
                    <a:pt x="86846" y="33168"/>
                  </a:cubicBezTo>
                  <a:cubicBezTo>
                    <a:pt x="86839" y="34999"/>
                    <a:pt x="85967" y="36719"/>
                    <a:pt x="84493" y="37806"/>
                  </a:cubicBezTo>
                  <a:lnTo>
                    <a:pt x="64586" y="52261"/>
                  </a:lnTo>
                  <a:lnTo>
                    <a:pt x="72255" y="75652"/>
                  </a:lnTo>
                  <a:cubicBezTo>
                    <a:pt x="73032" y="78030"/>
                    <a:pt x="72181" y="80637"/>
                    <a:pt x="70151" y="82099"/>
                  </a:cubicBezTo>
                  <a:cubicBezTo>
                    <a:pt x="68121" y="83550"/>
                    <a:pt x="65394" y="83550"/>
                    <a:pt x="63365" y="82099"/>
                  </a:cubicBezTo>
                  <a:lnTo>
                    <a:pt x="43480" y="67644"/>
                  </a:lnTo>
                  <a:lnTo>
                    <a:pt x="23573" y="82099"/>
                  </a:lnTo>
                  <a:cubicBezTo>
                    <a:pt x="22598" y="82822"/>
                    <a:pt x="21416" y="83211"/>
                    <a:pt x="20202" y="83208"/>
                  </a:cubicBezTo>
                  <a:close/>
                </a:path>
              </a:pathLst>
            </a:custGeom>
            <a:noFill/>
            <a:ln w="11013" cap="rnd">
              <a:solidFill>
                <a:srgbClr val="BD5C7A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 143">
              <a:extLst>
                <a:ext uri="{FF2B5EF4-FFF2-40B4-BE49-F238E27FC236}">
                  <a16:creationId xmlns:a16="http://schemas.microsoft.com/office/drawing/2014/main" id="{F49745C4-672F-5498-F857-2C2F31E39F81}"/>
                </a:ext>
              </a:extLst>
            </p:cNvPr>
            <p:cNvSpPr/>
            <p:nvPr/>
          </p:nvSpPr>
          <p:spPr>
            <a:xfrm>
              <a:off x="7429772" y="2888106"/>
              <a:ext cx="86809" cy="83208"/>
            </a:xfrm>
            <a:custGeom>
              <a:avLst/>
              <a:gdLst>
                <a:gd name="connsiteX0" fmla="*/ 20150 w 86809"/>
                <a:gd name="connsiteY0" fmla="*/ 83208 h 83208"/>
                <a:gd name="connsiteX1" fmla="*/ 14377 w 86809"/>
                <a:gd name="connsiteY1" fmla="*/ 77398 h 83208"/>
                <a:gd name="connsiteX2" fmla="*/ 14653 w 86809"/>
                <a:gd name="connsiteY2" fmla="*/ 75652 h 83208"/>
                <a:gd name="connsiteX3" fmla="*/ 22231 w 86809"/>
                <a:gd name="connsiteY3" fmla="*/ 52261 h 83208"/>
                <a:gd name="connsiteX4" fmla="*/ 2369 w 86809"/>
                <a:gd name="connsiteY4" fmla="*/ 37806 h 83208"/>
                <a:gd name="connsiteX5" fmla="*/ 1109 w 86809"/>
                <a:gd name="connsiteY5" fmla="*/ 29746 h 83208"/>
                <a:gd name="connsiteX6" fmla="*/ 5762 w 86809"/>
                <a:gd name="connsiteY6" fmla="*/ 27377 h 83208"/>
                <a:gd name="connsiteX7" fmla="*/ 30352 w 86809"/>
                <a:gd name="connsiteY7" fmla="*/ 27377 h 83208"/>
                <a:gd name="connsiteX8" fmla="*/ 38066 w 86809"/>
                <a:gd name="connsiteY8" fmla="*/ 3986 h 83208"/>
                <a:gd name="connsiteX9" fmla="*/ 45336 w 86809"/>
                <a:gd name="connsiteY9" fmla="*/ 284 h 83208"/>
                <a:gd name="connsiteX10" fmla="*/ 49038 w 86809"/>
                <a:gd name="connsiteY10" fmla="*/ 3986 h 83208"/>
                <a:gd name="connsiteX11" fmla="*/ 56639 w 86809"/>
                <a:gd name="connsiteY11" fmla="*/ 27377 h 83208"/>
                <a:gd name="connsiteX12" fmla="*/ 81048 w 86809"/>
                <a:gd name="connsiteY12" fmla="*/ 27377 h 83208"/>
                <a:gd name="connsiteX13" fmla="*/ 86810 w 86809"/>
                <a:gd name="connsiteY13" fmla="*/ 33152 h 83208"/>
                <a:gd name="connsiteX14" fmla="*/ 84441 w 86809"/>
                <a:gd name="connsiteY14" fmla="*/ 37806 h 83208"/>
                <a:gd name="connsiteX15" fmla="*/ 64556 w 86809"/>
                <a:gd name="connsiteY15" fmla="*/ 52261 h 83208"/>
                <a:gd name="connsiteX16" fmla="*/ 72135 w 86809"/>
                <a:gd name="connsiteY16" fmla="*/ 75652 h 83208"/>
                <a:gd name="connsiteX17" fmla="*/ 70053 w 86809"/>
                <a:gd name="connsiteY17" fmla="*/ 82099 h 83208"/>
                <a:gd name="connsiteX18" fmla="*/ 63267 w 86809"/>
                <a:gd name="connsiteY18" fmla="*/ 82099 h 83208"/>
                <a:gd name="connsiteX19" fmla="*/ 43360 w 86809"/>
                <a:gd name="connsiteY19" fmla="*/ 67644 h 83208"/>
                <a:gd name="connsiteX20" fmla="*/ 23543 w 86809"/>
                <a:gd name="connsiteY20" fmla="*/ 82145 h 83208"/>
                <a:gd name="connsiteX21" fmla="*/ 20150 w 86809"/>
                <a:gd name="connsiteY21" fmla="*/ 83208 h 83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809" h="83208">
                  <a:moveTo>
                    <a:pt x="20150" y="83208"/>
                  </a:moveTo>
                  <a:cubicBezTo>
                    <a:pt x="16951" y="83197"/>
                    <a:pt x="14367" y="80596"/>
                    <a:pt x="14377" y="77398"/>
                  </a:cubicBezTo>
                  <a:cubicBezTo>
                    <a:pt x="14379" y="76805"/>
                    <a:pt x="14472" y="76217"/>
                    <a:pt x="14653" y="75652"/>
                  </a:cubicBezTo>
                  <a:lnTo>
                    <a:pt x="22231" y="52261"/>
                  </a:lnTo>
                  <a:lnTo>
                    <a:pt x="2369" y="37806"/>
                  </a:lnTo>
                  <a:cubicBezTo>
                    <a:pt x="-205" y="35928"/>
                    <a:pt x="-769" y="32319"/>
                    <a:pt x="1109" y="29746"/>
                  </a:cubicBezTo>
                  <a:cubicBezTo>
                    <a:pt x="2193" y="28259"/>
                    <a:pt x="3922" y="27379"/>
                    <a:pt x="5762" y="27377"/>
                  </a:cubicBezTo>
                  <a:lnTo>
                    <a:pt x="30352" y="27377"/>
                  </a:lnTo>
                  <a:lnTo>
                    <a:pt x="38066" y="3986"/>
                  </a:lnTo>
                  <a:cubicBezTo>
                    <a:pt x="39051" y="956"/>
                    <a:pt x="42306" y="-701"/>
                    <a:pt x="45336" y="284"/>
                  </a:cubicBezTo>
                  <a:cubicBezTo>
                    <a:pt x="47091" y="855"/>
                    <a:pt x="48467" y="2231"/>
                    <a:pt x="49038" y="3986"/>
                  </a:cubicBezTo>
                  <a:lnTo>
                    <a:pt x="56639" y="27377"/>
                  </a:lnTo>
                  <a:lnTo>
                    <a:pt x="81048" y="27377"/>
                  </a:lnTo>
                  <a:cubicBezTo>
                    <a:pt x="84234" y="27381"/>
                    <a:pt x="86813" y="29967"/>
                    <a:pt x="86810" y="33152"/>
                  </a:cubicBezTo>
                  <a:cubicBezTo>
                    <a:pt x="86807" y="34993"/>
                    <a:pt x="85927" y="36721"/>
                    <a:pt x="84441" y="37806"/>
                  </a:cubicBezTo>
                  <a:lnTo>
                    <a:pt x="64556" y="52261"/>
                  </a:lnTo>
                  <a:lnTo>
                    <a:pt x="72135" y="75652"/>
                  </a:lnTo>
                  <a:cubicBezTo>
                    <a:pt x="72916" y="78025"/>
                    <a:pt x="72075" y="80631"/>
                    <a:pt x="70053" y="82099"/>
                  </a:cubicBezTo>
                  <a:cubicBezTo>
                    <a:pt x="68024" y="83550"/>
                    <a:pt x="65297" y="83550"/>
                    <a:pt x="63267" y="82099"/>
                  </a:cubicBezTo>
                  <a:lnTo>
                    <a:pt x="43360" y="67644"/>
                  </a:lnTo>
                  <a:lnTo>
                    <a:pt x="23543" y="82145"/>
                  </a:lnTo>
                  <a:cubicBezTo>
                    <a:pt x="22554" y="82852"/>
                    <a:pt x="21365" y="83224"/>
                    <a:pt x="20150" y="83208"/>
                  </a:cubicBezTo>
                  <a:close/>
                </a:path>
              </a:pathLst>
            </a:custGeom>
            <a:noFill/>
            <a:ln w="11013" cap="rnd">
              <a:solidFill>
                <a:srgbClr val="BD5C7A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 144">
              <a:extLst>
                <a:ext uri="{FF2B5EF4-FFF2-40B4-BE49-F238E27FC236}">
                  <a16:creationId xmlns:a16="http://schemas.microsoft.com/office/drawing/2014/main" id="{593B9CE7-B7B5-FAC2-CE38-ACC26B9C99D1}"/>
                </a:ext>
              </a:extLst>
            </p:cNvPr>
            <p:cNvSpPr/>
            <p:nvPr/>
          </p:nvSpPr>
          <p:spPr>
            <a:xfrm>
              <a:off x="7535710" y="2888151"/>
              <a:ext cx="86900" cy="83213"/>
            </a:xfrm>
            <a:custGeom>
              <a:avLst/>
              <a:gdLst>
                <a:gd name="connsiteX0" fmla="*/ 20150 w 86900"/>
                <a:gd name="connsiteY0" fmla="*/ 83208 h 83213"/>
                <a:gd name="connsiteX1" fmla="*/ 14377 w 86900"/>
                <a:gd name="connsiteY1" fmla="*/ 77398 h 83213"/>
                <a:gd name="connsiteX2" fmla="*/ 14653 w 86900"/>
                <a:gd name="connsiteY2" fmla="*/ 75652 h 83213"/>
                <a:gd name="connsiteX3" fmla="*/ 22254 w 86900"/>
                <a:gd name="connsiteY3" fmla="*/ 52261 h 83213"/>
                <a:gd name="connsiteX4" fmla="*/ 2369 w 86900"/>
                <a:gd name="connsiteY4" fmla="*/ 37806 h 83213"/>
                <a:gd name="connsiteX5" fmla="*/ 1109 w 86900"/>
                <a:gd name="connsiteY5" fmla="*/ 29746 h 83213"/>
                <a:gd name="connsiteX6" fmla="*/ 5762 w 86900"/>
                <a:gd name="connsiteY6" fmla="*/ 27377 h 83213"/>
                <a:gd name="connsiteX7" fmla="*/ 30352 w 86900"/>
                <a:gd name="connsiteY7" fmla="*/ 27377 h 83213"/>
                <a:gd name="connsiteX8" fmla="*/ 37953 w 86900"/>
                <a:gd name="connsiteY8" fmla="*/ 3986 h 83213"/>
                <a:gd name="connsiteX9" fmla="*/ 45223 w 86900"/>
                <a:gd name="connsiteY9" fmla="*/ 284 h 83213"/>
                <a:gd name="connsiteX10" fmla="*/ 48925 w 86900"/>
                <a:gd name="connsiteY10" fmla="*/ 3986 h 83213"/>
                <a:gd name="connsiteX11" fmla="*/ 56548 w 86900"/>
                <a:gd name="connsiteY11" fmla="*/ 27377 h 83213"/>
                <a:gd name="connsiteX12" fmla="*/ 81138 w 86900"/>
                <a:gd name="connsiteY12" fmla="*/ 27377 h 83213"/>
                <a:gd name="connsiteX13" fmla="*/ 86900 w 86900"/>
                <a:gd name="connsiteY13" fmla="*/ 33152 h 83213"/>
                <a:gd name="connsiteX14" fmla="*/ 84531 w 86900"/>
                <a:gd name="connsiteY14" fmla="*/ 37806 h 83213"/>
                <a:gd name="connsiteX15" fmla="*/ 64624 w 86900"/>
                <a:gd name="connsiteY15" fmla="*/ 52261 h 83213"/>
                <a:gd name="connsiteX16" fmla="*/ 72225 w 86900"/>
                <a:gd name="connsiteY16" fmla="*/ 75652 h 83213"/>
                <a:gd name="connsiteX17" fmla="*/ 68535 w 86900"/>
                <a:gd name="connsiteY17" fmla="*/ 82928 h 83213"/>
                <a:gd name="connsiteX18" fmla="*/ 63335 w 86900"/>
                <a:gd name="connsiteY18" fmla="*/ 82099 h 83213"/>
                <a:gd name="connsiteX19" fmla="*/ 43428 w 86900"/>
                <a:gd name="connsiteY19" fmla="*/ 67644 h 83213"/>
                <a:gd name="connsiteX20" fmla="*/ 23543 w 86900"/>
                <a:gd name="connsiteY20" fmla="*/ 82099 h 83213"/>
                <a:gd name="connsiteX21" fmla="*/ 20150 w 86900"/>
                <a:gd name="connsiteY21" fmla="*/ 83208 h 83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900" h="83213">
                  <a:moveTo>
                    <a:pt x="20150" y="83208"/>
                  </a:moveTo>
                  <a:cubicBezTo>
                    <a:pt x="16951" y="83197"/>
                    <a:pt x="14367" y="80596"/>
                    <a:pt x="14377" y="77398"/>
                  </a:cubicBezTo>
                  <a:cubicBezTo>
                    <a:pt x="14379" y="76805"/>
                    <a:pt x="14472" y="76217"/>
                    <a:pt x="14653" y="75652"/>
                  </a:cubicBezTo>
                  <a:lnTo>
                    <a:pt x="22254" y="52261"/>
                  </a:lnTo>
                  <a:lnTo>
                    <a:pt x="2369" y="37806"/>
                  </a:lnTo>
                  <a:cubicBezTo>
                    <a:pt x="-205" y="35928"/>
                    <a:pt x="-769" y="32319"/>
                    <a:pt x="1109" y="29746"/>
                  </a:cubicBezTo>
                  <a:cubicBezTo>
                    <a:pt x="2193" y="28259"/>
                    <a:pt x="3922" y="27379"/>
                    <a:pt x="5762" y="27377"/>
                  </a:cubicBezTo>
                  <a:lnTo>
                    <a:pt x="30352" y="27377"/>
                  </a:lnTo>
                  <a:lnTo>
                    <a:pt x="37953" y="3986"/>
                  </a:lnTo>
                  <a:cubicBezTo>
                    <a:pt x="38938" y="956"/>
                    <a:pt x="42193" y="-701"/>
                    <a:pt x="45223" y="284"/>
                  </a:cubicBezTo>
                  <a:cubicBezTo>
                    <a:pt x="46978" y="855"/>
                    <a:pt x="48354" y="2231"/>
                    <a:pt x="48925" y="3986"/>
                  </a:cubicBezTo>
                  <a:lnTo>
                    <a:pt x="56548" y="27377"/>
                  </a:lnTo>
                  <a:lnTo>
                    <a:pt x="81138" y="27377"/>
                  </a:lnTo>
                  <a:cubicBezTo>
                    <a:pt x="84324" y="27381"/>
                    <a:pt x="86904" y="29967"/>
                    <a:pt x="86900" y="33152"/>
                  </a:cubicBezTo>
                  <a:cubicBezTo>
                    <a:pt x="86898" y="34993"/>
                    <a:pt x="86018" y="36721"/>
                    <a:pt x="84531" y="37806"/>
                  </a:cubicBezTo>
                  <a:lnTo>
                    <a:pt x="64624" y="52261"/>
                  </a:lnTo>
                  <a:lnTo>
                    <a:pt x="72225" y="75652"/>
                  </a:lnTo>
                  <a:cubicBezTo>
                    <a:pt x="73215" y="78680"/>
                    <a:pt x="71563" y="81938"/>
                    <a:pt x="68535" y="82928"/>
                  </a:cubicBezTo>
                  <a:cubicBezTo>
                    <a:pt x="66769" y="83505"/>
                    <a:pt x="64834" y="83197"/>
                    <a:pt x="63335" y="82099"/>
                  </a:cubicBezTo>
                  <a:lnTo>
                    <a:pt x="43428" y="67644"/>
                  </a:lnTo>
                  <a:lnTo>
                    <a:pt x="23543" y="82099"/>
                  </a:lnTo>
                  <a:cubicBezTo>
                    <a:pt x="22558" y="82820"/>
                    <a:pt x="21370" y="83208"/>
                    <a:pt x="20150" y="83208"/>
                  </a:cubicBezTo>
                  <a:close/>
                </a:path>
              </a:pathLst>
            </a:custGeom>
            <a:noFill/>
            <a:ln w="11013" cap="rnd">
              <a:solidFill>
                <a:srgbClr val="BD5C7A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 145">
              <a:extLst>
                <a:ext uri="{FF2B5EF4-FFF2-40B4-BE49-F238E27FC236}">
                  <a16:creationId xmlns:a16="http://schemas.microsoft.com/office/drawing/2014/main" id="{D71709F9-1B6A-0936-9F31-6775BF18E872}"/>
                </a:ext>
              </a:extLst>
            </p:cNvPr>
            <p:cNvSpPr/>
            <p:nvPr/>
          </p:nvSpPr>
          <p:spPr>
            <a:xfrm>
              <a:off x="7379665" y="2979853"/>
              <a:ext cx="86877" cy="83219"/>
            </a:xfrm>
            <a:custGeom>
              <a:avLst/>
              <a:gdLst>
                <a:gd name="connsiteX0" fmla="*/ 20150 w 86877"/>
                <a:gd name="connsiteY0" fmla="*/ 83147 h 83219"/>
                <a:gd name="connsiteX1" fmla="*/ 16756 w 86877"/>
                <a:gd name="connsiteY1" fmla="*/ 82061 h 83219"/>
                <a:gd name="connsiteX2" fmla="*/ 14653 w 86877"/>
                <a:gd name="connsiteY2" fmla="*/ 75591 h 83219"/>
                <a:gd name="connsiteX3" fmla="*/ 22254 w 86877"/>
                <a:gd name="connsiteY3" fmla="*/ 52200 h 83219"/>
                <a:gd name="connsiteX4" fmla="*/ 2369 w 86877"/>
                <a:gd name="connsiteY4" fmla="*/ 37903 h 83219"/>
                <a:gd name="connsiteX5" fmla="*/ 1109 w 86877"/>
                <a:gd name="connsiteY5" fmla="*/ 29843 h 83219"/>
                <a:gd name="connsiteX6" fmla="*/ 5762 w 86877"/>
                <a:gd name="connsiteY6" fmla="*/ 27475 h 83219"/>
                <a:gd name="connsiteX7" fmla="*/ 30352 w 86877"/>
                <a:gd name="connsiteY7" fmla="*/ 27475 h 83219"/>
                <a:gd name="connsiteX8" fmla="*/ 37930 w 86877"/>
                <a:gd name="connsiteY8" fmla="*/ 3971 h 83219"/>
                <a:gd name="connsiteX9" fmla="*/ 45250 w 86877"/>
                <a:gd name="connsiteY9" fmla="*/ 296 h 83219"/>
                <a:gd name="connsiteX10" fmla="*/ 48925 w 86877"/>
                <a:gd name="connsiteY10" fmla="*/ 3971 h 83219"/>
                <a:gd name="connsiteX11" fmla="*/ 56503 w 86877"/>
                <a:gd name="connsiteY11" fmla="*/ 27407 h 83219"/>
                <a:gd name="connsiteX12" fmla="*/ 81116 w 86877"/>
                <a:gd name="connsiteY12" fmla="*/ 27407 h 83219"/>
                <a:gd name="connsiteX13" fmla="*/ 86877 w 86877"/>
                <a:gd name="connsiteY13" fmla="*/ 33182 h 83219"/>
                <a:gd name="connsiteX14" fmla="*/ 84509 w 86877"/>
                <a:gd name="connsiteY14" fmla="*/ 37836 h 83219"/>
                <a:gd name="connsiteX15" fmla="*/ 64602 w 86877"/>
                <a:gd name="connsiteY15" fmla="*/ 52291 h 83219"/>
                <a:gd name="connsiteX16" fmla="*/ 72203 w 86877"/>
                <a:gd name="connsiteY16" fmla="*/ 75682 h 83219"/>
                <a:gd name="connsiteX17" fmla="*/ 70076 w 86877"/>
                <a:gd name="connsiteY17" fmla="*/ 82152 h 83219"/>
                <a:gd name="connsiteX18" fmla="*/ 63290 w 86877"/>
                <a:gd name="connsiteY18" fmla="*/ 82152 h 83219"/>
                <a:gd name="connsiteX19" fmla="*/ 43382 w 86877"/>
                <a:gd name="connsiteY19" fmla="*/ 67696 h 83219"/>
                <a:gd name="connsiteX20" fmla="*/ 23498 w 86877"/>
                <a:gd name="connsiteY20" fmla="*/ 82152 h 83219"/>
                <a:gd name="connsiteX21" fmla="*/ 20150 w 86877"/>
                <a:gd name="connsiteY21" fmla="*/ 83147 h 83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877" h="83219">
                  <a:moveTo>
                    <a:pt x="20150" y="83147"/>
                  </a:moveTo>
                  <a:cubicBezTo>
                    <a:pt x="18932" y="83155"/>
                    <a:pt x="17743" y="82775"/>
                    <a:pt x="16756" y="82061"/>
                  </a:cubicBezTo>
                  <a:cubicBezTo>
                    <a:pt x="14729" y="80587"/>
                    <a:pt x="13880" y="77976"/>
                    <a:pt x="14653" y="75591"/>
                  </a:cubicBezTo>
                  <a:lnTo>
                    <a:pt x="22254" y="52200"/>
                  </a:lnTo>
                  <a:lnTo>
                    <a:pt x="2369" y="37903"/>
                  </a:lnTo>
                  <a:cubicBezTo>
                    <a:pt x="-205" y="36026"/>
                    <a:pt x="-769" y="32417"/>
                    <a:pt x="1109" y="29843"/>
                  </a:cubicBezTo>
                  <a:cubicBezTo>
                    <a:pt x="2193" y="28357"/>
                    <a:pt x="3922" y="27477"/>
                    <a:pt x="5762" y="27475"/>
                  </a:cubicBezTo>
                  <a:lnTo>
                    <a:pt x="30352" y="27475"/>
                  </a:lnTo>
                  <a:lnTo>
                    <a:pt x="37930" y="3971"/>
                  </a:lnTo>
                  <a:cubicBezTo>
                    <a:pt x="38937" y="935"/>
                    <a:pt x="42214" y="-711"/>
                    <a:pt x="45250" y="296"/>
                  </a:cubicBezTo>
                  <a:cubicBezTo>
                    <a:pt x="46986" y="871"/>
                    <a:pt x="48349" y="2234"/>
                    <a:pt x="48925" y="3971"/>
                  </a:cubicBezTo>
                  <a:lnTo>
                    <a:pt x="56503" y="27407"/>
                  </a:lnTo>
                  <a:lnTo>
                    <a:pt x="81116" y="27407"/>
                  </a:lnTo>
                  <a:cubicBezTo>
                    <a:pt x="84301" y="27411"/>
                    <a:pt x="86881" y="29996"/>
                    <a:pt x="86877" y="33182"/>
                  </a:cubicBezTo>
                  <a:cubicBezTo>
                    <a:pt x="86875" y="35022"/>
                    <a:pt x="85995" y="36751"/>
                    <a:pt x="84509" y="37836"/>
                  </a:cubicBezTo>
                  <a:lnTo>
                    <a:pt x="64602" y="52291"/>
                  </a:lnTo>
                  <a:lnTo>
                    <a:pt x="72203" y="75682"/>
                  </a:lnTo>
                  <a:cubicBezTo>
                    <a:pt x="72971" y="78071"/>
                    <a:pt x="72112" y="80684"/>
                    <a:pt x="70076" y="82152"/>
                  </a:cubicBezTo>
                  <a:cubicBezTo>
                    <a:pt x="68038" y="83575"/>
                    <a:pt x="65328" y="83575"/>
                    <a:pt x="63290" y="82152"/>
                  </a:cubicBezTo>
                  <a:lnTo>
                    <a:pt x="43382" y="67696"/>
                  </a:lnTo>
                  <a:lnTo>
                    <a:pt x="23498" y="82152"/>
                  </a:lnTo>
                  <a:cubicBezTo>
                    <a:pt x="22513" y="82826"/>
                    <a:pt x="21342" y="83174"/>
                    <a:pt x="20150" y="83147"/>
                  </a:cubicBezTo>
                  <a:close/>
                </a:path>
              </a:pathLst>
            </a:custGeom>
            <a:noFill/>
            <a:ln w="11013" cap="rnd">
              <a:solidFill>
                <a:srgbClr val="BD5C7A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 146">
              <a:extLst>
                <a:ext uri="{FF2B5EF4-FFF2-40B4-BE49-F238E27FC236}">
                  <a16:creationId xmlns:a16="http://schemas.microsoft.com/office/drawing/2014/main" id="{18FB699F-913E-5D86-3DD4-89ECAC9951FD}"/>
                </a:ext>
              </a:extLst>
            </p:cNvPr>
            <p:cNvSpPr/>
            <p:nvPr/>
          </p:nvSpPr>
          <p:spPr>
            <a:xfrm>
              <a:off x="7485558" y="2974974"/>
              <a:ext cx="86877" cy="83207"/>
            </a:xfrm>
            <a:custGeom>
              <a:avLst/>
              <a:gdLst>
                <a:gd name="connsiteX0" fmla="*/ 20150 w 86877"/>
                <a:gd name="connsiteY0" fmla="*/ 83208 h 83207"/>
                <a:gd name="connsiteX1" fmla="*/ 16756 w 86877"/>
                <a:gd name="connsiteY1" fmla="*/ 82122 h 83207"/>
                <a:gd name="connsiteX2" fmla="*/ 14675 w 86877"/>
                <a:gd name="connsiteY2" fmla="*/ 75652 h 83207"/>
                <a:gd name="connsiteX3" fmla="*/ 22276 w 86877"/>
                <a:gd name="connsiteY3" fmla="*/ 52261 h 83207"/>
                <a:gd name="connsiteX4" fmla="*/ 2369 w 86877"/>
                <a:gd name="connsiteY4" fmla="*/ 37806 h 83207"/>
                <a:gd name="connsiteX5" fmla="*/ 1109 w 86877"/>
                <a:gd name="connsiteY5" fmla="*/ 29746 h 83207"/>
                <a:gd name="connsiteX6" fmla="*/ 5762 w 86877"/>
                <a:gd name="connsiteY6" fmla="*/ 27377 h 83207"/>
                <a:gd name="connsiteX7" fmla="*/ 30352 w 86877"/>
                <a:gd name="connsiteY7" fmla="*/ 27377 h 83207"/>
                <a:gd name="connsiteX8" fmla="*/ 37953 w 86877"/>
                <a:gd name="connsiteY8" fmla="*/ 3986 h 83207"/>
                <a:gd name="connsiteX9" fmla="*/ 45223 w 86877"/>
                <a:gd name="connsiteY9" fmla="*/ 284 h 83207"/>
                <a:gd name="connsiteX10" fmla="*/ 48925 w 86877"/>
                <a:gd name="connsiteY10" fmla="*/ 3986 h 83207"/>
                <a:gd name="connsiteX11" fmla="*/ 56526 w 86877"/>
                <a:gd name="connsiteY11" fmla="*/ 27377 h 83207"/>
                <a:gd name="connsiteX12" fmla="*/ 81116 w 86877"/>
                <a:gd name="connsiteY12" fmla="*/ 27377 h 83207"/>
                <a:gd name="connsiteX13" fmla="*/ 86877 w 86877"/>
                <a:gd name="connsiteY13" fmla="*/ 33152 h 83207"/>
                <a:gd name="connsiteX14" fmla="*/ 84509 w 86877"/>
                <a:gd name="connsiteY14" fmla="*/ 37806 h 83207"/>
                <a:gd name="connsiteX15" fmla="*/ 64624 w 86877"/>
                <a:gd name="connsiteY15" fmla="*/ 52261 h 83207"/>
                <a:gd name="connsiteX16" fmla="*/ 72225 w 86877"/>
                <a:gd name="connsiteY16" fmla="*/ 75652 h 83207"/>
                <a:gd name="connsiteX17" fmla="*/ 70121 w 86877"/>
                <a:gd name="connsiteY17" fmla="*/ 82122 h 83207"/>
                <a:gd name="connsiteX18" fmla="*/ 63335 w 86877"/>
                <a:gd name="connsiteY18" fmla="*/ 82122 h 83207"/>
                <a:gd name="connsiteX19" fmla="*/ 43360 w 86877"/>
                <a:gd name="connsiteY19" fmla="*/ 67667 h 83207"/>
                <a:gd name="connsiteX20" fmla="*/ 23453 w 86877"/>
                <a:gd name="connsiteY20" fmla="*/ 82122 h 83207"/>
                <a:gd name="connsiteX21" fmla="*/ 20150 w 86877"/>
                <a:gd name="connsiteY21" fmla="*/ 83208 h 83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877" h="83207">
                  <a:moveTo>
                    <a:pt x="20150" y="83208"/>
                  </a:moveTo>
                  <a:cubicBezTo>
                    <a:pt x="18932" y="83216"/>
                    <a:pt x="17743" y="82836"/>
                    <a:pt x="16756" y="82122"/>
                  </a:cubicBezTo>
                  <a:cubicBezTo>
                    <a:pt x="14743" y="80638"/>
                    <a:pt x="13905" y="78032"/>
                    <a:pt x="14675" y="75652"/>
                  </a:cubicBezTo>
                  <a:lnTo>
                    <a:pt x="22276" y="52261"/>
                  </a:lnTo>
                  <a:lnTo>
                    <a:pt x="2369" y="37806"/>
                  </a:lnTo>
                  <a:cubicBezTo>
                    <a:pt x="-205" y="35928"/>
                    <a:pt x="-769" y="32319"/>
                    <a:pt x="1109" y="29746"/>
                  </a:cubicBezTo>
                  <a:cubicBezTo>
                    <a:pt x="2193" y="28259"/>
                    <a:pt x="3922" y="27379"/>
                    <a:pt x="5762" y="27377"/>
                  </a:cubicBezTo>
                  <a:lnTo>
                    <a:pt x="30352" y="27377"/>
                  </a:lnTo>
                  <a:lnTo>
                    <a:pt x="37953" y="3986"/>
                  </a:lnTo>
                  <a:cubicBezTo>
                    <a:pt x="38938" y="956"/>
                    <a:pt x="42193" y="-701"/>
                    <a:pt x="45223" y="284"/>
                  </a:cubicBezTo>
                  <a:cubicBezTo>
                    <a:pt x="46978" y="855"/>
                    <a:pt x="48354" y="2231"/>
                    <a:pt x="48925" y="3986"/>
                  </a:cubicBezTo>
                  <a:lnTo>
                    <a:pt x="56526" y="27377"/>
                  </a:lnTo>
                  <a:lnTo>
                    <a:pt x="81116" y="27377"/>
                  </a:lnTo>
                  <a:cubicBezTo>
                    <a:pt x="84301" y="27381"/>
                    <a:pt x="86881" y="29967"/>
                    <a:pt x="86877" y="33152"/>
                  </a:cubicBezTo>
                  <a:cubicBezTo>
                    <a:pt x="86875" y="34993"/>
                    <a:pt x="85995" y="36721"/>
                    <a:pt x="84509" y="37806"/>
                  </a:cubicBezTo>
                  <a:lnTo>
                    <a:pt x="64624" y="52261"/>
                  </a:lnTo>
                  <a:lnTo>
                    <a:pt x="72225" y="75652"/>
                  </a:lnTo>
                  <a:cubicBezTo>
                    <a:pt x="72998" y="78037"/>
                    <a:pt x="72149" y="80648"/>
                    <a:pt x="70121" y="82122"/>
                  </a:cubicBezTo>
                  <a:cubicBezTo>
                    <a:pt x="68083" y="83545"/>
                    <a:pt x="65373" y="83545"/>
                    <a:pt x="63335" y="82122"/>
                  </a:cubicBezTo>
                  <a:lnTo>
                    <a:pt x="43360" y="67667"/>
                  </a:lnTo>
                  <a:lnTo>
                    <a:pt x="23453" y="82122"/>
                  </a:lnTo>
                  <a:cubicBezTo>
                    <a:pt x="22494" y="82824"/>
                    <a:pt x="21338" y="83205"/>
                    <a:pt x="20150" y="83208"/>
                  </a:cubicBezTo>
                  <a:close/>
                </a:path>
              </a:pathLst>
            </a:custGeom>
            <a:noFill/>
            <a:ln w="11013" cap="rnd">
              <a:solidFill>
                <a:srgbClr val="BD5C7A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3E69C38D-6746-9276-4A5F-A3AF80C72A0A}"/>
                </a:ext>
              </a:extLst>
            </p:cNvPr>
            <p:cNvSpPr/>
            <p:nvPr/>
          </p:nvSpPr>
          <p:spPr>
            <a:xfrm>
              <a:off x="7296886" y="2844881"/>
              <a:ext cx="354189" cy="318735"/>
            </a:xfrm>
            <a:custGeom>
              <a:avLst/>
              <a:gdLst>
                <a:gd name="connsiteX0" fmla="*/ 300938 w 354189"/>
                <a:gd name="connsiteY0" fmla="*/ 0 h 318735"/>
                <a:gd name="connsiteX1" fmla="*/ 53116 w 354189"/>
                <a:gd name="connsiteY1" fmla="*/ 0 h 318735"/>
                <a:gd name="connsiteX2" fmla="*/ 0 w 354189"/>
                <a:gd name="connsiteY2" fmla="*/ 53116 h 318735"/>
                <a:gd name="connsiteX3" fmla="*/ 0 w 354189"/>
                <a:gd name="connsiteY3" fmla="*/ 206537 h 318735"/>
                <a:gd name="connsiteX4" fmla="*/ 53116 w 354189"/>
                <a:gd name="connsiteY4" fmla="*/ 259653 h 318735"/>
                <a:gd name="connsiteX5" fmla="*/ 69517 w 354189"/>
                <a:gd name="connsiteY5" fmla="*/ 259653 h 318735"/>
                <a:gd name="connsiteX6" fmla="*/ 59133 w 354189"/>
                <a:gd name="connsiteY6" fmla="*/ 311683 h 318735"/>
                <a:gd name="connsiteX7" fmla="*/ 63777 w 354189"/>
                <a:gd name="connsiteY7" fmla="*/ 318623 h 318735"/>
                <a:gd name="connsiteX8" fmla="*/ 67662 w 354189"/>
                <a:gd name="connsiteY8" fmla="*/ 318063 h 318735"/>
                <a:gd name="connsiteX9" fmla="*/ 178509 w 354189"/>
                <a:gd name="connsiteY9" fmla="*/ 259766 h 318735"/>
                <a:gd name="connsiteX10" fmla="*/ 300961 w 354189"/>
                <a:gd name="connsiteY10" fmla="*/ 259766 h 318735"/>
                <a:gd name="connsiteX11" fmla="*/ 354190 w 354189"/>
                <a:gd name="connsiteY11" fmla="*/ 206650 h 318735"/>
                <a:gd name="connsiteX12" fmla="*/ 354190 w 354189"/>
                <a:gd name="connsiteY12" fmla="*/ 53116 h 318735"/>
                <a:gd name="connsiteX13" fmla="*/ 300938 w 354189"/>
                <a:gd name="connsiteY13" fmla="*/ 0 h 318735"/>
                <a:gd name="connsiteX14" fmla="*/ 342245 w 354189"/>
                <a:gd name="connsiteY14" fmla="*/ 206537 h 318735"/>
                <a:gd name="connsiteX15" fmla="*/ 300938 w 354189"/>
                <a:gd name="connsiteY15" fmla="*/ 247845 h 318735"/>
                <a:gd name="connsiteX16" fmla="*/ 177016 w 354189"/>
                <a:gd name="connsiteY16" fmla="*/ 247845 h 318735"/>
                <a:gd name="connsiteX17" fmla="*/ 174278 w 354189"/>
                <a:gd name="connsiteY17" fmla="*/ 248523 h 318735"/>
                <a:gd name="connsiteX18" fmla="*/ 73136 w 354189"/>
                <a:gd name="connsiteY18" fmla="*/ 301820 h 318735"/>
                <a:gd name="connsiteX19" fmla="*/ 82502 w 354189"/>
                <a:gd name="connsiteY19" fmla="*/ 254970 h 318735"/>
                <a:gd name="connsiteX20" fmla="*/ 77842 w 354189"/>
                <a:gd name="connsiteY20" fmla="*/ 248003 h 318735"/>
                <a:gd name="connsiteX21" fmla="*/ 77842 w 354189"/>
                <a:gd name="connsiteY21" fmla="*/ 248003 h 318735"/>
                <a:gd name="connsiteX22" fmla="*/ 76711 w 354189"/>
                <a:gd name="connsiteY22" fmla="*/ 247890 h 318735"/>
                <a:gd name="connsiteX23" fmla="*/ 53116 w 354189"/>
                <a:gd name="connsiteY23" fmla="*/ 247890 h 318735"/>
                <a:gd name="connsiteX24" fmla="*/ 11809 w 354189"/>
                <a:gd name="connsiteY24" fmla="*/ 206537 h 318735"/>
                <a:gd name="connsiteX25" fmla="*/ 11809 w 354189"/>
                <a:gd name="connsiteY25" fmla="*/ 53116 h 318735"/>
                <a:gd name="connsiteX26" fmla="*/ 53116 w 354189"/>
                <a:gd name="connsiteY26" fmla="*/ 11809 h 318735"/>
                <a:gd name="connsiteX27" fmla="*/ 300938 w 354189"/>
                <a:gd name="connsiteY27" fmla="*/ 11809 h 318735"/>
                <a:gd name="connsiteX28" fmla="*/ 342245 w 354189"/>
                <a:gd name="connsiteY28" fmla="*/ 53116 h 31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54189" h="318735">
                  <a:moveTo>
                    <a:pt x="300938" y="0"/>
                  </a:moveTo>
                  <a:lnTo>
                    <a:pt x="53116" y="0"/>
                  </a:lnTo>
                  <a:cubicBezTo>
                    <a:pt x="23802" y="50"/>
                    <a:pt x="50" y="23802"/>
                    <a:pt x="0" y="53116"/>
                  </a:cubicBezTo>
                  <a:lnTo>
                    <a:pt x="0" y="206537"/>
                  </a:lnTo>
                  <a:cubicBezTo>
                    <a:pt x="50" y="235852"/>
                    <a:pt x="23802" y="259603"/>
                    <a:pt x="53116" y="259653"/>
                  </a:cubicBezTo>
                  <a:lnTo>
                    <a:pt x="69517" y="259653"/>
                  </a:lnTo>
                  <a:lnTo>
                    <a:pt x="59133" y="311683"/>
                  </a:lnTo>
                  <a:cubicBezTo>
                    <a:pt x="58500" y="314882"/>
                    <a:pt x="60579" y="317989"/>
                    <a:pt x="63777" y="318623"/>
                  </a:cubicBezTo>
                  <a:cubicBezTo>
                    <a:pt x="65098" y="318884"/>
                    <a:pt x="66469" y="318687"/>
                    <a:pt x="67662" y="318063"/>
                  </a:cubicBezTo>
                  <a:lnTo>
                    <a:pt x="178509" y="259766"/>
                  </a:lnTo>
                  <a:lnTo>
                    <a:pt x="300961" y="259766"/>
                  </a:lnTo>
                  <a:cubicBezTo>
                    <a:pt x="330319" y="259779"/>
                    <a:pt x="354140" y="236009"/>
                    <a:pt x="354190" y="206650"/>
                  </a:cubicBezTo>
                  <a:lnTo>
                    <a:pt x="354190" y="53116"/>
                  </a:lnTo>
                  <a:cubicBezTo>
                    <a:pt x="354140" y="23749"/>
                    <a:pt x="330305" y="-25"/>
                    <a:pt x="300938" y="0"/>
                  </a:cubicBezTo>
                  <a:close/>
                  <a:moveTo>
                    <a:pt x="342245" y="206537"/>
                  </a:moveTo>
                  <a:cubicBezTo>
                    <a:pt x="342220" y="229340"/>
                    <a:pt x="323741" y="247820"/>
                    <a:pt x="300938" y="247845"/>
                  </a:cubicBezTo>
                  <a:lnTo>
                    <a:pt x="177016" y="247845"/>
                  </a:lnTo>
                  <a:cubicBezTo>
                    <a:pt x="176061" y="247841"/>
                    <a:pt x="175121" y="248074"/>
                    <a:pt x="174278" y="248523"/>
                  </a:cubicBezTo>
                  <a:lnTo>
                    <a:pt x="73136" y="301820"/>
                  </a:lnTo>
                  <a:lnTo>
                    <a:pt x="82502" y="254970"/>
                  </a:lnTo>
                  <a:cubicBezTo>
                    <a:pt x="83139" y="251760"/>
                    <a:pt x="81053" y="248640"/>
                    <a:pt x="77842" y="248003"/>
                  </a:cubicBezTo>
                  <a:cubicBezTo>
                    <a:pt x="77842" y="248003"/>
                    <a:pt x="77842" y="248003"/>
                    <a:pt x="77842" y="248003"/>
                  </a:cubicBezTo>
                  <a:cubicBezTo>
                    <a:pt x="77469" y="247931"/>
                    <a:pt x="77090" y="247893"/>
                    <a:pt x="76711" y="247890"/>
                  </a:cubicBezTo>
                  <a:lnTo>
                    <a:pt x="53116" y="247890"/>
                  </a:lnTo>
                  <a:cubicBezTo>
                    <a:pt x="30295" y="247865"/>
                    <a:pt x="11809" y="229358"/>
                    <a:pt x="11809" y="206537"/>
                  </a:cubicBezTo>
                  <a:lnTo>
                    <a:pt x="11809" y="53116"/>
                  </a:lnTo>
                  <a:cubicBezTo>
                    <a:pt x="11834" y="30313"/>
                    <a:pt x="30313" y="11834"/>
                    <a:pt x="53116" y="11809"/>
                  </a:cubicBezTo>
                  <a:lnTo>
                    <a:pt x="300938" y="11809"/>
                  </a:lnTo>
                  <a:cubicBezTo>
                    <a:pt x="323741" y="11834"/>
                    <a:pt x="342220" y="30313"/>
                    <a:pt x="342245" y="53116"/>
                  </a:cubicBezTo>
                  <a:close/>
                </a:path>
              </a:pathLst>
            </a:custGeom>
            <a:solidFill>
              <a:srgbClr val="1F6898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9" name="Graphic 229">
            <a:extLst>
              <a:ext uri="{FF2B5EF4-FFF2-40B4-BE49-F238E27FC236}">
                <a16:creationId xmlns:a16="http://schemas.microsoft.com/office/drawing/2014/main" id="{91FB5CDC-0903-6CAA-C98B-87F27307B77E}"/>
              </a:ext>
            </a:extLst>
          </p:cNvPr>
          <p:cNvGrpSpPr/>
          <p:nvPr/>
        </p:nvGrpSpPr>
        <p:grpSpPr>
          <a:xfrm>
            <a:off x="3969591" y="3840162"/>
            <a:ext cx="298449" cy="298449"/>
            <a:chOff x="3906838" y="3454400"/>
            <a:chExt cx="298449" cy="298449"/>
          </a:xfrm>
        </p:grpSpPr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C533681C-038C-B7E1-9758-58153E7AB949}"/>
                </a:ext>
              </a:extLst>
            </p:cNvPr>
            <p:cNvSpPr/>
            <p:nvPr/>
          </p:nvSpPr>
          <p:spPr>
            <a:xfrm>
              <a:off x="4047426" y="3545800"/>
              <a:ext cx="24137" cy="24137"/>
            </a:xfrm>
            <a:custGeom>
              <a:avLst/>
              <a:gdLst>
                <a:gd name="connsiteX0" fmla="*/ 24137 w 24137"/>
                <a:gd name="connsiteY0" fmla="*/ 12069 h 24137"/>
                <a:gd name="connsiteX1" fmla="*/ 12069 w 24137"/>
                <a:gd name="connsiteY1" fmla="*/ 24137 h 24137"/>
                <a:gd name="connsiteX2" fmla="*/ 0 w 24137"/>
                <a:gd name="connsiteY2" fmla="*/ 12069 h 24137"/>
                <a:gd name="connsiteX3" fmla="*/ 12069 w 24137"/>
                <a:gd name="connsiteY3" fmla="*/ 0 h 24137"/>
                <a:gd name="connsiteX4" fmla="*/ 24137 w 24137"/>
                <a:gd name="connsiteY4" fmla="*/ 12069 h 24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37" h="24137">
                  <a:moveTo>
                    <a:pt x="24137" y="12069"/>
                  </a:moveTo>
                  <a:cubicBezTo>
                    <a:pt x="24137" y="18734"/>
                    <a:pt x="18734" y="24137"/>
                    <a:pt x="12069" y="24137"/>
                  </a:cubicBezTo>
                  <a:cubicBezTo>
                    <a:pt x="5403" y="24137"/>
                    <a:pt x="0" y="18734"/>
                    <a:pt x="0" y="12069"/>
                  </a:cubicBezTo>
                  <a:cubicBezTo>
                    <a:pt x="0" y="5403"/>
                    <a:pt x="5403" y="0"/>
                    <a:pt x="12069" y="0"/>
                  </a:cubicBezTo>
                  <a:cubicBezTo>
                    <a:pt x="18734" y="0"/>
                    <a:pt x="24137" y="5403"/>
                    <a:pt x="24137" y="12069"/>
                  </a:cubicBezTo>
                  <a:close/>
                </a:path>
              </a:pathLst>
            </a:custGeom>
            <a:solidFill>
              <a:srgbClr val="BD5C7A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B3FB3A81-01FF-F987-10B7-779FB3BA672E}"/>
                </a:ext>
              </a:extLst>
            </p:cNvPr>
            <p:cNvSpPr/>
            <p:nvPr/>
          </p:nvSpPr>
          <p:spPr>
            <a:xfrm>
              <a:off x="3917715" y="3463950"/>
              <a:ext cx="52243" cy="187053"/>
            </a:xfrm>
            <a:custGeom>
              <a:avLst/>
              <a:gdLst>
                <a:gd name="connsiteX0" fmla="*/ 39952 w 52243"/>
                <a:gd name="connsiteY0" fmla="*/ 1958 h 187053"/>
                <a:gd name="connsiteX1" fmla="*/ 33380 w 52243"/>
                <a:gd name="connsiteY1" fmla="*/ 178578 h 187053"/>
                <a:gd name="connsiteX2" fmla="*/ 39952 w 52243"/>
                <a:gd name="connsiteY2" fmla="*/ 185150 h 187053"/>
                <a:gd name="connsiteX3" fmla="*/ 50281 w 52243"/>
                <a:gd name="connsiteY3" fmla="*/ 184663 h 187053"/>
                <a:gd name="connsiteX4" fmla="*/ 49931 w 52243"/>
                <a:gd name="connsiteY4" fmla="*/ 174462 h 187053"/>
                <a:gd name="connsiteX5" fmla="*/ 44012 w 52243"/>
                <a:gd name="connsiteY5" fmla="*/ 18566 h 187053"/>
                <a:gd name="connsiteX6" fmla="*/ 49931 w 52243"/>
                <a:gd name="connsiteY6" fmla="*/ 12647 h 187053"/>
                <a:gd name="connsiteX7" fmla="*/ 50286 w 52243"/>
                <a:gd name="connsiteY7" fmla="*/ 2331 h 187053"/>
                <a:gd name="connsiteX8" fmla="*/ 39952 w 52243"/>
                <a:gd name="connsiteY8" fmla="*/ 1958 h 18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243" h="187053">
                  <a:moveTo>
                    <a:pt x="39952" y="1958"/>
                  </a:moveTo>
                  <a:cubicBezTo>
                    <a:pt x="-10635" y="48916"/>
                    <a:pt x="-13577" y="127991"/>
                    <a:pt x="33380" y="178578"/>
                  </a:cubicBezTo>
                  <a:cubicBezTo>
                    <a:pt x="35489" y="180850"/>
                    <a:pt x="37681" y="183042"/>
                    <a:pt x="39952" y="185150"/>
                  </a:cubicBezTo>
                  <a:cubicBezTo>
                    <a:pt x="42939" y="187868"/>
                    <a:pt x="47564" y="187650"/>
                    <a:pt x="50281" y="184663"/>
                  </a:cubicBezTo>
                  <a:cubicBezTo>
                    <a:pt x="52950" y="181730"/>
                    <a:pt x="52794" y="177205"/>
                    <a:pt x="49931" y="174462"/>
                  </a:cubicBezTo>
                  <a:cubicBezTo>
                    <a:pt x="5247" y="133047"/>
                    <a:pt x="2597" y="63250"/>
                    <a:pt x="44012" y="18566"/>
                  </a:cubicBezTo>
                  <a:cubicBezTo>
                    <a:pt x="45909" y="16519"/>
                    <a:pt x="47884" y="14544"/>
                    <a:pt x="49931" y="12647"/>
                  </a:cubicBezTo>
                  <a:cubicBezTo>
                    <a:pt x="52870" y="9893"/>
                    <a:pt x="53029" y="5281"/>
                    <a:pt x="50286" y="2331"/>
                  </a:cubicBezTo>
                  <a:cubicBezTo>
                    <a:pt x="47535" y="-625"/>
                    <a:pt x="42909" y="-792"/>
                    <a:pt x="39952" y="1958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 151">
              <a:extLst>
                <a:ext uri="{FF2B5EF4-FFF2-40B4-BE49-F238E27FC236}">
                  <a16:creationId xmlns:a16="http://schemas.microsoft.com/office/drawing/2014/main" id="{C53EBF33-53D1-4B0F-1042-89C04F487669}"/>
                </a:ext>
              </a:extLst>
            </p:cNvPr>
            <p:cNvSpPr/>
            <p:nvPr/>
          </p:nvSpPr>
          <p:spPr>
            <a:xfrm>
              <a:off x="3960111" y="3490811"/>
              <a:ext cx="40281" cy="133610"/>
            </a:xfrm>
            <a:custGeom>
              <a:avLst/>
              <a:gdLst>
                <a:gd name="connsiteX0" fmla="*/ 27756 w 40281"/>
                <a:gd name="connsiteY0" fmla="*/ 1939 h 133610"/>
                <a:gd name="connsiteX1" fmla="*/ 0 w 40281"/>
                <a:gd name="connsiteY1" fmla="*/ 66702 h 133610"/>
                <a:gd name="connsiteX2" fmla="*/ 27756 w 40281"/>
                <a:gd name="connsiteY2" fmla="*/ 131466 h 133610"/>
                <a:gd name="connsiteX3" fmla="*/ 38136 w 40281"/>
                <a:gd name="connsiteY3" fmla="*/ 131456 h 133610"/>
                <a:gd name="connsiteX4" fmla="*/ 38127 w 40281"/>
                <a:gd name="connsiteY4" fmla="*/ 121076 h 133610"/>
                <a:gd name="connsiteX5" fmla="*/ 14624 w 40281"/>
                <a:gd name="connsiteY5" fmla="*/ 66702 h 133610"/>
                <a:gd name="connsiteX6" fmla="*/ 38127 w 40281"/>
                <a:gd name="connsiteY6" fmla="*/ 12310 h 133610"/>
                <a:gd name="connsiteX7" fmla="*/ 37787 w 40281"/>
                <a:gd name="connsiteY7" fmla="*/ 1975 h 133610"/>
                <a:gd name="connsiteX8" fmla="*/ 27830 w 40281"/>
                <a:gd name="connsiteY8" fmla="*/ 1939 h 13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281" h="133610">
                  <a:moveTo>
                    <a:pt x="27756" y="1939"/>
                  </a:moveTo>
                  <a:cubicBezTo>
                    <a:pt x="10182" y="18923"/>
                    <a:pt x="179" y="42263"/>
                    <a:pt x="0" y="66702"/>
                  </a:cubicBezTo>
                  <a:cubicBezTo>
                    <a:pt x="181" y="91141"/>
                    <a:pt x="10183" y="114480"/>
                    <a:pt x="27756" y="131466"/>
                  </a:cubicBezTo>
                  <a:cubicBezTo>
                    <a:pt x="30625" y="134330"/>
                    <a:pt x="35272" y="134325"/>
                    <a:pt x="38136" y="131456"/>
                  </a:cubicBezTo>
                  <a:cubicBezTo>
                    <a:pt x="41000" y="128587"/>
                    <a:pt x="40996" y="123940"/>
                    <a:pt x="38127" y="121076"/>
                  </a:cubicBezTo>
                  <a:cubicBezTo>
                    <a:pt x="23306" y="106844"/>
                    <a:pt x="14836" y="87248"/>
                    <a:pt x="14624" y="66702"/>
                  </a:cubicBezTo>
                  <a:cubicBezTo>
                    <a:pt x="14831" y="46150"/>
                    <a:pt x="23302" y="26546"/>
                    <a:pt x="38127" y="12310"/>
                  </a:cubicBezTo>
                  <a:cubicBezTo>
                    <a:pt x="40887" y="9362"/>
                    <a:pt x="40735" y="4735"/>
                    <a:pt x="37787" y="1975"/>
                  </a:cubicBezTo>
                  <a:cubicBezTo>
                    <a:pt x="34990" y="-644"/>
                    <a:pt x="30646" y="-660"/>
                    <a:pt x="27830" y="1939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 152">
              <a:extLst>
                <a:ext uri="{FF2B5EF4-FFF2-40B4-BE49-F238E27FC236}">
                  <a16:creationId xmlns:a16="http://schemas.microsoft.com/office/drawing/2014/main" id="{83FE9C78-675D-8349-1595-3FA3627D42EC}"/>
                </a:ext>
              </a:extLst>
            </p:cNvPr>
            <p:cNvSpPr/>
            <p:nvPr/>
          </p:nvSpPr>
          <p:spPr>
            <a:xfrm>
              <a:off x="4002863" y="3519833"/>
              <a:ext cx="27774" cy="76024"/>
            </a:xfrm>
            <a:custGeom>
              <a:avLst/>
              <a:gdLst>
                <a:gd name="connsiteX0" fmla="*/ 15258 w 27774"/>
                <a:gd name="connsiteY0" fmla="*/ 2166 h 76024"/>
                <a:gd name="connsiteX1" fmla="*/ 0 w 27774"/>
                <a:gd name="connsiteY1" fmla="*/ 37737 h 76024"/>
                <a:gd name="connsiteX2" fmla="*/ 0 w 27774"/>
                <a:gd name="connsiteY2" fmla="*/ 37737 h 76024"/>
                <a:gd name="connsiteX3" fmla="*/ 0 w 27774"/>
                <a:gd name="connsiteY3" fmla="*/ 38278 h 76024"/>
                <a:gd name="connsiteX4" fmla="*/ 0 w 27774"/>
                <a:gd name="connsiteY4" fmla="*/ 38278 h 76024"/>
                <a:gd name="connsiteX5" fmla="*/ 15258 w 27774"/>
                <a:gd name="connsiteY5" fmla="*/ 73849 h 76024"/>
                <a:gd name="connsiteX6" fmla="*/ 25599 w 27774"/>
                <a:gd name="connsiteY6" fmla="*/ 73917 h 76024"/>
                <a:gd name="connsiteX7" fmla="*/ 27774 w 27774"/>
                <a:gd name="connsiteY7" fmla="*/ 68701 h 76024"/>
                <a:gd name="connsiteX8" fmla="*/ 25648 w 27774"/>
                <a:gd name="connsiteY8" fmla="*/ 63571 h 76024"/>
                <a:gd name="connsiteX9" fmla="*/ 14605 w 27774"/>
                <a:gd name="connsiteY9" fmla="*/ 38278 h 76024"/>
                <a:gd name="connsiteX10" fmla="*/ 14605 w 27774"/>
                <a:gd name="connsiteY10" fmla="*/ 38278 h 76024"/>
                <a:gd name="connsiteX11" fmla="*/ 14605 w 27774"/>
                <a:gd name="connsiteY11" fmla="*/ 37737 h 76024"/>
                <a:gd name="connsiteX12" fmla="*/ 14605 w 27774"/>
                <a:gd name="connsiteY12" fmla="*/ 37737 h 76024"/>
                <a:gd name="connsiteX13" fmla="*/ 25648 w 27774"/>
                <a:gd name="connsiteY13" fmla="*/ 12462 h 76024"/>
                <a:gd name="connsiteX14" fmla="*/ 25601 w 27774"/>
                <a:gd name="connsiteY14" fmla="*/ 2119 h 76024"/>
                <a:gd name="connsiteX15" fmla="*/ 15258 w 27774"/>
                <a:gd name="connsiteY15" fmla="*/ 2166 h 76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774" h="76024">
                  <a:moveTo>
                    <a:pt x="15258" y="2166"/>
                  </a:moveTo>
                  <a:cubicBezTo>
                    <a:pt x="5849" y="11661"/>
                    <a:pt x="395" y="24375"/>
                    <a:pt x="0" y="37737"/>
                  </a:cubicBezTo>
                  <a:lnTo>
                    <a:pt x="0" y="37737"/>
                  </a:lnTo>
                  <a:lnTo>
                    <a:pt x="0" y="38278"/>
                  </a:lnTo>
                  <a:lnTo>
                    <a:pt x="0" y="38278"/>
                  </a:lnTo>
                  <a:cubicBezTo>
                    <a:pt x="391" y="51641"/>
                    <a:pt x="5846" y="64356"/>
                    <a:pt x="15258" y="73849"/>
                  </a:cubicBezTo>
                  <a:cubicBezTo>
                    <a:pt x="18095" y="76723"/>
                    <a:pt x="22724" y="76754"/>
                    <a:pt x="25599" y="73917"/>
                  </a:cubicBezTo>
                  <a:cubicBezTo>
                    <a:pt x="26994" y="72540"/>
                    <a:pt x="27778" y="70661"/>
                    <a:pt x="27774" y="68701"/>
                  </a:cubicBezTo>
                  <a:cubicBezTo>
                    <a:pt x="27774" y="66777"/>
                    <a:pt x="27009" y="64932"/>
                    <a:pt x="25648" y="63571"/>
                  </a:cubicBezTo>
                  <a:cubicBezTo>
                    <a:pt x="18945" y="56810"/>
                    <a:pt x="15007" y="47790"/>
                    <a:pt x="14605" y="38278"/>
                  </a:cubicBezTo>
                  <a:lnTo>
                    <a:pt x="14605" y="38278"/>
                  </a:lnTo>
                  <a:lnTo>
                    <a:pt x="14605" y="37737"/>
                  </a:lnTo>
                  <a:lnTo>
                    <a:pt x="14605" y="37737"/>
                  </a:lnTo>
                  <a:cubicBezTo>
                    <a:pt x="15012" y="28231"/>
                    <a:pt x="18949" y="19219"/>
                    <a:pt x="25648" y="12462"/>
                  </a:cubicBezTo>
                  <a:cubicBezTo>
                    <a:pt x="28491" y="9593"/>
                    <a:pt x="28470" y="4962"/>
                    <a:pt x="25601" y="2119"/>
                  </a:cubicBezTo>
                  <a:cubicBezTo>
                    <a:pt x="22732" y="-724"/>
                    <a:pt x="18102" y="-704"/>
                    <a:pt x="15258" y="2166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 153">
              <a:extLst>
                <a:ext uri="{FF2B5EF4-FFF2-40B4-BE49-F238E27FC236}">
                  <a16:creationId xmlns:a16="http://schemas.microsoft.com/office/drawing/2014/main" id="{F56401B1-3146-DFD7-172C-3546710096B4}"/>
                </a:ext>
              </a:extLst>
            </p:cNvPr>
            <p:cNvSpPr/>
            <p:nvPr/>
          </p:nvSpPr>
          <p:spPr>
            <a:xfrm>
              <a:off x="4149715" y="3463708"/>
              <a:ext cx="52312" cy="187237"/>
            </a:xfrm>
            <a:custGeom>
              <a:avLst/>
              <a:gdLst>
                <a:gd name="connsiteX0" fmla="*/ 12371 w 52312"/>
                <a:gd name="connsiteY0" fmla="*/ 185205 h 187237"/>
                <a:gd name="connsiteX1" fmla="*/ 18923 w 52312"/>
                <a:gd name="connsiteY1" fmla="*/ 8585 h 187237"/>
                <a:gd name="connsiteX2" fmla="*/ 12371 w 52312"/>
                <a:gd name="connsiteY2" fmla="*/ 2032 h 187237"/>
                <a:gd name="connsiteX3" fmla="*/ 2032 w 52312"/>
                <a:gd name="connsiteY3" fmla="*/ 2253 h 187237"/>
                <a:gd name="connsiteX4" fmla="*/ 2253 w 52312"/>
                <a:gd name="connsiteY4" fmla="*/ 12592 h 187237"/>
                <a:gd name="connsiteX5" fmla="*/ 2391 w 52312"/>
                <a:gd name="connsiteY5" fmla="*/ 12720 h 187237"/>
                <a:gd name="connsiteX6" fmla="*/ 8319 w 52312"/>
                <a:gd name="connsiteY6" fmla="*/ 168589 h 187237"/>
                <a:gd name="connsiteX7" fmla="*/ 2391 w 52312"/>
                <a:gd name="connsiteY7" fmla="*/ 174517 h 187237"/>
                <a:gd name="connsiteX8" fmla="*/ 1904 w 52312"/>
                <a:gd name="connsiteY8" fmla="*/ 184846 h 187237"/>
                <a:gd name="connsiteX9" fmla="*/ 12233 w 52312"/>
                <a:gd name="connsiteY9" fmla="*/ 185334 h 187237"/>
                <a:gd name="connsiteX10" fmla="*/ 12371 w 52312"/>
                <a:gd name="connsiteY10" fmla="*/ 185205 h 18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12" h="187237">
                  <a:moveTo>
                    <a:pt x="12371" y="185205"/>
                  </a:moveTo>
                  <a:cubicBezTo>
                    <a:pt x="62952" y="138242"/>
                    <a:pt x="65886" y="59167"/>
                    <a:pt x="18923" y="8585"/>
                  </a:cubicBezTo>
                  <a:cubicBezTo>
                    <a:pt x="16821" y="6320"/>
                    <a:pt x="14635" y="4135"/>
                    <a:pt x="12371" y="2032"/>
                  </a:cubicBezTo>
                  <a:cubicBezTo>
                    <a:pt x="9455" y="-762"/>
                    <a:pt x="4826" y="-662"/>
                    <a:pt x="2032" y="2253"/>
                  </a:cubicBezTo>
                  <a:cubicBezTo>
                    <a:pt x="-762" y="5169"/>
                    <a:pt x="-662" y="9798"/>
                    <a:pt x="2253" y="12592"/>
                  </a:cubicBezTo>
                  <a:cubicBezTo>
                    <a:pt x="2299" y="12635"/>
                    <a:pt x="2345" y="12678"/>
                    <a:pt x="2391" y="12720"/>
                  </a:cubicBezTo>
                  <a:cubicBezTo>
                    <a:pt x="47070" y="54125"/>
                    <a:pt x="49724" y="123910"/>
                    <a:pt x="8319" y="168589"/>
                  </a:cubicBezTo>
                  <a:cubicBezTo>
                    <a:pt x="6419" y="170640"/>
                    <a:pt x="4442" y="172617"/>
                    <a:pt x="2391" y="174517"/>
                  </a:cubicBezTo>
                  <a:cubicBezTo>
                    <a:pt x="-596" y="177235"/>
                    <a:pt x="-814" y="181859"/>
                    <a:pt x="1904" y="184846"/>
                  </a:cubicBezTo>
                  <a:cubicBezTo>
                    <a:pt x="4621" y="187833"/>
                    <a:pt x="9246" y="188052"/>
                    <a:pt x="12233" y="185334"/>
                  </a:cubicBezTo>
                  <a:cubicBezTo>
                    <a:pt x="12279" y="185292"/>
                    <a:pt x="12325" y="185249"/>
                    <a:pt x="12371" y="185205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 154">
              <a:extLst>
                <a:ext uri="{FF2B5EF4-FFF2-40B4-BE49-F238E27FC236}">
                  <a16:creationId xmlns:a16="http://schemas.microsoft.com/office/drawing/2014/main" id="{451FAD64-DA45-0836-D15E-FCAC03432995}"/>
                </a:ext>
              </a:extLst>
            </p:cNvPr>
            <p:cNvSpPr/>
            <p:nvPr/>
          </p:nvSpPr>
          <p:spPr>
            <a:xfrm>
              <a:off x="4119425" y="3490445"/>
              <a:ext cx="40217" cy="133764"/>
            </a:xfrm>
            <a:custGeom>
              <a:avLst/>
              <a:gdLst>
                <a:gd name="connsiteX0" fmla="*/ 12462 w 40217"/>
                <a:gd name="connsiteY0" fmla="*/ 131646 h 133764"/>
                <a:gd name="connsiteX1" fmla="*/ 40218 w 40217"/>
                <a:gd name="connsiteY1" fmla="*/ 66882 h 133764"/>
                <a:gd name="connsiteX2" fmla="*/ 12462 w 40217"/>
                <a:gd name="connsiteY2" fmla="*/ 2119 h 133764"/>
                <a:gd name="connsiteX3" fmla="*/ 2119 w 40217"/>
                <a:gd name="connsiteY3" fmla="*/ 2166 h 133764"/>
                <a:gd name="connsiteX4" fmla="*/ 2166 w 40217"/>
                <a:gd name="connsiteY4" fmla="*/ 12509 h 133764"/>
                <a:gd name="connsiteX5" fmla="*/ 25594 w 40217"/>
                <a:gd name="connsiteY5" fmla="*/ 66882 h 133764"/>
                <a:gd name="connsiteX6" fmla="*/ 2166 w 40217"/>
                <a:gd name="connsiteY6" fmla="*/ 121256 h 133764"/>
                <a:gd name="connsiteX7" fmla="*/ 2119 w 40217"/>
                <a:gd name="connsiteY7" fmla="*/ 131599 h 133764"/>
                <a:gd name="connsiteX8" fmla="*/ 12462 w 40217"/>
                <a:gd name="connsiteY8" fmla="*/ 131646 h 13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217" h="133764">
                  <a:moveTo>
                    <a:pt x="12462" y="131646"/>
                  </a:moveTo>
                  <a:cubicBezTo>
                    <a:pt x="30036" y="114662"/>
                    <a:pt x="40039" y="91322"/>
                    <a:pt x="40218" y="66882"/>
                  </a:cubicBezTo>
                  <a:cubicBezTo>
                    <a:pt x="40031" y="42445"/>
                    <a:pt x="30029" y="19108"/>
                    <a:pt x="12462" y="2119"/>
                  </a:cubicBezTo>
                  <a:cubicBezTo>
                    <a:pt x="9593" y="-724"/>
                    <a:pt x="4962" y="-704"/>
                    <a:pt x="2119" y="2166"/>
                  </a:cubicBezTo>
                  <a:cubicBezTo>
                    <a:pt x="-724" y="5035"/>
                    <a:pt x="-704" y="9665"/>
                    <a:pt x="2166" y="12509"/>
                  </a:cubicBezTo>
                  <a:cubicBezTo>
                    <a:pt x="16958" y="26753"/>
                    <a:pt x="25401" y="46347"/>
                    <a:pt x="25594" y="66882"/>
                  </a:cubicBezTo>
                  <a:cubicBezTo>
                    <a:pt x="25401" y="87417"/>
                    <a:pt x="16958" y="107012"/>
                    <a:pt x="2166" y="121256"/>
                  </a:cubicBezTo>
                  <a:cubicBezTo>
                    <a:pt x="-704" y="124099"/>
                    <a:pt x="-724" y="128730"/>
                    <a:pt x="2119" y="131599"/>
                  </a:cubicBezTo>
                  <a:cubicBezTo>
                    <a:pt x="4962" y="134468"/>
                    <a:pt x="9593" y="134489"/>
                    <a:pt x="12462" y="131646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 155">
              <a:extLst>
                <a:ext uri="{FF2B5EF4-FFF2-40B4-BE49-F238E27FC236}">
                  <a16:creationId xmlns:a16="http://schemas.microsoft.com/office/drawing/2014/main" id="{0D71F87E-339C-95B1-39DF-16BA682BF8ED}"/>
                </a:ext>
              </a:extLst>
            </p:cNvPr>
            <p:cNvSpPr/>
            <p:nvPr/>
          </p:nvSpPr>
          <p:spPr>
            <a:xfrm>
              <a:off x="4088938" y="3518991"/>
              <a:ext cx="27951" cy="76194"/>
            </a:xfrm>
            <a:custGeom>
              <a:avLst/>
              <a:gdLst>
                <a:gd name="connsiteX0" fmla="*/ 12693 w 27951"/>
                <a:gd name="connsiteY0" fmla="*/ 73833 h 76194"/>
                <a:gd name="connsiteX1" fmla="*/ 27951 w 27951"/>
                <a:gd name="connsiteY1" fmla="*/ 38261 h 76194"/>
                <a:gd name="connsiteX2" fmla="*/ 27951 w 27951"/>
                <a:gd name="connsiteY2" fmla="*/ 38261 h 76194"/>
                <a:gd name="connsiteX3" fmla="*/ 27951 w 27951"/>
                <a:gd name="connsiteY3" fmla="*/ 37739 h 76194"/>
                <a:gd name="connsiteX4" fmla="*/ 27951 w 27951"/>
                <a:gd name="connsiteY4" fmla="*/ 37739 h 76194"/>
                <a:gd name="connsiteX5" fmla="*/ 12693 w 27951"/>
                <a:gd name="connsiteY5" fmla="*/ 2149 h 76194"/>
                <a:gd name="connsiteX6" fmla="*/ 2326 w 27951"/>
                <a:gd name="connsiteY6" fmla="*/ 2145 h 76194"/>
                <a:gd name="connsiteX7" fmla="*/ 177 w 27951"/>
                <a:gd name="connsiteY7" fmla="*/ 7297 h 76194"/>
                <a:gd name="connsiteX8" fmla="*/ 2303 w 27951"/>
                <a:gd name="connsiteY8" fmla="*/ 12446 h 76194"/>
                <a:gd name="connsiteX9" fmla="*/ 13346 w 27951"/>
                <a:gd name="connsiteY9" fmla="*/ 37739 h 76194"/>
                <a:gd name="connsiteX10" fmla="*/ 13346 w 27951"/>
                <a:gd name="connsiteY10" fmla="*/ 37739 h 76194"/>
                <a:gd name="connsiteX11" fmla="*/ 13346 w 27951"/>
                <a:gd name="connsiteY11" fmla="*/ 38261 h 76194"/>
                <a:gd name="connsiteX12" fmla="*/ 13346 w 27951"/>
                <a:gd name="connsiteY12" fmla="*/ 38261 h 76194"/>
                <a:gd name="connsiteX13" fmla="*/ 2303 w 27951"/>
                <a:gd name="connsiteY13" fmla="*/ 63555 h 76194"/>
                <a:gd name="connsiteX14" fmla="*/ 1985 w 27951"/>
                <a:gd name="connsiteY14" fmla="*/ 73891 h 76194"/>
                <a:gd name="connsiteX15" fmla="*/ 12321 w 27951"/>
                <a:gd name="connsiteY15" fmla="*/ 74209 h 76194"/>
                <a:gd name="connsiteX16" fmla="*/ 12693 w 27951"/>
                <a:gd name="connsiteY16" fmla="*/ 73833 h 7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51" h="76194">
                  <a:moveTo>
                    <a:pt x="12693" y="73833"/>
                  </a:moveTo>
                  <a:cubicBezTo>
                    <a:pt x="22109" y="64342"/>
                    <a:pt x="27564" y="51625"/>
                    <a:pt x="27951" y="38261"/>
                  </a:cubicBezTo>
                  <a:lnTo>
                    <a:pt x="27951" y="38261"/>
                  </a:lnTo>
                  <a:lnTo>
                    <a:pt x="27951" y="37739"/>
                  </a:lnTo>
                  <a:lnTo>
                    <a:pt x="27951" y="37739"/>
                  </a:lnTo>
                  <a:cubicBezTo>
                    <a:pt x="27559" y="24371"/>
                    <a:pt x="22105" y="11650"/>
                    <a:pt x="12693" y="2149"/>
                  </a:cubicBezTo>
                  <a:cubicBezTo>
                    <a:pt x="9831" y="-715"/>
                    <a:pt x="5190" y="-717"/>
                    <a:pt x="2326" y="2145"/>
                  </a:cubicBezTo>
                  <a:cubicBezTo>
                    <a:pt x="958" y="3512"/>
                    <a:pt x="186" y="5364"/>
                    <a:pt x="177" y="7297"/>
                  </a:cubicBezTo>
                  <a:cubicBezTo>
                    <a:pt x="173" y="9228"/>
                    <a:pt x="938" y="11081"/>
                    <a:pt x="2303" y="12446"/>
                  </a:cubicBezTo>
                  <a:cubicBezTo>
                    <a:pt x="9006" y="19207"/>
                    <a:pt x="12944" y="28227"/>
                    <a:pt x="13346" y="37739"/>
                  </a:cubicBezTo>
                  <a:lnTo>
                    <a:pt x="13346" y="37739"/>
                  </a:lnTo>
                  <a:lnTo>
                    <a:pt x="13346" y="38261"/>
                  </a:lnTo>
                  <a:lnTo>
                    <a:pt x="13346" y="38261"/>
                  </a:lnTo>
                  <a:cubicBezTo>
                    <a:pt x="12944" y="47774"/>
                    <a:pt x="9006" y="56794"/>
                    <a:pt x="2303" y="63555"/>
                  </a:cubicBezTo>
                  <a:cubicBezTo>
                    <a:pt x="-639" y="66321"/>
                    <a:pt x="-781" y="70949"/>
                    <a:pt x="1985" y="73891"/>
                  </a:cubicBezTo>
                  <a:cubicBezTo>
                    <a:pt x="4751" y="76833"/>
                    <a:pt x="9379" y="76976"/>
                    <a:pt x="12321" y="74209"/>
                  </a:cubicBezTo>
                  <a:cubicBezTo>
                    <a:pt x="12449" y="74088"/>
                    <a:pt x="12574" y="73963"/>
                    <a:pt x="12693" y="73833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 156">
              <a:extLst>
                <a:ext uri="{FF2B5EF4-FFF2-40B4-BE49-F238E27FC236}">
                  <a16:creationId xmlns:a16="http://schemas.microsoft.com/office/drawing/2014/main" id="{1B2E2752-2C8B-550D-435C-43F7E2BC8735}"/>
                </a:ext>
              </a:extLst>
            </p:cNvPr>
            <p:cNvSpPr/>
            <p:nvPr/>
          </p:nvSpPr>
          <p:spPr>
            <a:xfrm>
              <a:off x="3949907" y="3670103"/>
              <a:ext cx="59186" cy="78305"/>
            </a:xfrm>
            <a:custGeom>
              <a:avLst/>
              <a:gdLst>
                <a:gd name="connsiteX0" fmla="*/ 0 w 59186"/>
                <a:gd name="connsiteY0" fmla="*/ 0 h 78305"/>
                <a:gd name="connsiteX1" fmla="*/ 27215 w 59186"/>
                <a:gd name="connsiteY1" fmla="*/ 0 h 78305"/>
                <a:gd name="connsiteX2" fmla="*/ 37940 w 59186"/>
                <a:gd name="connsiteY2" fmla="*/ 1157 h 78305"/>
                <a:gd name="connsiteX3" fmla="*/ 47267 w 59186"/>
                <a:gd name="connsiteY3" fmla="*/ 4980 h 78305"/>
                <a:gd name="connsiteX4" fmla="*/ 53739 w 59186"/>
                <a:gd name="connsiteY4" fmla="*/ 11938 h 78305"/>
                <a:gd name="connsiteX5" fmla="*/ 56164 w 59186"/>
                <a:gd name="connsiteY5" fmla="*/ 22458 h 78305"/>
                <a:gd name="connsiteX6" fmla="*/ 51352 w 59186"/>
                <a:gd name="connsiteY6" fmla="*/ 36336 h 78305"/>
                <a:gd name="connsiteX7" fmla="*/ 38295 w 59186"/>
                <a:gd name="connsiteY7" fmla="*/ 43574 h 78305"/>
                <a:gd name="connsiteX8" fmla="*/ 59186 w 59186"/>
                <a:gd name="connsiteY8" fmla="*/ 78306 h 78305"/>
                <a:gd name="connsiteX9" fmla="*/ 42398 w 59186"/>
                <a:gd name="connsiteY9" fmla="*/ 78306 h 78305"/>
                <a:gd name="connsiteX10" fmla="*/ 24081 w 59186"/>
                <a:gd name="connsiteY10" fmla="*/ 45122 h 78305"/>
                <a:gd name="connsiteX11" fmla="*/ 13934 w 59186"/>
                <a:gd name="connsiteY11" fmla="*/ 45122 h 78305"/>
                <a:gd name="connsiteX12" fmla="*/ 13934 w 59186"/>
                <a:gd name="connsiteY12" fmla="*/ 78306 h 78305"/>
                <a:gd name="connsiteX13" fmla="*/ 0 w 59186"/>
                <a:gd name="connsiteY13" fmla="*/ 78306 h 78305"/>
                <a:gd name="connsiteX14" fmla="*/ 25331 w 59186"/>
                <a:gd name="connsiteY14" fmla="*/ 33743 h 78305"/>
                <a:gd name="connsiteX15" fmla="*/ 31300 w 59186"/>
                <a:gd name="connsiteY15" fmla="*/ 33296 h 78305"/>
                <a:gd name="connsiteX16" fmla="*/ 36672 w 59186"/>
                <a:gd name="connsiteY16" fmla="*/ 31636 h 78305"/>
                <a:gd name="connsiteX17" fmla="*/ 40589 w 59186"/>
                <a:gd name="connsiteY17" fmla="*/ 28148 h 78305"/>
                <a:gd name="connsiteX18" fmla="*/ 42137 w 59186"/>
                <a:gd name="connsiteY18" fmla="*/ 22346 h 78305"/>
                <a:gd name="connsiteX19" fmla="*/ 40701 w 59186"/>
                <a:gd name="connsiteY19" fmla="*/ 17086 h 78305"/>
                <a:gd name="connsiteX20" fmla="*/ 36970 w 59186"/>
                <a:gd name="connsiteY20" fmla="*/ 13822 h 78305"/>
                <a:gd name="connsiteX21" fmla="*/ 31953 w 59186"/>
                <a:gd name="connsiteY21" fmla="*/ 12162 h 78305"/>
                <a:gd name="connsiteX22" fmla="*/ 26469 w 59186"/>
                <a:gd name="connsiteY22" fmla="*/ 11733 h 78305"/>
                <a:gd name="connsiteX23" fmla="*/ 13934 w 59186"/>
                <a:gd name="connsiteY23" fmla="*/ 11733 h 78305"/>
                <a:gd name="connsiteX24" fmla="*/ 13934 w 59186"/>
                <a:gd name="connsiteY24" fmla="*/ 33743 h 7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9186" h="78305">
                  <a:moveTo>
                    <a:pt x="0" y="0"/>
                  </a:moveTo>
                  <a:lnTo>
                    <a:pt x="27215" y="0"/>
                  </a:lnTo>
                  <a:cubicBezTo>
                    <a:pt x="30821" y="-5"/>
                    <a:pt x="34418" y="383"/>
                    <a:pt x="37940" y="1157"/>
                  </a:cubicBezTo>
                  <a:cubicBezTo>
                    <a:pt x="41257" y="1849"/>
                    <a:pt x="44419" y="3145"/>
                    <a:pt x="47267" y="4980"/>
                  </a:cubicBezTo>
                  <a:cubicBezTo>
                    <a:pt x="49953" y="6745"/>
                    <a:pt x="52173" y="9132"/>
                    <a:pt x="53739" y="11938"/>
                  </a:cubicBezTo>
                  <a:cubicBezTo>
                    <a:pt x="55444" y="15176"/>
                    <a:pt x="56280" y="18801"/>
                    <a:pt x="56164" y="22458"/>
                  </a:cubicBezTo>
                  <a:cubicBezTo>
                    <a:pt x="56377" y="27527"/>
                    <a:pt x="54657" y="32487"/>
                    <a:pt x="51352" y="36336"/>
                  </a:cubicBezTo>
                  <a:cubicBezTo>
                    <a:pt x="47869" y="40062"/>
                    <a:pt x="43300" y="42594"/>
                    <a:pt x="38295" y="43574"/>
                  </a:cubicBezTo>
                  <a:lnTo>
                    <a:pt x="59186" y="78306"/>
                  </a:lnTo>
                  <a:lnTo>
                    <a:pt x="42398" y="78306"/>
                  </a:lnTo>
                  <a:lnTo>
                    <a:pt x="24081" y="45122"/>
                  </a:lnTo>
                  <a:lnTo>
                    <a:pt x="13934" y="45122"/>
                  </a:lnTo>
                  <a:lnTo>
                    <a:pt x="13934" y="78306"/>
                  </a:lnTo>
                  <a:lnTo>
                    <a:pt x="0" y="78306"/>
                  </a:lnTo>
                  <a:close/>
                  <a:moveTo>
                    <a:pt x="25331" y="33743"/>
                  </a:moveTo>
                  <a:cubicBezTo>
                    <a:pt x="27329" y="33742"/>
                    <a:pt x="29324" y="33593"/>
                    <a:pt x="31300" y="33296"/>
                  </a:cubicBezTo>
                  <a:cubicBezTo>
                    <a:pt x="33170" y="33043"/>
                    <a:pt x="34985" y="32482"/>
                    <a:pt x="36672" y="31636"/>
                  </a:cubicBezTo>
                  <a:cubicBezTo>
                    <a:pt x="38256" y="30829"/>
                    <a:pt x="39605" y="29628"/>
                    <a:pt x="40589" y="28148"/>
                  </a:cubicBezTo>
                  <a:cubicBezTo>
                    <a:pt x="41680" y="26415"/>
                    <a:pt x="42219" y="24392"/>
                    <a:pt x="42137" y="22346"/>
                  </a:cubicBezTo>
                  <a:cubicBezTo>
                    <a:pt x="42215" y="20487"/>
                    <a:pt x="41713" y="18649"/>
                    <a:pt x="40701" y="17086"/>
                  </a:cubicBezTo>
                  <a:cubicBezTo>
                    <a:pt x="39727" y="15724"/>
                    <a:pt x="38450" y="14606"/>
                    <a:pt x="36970" y="13822"/>
                  </a:cubicBezTo>
                  <a:cubicBezTo>
                    <a:pt x="35404" y="12987"/>
                    <a:pt x="33708" y="12426"/>
                    <a:pt x="31953" y="12162"/>
                  </a:cubicBezTo>
                  <a:cubicBezTo>
                    <a:pt x="30138" y="11884"/>
                    <a:pt x="28305" y="11741"/>
                    <a:pt x="26469" y="11733"/>
                  </a:cubicBezTo>
                  <a:lnTo>
                    <a:pt x="13934" y="11733"/>
                  </a:lnTo>
                  <a:lnTo>
                    <a:pt x="13934" y="33743"/>
                  </a:ln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 157">
              <a:extLst>
                <a:ext uri="{FF2B5EF4-FFF2-40B4-BE49-F238E27FC236}">
                  <a16:creationId xmlns:a16="http://schemas.microsoft.com/office/drawing/2014/main" id="{AB4F9EA0-113F-9109-A518-1D7543EA6EDE}"/>
                </a:ext>
              </a:extLst>
            </p:cNvPr>
            <p:cNvSpPr/>
            <p:nvPr/>
          </p:nvSpPr>
          <p:spPr>
            <a:xfrm>
              <a:off x="4019483" y="3670104"/>
              <a:ext cx="50549" cy="78398"/>
            </a:xfrm>
            <a:custGeom>
              <a:avLst/>
              <a:gdLst>
                <a:gd name="connsiteX0" fmla="*/ 0 w 50549"/>
                <a:gd name="connsiteY0" fmla="*/ 0 h 78398"/>
                <a:gd name="connsiteX1" fmla="*/ 50550 w 50549"/>
                <a:gd name="connsiteY1" fmla="*/ 0 h 78398"/>
                <a:gd name="connsiteX2" fmla="*/ 50550 w 50549"/>
                <a:gd name="connsiteY2" fmla="*/ 12162 h 78398"/>
                <a:gd name="connsiteX3" fmla="*/ 13934 w 50549"/>
                <a:gd name="connsiteY3" fmla="*/ 12162 h 78398"/>
                <a:gd name="connsiteX4" fmla="*/ 13934 w 50549"/>
                <a:gd name="connsiteY4" fmla="*/ 33631 h 78398"/>
                <a:gd name="connsiteX5" fmla="*/ 48442 w 50549"/>
                <a:gd name="connsiteY5" fmla="*/ 33631 h 78398"/>
                <a:gd name="connsiteX6" fmla="*/ 48442 w 50549"/>
                <a:gd name="connsiteY6" fmla="*/ 45439 h 78398"/>
                <a:gd name="connsiteX7" fmla="*/ 13934 w 50549"/>
                <a:gd name="connsiteY7" fmla="*/ 45439 h 78398"/>
                <a:gd name="connsiteX8" fmla="*/ 13934 w 50549"/>
                <a:gd name="connsiteY8" fmla="*/ 78399 h 78398"/>
                <a:gd name="connsiteX9" fmla="*/ 0 w 50549"/>
                <a:gd name="connsiteY9" fmla="*/ 78399 h 78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549" h="78398">
                  <a:moveTo>
                    <a:pt x="0" y="0"/>
                  </a:moveTo>
                  <a:lnTo>
                    <a:pt x="50550" y="0"/>
                  </a:lnTo>
                  <a:lnTo>
                    <a:pt x="50550" y="12162"/>
                  </a:lnTo>
                  <a:lnTo>
                    <a:pt x="13934" y="12162"/>
                  </a:lnTo>
                  <a:lnTo>
                    <a:pt x="13934" y="33631"/>
                  </a:lnTo>
                  <a:lnTo>
                    <a:pt x="48442" y="33631"/>
                  </a:lnTo>
                  <a:lnTo>
                    <a:pt x="48442" y="45439"/>
                  </a:lnTo>
                  <a:lnTo>
                    <a:pt x="13934" y="45439"/>
                  </a:lnTo>
                  <a:lnTo>
                    <a:pt x="13934" y="78399"/>
                  </a:lnTo>
                  <a:lnTo>
                    <a:pt x="0" y="78399"/>
                  </a:ln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 158">
              <a:extLst>
                <a:ext uri="{FF2B5EF4-FFF2-40B4-BE49-F238E27FC236}">
                  <a16:creationId xmlns:a16="http://schemas.microsoft.com/office/drawing/2014/main" id="{B6014A01-0C5A-9C17-B172-42AB4F100900}"/>
                </a:ext>
              </a:extLst>
            </p:cNvPr>
            <p:cNvSpPr/>
            <p:nvPr/>
          </p:nvSpPr>
          <p:spPr>
            <a:xfrm>
              <a:off x="4082866" y="3670104"/>
              <a:ext cx="13933" cy="78342"/>
            </a:xfrm>
            <a:custGeom>
              <a:avLst/>
              <a:gdLst>
                <a:gd name="connsiteX0" fmla="*/ 0 w 13933"/>
                <a:gd name="connsiteY0" fmla="*/ 0 h 78342"/>
                <a:gd name="connsiteX1" fmla="*/ 13934 w 13933"/>
                <a:gd name="connsiteY1" fmla="*/ 0 h 78342"/>
                <a:gd name="connsiteX2" fmla="*/ 13934 w 13933"/>
                <a:gd name="connsiteY2" fmla="*/ 78343 h 78342"/>
                <a:gd name="connsiteX3" fmla="*/ 0 w 13933"/>
                <a:gd name="connsiteY3" fmla="*/ 78343 h 7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33" h="78342">
                  <a:moveTo>
                    <a:pt x="0" y="0"/>
                  </a:moveTo>
                  <a:lnTo>
                    <a:pt x="13934" y="0"/>
                  </a:lnTo>
                  <a:lnTo>
                    <a:pt x="13934" y="78343"/>
                  </a:lnTo>
                  <a:lnTo>
                    <a:pt x="0" y="78343"/>
                  </a:ln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0C67E968-9000-19CA-507E-7D818A3AB413}"/>
                </a:ext>
              </a:extLst>
            </p:cNvPr>
            <p:cNvSpPr/>
            <p:nvPr/>
          </p:nvSpPr>
          <p:spPr>
            <a:xfrm>
              <a:off x="4114054" y="3670104"/>
              <a:ext cx="71089" cy="78305"/>
            </a:xfrm>
            <a:custGeom>
              <a:avLst/>
              <a:gdLst>
                <a:gd name="connsiteX0" fmla="*/ 0 w 71089"/>
                <a:gd name="connsiteY0" fmla="*/ 0 h 78305"/>
                <a:gd name="connsiteX1" fmla="*/ 27812 w 71089"/>
                <a:gd name="connsiteY1" fmla="*/ 0 h 78305"/>
                <a:gd name="connsiteX2" fmla="*/ 43200 w 71089"/>
                <a:gd name="connsiteY2" fmla="*/ 1996 h 78305"/>
                <a:gd name="connsiteX3" fmla="*/ 57134 w 71089"/>
                <a:gd name="connsiteY3" fmla="*/ 8580 h 78305"/>
                <a:gd name="connsiteX4" fmla="*/ 67207 w 71089"/>
                <a:gd name="connsiteY4" fmla="*/ 20630 h 78305"/>
                <a:gd name="connsiteX5" fmla="*/ 71068 w 71089"/>
                <a:gd name="connsiteY5" fmla="*/ 39153 h 78305"/>
                <a:gd name="connsiteX6" fmla="*/ 67207 w 71089"/>
                <a:gd name="connsiteY6" fmla="*/ 56855 h 78305"/>
                <a:gd name="connsiteX7" fmla="*/ 57134 w 71089"/>
                <a:gd name="connsiteY7" fmla="*/ 69016 h 78305"/>
                <a:gd name="connsiteX8" fmla="*/ 43200 w 71089"/>
                <a:gd name="connsiteY8" fmla="*/ 76049 h 78305"/>
                <a:gd name="connsiteX9" fmla="*/ 27812 w 71089"/>
                <a:gd name="connsiteY9" fmla="*/ 78306 h 78305"/>
                <a:gd name="connsiteX10" fmla="*/ 0 w 71089"/>
                <a:gd name="connsiteY10" fmla="*/ 78306 h 78305"/>
                <a:gd name="connsiteX11" fmla="*/ 25555 w 71089"/>
                <a:gd name="connsiteY11" fmla="*/ 66144 h 78305"/>
                <a:gd name="connsiteX12" fmla="*/ 36392 w 71089"/>
                <a:gd name="connsiteY12" fmla="*/ 64875 h 78305"/>
                <a:gd name="connsiteX13" fmla="*/ 46185 w 71089"/>
                <a:gd name="connsiteY13" fmla="*/ 60566 h 78305"/>
                <a:gd name="connsiteX14" fmla="*/ 53310 w 71089"/>
                <a:gd name="connsiteY14" fmla="*/ 52322 h 78305"/>
                <a:gd name="connsiteX15" fmla="*/ 56090 w 71089"/>
                <a:gd name="connsiteY15" fmla="*/ 39153 h 78305"/>
                <a:gd name="connsiteX16" fmla="*/ 53310 w 71089"/>
                <a:gd name="connsiteY16" fmla="*/ 25443 h 78305"/>
                <a:gd name="connsiteX17" fmla="*/ 46185 w 71089"/>
                <a:gd name="connsiteY17" fmla="*/ 17142 h 78305"/>
                <a:gd name="connsiteX18" fmla="*/ 36392 w 71089"/>
                <a:gd name="connsiteY18" fmla="*/ 13057 h 78305"/>
                <a:gd name="connsiteX19" fmla="*/ 25555 w 71089"/>
                <a:gd name="connsiteY19" fmla="*/ 11938 h 78305"/>
                <a:gd name="connsiteX20" fmla="*/ 13934 w 71089"/>
                <a:gd name="connsiteY20" fmla="*/ 11938 h 78305"/>
                <a:gd name="connsiteX21" fmla="*/ 13934 w 71089"/>
                <a:gd name="connsiteY21" fmla="*/ 66144 h 7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1089" h="78305">
                  <a:moveTo>
                    <a:pt x="0" y="0"/>
                  </a:moveTo>
                  <a:lnTo>
                    <a:pt x="27812" y="0"/>
                  </a:lnTo>
                  <a:cubicBezTo>
                    <a:pt x="33005" y="16"/>
                    <a:pt x="38175" y="687"/>
                    <a:pt x="43200" y="1996"/>
                  </a:cubicBezTo>
                  <a:cubicBezTo>
                    <a:pt x="48228" y="3266"/>
                    <a:pt x="52961" y="5503"/>
                    <a:pt x="57134" y="8580"/>
                  </a:cubicBezTo>
                  <a:cubicBezTo>
                    <a:pt x="61371" y="11772"/>
                    <a:pt x="64817" y="15895"/>
                    <a:pt x="67207" y="20630"/>
                  </a:cubicBezTo>
                  <a:cubicBezTo>
                    <a:pt x="69955" y="26407"/>
                    <a:pt x="71279" y="32759"/>
                    <a:pt x="71068" y="39153"/>
                  </a:cubicBezTo>
                  <a:cubicBezTo>
                    <a:pt x="71233" y="45279"/>
                    <a:pt x="69908" y="51354"/>
                    <a:pt x="67207" y="56855"/>
                  </a:cubicBezTo>
                  <a:cubicBezTo>
                    <a:pt x="64779" y="61596"/>
                    <a:pt x="61341" y="65748"/>
                    <a:pt x="57134" y="69016"/>
                  </a:cubicBezTo>
                  <a:cubicBezTo>
                    <a:pt x="52966" y="72204"/>
                    <a:pt x="48241" y="74589"/>
                    <a:pt x="43200" y="76049"/>
                  </a:cubicBezTo>
                  <a:cubicBezTo>
                    <a:pt x="38205" y="77531"/>
                    <a:pt x="33023" y="78291"/>
                    <a:pt x="27812" y="78306"/>
                  </a:cubicBezTo>
                  <a:lnTo>
                    <a:pt x="0" y="78306"/>
                  </a:lnTo>
                  <a:close/>
                  <a:moveTo>
                    <a:pt x="25555" y="66144"/>
                  </a:moveTo>
                  <a:cubicBezTo>
                    <a:pt x="29204" y="66135"/>
                    <a:pt x="32840" y="65710"/>
                    <a:pt x="36392" y="64875"/>
                  </a:cubicBezTo>
                  <a:cubicBezTo>
                    <a:pt x="39901" y="64075"/>
                    <a:pt x="43225" y="62613"/>
                    <a:pt x="46185" y="60566"/>
                  </a:cubicBezTo>
                  <a:cubicBezTo>
                    <a:pt x="49186" y="58428"/>
                    <a:pt x="51629" y="55601"/>
                    <a:pt x="53310" y="52322"/>
                  </a:cubicBezTo>
                  <a:cubicBezTo>
                    <a:pt x="55300" y="48226"/>
                    <a:pt x="56255" y="43704"/>
                    <a:pt x="56090" y="39153"/>
                  </a:cubicBezTo>
                  <a:cubicBezTo>
                    <a:pt x="56272" y="34426"/>
                    <a:pt x="55319" y="29725"/>
                    <a:pt x="53310" y="25443"/>
                  </a:cubicBezTo>
                  <a:cubicBezTo>
                    <a:pt x="51658" y="22129"/>
                    <a:pt x="49210" y="19277"/>
                    <a:pt x="46185" y="17142"/>
                  </a:cubicBezTo>
                  <a:cubicBezTo>
                    <a:pt x="43233" y="15128"/>
                    <a:pt x="39900" y="13738"/>
                    <a:pt x="36392" y="13057"/>
                  </a:cubicBezTo>
                  <a:cubicBezTo>
                    <a:pt x="32827" y="12317"/>
                    <a:pt x="29196" y="11942"/>
                    <a:pt x="25555" y="11938"/>
                  </a:cubicBezTo>
                  <a:lnTo>
                    <a:pt x="13934" y="11938"/>
                  </a:lnTo>
                  <a:lnTo>
                    <a:pt x="13934" y="66144"/>
                  </a:ln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1" name="Graphic 243">
            <a:extLst>
              <a:ext uri="{FF2B5EF4-FFF2-40B4-BE49-F238E27FC236}">
                <a16:creationId xmlns:a16="http://schemas.microsoft.com/office/drawing/2014/main" id="{0C5E0EBA-CFAB-66C3-A882-6800627BAD87}"/>
              </a:ext>
            </a:extLst>
          </p:cNvPr>
          <p:cNvGrpSpPr/>
          <p:nvPr/>
        </p:nvGrpSpPr>
        <p:grpSpPr>
          <a:xfrm>
            <a:off x="4715716" y="3835400"/>
            <a:ext cx="303212" cy="303212"/>
            <a:chOff x="4656138" y="3472656"/>
            <a:chExt cx="303212" cy="303212"/>
          </a:xfrm>
        </p:grpSpPr>
        <p:sp>
          <p:nvSpPr>
            <p:cNvPr id="162" name="Freeform 161">
              <a:extLst>
                <a:ext uri="{FF2B5EF4-FFF2-40B4-BE49-F238E27FC236}">
                  <a16:creationId xmlns:a16="http://schemas.microsoft.com/office/drawing/2014/main" id="{11782F57-AFAA-9AF7-D207-D2529C1E3BB6}"/>
                </a:ext>
              </a:extLst>
            </p:cNvPr>
            <p:cNvSpPr/>
            <p:nvPr/>
          </p:nvSpPr>
          <p:spPr>
            <a:xfrm>
              <a:off x="4771529" y="3545140"/>
              <a:ext cx="122703" cy="163605"/>
            </a:xfrm>
            <a:custGeom>
              <a:avLst/>
              <a:gdLst>
                <a:gd name="connsiteX0" fmla="*/ 120470 w 122703"/>
                <a:gd name="connsiteY0" fmla="*/ 77586 h 163605"/>
                <a:gd name="connsiteX1" fmla="*/ 7978 w 122703"/>
                <a:gd name="connsiteY1" fmla="*/ 892 h 163605"/>
                <a:gd name="connsiteX2" fmla="*/ 892 w 122703"/>
                <a:gd name="connsiteY2" fmla="*/ 2218 h 163605"/>
                <a:gd name="connsiteX3" fmla="*/ 0 w 122703"/>
                <a:gd name="connsiteY3" fmla="*/ 5118 h 163605"/>
                <a:gd name="connsiteX4" fmla="*/ 0 w 122703"/>
                <a:gd name="connsiteY4" fmla="*/ 158487 h 163605"/>
                <a:gd name="connsiteX5" fmla="*/ 2729 w 122703"/>
                <a:gd name="connsiteY5" fmla="*/ 163016 h 163605"/>
                <a:gd name="connsiteX6" fmla="*/ 7978 w 122703"/>
                <a:gd name="connsiteY6" fmla="*/ 162713 h 163605"/>
                <a:gd name="connsiteX7" fmla="*/ 120470 w 122703"/>
                <a:gd name="connsiteY7" fmla="*/ 86019 h 163605"/>
                <a:gd name="connsiteX8" fmla="*/ 121822 w 122703"/>
                <a:gd name="connsiteY8" fmla="*/ 78938 h 163605"/>
                <a:gd name="connsiteX9" fmla="*/ 120470 w 122703"/>
                <a:gd name="connsiteY9" fmla="*/ 77586 h 163605"/>
                <a:gd name="connsiteX10" fmla="*/ 10214 w 122703"/>
                <a:gd name="connsiteY10" fmla="*/ 148822 h 163605"/>
                <a:gd name="connsiteX11" fmla="*/ 10214 w 122703"/>
                <a:gd name="connsiteY11" fmla="*/ 14783 h 163605"/>
                <a:gd name="connsiteX12" fmla="*/ 108512 w 122703"/>
                <a:gd name="connsiteY12" fmla="*/ 81812 h 16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2703" h="163605">
                  <a:moveTo>
                    <a:pt x="120470" y="77586"/>
                  </a:moveTo>
                  <a:lnTo>
                    <a:pt x="7978" y="892"/>
                  </a:lnTo>
                  <a:cubicBezTo>
                    <a:pt x="5655" y="-699"/>
                    <a:pt x="2483" y="-105"/>
                    <a:pt x="892" y="2218"/>
                  </a:cubicBezTo>
                  <a:cubicBezTo>
                    <a:pt x="307" y="3072"/>
                    <a:pt x="-4" y="4083"/>
                    <a:pt x="0" y="5118"/>
                  </a:cubicBezTo>
                  <a:lnTo>
                    <a:pt x="0" y="158487"/>
                  </a:lnTo>
                  <a:cubicBezTo>
                    <a:pt x="-1" y="160386"/>
                    <a:pt x="1049" y="162130"/>
                    <a:pt x="2729" y="163016"/>
                  </a:cubicBezTo>
                  <a:cubicBezTo>
                    <a:pt x="4399" y="163899"/>
                    <a:pt x="6421" y="163782"/>
                    <a:pt x="7978" y="162713"/>
                  </a:cubicBezTo>
                  <a:lnTo>
                    <a:pt x="120470" y="86019"/>
                  </a:lnTo>
                  <a:cubicBezTo>
                    <a:pt x="122799" y="84437"/>
                    <a:pt x="123404" y="81266"/>
                    <a:pt x="121822" y="78938"/>
                  </a:cubicBezTo>
                  <a:cubicBezTo>
                    <a:pt x="121460" y="78406"/>
                    <a:pt x="121002" y="77947"/>
                    <a:pt x="120470" y="77586"/>
                  </a:cubicBezTo>
                  <a:close/>
                  <a:moveTo>
                    <a:pt x="10214" y="148822"/>
                  </a:moveTo>
                  <a:lnTo>
                    <a:pt x="10214" y="14783"/>
                  </a:lnTo>
                  <a:lnTo>
                    <a:pt x="108512" y="81812"/>
                  </a:lnTo>
                  <a:close/>
                </a:path>
              </a:pathLst>
            </a:custGeom>
            <a:solidFill>
              <a:srgbClr val="BF5C7A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 162">
              <a:extLst>
                <a:ext uri="{FF2B5EF4-FFF2-40B4-BE49-F238E27FC236}">
                  <a16:creationId xmlns:a16="http://schemas.microsoft.com/office/drawing/2014/main" id="{898F81B6-8A61-CF7D-1961-B00A3FA1BC42}"/>
                </a:ext>
              </a:extLst>
            </p:cNvPr>
            <p:cNvSpPr/>
            <p:nvPr/>
          </p:nvSpPr>
          <p:spPr>
            <a:xfrm>
              <a:off x="4659037" y="3473565"/>
              <a:ext cx="306774" cy="306774"/>
            </a:xfrm>
            <a:custGeom>
              <a:avLst/>
              <a:gdLst>
                <a:gd name="connsiteX0" fmla="*/ 153387 w 306774"/>
                <a:gd name="connsiteY0" fmla="*/ 0 h 306774"/>
                <a:gd name="connsiteX1" fmla="*/ 0 w 306774"/>
                <a:gd name="connsiteY1" fmla="*/ 153387 h 306774"/>
                <a:gd name="connsiteX2" fmla="*/ 153387 w 306774"/>
                <a:gd name="connsiteY2" fmla="*/ 306775 h 306774"/>
                <a:gd name="connsiteX3" fmla="*/ 306775 w 306774"/>
                <a:gd name="connsiteY3" fmla="*/ 153387 h 306774"/>
                <a:gd name="connsiteX4" fmla="*/ 153387 w 306774"/>
                <a:gd name="connsiteY4" fmla="*/ 0 h 306774"/>
                <a:gd name="connsiteX5" fmla="*/ 153387 w 306774"/>
                <a:gd name="connsiteY5" fmla="*/ 296541 h 306774"/>
                <a:gd name="connsiteX6" fmla="*/ 10214 w 306774"/>
                <a:gd name="connsiteY6" fmla="*/ 153406 h 306774"/>
                <a:gd name="connsiteX7" fmla="*/ 153349 w 306774"/>
                <a:gd name="connsiteY7" fmla="*/ 10233 h 306774"/>
                <a:gd name="connsiteX8" fmla="*/ 296522 w 306774"/>
                <a:gd name="connsiteY8" fmla="*/ 153368 h 306774"/>
                <a:gd name="connsiteX9" fmla="*/ 296522 w 306774"/>
                <a:gd name="connsiteY9" fmla="*/ 153387 h 306774"/>
                <a:gd name="connsiteX10" fmla="*/ 153387 w 306774"/>
                <a:gd name="connsiteY10" fmla="*/ 296617 h 30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6774" h="306774">
                  <a:moveTo>
                    <a:pt x="153387" y="0"/>
                  </a:moveTo>
                  <a:cubicBezTo>
                    <a:pt x="68674" y="0"/>
                    <a:pt x="0" y="68674"/>
                    <a:pt x="0" y="153387"/>
                  </a:cubicBezTo>
                  <a:cubicBezTo>
                    <a:pt x="0" y="238101"/>
                    <a:pt x="68674" y="306775"/>
                    <a:pt x="153387" y="306775"/>
                  </a:cubicBezTo>
                  <a:cubicBezTo>
                    <a:pt x="238101" y="306775"/>
                    <a:pt x="306775" y="238101"/>
                    <a:pt x="306775" y="153387"/>
                  </a:cubicBezTo>
                  <a:cubicBezTo>
                    <a:pt x="306712" y="68700"/>
                    <a:pt x="238075" y="63"/>
                    <a:pt x="153387" y="0"/>
                  </a:cubicBezTo>
                  <a:close/>
                  <a:moveTo>
                    <a:pt x="153387" y="296541"/>
                  </a:moveTo>
                  <a:cubicBezTo>
                    <a:pt x="74326" y="296552"/>
                    <a:pt x="10225" y="232468"/>
                    <a:pt x="10214" y="153406"/>
                  </a:cubicBezTo>
                  <a:cubicBezTo>
                    <a:pt x="10204" y="74345"/>
                    <a:pt x="74288" y="10244"/>
                    <a:pt x="153349" y="10233"/>
                  </a:cubicBezTo>
                  <a:cubicBezTo>
                    <a:pt x="232411" y="10223"/>
                    <a:pt x="296512" y="74307"/>
                    <a:pt x="296522" y="153368"/>
                  </a:cubicBezTo>
                  <a:cubicBezTo>
                    <a:pt x="296522" y="153375"/>
                    <a:pt x="296522" y="153381"/>
                    <a:pt x="296522" y="153387"/>
                  </a:cubicBezTo>
                  <a:cubicBezTo>
                    <a:pt x="296470" y="232432"/>
                    <a:pt x="232432" y="296513"/>
                    <a:pt x="153387" y="296617"/>
                  </a:cubicBezTo>
                  <a:close/>
                </a:path>
              </a:pathLst>
            </a:custGeom>
            <a:solidFill>
              <a:srgbClr val="1F6898"/>
            </a:solidFill>
            <a:ln w="184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4" name="Graphic 248">
            <a:extLst>
              <a:ext uri="{FF2B5EF4-FFF2-40B4-BE49-F238E27FC236}">
                <a16:creationId xmlns:a16="http://schemas.microsoft.com/office/drawing/2014/main" id="{44874A5E-7902-8364-C0E9-3F34F3353F63}"/>
              </a:ext>
            </a:extLst>
          </p:cNvPr>
          <p:cNvGrpSpPr/>
          <p:nvPr/>
        </p:nvGrpSpPr>
        <p:grpSpPr>
          <a:xfrm>
            <a:off x="5563441" y="3811588"/>
            <a:ext cx="334962" cy="334962"/>
            <a:chOff x="5500688" y="3425826"/>
            <a:chExt cx="334962" cy="334962"/>
          </a:xfrm>
        </p:grpSpPr>
        <p:sp>
          <p:nvSpPr>
            <p:cNvPr id="165" name="Freeform 164">
              <a:extLst>
                <a:ext uri="{FF2B5EF4-FFF2-40B4-BE49-F238E27FC236}">
                  <a16:creationId xmlns:a16="http://schemas.microsoft.com/office/drawing/2014/main" id="{DAFE9676-7774-283C-73E4-9F523A159EA7}"/>
                </a:ext>
              </a:extLst>
            </p:cNvPr>
            <p:cNvSpPr/>
            <p:nvPr/>
          </p:nvSpPr>
          <p:spPr>
            <a:xfrm>
              <a:off x="5503080" y="3429859"/>
              <a:ext cx="327353" cy="327339"/>
            </a:xfrm>
            <a:custGeom>
              <a:avLst/>
              <a:gdLst>
                <a:gd name="connsiteX0" fmla="*/ 321707 w 327353"/>
                <a:gd name="connsiteY0" fmla="*/ 299418 h 327339"/>
                <a:gd name="connsiteX1" fmla="*/ 277971 w 327353"/>
                <a:gd name="connsiteY1" fmla="*/ 299418 h 327339"/>
                <a:gd name="connsiteX2" fmla="*/ 277971 w 327353"/>
                <a:gd name="connsiteY2" fmla="*/ 22285 h 327339"/>
                <a:gd name="connsiteX3" fmla="*/ 272970 w 327353"/>
                <a:gd name="connsiteY3" fmla="*/ 16686 h 327339"/>
                <a:gd name="connsiteX4" fmla="*/ 125228 w 327353"/>
                <a:gd name="connsiteY4" fmla="*/ 34 h 327339"/>
                <a:gd name="connsiteX5" fmla="*/ 119007 w 327353"/>
                <a:gd name="connsiteY5" fmla="*/ 4986 h 327339"/>
                <a:gd name="connsiteX6" fmla="*/ 119007 w 327353"/>
                <a:gd name="connsiteY6" fmla="*/ 5632 h 327339"/>
                <a:gd name="connsiteX7" fmla="*/ 119007 w 327353"/>
                <a:gd name="connsiteY7" fmla="*/ 16686 h 327339"/>
                <a:gd name="connsiteX8" fmla="*/ 55029 w 327353"/>
                <a:gd name="connsiteY8" fmla="*/ 16686 h 327339"/>
                <a:gd name="connsiteX9" fmla="*/ 49407 w 327353"/>
                <a:gd name="connsiteY9" fmla="*/ 22309 h 327339"/>
                <a:gd name="connsiteX10" fmla="*/ 49407 w 327353"/>
                <a:gd name="connsiteY10" fmla="*/ 299418 h 327339"/>
                <a:gd name="connsiteX11" fmla="*/ 5623 w 327353"/>
                <a:gd name="connsiteY11" fmla="*/ 299418 h 327339"/>
                <a:gd name="connsiteX12" fmla="*/ 0 w 327353"/>
                <a:gd name="connsiteY12" fmla="*/ 305041 h 327339"/>
                <a:gd name="connsiteX13" fmla="*/ 5623 w 327353"/>
                <a:gd name="connsiteY13" fmla="*/ 310663 h 327339"/>
                <a:gd name="connsiteX14" fmla="*/ 118959 w 327353"/>
                <a:gd name="connsiteY14" fmla="*/ 310663 h 327339"/>
                <a:gd name="connsiteX15" fmla="*/ 118959 w 327353"/>
                <a:gd name="connsiteY15" fmla="*/ 321717 h 327339"/>
                <a:gd name="connsiteX16" fmla="*/ 124582 w 327353"/>
                <a:gd name="connsiteY16" fmla="*/ 327340 h 327339"/>
                <a:gd name="connsiteX17" fmla="*/ 125228 w 327353"/>
                <a:gd name="connsiteY17" fmla="*/ 327340 h 327339"/>
                <a:gd name="connsiteX18" fmla="*/ 272659 w 327353"/>
                <a:gd name="connsiteY18" fmla="*/ 310591 h 327339"/>
                <a:gd name="connsiteX19" fmla="*/ 321731 w 327353"/>
                <a:gd name="connsiteY19" fmla="*/ 310591 h 327339"/>
                <a:gd name="connsiteX20" fmla="*/ 327354 w 327353"/>
                <a:gd name="connsiteY20" fmla="*/ 304969 h 327339"/>
                <a:gd name="connsiteX21" fmla="*/ 321731 w 327353"/>
                <a:gd name="connsiteY21" fmla="*/ 299346 h 327339"/>
                <a:gd name="connsiteX22" fmla="*/ 60628 w 327353"/>
                <a:gd name="connsiteY22" fmla="*/ 27931 h 327339"/>
                <a:gd name="connsiteX23" fmla="*/ 118959 w 327353"/>
                <a:gd name="connsiteY23" fmla="*/ 27931 h 327339"/>
                <a:gd name="connsiteX24" fmla="*/ 118959 w 327353"/>
                <a:gd name="connsiteY24" fmla="*/ 42287 h 327339"/>
                <a:gd name="connsiteX25" fmla="*/ 80678 w 327353"/>
                <a:gd name="connsiteY25" fmla="*/ 42287 h 327339"/>
                <a:gd name="connsiteX26" fmla="*/ 75055 w 327353"/>
                <a:gd name="connsiteY26" fmla="*/ 47909 h 327339"/>
                <a:gd name="connsiteX27" fmla="*/ 75055 w 327353"/>
                <a:gd name="connsiteY27" fmla="*/ 299418 h 327339"/>
                <a:gd name="connsiteX28" fmla="*/ 60700 w 327353"/>
                <a:gd name="connsiteY28" fmla="*/ 299418 h 327339"/>
                <a:gd name="connsiteX29" fmla="*/ 86324 w 327353"/>
                <a:gd name="connsiteY29" fmla="*/ 299418 h 327339"/>
                <a:gd name="connsiteX30" fmla="*/ 86324 w 327353"/>
                <a:gd name="connsiteY30" fmla="*/ 53628 h 327339"/>
                <a:gd name="connsiteX31" fmla="*/ 118959 w 327353"/>
                <a:gd name="connsiteY31" fmla="*/ 53628 h 327339"/>
                <a:gd name="connsiteX32" fmla="*/ 118959 w 327353"/>
                <a:gd name="connsiteY32" fmla="*/ 299418 h 327339"/>
                <a:gd name="connsiteX33" fmla="*/ 130205 w 327353"/>
                <a:gd name="connsiteY33" fmla="*/ 11925 h 327339"/>
                <a:gd name="connsiteX34" fmla="*/ 266725 w 327353"/>
                <a:gd name="connsiteY34" fmla="*/ 27333 h 327339"/>
                <a:gd name="connsiteX35" fmla="*/ 266725 w 327353"/>
                <a:gd name="connsiteY35" fmla="*/ 300088 h 327339"/>
                <a:gd name="connsiteX36" fmla="*/ 130205 w 327353"/>
                <a:gd name="connsiteY36" fmla="*/ 315520 h 3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27353" h="327339">
                  <a:moveTo>
                    <a:pt x="321707" y="299418"/>
                  </a:moveTo>
                  <a:lnTo>
                    <a:pt x="277971" y="299418"/>
                  </a:lnTo>
                  <a:lnTo>
                    <a:pt x="277971" y="22285"/>
                  </a:lnTo>
                  <a:cubicBezTo>
                    <a:pt x="277965" y="19420"/>
                    <a:pt x="275816" y="17014"/>
                    <a:pt x="272970" y="16686"/>
                  </a:cubicBezTo>
                  <a:lnTo>
                    <a:pt x="125228" y="34"/>
                  </a:lnTo>
                  <a:cubicBezTo>
                    <a:pt x="122146" y="-303"/>
                    <a:pt x="119370" y="1908"/>
                    <a:pt x="119007" y="4986"/>
                  </a:cubicBezTo>
                  <a:lnTo>
                    <a:pt x="119007" y="5632"/>
                  </a:lnTo>
                  <a:lnTo>
                    <a:pt x="119007" y="16686"/>
                  </a:lnTo>
                  <a:lnTo>
                    <a:pt x="55029" y="16686"/>
                  </a:lnTo>
                  <a:cubicBezTo>
                    <a:pt x="51924" y="16686"/>
                    <a:pt x="49407" y="19204"/>
                    <a:pt x="49407" y="22309"/>
                  </a:cubicBezTo>
                  <a:lnTo>
                    <a:pt x="49407" y="299418"/>
                  </a:lnTo>
                  <a:lnTo>
                    <a:pt x="5623" y="299418"/>
                  </a:lnTo>
                  <a:cubicBezTo>
                    <a:pt x="2517" y="299418"/>
                    <a:pt x="0" y="301935"/>
                    <a:pt x="0" y="305041"/>
                  </a:cubicBezTo>
                  <a:cubicBezTo>
                    <a:pt x="0" y="308146"/>
                    <a:pt x="2517" y="310663"/>
                    <a:pt x="5623" y="310663"/>
                  </a:cubicBezTo>
                  <a:lnTo>
                    <a:pt x="118959" y="310663"/>
                  </a:lnTo>
                  <a:lnTo>
                    <a:pt x="118959" y="321717"/>
                  </a:lnTo>
                  <a:cubicBezTo>
                    <a:pt x="118959" y="324822"/>
                    <a:pt x="121477" y="327340"/>
                    <a:pt x="124582" y="327340"/>
                  </a:cubicBezTo>
                  <a:lnTo>
                    <a:pt x="125228" y="327340"/>
                  </a:lnTo>
                  <a:lnTo>
                    <a:pt x="272659" y="310591"/>
                  </a:lnTo>
                  <a:lnTo>
                    <a:pt x="321731" y="310591"/>
                  </a:lnTo>
                  <a:cubicBezTo>
                    <a:pt x="324836" y="310591"/>
                    <a:pt x="327354" y="308074"/>
                    <a:pt x="327354" y="304969"/>
                  </a:cubicBezTo>
                  <a:cubicBezTo>
                    <a:pt x="327354" y="301864"/>
                    <a:pt x="324836" y="299346"/>
                    <a:pt x="321731" y="299346"/>
                  </a:cubicBezTo>
                  <a:close/>
                  <a:moveTo>
                    <a:pt x="60628" y="27931"/>
                  </a:moveTo>
                  <a:lnTo>
                    <a:pt x="118959" y="27931"/>
                  </a:lnTo>
                  <a:lnTo>
                    <a:pt x="118959" y="42287"/>
                  </a:lnTo>
                  <a:lnTo>
                    <a:pt x="80678" y="42287"/>
                  </a:lnTo>
                  <a:cubicBezTo>
                    <a:pt x="77573" y="42287"/>
                    <a:pt x="75055" y="44804"/>
                    <a:pt x="75055" y="47909"/>
                  </a:cubicBezTo>
                  <a:lnTo>
                    <a:pt x="75055" y="299418"/>
                  </a:lnTo>
                  <a:lnTo>
                    <a:pt x="60700" y="299418"/>
                  </a:lnTo>
                  <a:close/>
                  <a:moveTo>
                    <a:pt x="86324" y="299418"/>
                  </a:moveTo>
                  <a:lnTo>
                    <a:pt x="86324" y="53628"/>
                  </a:lnTo>
                  <a:lnTo>
                    <a:pt x="118959" y="53628"/>
                  </a:lnTo>
                  <a:lnTo>
                    <a:pt x="118959" y="299418"/>
                  </a:lnTo>
                  <a:close/>
                  <a:moveTo>
                    <a:pt x="130205" y="11925"/>
                  </a:moveTo>
                  <a:lnTo>
                    <a:pt x="266725" y="27333"/>
                  </a:lnTo>
                  <a:lnTo>
                    <a:pt x="266725" y="300088"/>
                  </a:lnTo>
                  <a:lnTo>
                    <a:pt x="130205" y="315520"/>
                  </a:lnTo>
                  <a:close/>
                </a:path>
              </a:pathLst>
            </a:custGeom>
            <a:solidFill>
              <a:srgbClr val="1F6898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 165">
              <a:extLst>
                <a:ext uri="{FF2B5EF4-FFF2-40B4-BE49-F238E27FC236}">
                  <a16:creationId xmlns:a16="http://schemas.microsoft.com/office/drawing/2014/main" id="{65D9A7C1-861A-F90A-CA24-40F06F76D8B7}"/>
                </a:ext>
              </a:extLst>
            </p:cNvPr>
            <p:cNvSpPr/>
            <p:nvPr/>
          </p:nvSpPr>
          <p:spPr>
            <a:xfrm>
              <a:off x="5640773" y="3576798"/>
              <a:ext cx="33496" cy="33496"/>
            </a:xfrm>
            <a:custGeom>
              <a:avLst/>
              <a:gdLst>
                <a:gd name="connsiteX0" fmla="*/ 16748 w 33496"/>
                <a:gd name="connsiteY0" fmla="*/ 0 h 33496"/>
                <a:gd name="connsiteX1" fmla="*/ 0 w 33496"/>
                <a:gd name="connsiteY1" fmla="*/ 16748 h 33496"/>
                <a:gd name="connsiteX2" fmla="*/ 16748 w 33496"/>
                <a:gd name="connsiteY2" fmla="*/ 33496 h 33496"/>
                <a:gd name="connsiteX3" fmla="*/ 33496 w 33496"/>
                <a:gd name="connsiteY3" fmla="*/ 16748 h 33496"/>
                <a:gd name="connsiteX4" fmla="*/ 33496 w 33496"/>
                <a:gd name="connsiteY4" fmla="*/ 16748 h 33496"/>
                <a:gd name="connsiteX5" fmla="*/ 16748 w 33496"/>
                <a:gd name="connsiteY5" fmla="*/ 0 h 33496"/>
                <a:gd name="connsiteX6" fmla="*/ 16748 w 33496"/>
                <a:gd name="connsiteY6" fmla="*/ 22227 h 33496"/>
                <a:gd name="connsiteX7" fmla="*/ 11221 w 33496"/>
                <a:gd name="connsiteY7" fmla="*/ 16748 h 33496"/>
                <a:gd name="connsiteX8" fmla="*/ 16700 w 33496"/>
                <a:gd name="connsiteY8" fmla="*/ 11221 h 33496"/>
                <a:gd name="connsiteX9" fmla="*/ 22227 w 33496"/>
                <a:gd name="connsiteY9" fmla="*/ 16700 h 33496"/>
                <a:gd name="connsiteX10" fmla="*/ 22227 w 33496"/>
                <a:gd name="connsiteY10" fmla="*/ 16724 h 33496"/>
                <a:gd name="connsiteX11" fmla="*/ 16772 w 33496"/>
                <a:gd name="connsiteY11" fmla="*/ 22227 h 33496"/>
                <a:gd name="connsiteX12" fmla="*/ 16748 w 33496"/>
                <a:gd name="connsiteY12" fmla="*/ 22227 h 3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496" h="33496">
                  <a:moveTo>
                    <a:pt x="16748" y="0"/>
                  </a:moveTo>
                  <a:cubicBezTo>
                    <a:pt x="7498" y="0"/>
                    <a:pt x="0" y="7498"/>
                    <a:pt x="0" y="16748"/>
                  </a:cubicBezTo>
                  <a:cubicBezTo>
                    <a:pt x="0" y="25998"/>
                    <a:pt x="7498" y="33496"/>
                    <a:pt x="16748" y="33496"/>
                  </a:cubicBezTo>
                  <a:cubicBezTo>
                    <a:pt x="25998" y="33496"/>
                    <a:pt x="33496" y="25998"/>
                    <a:pt x="33496" y="16748"/>
                  </a:cubicBezTo>
                  <a:lnTo>
                    <a:pt x="33496" y="16748"/>
                  </a:lnTo>
                  <a:cubicBezTo>
                    <a:pt x="33496" y="7498"/>
                    <a:pt x="25998" y="0"/>
                    <a:pt x="16748" y="0"/>
                  </a:cubicBezTo>
                  <a:close/>
                  <a:moveTo>
                    <a:pt x="16748" y="22227"/>
                  </a:moveTo>
                  <a:cubicBezTo>
                    <a:pt x="13709" y="22240"/>
                    <a:pt x="11234" y="19787"/>
                    <a:pt x="11221" y="16748"/>
                  </a:cubicBezTo>
                  <a:cubicBezTo>
                    <a:pt x="11208" y="13709"/>
                    <a:pt x="13661" y="11235"/>
                    <a:pt x="16700" y="11221"/>
                  </a:cubicBezTo>
                  <a:cubicBezTo>
                    <a:pt x="19739" y="11208"/>
                    <a:pt x="22214" y="13661"/>
                    <a:pt x="22227" y="16700"/>
                  </a:cubicBezTo>
                  <a:cubicBezTo>
                    <a:pt x="22227" y="16708"/>
                    <a:pt x="22227" y="16716"/>
                    <a:pt x="22227" y="16724"/>
                  </a:cubicBezTo>
                  <a:cubicBezTo>
                    <a:pt x="22240" y="19750"/>
                    <a:pt x="19798" y="22214"/>
                    <a:pt x="16772" y="22227"/>
                  </a:cubicBezTo>
                  <a:cubicBezTo>
                    <a:pt x="16764" y="22227"/>
                    <a:pt x="16756" y="22227"/>
                    <a:pt x="16748" y="22227"/>
                  </a:cubicBezTo>
                  <a:close/>
                </a:path>
              </a:pathLst>
            </a:custGeom>
            <a:solidFill>
              <a:srgbClr val="BD5C7A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7" name="Graphic 253">
            <a:extLst>
              <a:ext uri="{FF2B5EF4-FFF2-40B4-BE49-F238E27FC236}">
                <a16:creationId xmlns:a16="http://schemas.microsoft.com/office/drawing/2014/main" id="{AAEE2D82-0AB1-D64F-862A-3395E7F26363}"/>
              </a:ext>
            </a:extLst>
          </p:cNvPr>
          <p:cNvGrpSpPr/>
          <p:nvPr/>
        </p:nvGrpSpPr>
        <p:grpSpPr>
          <a:xfrm>
            <a:off x="6473078" y="3821112"/>
            <a:ext cx="317500" cy="317500"/>
            <a:chOff x="6705600" y="3383756"/>
            <a:chExt cx="419100" cy="419100"/>
          </a:xfrm>
        </p:grpSpPr>
        <p:sp>
          <p:nvSpPr>
            <p:cNvPr id="168" name="Freeform 167">
              <a:extLst>
                <a:ext uri="{FF2B5EF4-FFF2-40B4-BE49-F238E27FC236}">
                  <a16:creationId xmlns:a16="http://schemas.microsoft.com/office/drawing/2014/main" id="{96FE39F5-5C03-BC64-63F5-5C844FAF1603}"/>
                </a:ext>
              </a:extLst>
            </p:cNvPr>
            <p:cNvSpPr/>
            <p:nvPr/>
          </p:nvSpPr>
          <p:spPr>
            <a:xfrm>
              <a:off x="6707878" y="3426478"/>
              <a:ext cx="424260" cy="366920"/>
            </a:xfrm>
            <a:custGeom>
              <a:avLst/>
              <a:gdLst>
                <a:gd name="connsiteX0" fmla="*/ 350001 w 424260"/>
                <a:gd name="connsiteY0" fmla="*/ 0 h 366920"/>
                <a:gd name="connsiteX1" fmla="*/ 74233 w 424260"/>
                <a:gd name="connsiteY1" fmla="*/ 0 h 366920"/>
                <a:gd name="connsiteX2" fmla="*/ 0 w 424260"/>
                <a:gd name="connsiteY2" fmla="*/ 74233 h 366920"/>
                <a:gd name="connsiteX3" fmla="*/ 0 w 424260"/>
                <a:gd name="connsiteY3" fmla="*/ 233334 h 366920"/>
                <a:gd name="connsiteX4" fmla="*/ 63651 w 424260"/>
                <a:gd name="connsiteY4" fmla="*/ 306807 h 366920"/>
                <a:gd name="connsiteX5" fmla="*/ 63651 w 424260"/>
                <a:gd name="connsiteY5" fmla="*/ 345600 h 366920"/>
                <a:gd name="connsiteX6" fmla="*/ 84712 w 424260"/>
                <a:gd name="connsiteY6" fmla="*/ 366920 h 366920"/>
                <a:gd name="connsiteX7" fmla="*/ 99877 w 424260"/>
                <a:gd name="connsiteY7" fmla="*/ 360662 h 366920"/>
                <a:gd name="connsiteX8" fmla="*/ 152893 w 424260"/>
                <a:gd name="connsiteY8" fmla="*/ 307646 h 366920"/>
                <a:gd name="connsiteX9" fmla="*/ 350027 w 424260"/>
                <a:gd name="connsiteY9" fmla="*/ 307646 h 366920"/>
                <a:gd name="connsiteX10" fmla="*/ 424260 w 424260"/>
                <a:gd name="connsiteY10" fmla="*/ 233413 h 366920"/>
                <a:gd name="connsiteX11" fmla="*/ 424260 w 424260"/>
                <a:gd name="connsiteY11" fmla="*/ 74233 h 366920"/>
                <a:gd name="connsiteX12" fmla="*/ 350001 w 424260"/>
                <a:gd name="connsiteY12" fmla="*/ 0 h 366920"/>
                <a:gd name="connsiteX13" fmla="*/ 403017 w 424260"/>
                <a:gd name="connsiteY13" fmla="*/ 233334 h 366920"/>
                <a:gd name="connsiteX14" fmla="*/ 350001 w 424260"/>
                <a:gd name="connsiteY14" fmla="*/ 286350 h 366920"/>
                <a:gd name="connsiteX15" fmla="*/ 148492 w 424260"/>
                <a:gd name="connsiteY15" fmla="*/ 286350 h 366920"/>
                <a:gd name="connsiteX16" fmla="*/ 140975 w 424260"/>
                <a:gd name="connsiteY16" fmla="*/ 289467 h 366920"/>
                <a:gd name="connsiteX17" fmla="*/ 84842 w 424260"/>
                <a:gd name="connsiteY17" fmla="*/ 345574 h 366920"/>
                <a:gd name="connsiteX18" fmla="*/ 84842 w 424260"/>
                <a:gd name="connsiteY18" fmla="*/ 296959 h 366920"/>
                <a:gd name="connsiteX19" fmla="*/ 74365 w 424260"/>
                <a:gd name="connsiteY19" fmla="*/ 286480 h 366920"/>
                <a:gd name="connsiteX20" fmla="*/ 74233 w 424260"/>
                <a:gd name="connsiteY20" fmla="*/ 286481 h 366920"/>
                <a:gd name="connsiteX21" fmla="*/ 21296 w 424260"/>
                <a:gd name="connsiteY21" fmla="*/ 233334 h 366920"/>
                <a:gd name="connsiteX22" fmla="*/ 21296 w 424260"/>
                <a:gd name="connsiteY22" fmla="*/ 74233 h 366920"/>
                <a:gd name="connsiteX23" fmla="*/ 74233 w 424260"/>
                <a:gd name="connsiteY23" fmla="*/ 21217 h 366920"/>
                <a:gd name="connsiteX24" fmla="*/ 350001 w 424260"/>
                <a:gd name="connsiteY24" fmla="*/ 21217 h 366920"/>
                <a:gd name="connsiteX25" fmla="*/ 403017 w 424260"/>
                <a:gd name="connsiteY25" fmla="*/ 74233 h 36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24260" h="366920">
                  <a:moveTo>
                    <a:pt x="350001" y="0"/>
                  </a:moveTo>
                  <a:lnTo>
                    <a:pt x="74233" y="0"/>
                  </a:lnTo>
                  <a:cubicBezTo>
                    <a:pt x="33253" y="43"/>
                    <a:pt x="43" y="33253"/>
                    <a:pt x="0" y="74233"/>
                  </a:cubicBezTo>
                  <a:lnTo>
                    <a:pt x="0" y="233334"/>
                  </a:lnTo>
                  <a:cubicBezTo>
                    <a:pt x="57" y="270222"/>
                    <a:pt x="27147" y="301493"/>
                    <a:pt x="63651" y="306807"/>
                  </a:cubicBezTo>
                  <a:lnTo>
                    <a:pt x="63651" y="345600"/>
                  </a:lnTo>
                  <a:cubicBezTo>
                    <a:pt x="63580" y="357303"/>
                    <a:pt x="73009" y="366848"/>
                    <a:pt x="84712" y="366920"/>
                  </a:cubicBezTo>
                  <a:cubicBezTo>
                    <a:pt x="90402" y="366954"/>
                    <a:pt x="95867" y="364699"/>
                    <a:pt x="99877" y="360662"/>
                  </a:cubicBezTo>
                  <a:lnTo>
                    <a:pt x="152893" y="307646"/>
                  </a:lnTo>
                  <a:lnTo>
                    <a:pt x="350027" y="307646"/>
                  </a:lnTo>
                  <a:cubicBezTo>
                    <a:pt x="391007" y="307602"/>
                    <a:pt x="424217" y="274392"/>
                    <a:pt x="424260" y="233413"/>
                  </a:cubicBezTo>
                  <a:lnTo>
                    <a:pt x="424260" y="74233"/>
                  </a:lnTo>
                  <a:cubicBezTo>
                    <a:pt x="424217" y="33243"/>
                    <a:pt x="390991" y="29"/>
                    <a:pt x="350001" y="0"/>
                  </a:cubicBezTo>
                  <a:close/>
                  <a:moveTo>
                    <a:pt x="403017" y="233334"/>
                  </a:moveTo>
                  <a:cubicBezTo>
                    <a:pt x="402988" y="262602"/>
                    <a:pt x="379269" y="286321"/>
                    <a:pt x="350001" y="286350"/>
                  </a:cubicBezTo>
                  <a:lnTo>
                    <a:pt x="148492" y="286350"/>
                  </a:lnTo>
                  <a:cubicBezTo>
                    <a:pt x="145672" y="286351"/>
                    <a:pt x="142968" y="287472"/>
                    <a:pt x="140975" y="289467"/>
                  </a:cubicBezTo>
                  <a:lnTo>
                    <a:pt x="84842" y="345574"/>
                  </a:lnTo>
                  <a:lnTo>
                    <a:pt x="84842" y="296959"/>
                  </a:lnTo>
                  <a:cubicBezTo>
                    <a:pt x="84842" y="291172"/>
                    <a:pt x="80151" y="286481"/>
                    <a:pt x="74365" y="286480"/>
                  </a:cubicBezTo>
                  <a:cubicBezTo>
                    <a:pt x="74321" y="286480"/>
                    <a:pt x="74277" y="286481"/>
                    <a:pt x="74233" y="286481"/>
                  </a:cubicBezTo>
                  <a:cubicBezTo>
                    <a:pt x="44945" y="286409"/>
                    <a:pt x="21252" y="262623"/>
                    <a:pt x="21296" y="233334"/>
                  </a:cubicBezTo>
                  <a:lnTo>
                    <a:pt x="21296" y="74233"/>
                  </a:lnTo>
                  <a:cubicBezTo>
                    <a:pt x="21324" y="44996"/>
                    <a:pt x="44996" y="21289"/>
                    <a:pt x="74233" y="21217"/>
                  </a:cubicBezTo>
                  <a:lnTo>
                    <a:pt x="350001" y="21217"/>
                  </a:lnTo>
                  <a:cubicBezTo>
                    <a:pt x="379269" y="21246"/>
                    <a:pt x="402988" y="44965"/>
                    <a:pt x="403017" y="74233"/>
                  </a:cubicBezTo>
                  <a:close/>
                </a:path>
              </a:pathLst>
            </a:custGeom>
            <a:solidFill>
              <a:srgbClr val="1F6896"/>
            </a:solidFill>
            <a:ln w="261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 168">
              <a:extLst>
                <a:ext uri="{FF2B5EF4-FFF2-40B4-BE49-F238E27FC236}">
                  <a16:creationId xmlns:a16="http://schemas.microsoft.com/office/drawing/2014/main" id="{BB485777-A774-5F35-AB76-1125C4C570AD}"/>
                </a:ext>
              </a:extLst>
            </p:cNvPr>
            <p:cNvSpPr/>
            <p:nvPr/>
          </p:nvSpPr>
          <p:spPr>
            <a:xfrm>
              <a:off x="6740935" y="3512105"/>
              <a:ext cx="87532" cy="130105"/>
            </a:xfrm>
            <a:custGeom>
              <a:avLst/>
              <a:gdLst>
                <a:gd name="connsiteX0" fmla="*/ 72400 w 87532"/>
                <a:gd name="connsiteY0" fmla="*/ 29023 h 130105"/>
                <a:gd name="connsiteX1" fmla="*/ 62524 w 87532"/>
                <a:gd name="connsiteY1" fmla="*/ 21426 h 130105"/>
                <a:gd name="connsiteX2" fmla="*/ 49663 w 87532"/>
                <a:gd name="connsiteY2" fmla="*/ 18336 h 130105"/>
                <a:gd name="connsiteX3" fmla="*/ 41989 w 87532"/>
                <a:gd name="connsiteY3" fmla="*/ 19305 h 130105"/>
                <a:gd name="connsiteX4" fmla="*/ 34995 w 87532"/>
                <a:gd name="connsiteY4" fmla="*/ 22291 h 130105"/>
                <a:gd name="connsiteX5" fmla="*/ 29756 w 87532"/>
                <a:gd name="connsiteY5" fmla="*/ 27530 h 130105"/>
                <a:gd name="connsiteX6" fmla="*/ 27765 w 87532"/>
                <a:gd name="connsiteY6" fmla="*/ 35388 h 130105"/>
                <a:gd name="connsiteX7" fmla="*/ 29494 w 87532"/>
                <a:gd name="connsiteY7" fmla="*/ 42565 h 130105"/>
                <a:gd name="connsiteX8" fmla="*/ 34314 w 87532"/>
                <a:gd name="connsiteY8" fmla="*/ 47620 h 130105"/>
                <a:gd name="connsiteX9" fmla="*/ 41753 w 87532"/>
                <a:gd name="connsiteY9" fmla="*/ 51287 h 130105"/>
                <a:gd name="connsiteX10" fmla="*/ 51340 w 87532"/>
                <a:gd name="connsiteY10" fmla="*/ 54431 h 130105"/>
                <a:gd name="connsiteX11" fmla="*/ 63677 w 87532"/>
                <a:gd name="connsiteY11" fmla="*/ 58805 h 130105"/>
                <a:gd name="connsiteX12" fmla="*/ 75386 w 87532"/>
                <a:gd name="connsiteY12" fmla="*/ 65275 h 130105"/>
                <a:gd name="connsiteX13" fmla="*/ 84108 w 87532"/>
                <a:gd name="connsiteY13" fmla="*/ 75412 h 130105"/>
                <a:gd name="connsiteX14" fmla="*/ 87513 w 87532"/>
                <a:gd name="connsiteY14" fmla="*/ 90604 h 130105"/>
                <a:gd name="connsiteX15" fmla="*/ 83846 w 87532"/>
                <a:gd name="connsiteY15" fmla="*/ 107997 h 130105"/>
                <a:gd name="connsiteX16" fmla="*/ 74050 w 87532"/>
                <a:gd name="connsiteY16" fmla="*/ 120308 h 130105"/>
                <a:gd name="connsiteX17" fmla="*/ 59748 w 87532"/>
                <a:gd name="connsiteY17" fmla="*/ 127668 h 130105"/>
                <a:gd name="connsiteX18" fmla="*/ 42434 w 87532"/>
                <a:gd name="connsiteY18" fmla="*/ 130104 h 130105"/>
                <a:gd name="connsiteX19" fmla="*/ 18860 w 87532"/>
                <a:gd name="connsiteY19" fmla="*/ 125651 h 130105"/>
                <a:gd name="connsiteX20" fmla="*/ 0 w 87532"/>
                <a:gd name="connsiteY20" fmla="*/ 112555 h 130105"/>
                <a:gd name="connsiteX21" fmla="*/ 15716 w 87532"/>
                <a:gd name="connsiteY21" fmla="*/ 97886 h 130105"/>
                <a:gd name="connsiteX22" fmla="*/ 27870 w 87532"/>
                <a:gd name="connsiteY22" fmla="*/ 107840 h 130105"/>
                <a:gd name="connsiteX23" fmla="*/ 50659 w 87532"/>
                <a:gd name="connsiteY23" fmla="*/ 110459 h 130105"/>
                <a:gd name="connsiteX24" fmla="*/ 57914 w 87532"/>
                <a:gd name="connsiteY24" fmla="*/ 107211 h 130105"/>
                <a:gd name="connsiteX25" fmla="*/ 63153 w 87532"/>
                <a:gd name="connsiteY25" fmla="*/ 101527 h 130105"/>
                <a:gd name="connsiteX26" fmla="*/ 65144 w 87532"/>
                <a:gd name="connsiteY26" fmla="*/ 93066 h 130105"/>
                <a:gd name="connsiteX27" fmla="*/ 62891 w 87532"/>
                <a:gd name="connsiteY27" fmla="*/ 84946 h 130105"/>
                <a:gd name="connsiteX28" fmla="*/ 56762 w 87532"/>
                <a:gd name="connsiteY28" fmla="*/ 79341 h 130105"/>
                <a:gd name="connsiteX29" fmla="*/ 47673 w 87532"/>
                <a:gd name="connsiteY29" fmla="*/ 75228 h 130105"/>
                <a:gd name="connsiteX30" fmla="*/ 36671 w 87532"/>
                <a:gd name="connsiteY30" fmla="*/ 71561 h 130105"/>
                <a:gd name="connsiteX31" fmla="*/ 25487 w 87532"/>
                <a:gd name="connsiteY31" fmla="*/ 67370 h 130105"/>
                <a:gd name="connsiteX32" fmla="*/ 15454 w 87532"/>
                <a:gd name="connsiteY32" fmla="*/ 60927 h 130105"/>
                <a:gd name="connsiteX33" fmla="*/ 8199 w 87532"/>
                <a:gd name="connsiteY33" fmla="*/ 51052 h 130105"/>
                <a:gd name="connsiteX34" fmla="*/ 5396 w 87532"/>
                <a:gd name="connsiteY34" fmla="*/ 36436 h 130105"/>
                <a:gd name="connsiteX35" fmla="*/ 9325 w 87532"/>
                <a:gd name="connsiteY35" fmla="*/ 20195 h 130105"/>
                <a:gd name="connsiteX36" fmla="*/ 19645 w 87532"/>
                <a:gd name="connsiteY36" fmla="*/ 8932 h 130105"/>
                <a:gd name="connsiteX37" fmla="*/ 34157 w 87532"/>
                <a:gd name="connsiteY37" fmla="*/ 2279 h 130105"/>
                <a:gd name="connsiteX38" fmla="*/ 50711 w 87532"/>
                <a:gd name="connsiteY38" fmla="*/ 0 h 130105"/>
                <a:gd name="connsiteX39" fmla="*/ 69859 w 87532"/>
                <a:gd name="connsiteY39" fmla="*/ 3327 h 130105"/>
                <a:gd name="connsiteX40" fmla="*/ 86728 w 87532"/>
                <a:gd name="connsiteY40" fmla="*/ 13280 h 130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87532" h="130105">
                  <a:moveTo>
                    <a:pt x="72400" y="29023"/>
                  </a:moveTo>
                  <a:cubicBezTo>
                    <a:pt x="69744" y="25756"/>
                    <a:pt x="66363" y="23155"/>
                    <a:pt x="62524" y="21426"/>
                  </a:cubicBezTo>
                  <a:cubicBezTo>
                    <a:pt x="58523" y="19445"/>
                    <a:pt x="54128" y="18389"/>
                    <a:pt x="49663" y="18336"/>
                  </a:cubicBezTo>
                  <a:cubicBezTo>
                    <a:pt x="47075" y="18348"/>
                    <a:pt x="44498" y="18673"/>
                    <a:pt x="41989" y="19305"/>
                  </a:cubicBezTo>
                  <a:cubicBezTo>
                    <a:pt x="39513" y="19920"/>
                    <a:pt x="37152" y="20928"/>
                    <a:pt x="34995" y="22291"/>
                  </a:cubicBezTo>
                  <a:cubicBezTo>
                    <a:pt x="32872" y="23615"/>
                    <a:pt x="31081" y="25407"/>
                    <a:pt x="29756" y="27530"/>
                  </a:cubicBezTo>
                  <a:cubicBezTo>
                    <a:pt x="28354" y="29904"/>
                    <a:pt x="27663" y="32632"/>
                    <a:pt x="27765" y="35388"/>
                  </a:cubicBezTo>
                  <a:cubicBezTo>
                    <a:pt x="27692" y="37891"/>
                    <a:pt x="28289" y="40369"/>
                    <a:pt x="29494" y="42565"/>
                  </a:cubicBezTo>
                  <a:cubicBezTo>
                    <a:pt x="30701" y="44590"/>
                    <a:pt x="32348" y="46318"/>
                    <a:pt x="34314" y="47620"/>
                  </a:cubicBezTo>
                  <a:cubicBezTo>
                    <a:pt x="36625" y="49157"/>
                    <a:pt x="39126" y="50390"/>
                    <a:pt x="41753" y="51287"/>
                  </a:cubicBezTo>
                  <a:cubicBezTo>
                    <a:pt x="44652" y="52335"/>
                    <a:pt x="47847" y="53383"/>
                    <a:pt x="51340" y="54431"/>
                  </a:cubicBezTo>
                  <a:cubicBezTo>
                    <a:pt x="55321" y="55714"/>
                    <a:pt x="59407" y="57181"/>
                    <a:pt x="63677" y="58805"/>
                  </a:cubicBezTo>
                  <a:cubicBezTo>
                    <a:pt x="67857" y="60416"/>
                    <a:pt x="71797" y="62593"/>
                    <a:pt x="75386" y="65275"/>
                  </a:cubicBezTo>
                  <a:cubicBezTo>
                    <a:pt x="78973" y="68004"/>
                    <a:pt x="81945" y="71458"/>
                    <a:pt x="84108" y="75412"/>
                  </a:cubicBezTo>
                  <a:cubicBezTo>
                    <a:pt x="86525" y="80101"/>
                    <a:pt x="87698" y="85332"/>
                    <a:pt x="87513" y="90604"/>
                  </a:cubicBezTo>
                  <a:cubicBezTo>
                    <a:pt x="87649" y="96607"/>
                    <a:pt x="86394" y="102560"/>
                    <a:pt x="83846" y="107997"/>
                  </a:cubicBezTo>
                  <a:cubicBezTo>
                    <a:pt x="81533" y="112776"/>
                    <a:pt x="78187" y="116981"/>
                    <a:pt x="74050" y="120308"/>
                  </a:cubicBezTo>
                  <a:cubicBezTo>
                    <a:pt x="69807" y="123669"/>
                    <a:pt x="64949" y="126169"/>
                    <a:pt x="59748" y="127668"/>
                  </a:cubicBezTo>
                  <a:cubicBezTo>
                    <a:pt x="54125" y="129312"/>
                    <a:pt x="48293" y="130133"/>
                    <a:pt x="42434" y="130104"/>
                  </a:cubicBezTo>
                  <a:cubicBezTo>
                    <a:pt x="34367" y="130103"/>
                    <a:pt x="26371" y="128592"/>
                    <a:pt x="18860" y="125651"/>
                  </a:cubicBezTo>
                  <a:cubicBezTo>
                    <a:pt x="11560" y="122964"/>
                    <a:pt x="5068" y="118455"/>
                    <a:pt x="0" y="112555"/>
                  </a:cubicBezTo>
                  <a:lnTo>
                    <a:pt x="15716" y="97886"/>
                  </a:lnTo>
                  <a:cubicBezTo>
                    <a:pt x="18868" y="102171"/>
                    <a:pt x="23048" y="105594"/>
                    <a:pt x="27870" y="107840"/>
                  </a:cubicBezTo>
                  <a:cubicBezTo>
                    <a:pt x="34897" y="111448"/>
                    <a:pt x="42996" y="112379"/>
                    <a:pt x="50659" y="110459"/>
                  </a:cubicBezTo>
                  <a:cubicBezTo>
                    <a:pt x="53262" y="109849"/>
                    <a:pt x="55725" y="108747"/>
                    <a:pt x="57914" y="107211"/>
                  </a:cubicBezTo>
                  <a:cubicBezTo>
                    <a:pt x="60045" y="105710"/>
                    <a:pt x="61831" y="103772"/>
                    <a:pt x="63153" y="101527"/>
                  </a:cubicBezTo>
                  <a:cubicBezTo>
                    <a:pt x="64563" y="98936"/>
                    <a:pt x="65251" y="96014"/>
                    <a:pt x="65144" y="93066"/>
                  </a:cubicBezTo>
                  <a:cubicBezTo>
                    <a:pt x="65265" y="90190"/>
                    <a:pt x="64477" y="87349"/>
                    <a:pt x="62891" y="84946"/>
                  </a:cubicBezTo>
                  <a:cubicBezTo>
                    <a:pt x="61259" y="82673"/>
                    <a:pt x="59172" y="80764"/>
                    <a:pt x="56762" y="79341"/>
                  </a:cubicBezTo>
                  <a:cubicBezTo>
                    <a:pt x="53896" y="77634"/>
                    <a:pt x="50847" y="76254"/>
                    <a:pt x="47673" y="75228"/>
                  </a:cubicBezTo>
                  <a:lnTo>
                    <a:pt x="36671" y="71561"/>
                  </a:lnTo>
                  <a:cubicBezTo>
                    <a:pt x="32866" y="70379"/>
                    <a:pt x="29132" y="68980"/>
                    <a:pt x="25487" y="67370"/>
                  </a:cubicBezTo>
                  <a:cubicBezTo>
                    <a:pt x="21815" y="65780"/>
                    <a:pt x="18427" y="63604"/>
                    <a:pt x="15454" y="60927"/>
                  </a:cubicBezTo>
                  <a:cubicBezTo>
                    <a:pt x="12406" y="58147"/>
                    <a:pt x="9940" y="54791"/>
                    <a:pt x="8199" y="51052"/>
                  </a:cubicBezTo>
                  <a:cubicBezTo>
                    <a:pt x="6198" y="46446"/>
                    <a:pt x="5241" y="41455"/>
                    <a:pt x="5396" y="36436"/>
                  </a:cubicBezTo>
                  <a:cubicBezTo>
                    <a:pt x="5245" y="30770"/>
                    <a:pt x="6601" y="25165"/>
                    <a:pt x="9325" y="20195"/>
                  </a:cubicBezTo>
                  <a:cubicBezTo>
                    <a:pt x="11882" y="15718"/>
                    <a:pt x="15408" y="11870"/>
                    <a:pt x="19645" y="8932"/>
                  </a:cubicBezTo>
                  <a:cubicBezTo>
                    <a:pt x="24049" y="5871"/>
                    <a:pt x="28963" y="3618"/>
                    <a:pt x="34157" y="2279"/>
                  </a:cubicBezTo>
                  <a:cubicBezTo>
                    <a:pt x="39551" y="795"/>
                    <a:pt x="45117" y="29"/>
                    <a:pt x="50711" y="0"/>
                  </a:cubicBezTo>
                  <a:cubicBezTo>
                    <a:pt x="57234" y="33"/>
                    <a:pt x="63706" y="1158"/>
                    <a:pt x="69859" y="3327"/>
                  </a:cubicBezTo>
                  <a:cubicBezTo>
                    <a:pt x="76122" y="5414"/>
                    <a:pt x="81872" y="8807"/>
                    <a:pt x="86728" y="13280"/>
                  </a:cubicBezTo>
                  <a:close/>
                </a:path>
              </a:pathLst>
            </a:custGeom>
            <a:solidFill>
              <a:srgbClr val="BA5D7A"/>
            </a:solidFill>
            <a:ln w="261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 169">
              <a:extLst>
                <a:ext uri="{FF2B5EF4-FFF2-40B4-BE49-F238E27FC236}">
                  <a16:creationId xmlns:a16="http://schemas.microsoft.com/office/drawing/2014/main" id="{00228229-4A0B-71A0-0156-28390A6C9BA0}"/>
                </a:ext>
              </a:extLst>
            </p:cNvPr>
            <p:cNvSpPr/>
            <p:nvPr/>
          </p:nvSpPr>
          <p:spPr>
            <a:xfrm>
              <a:off x="6850556" y="3515274"/>
              <a:ext cx="133509" cy="123713"/>
            </a:xfrm>
            <a:custGeom>
              <a:avLst/>
              <a:gdLst>
                <a:gd name="connsiteX0" fmla="*/ 0 w 133509"/>
                <a:gd name="connsiteY0" fmla="*/ 0 h 123713"/>
                <a:gd name="connsiteX1" fmla="*/ 34419 w 133509"/>
                <a:gd name="connsiteY1" fmla="*/ 0 h 123713"/>
                <a:gd name="connsiteX2" fmla="*/ 66558 w 133509"/>
                <a:gd name="connsiteY2" fmla="*/ 87880 h 123713"/>
                <a:gd name="connsiteX3" fmla="*/ 67213 w 133509"/>
                <a:gd name="connsiteY3" fmla="*/ 87880 h 123713"/>
                <a:gd name="connsiteX4" fmla="*/ 98908 w 133509"/>
                <a:gd name="connsiteY4" fmla="*/ 0 h 123713"/>
                <a:gd name="connsiteX5" fmla="*/ 133510 w 133509"/>
                <a:gd name="connsiteY5" fmla="*/ 0 h 123713"/>
                <a:gd name="connsiteX6" fmla="*/ 133510 w 133509"/>
                <a:gd name="connsiteY6" fmla="*/ 123713 h 123713"/>
                <a:gd name="connsiteX7" fmla="*/ 111743 w 133509"/>
                <a:gd name="connsiteY7" fmla="*/ 123713 h 123713"/>
                <a:gd name="connsiteX8" fmla="*/ 111743 w 133509"/>
                <a:gd name="connsiteY8" fmla="*/ 24177 h 123713"/>
                <a:gd name="connsiteX9" fmla="*/ 111297 w 133509"/>
                <a:gd name="connsiteY9" fmla="*/ 24177 h 123713"/>
                <a:gd name="connsiteX10" fmla="*/ 73735 w 133509"/>
                <a:gd name="connsiteY10" fmla="*/ 123713 h 123713"/>
                <a:gd name="connsiteX11" fmla="*/ 58333 w 133509"/>
                <a:gd name="connsiteY11" fmla="*/ 123713 h 123713"/>
                <a:gd name="connsiteX12" fmla="*/ 21296 w 133509"/>
                <a:gd name="connsiteY12" fmla="*/ 24177 h 123713"/>
                <a:gd name="connsiteX13" fmla="*/ 20955 w 133509"/>
                <a:gd name="connsiteY13" fmla="*/ 24177 h 123713"/>
                <a:gd name="connsiteX14" fmla="*/ 20955 w 133509"/>
                <a:gd name="connsiteY14" fmla="*/ 123713 h 123713"/>
                <a:gd name="connsiteX15" fmla="*/ 0 w 133509"/>
                <a:gd name="connsiteY15" fmla="*/ 123713 h 12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509" h="123713">
                  <a:moveTo>
                    <a:pt x="0" y="0"/>
                  </a:moveTo>
                  <a:lnTo>
                    <a:pt x="34419" y="0"/>
                  </a:lnTo>
                  <a:lnTo>
                    <a:pt x="66558" y="87880"/>
                  </a:lnTo>
                  <a:lnTo>
                    <a:pt x="67213" y="87880"/>
                  </a:lnTo>
                  <a:lnTo>
                    <a:pt x="98908" y="0"/>
                  </a:lnTo>
                  <a:lnTo>
                    <a:pt x="133510" y="0"/>
                  </a:lnTo>
                  <a:lnTo>
                    <a:pt x="133510" y="123713"/>
                  </a:lnTo>
                  <a:lnTo>
                    <a:pt x="111743" y="123713"/>
                  </a:lnTo>
                  <a:lnTo>
                    <a:pt x="111743" y="24177"/>
                  </a:lnTo>
                  <a:lnTo>
                    <a:pt x="111297" y="24177"/>
                  </a:lnTo>
                  <a:lnTo>
                    <a:pt x="73735" y="123713"/>
                  </a:lnTo>
                  <a:lnTo>
                    <a:pt x="58333" y="123713"/>
                  </a:lnTo>
                  <a:lnTo>
                    <a:pt x="21296" y="24177"/>
                  </a:lnTo>
                  <a:lnTo>
                    <a:pt x="20955" y="24177"/>
                  </a:lnTo>
                  <a:lnTo>
                    <a:pt x="20955" y="123713"/>
                  </a:lnTo>
                  <a:lnTo>
                    <a:pt x="0" y="123713"/>
                  </a:lnTo>
                  <a:close/>
                </a:path>
              </a:pathLst>
            </a:custGeom>
            <a:solidFill>
              <a:srgbClr val="BA5D7A"/>
            </a:solidFill>
            <a:ln w="261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 170">
              <a:extLst>
                <a:ext uri="{FF2B5EF4-FFF2-40B4-BE49-F238E27FC236}">
                  <a16:creationId xmlns:a16="http://schemas.microsoft.com/office/drawing/2014/main" id="{B6A2EF44-CCCA-8F90-534C-C274D07B6487}"/>
                </a:ext>
              </a:extLst>
            </p:cNvPr>
            <p:cNvSpPr/>
            <p:nvPr/>
          </p:nvSpPr>
          <p:spPr>
            <a:xfrm>
              <a:off x="7001982" y="3512341"/>
              <a:ext cx="87532" cy="129895"/>
            </a:xfrm>
            <a:custGeom>
              <a:avLst/>
              <a:gdLst>
                <a:gd name="connsiteX0" fmla="*/ 72400 w 87532"/>
                <a:gd name="connsiteY0" fmla="*/ 28787 h 129895"/>
                <a:gd name="connsiteX1" fmla="*/ 62498 w 87532"/>
                <a:gd name="connsiteY1" fmla="*/ 21191 h 129895"/>
                <a:gd name="connsiteX2" fmla="*/ 49663 w 87532"/>
                <a:gd name="connsiteY2" fmla="*/ 18126 h 129895"/>
                <a:gd name="connsiteX3" fmla="*/ 41989 w 87532"/>
                <a:gd name="connsiteY3" fmla="*/ 19095 h 129895"/>
                <a:gd name="connsiteX4" fmla="*/ 34995 w 87532"/>
                <a:gd name="connsiteY4" fmla="*/ 22081 h 129895"/>
                <a:gd name="connsiteX5" fmla="*/ 29756 w 87532"/>
                <a:gd name="connsiteY5" fmla="*/ 27320 h 129895"/>
                <a:gd name="connsiteX6" fmla="*/ 27765 w 87532"/>
                <a:gd name="connsiteY6" fmla="*/ 35178 h 129895"/>
                <a:gd name="connsiteX7" fmla="*/ 29494 w 87532"/>
                <a:gd name="connsiteY7" fmla="*/ 42355 h 129895"/>
                <a:gd name="connsiteX8" fmla="*/ 34314 w 87532"/>
                <a:gd name="connsiteY8" fmla="*/ 47411 h 129895"/>
                <a:gd name="connsiteX9" fmla="*/ 41727 w 87532"/>
                <a:gd name="connsiteY9" fmla="*/ 51078 h 129895"/>
                <a:gd name="connsiteX10" fmla="*/ 51340 w 87532"/>
                <a:gd name="connsiteY10" fmla="*/ 54221 h 129895"/>
                <a:gd name="connsiteX11" fmla="*/ 63677 w 87532"/>
                <a:gd name="connsiteY11" fmla="*/ 58595 h 129895"/>
                <a:gd name="connsiteX12" fmla="*/ 75386 w 87532"/>
                <a:gd name="connsiteY12" fmla="*/ 65065 h 129895"/>
                <a:gd name="connsiteX13" fmla="*/ 84108 w 87532"/>
                <a:gd name="connsiteY13" fmla="*/ 75202 h 129895"/>
                <a:gd name="connsiteX14" fmla="*/ 87513 w 87532"/>
                <a:gd name="connsiteY14" fmla="*/ 90395 h 129895"/>
                <a:gd name="connsiteX15" fmla="*/ 83846 w 87532"/>
                <a:gd name="connsiteY15" fmla="*/ 107787 h 129895"/>
                <a:gd name="connsiteX16" fmla="*/ 74050 w 87532"/>
                <a:gd name="connsiteY16" fmla="*/ 120098 h 129895"/>
                <a:gd name="connsiteX17" fmla="*/ 59722 w 87532"/>
                <a:gd name="connsiteY17" fmla="*/ 127459 h 129895"/>
                <a:gd name="connsiteX18" fmla="*/ 42434 w 87532"/>
                <a:gd name="connsiteY18" fmla="*/ 129895 h 129895"/>
                <a:gd name="connsiteX19" fmla="*/ 18860 w 87532"/>
                <a:gd name="connsiteY19" fmla="*/ 125442 h 129895"/>
                <a:gd name="connsiteX20" fmla="*/ 0 w 87532"/>
                <a:gd name="connsiteY20" fmla="*/ 112345 h 129895"/>
                <a:gd name="connsiteX21" fmla="*/ 15716 w 87532"/>
                <a:gd name="connsiteY21" fmla="*/ 97676 h 129895"/>
                <a:gd name="connsiteX22" fmla="*/ 27870 w 87532"/>
                <a:gd name="connsiteY22" fmla="*/ 107630 h 129895"/>
                <a:gd name="connsiteX23" fmla="*/ 42801 w 87532"/>
                <a:gd name="connsiteY23" fmla="*/ 111297 h 129895"/>
                <a:gd name="connsiteX24" fmla="*/ 50659 w 87532"/>
                <a:gd name="connsiteY24" fmla="*/ 110354 h 129895"/>
                <a:gd name="connsiteX25" fmla="*/ 57914 w 87532"/>
                <a:gd name="connsiteY25" fmla="*/ 107106 h 129895"/>
                <a:gd name="connsiteX26" fmla="*/ 63153 w 87532"/>
                <a:gd name="connsiteY26" fmla="*/ 101422 h 129895"/>
                <a:gd name="connsiteX27" fmla="*/ 65170 w 87532"/>
                <a:gd name="connsiteY27" fmla="*/ 92962 h 129895"/>
                <a:gd name="connsiteX28" fmla="*/ 62917 w 87532"/>
                <a:gd name="connsiteY28" fmla="*/ 84842 h 129895"/>
                <a:gd name="connsiteX29" fmla="*/ 56788 w 87532"/>
                <a:gd name="connsiteY29" fmla="*/ 79236 h 129895"/>
                <a:gd name="connsiteX30" fmla="*/ 47699 w 87532"/>
                <a:gd name="connsiteY30" fmla="*/ 75124 h 129895"/>
                <a:gd name="connsiteX31" fmla="*/ 36697 w 87532"/>
                <a:gd name="connsiteY31" fmla="*/ 71457 h 129895"/>
                <a:gd name="connsiteX32" fmla="*/ 25513 w 87532"/>
                <a:gd name="connsiteY32" fmla="*/ 67266 h 129895"/>
                <a:gd name="connsiteX33" fmla="*/ 15454 w 87532"/>
                <a:gd name="connsiteY33" fmla="*/ 60822 h 129895"/>
                <a:gd name="connsiteX34" fmla="*/ 8199 w 87532"/>
                <a:gd name="connsiteY34" fmla="*/ 50947 h 129895"/>
                <a:gd name="connsiteX35" fmla="*/ 5396 w 87532"/>
                <a:gd name="connsiteY35" fmla="*/ 36331 h 129895"/>
                <a:gd name="connsiteX36" fmla="*/ 9351 w 87532"/>
                <a:gd name="connsiteY36" fmla="*/ 20091 h 129895"/>
                <a:gd name="connsiteX37" fmla="*/ 19645 w 87532"/>
                <a:gd name="connsiteY37" fmla="*/ 8827 h 129895"/>
                <a:gd name="connsiteX38" fmla="*/ 34157 w 87532"/>
                <a:gd name="connsiteY38" fmla="*/ 2174 h 129895"/>
                <a:gd name="connsiteX39" fmla="*/ 50659 w 87532"/>
                <a:gd name="connsiteY39" fmla="*/ 0 h 129895"/>
                <a:gd name="connsiteX40" fmla="*/ 69806 w 87532"/>
                <a:gd name="connsiteY40" fmla="*/ 3327 h 129895"/>
                <a:gd name="connsiteX41" fmla="*/ 86649 w 87532"/>
                <a:gd name="connsiteY41" fmla="*/ 13280 h 129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87532" h="129895">
                  <a:moveTo>
                    <a:pt x="72400" y="28787"/>
                  </a:moveTo>
                  <a:cubicBezTo>
                    <a:pt x="69739" y="25514"/>
                    <a:pt x="66348" y="22913"/>
                    <a:pt x="62498" y="21191"/>
                  </a:cubicBezTo>
                  <a:cubicBezTo>
                    <a:pt x="58505" y="19216"/>
                    <a:pt x="54118" y="18168"/>
                    <a:pt x="49663" y="18126"/>
                  </a:cubicBezTo>
                  <a:cubicBezTo>
                    <a:pt x="47075" y="18138"/>
                    <a:pt x="44498" y="18464"/>
                    <a:pt x="41989" y="19095"/>
                  </a:cubicBezTo>
                  <a:cubicBezTo>
                    <a:pt x="39513" y="19711"/>
                    <a:pt x="37152" y="20719"/>
                    <a:pt x="34995" y="22081"/>
                  </a:cubicBezTo>
                  <a:cubicBezTo>
                    <a:pt x="32866" y="23398"/>
                    <a:pt x="31073" y="25192"/>
                    <a:pt x="29756" y="27320"/>
                  </a:cubicBezTo>
                  <a:cubicBezTo>
                    <a:pt x="28354" y="29695"/>
                    <a:pt x="27663" y="32422"/>
                    <a:pt x="27765" y="35178"/>
                  </a:cubicBezTo>
                  <a:cubicBezTo>
                    <a:pt x="27692" y="37682"/>
                    <a:pt x="28289" y="40160"/>
                    <a:pt x="29494" y="42355"/>
                  </a:cubicBezTo>
                  <a:cubicBezTo>
                    <a:pt x="30696" y="44384"/>
                    <a:pt x="32344" y="46113"/>
                    <a:pt x="34314" y="47411"/>
                  </a:cubicBezTo>
                  <a:cubicBezTo>
                    <a:pt x="36616" y="48948"/>
                    <a:pt x="39108" y="50181"/>
                    <a:pt x="41727" y="51078"/>
                  </a:cubicBezTo>
                  <a:cubicBezTo>
                    <a:pt x="44634" y="52126"/>
                    <a:pt x="47856" y="53173"/>
                    <a:pt x="51340" y="54221"/>
                  </a:cubicBezTo>
                  <a:cubicBezTo>
                    <a:pt x="55286" y="55513"/>
                    <a:pt x="59399" y="56971"/>
                    <a:pt x="63677" y="58595"/>
                  </a:cubicBezTo>
                  <a:cubicBezTo>
                    <a:pt x="67855" y="60212"/>
                    <a:pt x="71794" y="62389"/>
                    <a:pt x="75386" y="65065"/>
                  </a:cubicBezTo>
                  <a:cubicBezTo>
                    <a:pt x="78966" y="67802"/>
                    <a:pt x="81937" y="71254"/>
                    <a:pt x="84108" y="75202"/>
                  </a:cubicBezTo>
                  <a:cubicBezTo>
                    <a:pt x="86525" y="79891"/>
                    <a:pt x="87698" y="85122"/>
                    <a:pt x="87513" y="90395"/>
                  </a:cubicBezTo>
                  <a:cubicBezTo>
                    <a:pt x="87649" y="96397"/>
                    <a:pt x="86394" y="102350"/>
                    <a:pt x="83846" y="107787"/>
                  </a:cubicBezTo>
                  <a:cubicBezTo>
                    <a:pt x="81533" y="112566"/>
                    <a:pt x="78187" y="116771"/>
                    <a:pt x="74050" y="120098"/>
                  </a:cubicBezTo>
                  <a:cubicBezTo>
                    <a:pt x="69800" y="123464"/>
                    <a:pt x="64933" y="125965"/>
                    <a:pt x="59722" y="127459"/>
                  </a:cubicBezTo>
                  <a:cubicBezTo>
                    <a:pt x="54107" y="129103"/>
                    <a:pt x="48284" y="129923"/>
                    <a:pt x="42434" y="129895"/>
                  </a:cubicBezTo>
                  <a:cubicBezTo>
                    <a:pt x="34367" y="129893"/>
                    <a:pt x="26371" y="128383"/>
                    <a:pt x="18860" y="125442"/>
                  </a:cubicBezTo>
                  <a:cubicBezTo>
                    <a:pt x="11560" y="122754"/>
                    <a:pt x="5068" y="118246"/>
                    <a:pt x="0" y="112345"/>
                  </a:cubicBezTo>
                  <a:lnTo>
                    <a:pt x="15716" y="97676"/>
                  </a:lnTo>
                  <a:cubicBezTo>
                    <a:pt x="18868" y="101962"/>
                    <a:pt x="23048" y="105385"/>
                    <a:pt x="27870" y="107630"/>
                  </a:cubicBezTo>
                  <a:cubicBezTo>
                    <a:pt x="32500" y="109981"/>
                    <a:pt x="37608" y="111236"/>
                    <a:pt x="42801" y="111297"/>
                  </a:cubicBezTo>
                  <a:cubicBezTo>
                    <a:pt x="45448" y="111288"/>
                    <a:pt x="48085" y="110971"/>
                    <a:pt x="50659" y="110354"/>
                  </a:cubicBezTo>
                  <a:cubicBezTo>
                    <a:pt x="53260" y="109739"/>
                    <a:pt x="55722" y="108637"/>
                    <a:pt x="57914" y="107106"/>
                  </a:cubicBezTo>
                  <a:cubicBezTo>
                    <a:pt x="60056" y="105618"/>
                    <a:pt x="61844" y="103678"/>
                    <a:pt x="63153" y="101422"/>
                  </a:cubicBezTo>
                  <a:cubicBezTo>
                    <a:pt x="64585" y="98839"/>
                    <a:pt x="65282" y="95913"/>
                    <a:pt x="65170" y="92962"/>
                  </a:cubicBezTo>
                  <a:cubicBezTo>
                    <a:pt x="65291" y="90085"/>
                    <a:pt x="64503" y="87244"/>
                    <a:pt x="62917" y="84842"/>
                  </a:cubicBezTo>
                  <a:cubicBezTo>
                    <a:pt x="61285" y="82568"/>
                    <a:pt x="59198" y="80659"/>
                    <a:pt x="56788" y="79236"/>
                  </a:cubicBezTo>
                  <a:cubicBezTo>
                    <a:pt x="53922" y="77529"/>
                    <a:pt x="50873" y="76150"/>
                    <a:pt x="47699" y="75124"/>
                  </a:cubicBezTo>
                  <a:lnTo>
                    <a:pt x="36697" y="71457"/>
                  </a:lnTo>
                  <a:cubicBezTo>
                    <a:pt x="32891" y="70279"/>
                    <a:pt x="29156" y="68879"/>
                    <a:pt x="25513" y="67266"/>
                  </a:cubicBezTo>
                  <a:cubicBezTo>
                    <a:pt x="21834" y="65676"/>
                    <a:pt x="18437" y="63499"/>
                    <a:pt x="15454" y="60822"/>
                  </a:cubicBezTo>
                  <a:cubicBezTo>
                    <a:pt x="12422" y="58029"/>
                    <a:pt x="9958" y="54675"/>
                    <a:pt x="8199" y="50947"/>
                  </a:cubicBezTo>
                  <a:cubicBezTo>
                    <a:pt x="6198" y="46341"/>
                    <a:pt x="5241" y="41350"/>
                    <a:pt x="5396" y="36331"/>
                  </a:cubicBezTo>
                  <a:cubicBezTo>
                    <a:pt x="5253" y="30663"/>
                    <a:pt x="6618" y="25058"/>
                    <a:pt x="9351" y="20091"/>
                  </a:cubicBezTo>
                  <a:cubicBezTo>
                    <a:pt x="11899" y="15615"/>
                    <a:pt x="15416" y="11766"/>
                    <a:pt x="19645" y="8827"/>
                  </a:cubicBezTo>
                  <a:cubicBezTo>
                    <a:pt x="24055" y="5775"/>
                    <a:pt x="28967" y="3523"/>
                    <a:pt x="34157" y="2174"/>
                  </a:cubicBezTo>
                  <a:cubicBezTo>
                    <a:pt x="39539" y="734"/>
                    <a:pt x="45087" y="3"/>
                    <a:pt x="50659" y="0"/>
                  </a:cubicBezTo>
                  <a:cubicBezTo>
                    <a:pt x="57182" y="35"/>
                    <a:pt x="63653" y="1160"/>
                    <a:pt x="69806" y="3327"/>
                  </a:cubicBezTo>
                  <a:cubicBezTo>
                    <a:pt x="76065" y="5409"/>
                    <a:pt x="81807" y="8802"/>
                    <a:pt x="86649" y="13280"/>
                  </a:cubicBezTo>
                  <a:close/>
                </a:path>
              </a:pathLst>
            </a:custGeom>
            <a:solidFill>
              <a:srgbClr val="BA5D7A"/>
            </a:solidFill>
            <a:ln w="261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72" name="Graphic 171">
            <a:extLst>
              <a:ext uri="{FF2B5EF4-FFF2-40B4-BE49-F238E27FC236}">
                <a16:creationId xmlns:a16="http://schemas.microsoft.com/office/drawing/2014/main" id="{BD65B3B3-03C5-132B-E895-260717A6DD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36678" y="3754437"/>
            <a:ext cx="390525" cy="390525"/>
          </a:xfrm>
          <a:prstGeom prst="rect">
            <a:avLst/>
          </a:prstGeom>
        </p:spPr>
      </p:pic>
      <p:grpSp>
        <p:nvGrpSpPr>
          <p:cNvPr id="173" name="Graphic 262">
            <a:extLst>
              <a:ext uri="{FF2B5EF4-FFF2-40B4-BE49-F238E27FC236}">
                <a16:creationId xmlns:a16="http://schemas.microsoft.com/office/drawing/2014/main" id="{BA48EB2A-962A-D817-1F1F-9F3F4946E5AC}"/>
              </a:ext>
            </a:extLst>
          </p:cNvPr>
          <p:cNvGrpSpPr/>
          <p:nvPr/>
        </p:nvGrpSpPr>
        <p:grpSpPr>
          <a:xfrm>
            <a:off x="3969591" y="4456112"/>
            <a:ext cx="361950" cy="361950"/>
            <a:chOff x="3906838" y="4070350"/>
            <a:chExt cx="361950" cy="361950"/>
          </a:xfrm>
        </p:grpSpPr>
        <p:sp>
          <p:nvSpPr>
            <p:cNvPr id="174" name="Freeform 173">
              <a:extLst>
                <a:ext uri="{FF2B5EF4-FFF2-40B4-BE49-F238E27FC236}">
                  <a16:creationId xmlns:a16="http://schemas.microsoft.com/office/drawing/2014/main" id="{45DB4158-687F-67D4-1B95-9DDA4AC39EEB}"/>
                </a:ext>
              </a:extLst>
            </p:cNvPr>
            <p:cNvSpPr/>
            <p:nvPr/>
          </p:nvSpPr>
          <p:spPr>
            <a:xfrm>
              <a:off x="4162306" y="4123782"/>
              <a:ext cx="10179" cy="10179"/>
            </a:xfrm>
            <a:custGeom>
              <a:avLst/>
              <a:gdLst>
                <a:gd name="connsiteX0" fmla="*/ 10180 w 10179"/>
                <a:gd name="connsiteY0" fmla="*/ 5067 h 10179"/>
                <a:gd name="connsiteX1" fmla="*/ 5113 w 10179"/>
                <a:gd name="connsiteY1" fmla="*/ 10180 h 10179"/>
                <a:gd name="connsiteX2" fmla="*/ 0 w 10179"/>
                <a:gd name="connsiteY2" fmla="*/ 5113 h 10179"/>
                <a:gd name="connsiteX3" fmla="*/ 5067 w 10179"/>
                <a:gd name="connsiteY3" fmla="*/ 0 h 10179"/>
                <a:gd name="connsiteX4" fmla="*/ 5090 w 10179"/>
                <a:gd name="connsiteY4" fmla="*/ 0 h 10179"/>
                <a:gd name="connsiteX5" fmla="*/ 10180 w 10179"/>
                <a:gd name="connsiteY5" fmla="*/ 5045 h 10179"/>
                <a:gd name="connsiteX6" fmla="*/ 10180 w 10179"/>
                <a:gd name="connsiteY6" fmla="*/ 5067 h 10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79" h="10179">
                  <a:moveTo>
                    <a:pt x="10180" y="5067"/>
                  </a:moveTo>
                  <a:cubicBezTo>
                    <a:pt x="10192" y="7878"/>
                    <a:pt x="7924" y="10167"/>
                    <a:pt x="5113" y="10180"/>
                  </a:cubicBezTo>
                  <a:cubicBezTo>
                    <a:pt x="2301" y="10192"/>
                    <a:pt x="13" y="7924"/>
                    <a:pt x="0" y="5113"/>
                  </a:cubicBezTo>
                  <a:cubicBezTo>
                    <a:pt x="-12" y="2302"/>
                    <a:pt x="2256" y="13"/>
                    <a:pt x="5067" y="0"/>
                  </a:cubicBezTo>
                  <a:cubicBezTo>
                    <a:pt x="5075" y="0"/>
                    <a:pt x="5082" y="0"/>
                    <a:pt x="5090" y="0"/>
                  </a:cubicBezTo>
                  <a:cubicBezTo>
                    <a:pt x="7888" y="-12"/>
                    <a:pt x="10167" y="2246"/>
                    <a:pt x="10180" y="5045"/>
                  </a:cubicBezTo>
                  <a:cubicBezTo>
                    <a:pt x="10180" y="5052"/>
                    <a:pt x="10180" y="5060"/>
                    <a:pt x="10180" y="5067"/>
                  </a:cubicBezTo>
                  <a:close/>
                </a:path>
              </a:pathLst>
            </a:custGeom>
            <a:solidFill>
              <a:srgbClr val="BF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 174">
              <a:extLst>
                <a:ext uri="{FF2B5EF4-FFF2-40B4-BE49-F238E27FC236}">
                  <a16:creationId xmlns:a16="http://schemas.microsoft.com/office/drawing/2014/main" id="{277D135C-6236-9A17-C7BA-D3C7AAEF3191}"/>
                </a:ext>
              </a:extLst>
            </p:cNvPr>
            <p:cNvSpPr/>
            <p:nvPr/>
          </p:nvSpPr>
          <p:spPr>
            <a:xfrm>
              <a:off x="4134572" y="4123782"/>
              <a:ext cx="10179" cy="10179"/>
            </a:xfrm>
            <a:custGeom>
              <a:avLst/>
              <a:gdLst>
                <a:gd name="connsiteX0" fmla="*/ 10180 w 10179"/>
                <a:gd name="connsiteY0" fmla="*/ 5067 h 10179"/>
                <a:gd name="connsiteX1" fmla="*/ 5113 w 10179"/>
                <a:gd name="connsiteY1" fmla="*/ 10180 h 10179"/>
                <a:gd name="connsiteX2" fmla="*/ 0 w 10179"/>
                <a:gd name="connsiteY2" fmla="*/ 5113 h 10179"/>
                <a:gd name="connsiteX3" fmla="*/ 5067 w 10179"/>
                <a:gd name="connsiteY3" fmla="*/ 0 h 10179"/>
                <a:gd name="connsiteX4" fmla="*/ 5090 w 10179"/>
                <a:gd name="connsiteY4" fmla="*/ 0 h 10179"/>
                <a:gd name="connsiteX5" fmla="*/ 10180 w 10179"/>
                <a:gd name="connsiteY5" fmla="*/ 5045 h 10179"/>
                <a:gd name="connsiteX6" fmla="*/ 10180 w 10179"/>
                <a:gd name="connsiteY6" fmla="*/ 5067 h 10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79" h="10179">
                  <a:moveTo>
                    <a:pt x="10180" y="5067"/>
                  </a:moveTo>
                  <a:cubicBezTo>
                    <a:pt x="10192" y="7878"/>
                    <a:pt x="7924" y="10167"/>
                    <a:pt x="5113" y="10180"/>
                  </a:cubicBezTo>
                  <a:cubicBezTo>
                    <a:pt x="2301" y="10192"/>
                    <a:pt x="13" y="7924"/>
                    <a:pt x="0" y="5113"/>
                  </a:cubicBezTo>
                  <a:cubicBezTo>
                    <a:pt x="-12" y="2302"/>
                    <a:pt x="2256" y="13"/>
                    <a:pt x="5067" y="0"/>
                  </a:cubicBezTo>
                  <a:cubicBezTo>
                    <a:pt x="5075" y="0"/>
                    <a:pt x="5082" y="0"/>
                    <a:pt x="5090" y="0"/>
                  </a:cubicBezTo>
                  <a:cubicBezTo>
                    <a:pt x="7888" y="-12"/>
                    <a:pt x="10167" y="2246"/>
                    <a:pt x="10180" y="5045"/>
                  </a:cubicBezTo>
                  <a:cubicBezTo>
                    <a:pt x="10180" y="5052"/>
                    <a:pt x="10180" y="5060"/>
                    <a:pt x="10180" y="5067"/>
                  </a:cubicBezTo>
                  <a:close/>
                </a:path>
              </a:pathLst>
            </a:custGeom>
            <a:solidFill>
              <a:srgbClr val="BF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 175">
              <a:extLst>
                <a:ext uri="{FF2B5EF4-FFF2-40B4-BE49-F238E27FC236}">
                  <a16:creationId xmlns:a16="http://schemas.microsoft.com/office/drawing/2014/main" id="{B96D71B1-1B6D-73CE-3D52-E382975DFDBF}"/>
                </a:ext>
              </a:extLst>
            </p:cNvPr>
            <p:cNvSpPr/>
            <p:nvPr/>
          </p:nvSpPr>
          <p:spPr>
            <a:xfrm>
              <a:off x="4190063" y="4123782"/>
              <a:ext cx="10134" cy="10134"/>
            </a:xfrm>
            <a:custGeom>
              <a:avLst/>
              <a:gdLst>
                <a:gd name="connsiteX0" fmla="*/ 10135 w 10134"/>
                <a:gd name="connsiteY0" fmla="*/ 5067 h 10134"/>
                <a:gd name="connsiteX1" fmla="*/ 5067 w 10134"/>
                <a:gd name="connsiteY1" fmla="*/ 10135 h 10134"/>
                <a:gd name="connsiteX2" fmla="*/ 0 w 10134"/>
                <a:gd name="connsiteY2" fmla="*/ 5067 h 10134"/>
                <a:gd name="connsiteX3" fmla="*/ 5067 w 10134"/>
                <a:gd name="connsiteY3" fmla="*/ 0 h 10134"/>
                <a:gd name="connsiteX4" fmla="*/ 10135 w 10134"/>
                <a:gd name="connsiteY4" fmla="*/ 5067 h 10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34" h="10134">
                  <a:moveTo>
                    <a:pt x="10135" y="5067"/>
                  </a:moveTo>
                  <a:cubicBezTo>
                    <a:pt x="10135" y="7866"/>
                    <a:pt x="7866" y="10135"/>
                    <a:pt x="5067" y="10135"/>
                  </a:cubicBezTo>
                  <a:cubicBezTo>
                    <a:pt x="2269" y="10135"/>
                    <a:pt x="0" y="7866"/>
                    <a:pt x="0" y="5067"/>
                  </a:cubicBezTo>
                  <a:cubicBezTo>
                    <a:pt x="0" y="2269"/>
                    <a:pt x="2269" y="0"/>
                    <a:pt x="5067" y="0"/>
                  </a:cubicBezTo>
                  <a:cubicBezTo>
                    <a:pt x="7866" y="0"/>
                    <a:pt x="10135" y="2269"/>
                    <a:pt x="10135" y="5067"/>
                  </a:cubicBezTo>
                  <a:close/>
                </a:path>
              </a:pathLst>
            </a:custGeom>
            <a:solidFill>
              <a:srgbClr val="BF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 176">
              <a:extLst>
                <a:ext uri="{FF2B5EF4-FFF2-40B4-BE49-F238E27FC236}">
                  <a16:creationId xmlns:a16="http://schemas.microsoft.com/office/drawing/2014/main" id="{CFFF5502-7516-5F81-487B-021FC522ACDA}"/>
                </a:ext>
              </a:extLst>
            </p:cNvPr>
            <p:cNvSpPr/>
            <p:nvPr/>
          </p:nvSpPr>
          <p:spPr>
            <a:xfrm>
              <a:off x="4030669" y="4228069"/>
              <a:ext cx="75287" cy="75195"/>
            </a:xfrm>
            <a:custGeom>
              <a:avLst/>
              <a:gdLst>
                <a:gd name="connsiteX0" fmla="*/ 37644 w 75287"/>
                <a:gd name="connsiteY0" fmla="*/ 0 h 75195"/>
                <a:gd name="connsiteX1" fmla="*/ 0 w 75287"/>
                <a:gd name="connsiteY1" fmla="*/ 37551 h 75195"/>
                <a:gd name="connsiteX2" fmla="*/ 37551 w 75287"/>
                <a:gd name="connsiteY2" fmla="*/ 75195 h 75195"/>
                <a:gd name="connsiteX3" fmla="*/ 54836 w 75287"/>
                <a:gd name="connsiteY3" fmla="*/ 71010 h 75195"/>
                <a:gd name="connsiteX4" fmla="*/ 57042 w 75287"/>
                <a:gd name="connsiteY4" fmla="*/ 64167 h 75195"/>
                <a:gd name="connsiteX5" fmla="*/ 50199 w 75287"/>
                <a:gd name="connsiteY5" fmla="*/ 61961 h 75195"/>
                <a:gd name="connsiteX6" fmla="*/ 13281 w 75287"/>
                <a:gd name="connsiteY6" fmla="*/ 50108 h 75195"/>
                <a:gd name="connsiteX7" fmla="*/ 25135 w 75287"/>
                <a:gd name="connsiteY7" fmla="*/ 13189 h 75195"/>
                <a:gd name="connsiteX8" fmla="*/ 62053 w 75287"/>
                <a:gd name="connsiteY8" fmla="*/ 25043 h 75195"/>
                <a:gd name="connsiteX9" fmla="*/ 62053 w 75287"/>
                <a:gd name="connsiteY9" fmla="*/ 50108 h 75195"/>
                <a:gd name="connsiteX10" fmla="*/ 64247 w 75287"/>
                <a:gd name="connsiteY10" fmla="*/ 56962 h 75195"/>
                <a:gd name="connsiteX11" fmla="*/ 71102 w 75287"/>
                <a:gd name="connsiteY11" fmla="*/ 54768 h 75195"/>
                <a:gd name="connsiteX12" fmla="*/ 54943 w 75287"/>
                <a:gd name="connsiteY12" fmla="*/ 4179 h 75195"/>
                <a:gd name="connsiteX13" fmla="*/ 37644 w 75287"/>
                <a:gd name="connsiteY13" fmla="*/ 0 h 7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5287" h="75195">
                  <a:moveTo>
                    <a:pt x="37644" y="0"/>
                  </a:moveTo>
                  <a:cubicBezTo>
                    <a:pt x="16879" y="-25"/>
                    <a:pt x="26" y="16787"/>
                    <a:pt x="0" y="37551"/>
                  </a:cubicBezTo>
                  <a:cubicBezTo>
                    <a:pt x="-26" y="58316"/>
                    <a:pt x="16787" y="75170"/>
                    <a:pt x="37551" y="75195"/>
                  </a:cubicBezTo>
                  <a:cubicBezTo>
                    <a:pt x="43565" y="75203"/>
                    <a:pt x="49492" y="73767"/>
                    <a:pt x="54836" y="71010"/>
                  </a:cubicBezTo>
                  <a:cubicBezTo>
                    <a:pt x="57335" y="69730"/>
                    <a:pt x="58323" y="66666"/>
                    <a:pt x="57042" y="64167"/>
                  </a:cubicBezTo>
                  <a:cubicBezTo>
                    <a:pt x="55761" y="61668"/>
                    <a:pt x="52698" y="60681"/>
                    <a:pt x="50199" y="61961"/>
                  </a:cubicBezTo>
                  <a:cubicBezTo>
                    <a:pt x="36731" y="68883"/>
                    <a:pt x="20202" y="63576"/>
                    <a:pt x="13281" y="50108"/>
                  </a:cubicBezTo>
                  <a:cubicBezTo>
                    <a:pt x="6360" y="36640"/>
                    <a:pt x="11667" y="20111"/>
                    <a:pt x="25135" y="13189"/>
                  </a:cubicBezTo>
                  <a:cubicBezTo>
                    <a:pt x="38603" y="6268"/>
                    <a:pt x="55131" y="11575"/>
                    <a:pt x="62053" y="25043"/>
                  </a:cubicBezTo>
                  <a:cubicBezTo>
                    <a:pt x="66095" y="32909"/>
                    <a:pt x="66095" y="42242"/>
                    <a:pt x="62053" y="50108"/>
                  </a:cubicBezTo>
                  <a:cubicBezTo>
                    <a:pt x="60766" y="52606"/>
                    <a:pt x="61748" y="55675"/>
                    <a:pt x="64247" y="56962"/>
                  </a:cubicBezTo>
                  <a:cubicBezTo>
                    <a:pt x="66746" y="58249"/>
                    <a:pt x="69815" y="57266"/>
                    <a:pt x="71102" y="54768"/>
                  </a:cubicBezTo>
                  <a:cubicBezTo>
                    <a:pt x="80609" y="36336"/>
                    <a:pt x="73375" y="13686"/>
                    <a:pt x="54943" y="4179"/>
                  </a:cubicBezTo>
                  <a:cubicBezTo>
                    <a:pt x="49595" y="1420"/>
                    <a:pt x="43662" y="-13"/>
                    <a:pt x="37644" y="0"/>
                  </a:cubicBezTo>
                  <a:close/>
                </a:path>
              </a:pathLst>
            </a:custGeom>
            <a:solidFill>
              <a:srgbClr val="BF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 177">
              <a:extLst>
                <a:ext uri="{FF2B5EF4-FFF2-40B4-BE49-F238E27FC236}">
                  <a16:creationId xmlns:a16="http://schemas.microsoft.com/office/drawing/2014/main" id="{7C0F246B-A74F-95B6-A654-5755C95B4F75}"/>
                </a:ext>
              </a:extLst>
            </p:cNvPr>
            <p:cNvSpPr/>
            <p:nvPr/>
          </p:nvSpPr>
          <p:spPr>
            <a:xfrm>
              <a:off x="3979974" y="4177328"/>
              <a:ext cx="176722" cy="176857"/>
            </a:xfrm>
            <a:custGeom>
              <a:avLst/>
              <a:gdLst>
                <a:gd name="connsiteX0" fmla="*/ 171587 w 176722"/>
                <a:gd name="connsiteY0" fmla="*/ 69721 h 176857"/>
                <a:gd name="connsiteX1" fmla="*/ 150255 w 176722"/>
                <a:gd name="connsiteY1" fmla="*/ 69721 h 176857"/>
                <a:gd name="connsiteX2" fmla="*/ 145255 w 176722"/>
                <a:gd name="connsiteY2" fmla="*/ 57708 h 176857"/>
                <a:gd name="connsiteX3" fmla="*/ 160366 w 176722"/>
                <a:gd name="connsiteY3" fmla="*/ 42620 h 176857"/>
                <a:gd name="connsiteX4" fmla="*/ 161837 w 176722"/>
                <a:gd name="connsiteY4" fmla="*/ 39023 h 176857"/>
                <a:gd name="connsiteX5" fmla="*/ 160366 w 176722"/>
                <a:gd name="connsiteY5" fmla="*/ 35426 h 176857"/>
                <a:gd name="connsiteX6" fmla="*/ 141228 w 176722"/>
                <a:gd name="connsiteY6" fmla="*/ 16310 h 176857"/>
                <a:gd name="connsiteX7" fmla="*/ 134094 w 176722"/>
                <a:gd name="connsiteY7" fmla="*/ 16273 h 176857"/>
                <a:gd name="connsiteX8" fmla="*/ 134057 w 176722"/>
                <a:gd name="connsiteY8" fmla="*/ 16310 h 176857"/>
                <a:gd name="connsiteX9" fmla="*/ 118946 w 176722"/>
                <a:gd name="connsiteY9" fmla="*/ 31399 h 176857"/>
                <a:gd name="connsiteX10" fmla="*/ 106934 w 176722"/>
                <a:gd name="connsiteY10" fmla="*/ 26490 h 176857"/>
                <a:gd name="connsiteX11" fmla="*/ 106934 w 176722"/>
                <a:gd name="connsiteY11" fmla="*/ 5067 h 176857"/>
                <a:gd name="connsiteX12" fmla="*/ 101866 w 176722"/>
                <a:gd name="connsiteY12" fmla="*/ 0 h 176857"/>
                <a:gd name="connsiteX13" fmla="*/ 74811 w 176722"/>
                <a:gd name="connsiteY13" fmla="*/ 0 h 176857"/>
                <a:gd name="connsiteX14" fmla="*/ 69743 w 176722"/>
                <a:gd name="connsiteY14" fmla="*/ 5067 h 176857"/>
                <a:gd name="connsiteX15" fmla="*/ 69743 w 176722"/>
                <a:gd name="connsiteY15" fmla="*/ 26490 h 176857"/>
                <a:gd name="connsiteX16" fmla="*/ 57708 w 176722"/>
                <a:gd name="connsiteY16" fmla="*/ 31490 h 176857"/>
                <a:gd name="connsiteX17" fmla="*/ 42620 w 176722"/>
                <a:gd name="connsiteY17" fmla="*/ 16310 h 176857"/>
                <a:gd name="connsiteX18" fmla="*/ 35485 w 176722"/>
                <a:gd name="connsiteY18" fmla="*/ 16273 h 176857"/>
                <a:gd name="connsiteX19" fmla="*/ 35448 w 176722"/>
                <a:gd name="connsiteY19" fmla="*/ 16310 h 176857"/>
                <a:gd name="connsiteX20" fmla="*/ 16310 w 176722"/>
                <a:gd name="connsiteY20" fmla="*/ 35539 h 176857"/>
                <a:gd name="connsiteX21" fmla="*/ 14840 w 176722"/>
                <a:gd name="connsiteY21" fmla="*/ 39136 h 176857"/>
                <a:gd name="connsiteX22" fmla="*/ 16310 w 176722"/>
                <a:gd name="connsiteY22" fmla="*/ 42733 h 176857"/>
                <a:gd name="connsiteX23" fmla="*/ 31422 w 176722"/>
                <a:gd name="connsiteY23" fmla="*/ 57822 h 176857"/>
                <a:gd name="connsiteX24" fmla="*/ 26422 w 176722"/>
                <a:gd name="connsiteY24" fmla="*/ 69834 h 176857"/>
                <a:gd name="connsiteX25" fmla="*/ 5090 w 176722"/>
                <a:gd name="connsiteY25" fmla="*/ 69834 h 176857"/>
                <a:gd name="connsiteX26" fmla="*/ 0 w 176722"/>
                <a:gd name="connsiteY26" fmla="*/ 74901 h 176857"/>
                <a:gd name="connsiteX27" fmla="*/ 0 w 176722"/>
                <a:gd name="connsiteY27" fmla="*/ 102047 h 176857"/>
                <a:gd name="connsiteX28" fmla="*/ 5090 w 176722"/>
                <a:gd name="connsiteY28" fmla="*/ 107137 h 176857"/>
                <a:gd name="connsiteX29" fmla="*/ 26400 w 176722"/>
                <a:gd name="connsiteY29" fmla="*/ 107137 h 176857"/>
                <a:gd name="connsiteX30" fmla="*/ 31399 w 176722"/>
                <a:gd name="connsiteY30" fmla="*/ 119149 h 176857"/>
                <a:gd name="connsiteX31" fmla="*/ 16288 w 176722"/>
                <a:gd name="connsiteY31" fmla="*/ 134238 h 176857"/>
                <a:gd name="connsiteX32" fmla="*/ 16288 w 176722"/>
                <a:gd name="connsiteY32" fmla="*/ 141409 h 176857"/>
                <a:gd name="connsiteX33" fmla="*/ 35426 w 176722"/>
                <a:gd name="connsiteY33" fmla="*/ 160547 h 176857"/>
                <a:gd name="connsiteX34" fmla="*/ 42560 w 176722"/>
                <a:gd name="connsiteY34" fmla="*/ 160584 h 176857"/>
                <a:gd name="connsiteX35" fmla="*/ 42597 w 176722"/>
                <a:gd name="connsiteY35" fmla="*/ 160547 h 176857"/>
                <a:gd name="connsiteX36" fmla="*/ 57686 w 176722"/>
                <a:gd name="connsiteY36" fmla="*/ 145459 h 176857"/>
                <a:gd name="connsiteX37" fmla="*/ 69721 w 176722"/>
                <a:gd name="connsiteY37" fmla="*/ 150458 h 176857"/>
                <a:gd name="connsiteX38" fmla="*/ 69721 w 176722"/>
                <a:gd name="connsiteY38" fmla="*/ 171791 h 176857"/>
                <a:gd name="connsiteX39" fmla="*/ 74788 w 176722"/>
                <a:gd name="connsiteY39" fmla="*/ 176858 h 176857"/>
                <a:gd name="connsiteX40" fmla="*/ 101934 w 176722"/>
                <a:gd name="connsiteY40" fmla="*/ 176858 h 176857"/>
                <a:gd name="connsiteX41" fmla="*/ 107001 w 176722"/>
                <a:gd name="connsiteY41" fmla="*/ 171791 h 176857"/>
                <a:gd name="connsiteX42" fmla="*/ 107001 w 176722"/>
                <a:gd name="connsiteY42" fmla="*/ 150458 h 176857"/>
                <a:gd name="connsiteX43" fmla="*/ 119014 w 176722"/>
                <a:gd name="connsiteY43" fmla="*/ 145459 h 176857"/>
                <a:gd name="connsiteX44" fmla="*/ 134125 w 176722"/>
                <a:gd name="connsiteY44" fmla="*/ 160547 h 176857"/>
                <a:gd name="connsiteX45" fmla="*/ 141259 w 176722"/>
                <a:gd name="connsiteY45" fmla="*/ 160584 h 176857"/>
                <a:gd name="connsiteX46" fmla="*/ 141296 w 176722"/>
                <a:gd name="connsiteY46" fmla="*/ 160547 h 176857"/>
                <a:gd name="connsiteX47" fmla="*/ 160434 w 176722"/>
                <a:gd name="connsiteY47" fmla="*/ 141409 h 176857"/>
                <a:gd name="connsiteX48" fmla="*/ 160434 w 176722"/>
                <a:gd name="connsiteY48" fmla="*/ 134238 h 176857"/>
                <a:gd name="connsiteX49" fmla="*/ 145323 w 176722"/>
                <a:gd name="connsiteY49" fmla="*/ 119149 h 176857"/>
                <a:gd name="connsiteX50" fmla="*/ 150322 w 176722"/>
                <a:gd name="connsiteY50" fmla="*/ 107137 h 176857"/>
                <a:gd name="connsiteX51" fmla="*/ 171655 w 176722"/>
                <a:gd name="connsiteY51" fmla="*/ 107137 h 176857"/>
                <a:gd name="connsiteX52" fmla="*/ 176722 w 176722"/>
                <a:gd name="connsiteY52" fmla="*/ 102070 h 176857"/>
                <a:gd name="connsiteX53" fmla="*/ 176722 w 176722"/>
                <a:gd name="connsiteY53" fmla="*/ 102047 h 176857"/>
                <a:gd name="connsiteX54" fmla="*/ 176722 w 176722"/>
                <a:gd name="connsiteY54" fmla="*/ 74901 h 176857"/>
                <a:gd name="connsiteX55" fmla="*/ 171655 w 176722"/>
                <a:gd name="connsiteY55" fmla="*/ 69834 h 176857"/>
                <a:gd name="connsiteX56" fmla="*/ 166520 w 176722"/>
                <a:gd name="connsiteY56" fmla="*/ 96867 h 176857"/>
                <a:gd name="connsiteX57" fmla="*/ 146296 w 176722"/>
                <a:gd name="connsiteY57" fmla="*/ 96867 h 176857"/>
                <a:gd name="connsiteX58" fmla="*/ 141364 w 176722"/>
                <a:gd name="connsiteY58" fmla="*/ 100803 h 176857"/>
                <a:gd name="connsiteX59" fmla="*/ 134578 w 176722"/>
                <a:gd name="connsiteY59" fmla="*/ 117181 h 176857"/>
                <a:gd name="connsiteX60" fmla="*/ 135301 w 176722"/>
                <a:gd name="connsiteY60" fmla="*/ 123448 h 176857"/>
                <a:gd name="connsiteX61" fmla="*/ 149576 w 176722"/>
                <a:gd name="connsiteY61" fmla="*/ 137722 h 176857"/>
                <a:gd name="connsiteX62" fmla="*/ 137632 w 176722"/>
                <a:gd name="connsiteY62" fmla="*/ 149666 h 176857"/>
                <a:gd name="connsiteX63" fmla="*/ 123357 w 176722"/>
                <a:gd name="connsiteY63" fmla="*/ 135415 h 176857"/>
                <a:gd name="connsiteX64" fmla="*/ 117068 w 176722"/>
                <a:gd name="connsiteY64" fmla="*/ 134691 h 176857"/>
                <a:gd name="connsiteX65" fmla="*/ 100690 w 176722"/>
                <a:gd name="connsiteY65" fmla="*/ 141477 h 176857"/>
                <a:gd name="connsiteX66" fmla="*/ 96776 w 176722"/>
                <a:gd name="connsiteY66" fmla="*/ 146409 h 176857"/>
                <a:gd name="connsiteX67" fmla="*/ 96776 w 176722"/>
                <a:gd name="connsiteY67" fmla="*/ 166565 h 176857"/>
                <a:gd name="connsiteX68" fmla="*/ 79878 w 176722"/>
                <a:gd name="connsiteY68" fmla="*/ 166565 h 176857"/>
                <a:gd name="connsiteX69" fmla="*/ 79878 w 176722"/>
                <a:gd name="connsiteY69" fmla="*/ 146386 h 176857"/>
                <a:gd name="connsiteX70" fmla="*/ 75964 w 176722"/>
                <a:gd name="connsiteY70" fmla="*/ 141455 h 176857"/>
                <a:gd name="connsiteX71" fmla="*/ 59586 w 176722"/>
                <a:gd name="connsiteY71" fmla="*/ 134668 h 176857"/>
                <a:gd name="connsiteX72" fmla="*/ 53297 w 176722"/>
                <a:gd name="connsiteY72" fmla="*/ 135392 h 176857"/>
                <a:gd name="connsiteX73" fmla="*/ 39023 w 176722"/>
                <a:gd name="connsiteY73" fmla="*/ 149644 h 176857"/>
                <a:gd name="connsiteX74" fmla="*/ 27078 w 176722"/>
                <a:gd name="connsiteY74" fmla="*/ 137699 h 176857"/>
                <a:gd name="connsiteX75" fmla="*/ 41353 w 176722"/>
                <a:gd name="connsiteY75" fmla="*/ 123425 h 176857"/>
                <a:gd name="connsiteX76" fmla="*/ 42054 w 176722"/>
                <a:gd name="connsiteY76" fmla="*/ 116978 h 176857"/>
                <a:gd name="connsiteX77" fmla="*/ 35268 w 176722"/>
                <a:gd name="connsiteY77" fmla="*/ 100599 h 176857"/>
                <a:gd name="connsiteX78" fmla="*/ 30336 w 176722"/>
                <a:gd name="connsiteY78" fmla="*/ 96663 h 176857"/>
                <a:gd name="connsiteX79" fmla="*/ 10157 w 176722"/>
                <a:gd name="connsiteY79" fmla="*/ 96663 h 176857"/>
                <a:gd name="connsiteX80" fmla="*/ 10157 w 176722"/>
                <a:gd name="connsiteY80" fmla="*/ 79878 h 176857"/>
                <a:gd name="connsiteX81" fmla="*/ 30313 w 176722"/>
                <a:gd name="connsiteY81" fmla="*/ 79878 h 176857"/>
                <a:gd name="connsiteX82" fmla="*/ 35245 w 176722"/>
                <a:gd name="connsiteY82" fmla="*/ 75942 h 176857"/>
                <a:gd name="connsiteX83" fmla="*/ 42031 w 176722"/>
                <a:gd name="connsiteY83" fmla="*/ 59563 h 176857"/>
                <a:gd name="connsiteX84" fmla="*/ 41330 w 176722"/>
                <a:gd name="connsiteY84" fmla="*/ 53297 h 176857"/>
                <a:gd name="connsiteX85" fmla="*/ 27078 w 176722"/>
                <a:gd name="connsiteY85" fmla="*/ 39023 h 176857"/>
                <a:gd name="connsiteX86" fmla="*/ 39023 w 176722"/>
                <a:gd name="connsiteY86" fmla="*/ 27056 h 176857"/>
                <a:gd name="connsiteX87" fmla="*/ 53297 w 176722"/>
                <a:gd name="connsiteY87" fmla="*/ 41330 h 176857"/>
                <a:gd name="connsiteX88" fmla="*/ 59586 w 176722"/>
                <a:gd name="connsiteY88" fmla="*/ 42054 h 176857"/>
                <a:gd name="connsiteX89" fmla="*/ 75964 w 176722"/>
                <a:gd name="connsiteY89" fmla="*/ 35268 h 176857"/>
                <a:gd name="connsiteX90" fmla="*/ 79878 w 176722"/>
                <a:gd name="connsiteY90" fmla="*/ 30336 h 176857"/>
                <a:gd name="connsiteX91" fmla="*/ 79878 w 176722"/>
                <a:gd name="connsiteY91" fmla="*/ 10135 h 176857"/>
                <a:gd name="connsiteX92" fmla="*/ 96799 w 176722"/>
                <a:gd name="connsiteY92" fmla="*/ 10135 h 176857"/>
                <a:gd name="connsiteX93" fmla="*/ 96799 w 176722"/>
                <a:gd name="connsiteY93" fmla="*/ 30313 h 176857"/>
                <a:gd name="connsiteX94" fmla="*/ 100713 w 176722"/>
                <a:gd name="connsiteY94" fmla="*/ 35245 h 176857"/>
                <a:gd name="connsiteX95" fmla="*/ 117091 w 176722"/>
                <a:gd name="connsiteY95" fmla="*/ 42031 h 176857"/>
                <a:gd name="connsiteX96" fmla="*/ 123380 w 176722"/>
                <a:gd name="connsiteY96" fmla="*/ 41308 h 176857"/>
                <a:gd name="connsiteX97" fmla="*/ 137654 w 176722"/>
                <a:gd name="connsiteY97" fmla="*/ 27033 h 176857"/>
                <a:gd name="connsiteX98" fmla="*/ 149598 w 176722"/>
                <a:gd name="connsiteY98" fmla="*/ 39000 h 176857"/>
                <a:gd name="connsiteX99" fmla="*/ 135324 w 176722"/>
                <a:gd name="connsiteY99" fmla="*/ 53275 h 176857"/>
                <a:gd name="connsiteX100" fmla="*/ 134600 w 176722"/>
                <a:gd name="connsiteY100" fmla="*/ 59541 h 176857"/>
                <a:gd name="connsiteX101" fmla="*/ 141387 w 176722"/>
                <a:gd name="connsiteY101" fmla="*/ 75919 h 176857"/>
                <a:gd name="connsiteX102" fmla="*/ 146296 w 176722"/>
                <a:gd name="connsiteY102" fmla="*/ 79878 h 176857"/>
                <a:gd name="connsiteX103" fmla="*/ 166452 w 176722"/>
                <a:gd name="connsiteY103" fmla="*/ 79878 h 176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76722" h="176857">
                  <a:moveTo>
                    <a:pt x="171587" y="69721"/>
                  </a:moveTo>
                  <a:lnTo>
                    <a:pt x="150255" y="69721"/>
                  </a:lnTo>
                  <a:cubicBezTo>
                    <a:pt x="149005" y="65556"/>
                    <a:pt x="147329" y="61530"/>
                    <a:pt x="145255" y="57708"/>
                  </a:cubicBezTo>
                  <a:lnTo>
                    <a:pt x="160366" y="42620"/>
                  </a:lnTo>
                  <a:cubicBezTo>
                    <a:pt x="161309" y="41660"/>
                    <a:pt x="161837" y="40368"/>
                    <a:pt x="161837" y="39023"/>
                  </a:cubicBezTo>
                  <a:cubicBezTo>
                    <a:pt x="161844" y="37676"/>
                    <a:pt x="161315" y="36382"/>
                    <a:pt x="160366" y="35426"/>
                  </a:cubicBezTo>
                  <a:lnTo>
                    <a:pt x="141228" y="16310"/>
                  </a:lnTo>
                  <a:cubicBezTo>
                    <a:pt x="139269" y="14330"/>
                    <a:pt x="136074" y="14314"/>
                    <a:pt x="134094" y="16273"/>
                  </a:cubicBezTo>
                  <a:cubicBezTo>
                    <a:pt x="134082" y="16286"/>
                    <a:pt x="134069" y="16298"/>
                    <a:pt x="134057" y="16310"/>
                  </a:cubicBezTo>
                  <a:lnTo>
                    <a:pt x="118946" y="31399"/>
                  </a:lnTo>
                  <a:cubicBezTo>
                    <a:pt x="115118" y="29361"/>
                    <a:pt x="111093" y="27716"/>
                    <a:pt x="106934" y="26490"/>
                  </a:cubicBezTo>
                  <a:lnTo>
                    <a:pt x="106934" y="5067"/>
                  </a:lnTo>
                  <a:cubicBezTo>
                    <a:pt x="106934" y="2269"/>
                    <a:pt x="104665" y="0"/>
                    <a:pt x="101866" y="0"/>
                  </a:cubicBezTo>
                  <a:lnTo>
                    <a:pt x="74811" y="0"/>
                  </a:lnTo>
                  <a:cubicBezTo>
                    <a:pt x="72012" y="0"/>
                    <a:pt x="69743" y="2269"/>
                    <a:pt x="69743" y="5067"/>
                  </a:cubicBezTo>
                  <a:lnTo>
                    <a:pt x="69743" y="26490"/>
                  </a:lnTo>
                  <a:cubicBezTo>
                    <a:pt x="65574" y="27749"/>
                    <a:pt x="61542" y="29424"/>
                    <a:pt x="57708" y="31490"/>
                  </a:cubicBezTo>
                  <a:lnTo>
                    <a:pt x="42620" y="16310"/>
                  </a:lnTo>
                  <a:cubicBezTo>
                    <a:pt x="40660" y="14330"/>
                    <a:pt x="37466" y="14314"/>
                    <a:pt x="35485" y="16273"/>
                  </a:cubicBezTo>
                  <a:cubicBezTo>
                    <a:pt x="35473" y="16286"/>
                    <a:pt x="35461" y="16298"/>
                    <a:pt x="35448" y="16310"/>
                  </a:cubicBezTo>
                  <a:lnTo>
                    <a:pt x="16310" y="35539"/>
                  </a:lnTo>
                  <a:cubicBezTo>
                    <a:pt x="15362" y="36495"/>
                    <a:pt x="14833" y="37789"/>
                    <a:pt x="14840" y="39136"/>
                  </a:cubicBezTo>
                  <a:cubicBezTo>
                    <a:pt x="14840" y="40481"/>
                    <a:pt x="15368" y="41773"/>
                    <a:pt x="16310" y="42733"/>
                  </a:cubicBezTo>
                  <a:lnTo>
                    <a:pt x="31422" y="57822"/>
                  </a:lnTo>
                  <a:cubicBezTo>
                    <a:pt x="29347" y="61643"/>
                    <a:pt x="27672" y="65669"/>
                    <a:pt x="26422" y="69834"/>
                  </a:cubicBezTo>
                  <a:lnTo>
                    <a:pt x="5090" y="69834"/>
                  </a:lnTo>
                  <a:cubicBezTo>
                    <a:pt x="2288" y="69834"/>
                    <a:pt x="12" y="72099"/>
                    <a:pt x="0" y="74901"/>
                  </a:cubicBezTo>
                  <a:lnTo>
                    <a:pt x="0" y="102047"/>
                  </a:lnTo>
                  <a:cubicBezTo>
                    <a:pt x="0" y="104858"/>
                    <a:pt x="2279" y="107137"/>
                    <a:pt x="5090" y="107137"/>
                  </a:cubicBezTo>
                  <a:lnTo>
                    <a:pt x="26400" y="107137"/>
                  </a:lnTo>
                  <a:cubicBezTo>
                    <a:pt x="27649" y="111302"/>
                    <a:pt x="29325" y="115328"/>
                    <a:pt x="31399" y="119149"/>
                  </a:cubicBezTo>
                  <a:lnTo>
                    <a:pt x="16288" y="134238"/>
                  </a:lnTo>
                  <a:cubicBezTo>
                    <a:pt x="14330" y="136228"/>
                    <a:pt x="14330" y="139420"/>
                    <a:pt x="16288" y="141409"/>
                  </a:cubicBezTo>
                  <a:lnTo>
                    <a:pt x="35426" y="160547"/>
                  </a:lnTo>
                  <a:cubicBezTo>
                    <a:pt x="37386" y="162528"/>
                    <a:pt x="40580" y="162544"/>
                    <a:pt x="42560" y="160584"/>
                  </a:cubicBezTo>
                  <a:cubicBezTo>
                    <a:pt x="42572" y="160572"/>
                    <a:pt x="42585" y="160560"/>
                    <a:pt x="42597" y="160547"/>
                  </a:cubicBezTo>
                  <a:lnTo>
                    <a:pt x="57686" y="145459"/>
                  </a:lnTo>
                  <a:cubicBezTo>
                    <a:pt x="61524" y="147515"/>
                    <a:pt x="65555" y="149189"/>
                    <a:pt x="69721" y="150458"/>
                  </a:cubicBezTo>
                  <a:lnTo>
                    <a:pt x="69721" y="171791"/>
                  </a:lnTo>
                  <a:cubicBezTo>
                    <a:pt x="69721" y="174589"/>
                    <a:pt x="71989" y="176858"/>
                    <a:pt x="74788" y="176858"/>
                  </a:cubicBezTo>
                  <a:lnTo>
                    <a:pt x="101934" y="176858"/>
                  </a:lnTo>
                  <a:cubicBezTo>
                    <a:pt x="104733" y="176858"/>
                    <a:pt x="107001" y="174589"/>
                    <a:pt x="107001" y="171791"/>
                  </a:cubicBezTo>
                  <a:lnTo>
                    <a:pt x="107001" y="150458"/>
                  </a:lnTo>
                  <a:cubicBezTo>
                    <a:pt x="111161" y="149194"/>
                    <a:pt x="115185" y="147519"/>
                    <a:pt x="119014" y="145459"/>
                  </a:cubicBezTo>
                  <a:lnTo>
                    <a:pt x="134125" y="160547"/>
                  </a:lnTo>
                  <a:cubicBezTo>
                    <a:pt x="136085" y="162528"/>
                    <a:pt x="139279" y="162544"/>
                    <a:pt x="141259" y="160584"/>
                  </a:cubicBezTo>
                  <a:cubicBezTo>
                    <a:pt x="141272" y="160572"/>
                    <a:pt x="141284" y="160560"/>
                    <a:pt x="141296" y="160547"/>
                  </a:cubicBezTo>
                  <a:lnTo>
                    <a:pt x="160434" y="141409"/>
                  </a:lnTo>
                  <a:cubicBezTo>
                    <a:pt x="162392" y="139420"/>
                    <a:pt x="162392" y="136228"/>
                    <a:pt x="160434" y="134238"/>
                  </a:cubicBezTo>
                  <a:lnTo>
                    <a:pt x="145323" y="119149"/>
                  </a:lnTo>
                  <a:cubicBezTo>
                    <a:pt x="147397" y="115328"/>
                    <a:pt x="149073" y="111302"/>
                    <a:pt x="150322" y="107137"/>
                  </a:cubicBezTo>
                  <a:lnTo>
                    <a:pt x="171655" y="107137"/>
                  </a:lnTo>
                  <a:cubicBezTo>
                    <a:pt x="174453" y="107137"/>
                    <a:pt x="176722" y="104869"/>
                    <a:pt x="176722" y="102070"/>
                  </a:cubicBezTo>
                  <a:cubicBezTo>
                    <a:pt x="176722" y="102062"/>
                    <a:pt x="176722" y="102055"/>
                    <a:pt x="176722" y="102047"/>
                  </a:cubicBezTo>
                  <a:lnTo>
                    <a:pt x="176722" y="74901"/>
                  </a:lnTo>
                  <a:cubicBezTo>
                    <a:pt x="176722" y="72102"/>
                    <a:pt x="174453" y="69834"/>
                    <a:pt x="171655" y="69834"/>
                  </a:cubicBezTo>
                  <a:close/>
                  <a:moveTo>
                    <a:pt x="166520" y="96867"/>
                  </a:moveTo>
                  <a:lnTo>
                    <a:pt x="146296" y="96867"/>
                  </a:lnTo>
                  <a:cubicBezTo>
                    <a:pt x="143936" y="96871"/>
                    <a:pt x="141891" y="98503"/>
                    <a:pt x="141364" y="100803"/>
                  </a:cubicBezTo>
                  <a:cubicBezTo>
                    <a:pt x="140022" y="106600"/>
                    <a:pt x="137728" y="112134"/>
                    <a:pt x="134578" y="117181"/>
                  </a:cubicBezTo>
                  <a:cubicBezTo>
                    <a:pt x="133331" y="119184"/>
                    <a:pt x="133631" y="121782"/>
                    <a:pt x="135301" y="123448"/>
                  </a:cubicBezTo>
                  <a:lnTo>
                    <a:pt x="149576" y="137722"/>
                  </a:lnTo>
                  <a:lnTo>
                    <a:pt x="137632" y="149666"/>
                  </a:lnTo>
                  <a:lnTo>
                    <a:pt x="123357" y="135415"/>
                  </a:lnTo>
                  <a:cubicBezTo>
                    <a:pt x="121684" y="133740"/>
                    <a:pt x="119078" y="133440"/>
                    <a:pt x="117068" y="134691"/>
                  </a:cubicBezTo>
                  <a:cubicBezTo>
                    <a:pt x="112018" y="137835"/>
                    <a:pt x="106484" y="140128"/>
                    <a:pt x="100690" y="141477"/>
                  </a:cubicBezTo>
                  <a:cubicBezTo>
                    <a:pt x="98403" y="142020"/>
                    <a:pt x="96786" y="144059"/>
                    <a:pt x="96776" y="146409"/>
                  </a:cubicBezTo>
                  <a:lnTo>
                    <a:pt x="96776" y="166565"/>
                  </a:lnTo>
                  <a:lnTo>
                    <a:pt x="79878" y="166565"/>
                  </a:lnTo>
                  <a:lnTo>
                    <a:pt x="79878" y="146386"/>
                  </a:lnTo>
                  <a:cubicBezTo>
                    <a:pt x="79868" y="144036"/>
                    <a:pt x="78251" y="141998"/>
                    <a:pt x="75964" y="141455"/>
                  </a:cubicBezTo>
                  <a:cubicBezTo>
                    <a:pt x="70170" y="140105"/>
                    <a:pt x="64637" y="137812"/>
                    <a:pt x="59586" y="134668"/>
                  </a:cubicBezTo>
                  <a:cubicBezTo>
                    <a:pt x="57576" y="133418"/>
                    <a:pt x="54970" y="133718"/>
                    <a:pt x="53297" y="135392"/>
                  </a:cubicBezTo>
                  <a:lnTo>
                    <a:pt x="39023" y="149644"/>
                  </a:lnTo>
                  <a:lnTo>
                    <a:pt x="27078" y="137699"/>
                  </a:lnTo>
                  <a:lnTo>
                    <a:pt x="41353" y="123425"/>
                  </a:lnTo>
                  <a:cubicBezTo>
                    <a:pt x="43120" y="121731"/>
                    <a:pt x="43416" y="119012"/>
                    <a:pt x="42054" y="116978"/>
                  </a:cubicBezTo>
                  <a:cubicBezTo>
                    <a:pt x="38910" y="111927"/>
                    <a:pt x="36617" y="106394"/>
                    <a:pt x="35268" y="100599"/>
                  </a:cubicBezTo>
                  <a:cubicBezTo>
                    <a:pt x="34741" y="98299"/>
                    <a:pt x="32696" y="96667"/>
                    <a:pt x="30336" y="96663"/>
                  </a:cubicBezTo>
                  <a:lnTo>
                    <a:pt x="10157" y="96663"/>
                  </a:lnTo>
                  <a:lnTo>
                    <a:pt x="10157" y="79878"/>
                  </a:lnTo>
                  <a:lnTo>
                    <a:pt x="30313" y="79878"/>
                  </a:lnTo>
                  <a:cubicBezTo>
                    <a:pt x="32673" y="79874"/>
                    <a:pt x="34718" y="78242"/>
                    <a:pt x="35245" y="75942"/>
                  </a:cubicBezTo>
                  <a:cubicBezTo>
                    <a:pt x="36594" y="70147"/>
                    <a:pt x="38887" y="64614"/>
                    <a:pt x="42031" y="59563"/>
                  </a:cubicBezTo>
                  <a:cubicBezTo>
                    <a:pt x="43293" y="57568"/>
                    <a:pt x="43001" y="54965"/>
                    <a:pt x="41330" y="53297"/>
                  </a:cubicBezTo>
                  <a:lnTo>
                    <a:pt x="27078" y="39023"/>
                  </a:lnTo>
                  <a:lnTo>
                    <a:pt x="39023" y="27056"/>
                  </a:lnTo>
                  <a:lnTo>
                    <a:pt x="53297" y="41330"/>
                  </a:lnTo>
                  <a:cubicBezTo>
                    <a:pt x="54970" y="43004"/>
                    <a:pt x="57576" y="43304"/>
                    <a:pt x="59586" y="42054"/>
                  </a:cubicBezTo>
                  <a:cubicBezTo>
                    <a:pt x="64637" y="38910"/>
                    <a:pt x="70170" y="36617"/>
                    <a:pt x="75964" y="35268"/>
                  </a:cubicBezTo>
                  <a:cubicBezTo>
                    <a:pt x="78251" y="34724"/>
                    <a:pt x="79868" y="32686"/>
                    <a:pt x="79878" y="30336"/>
                  </a:cubicBezTo>
                  <a:lnTo>
                    <a:pt x="79878" y="10135"/>
                  </a:lnTo>
                  <a:lnTo>
                    <a:pt x="96799" y="10135"/>
                  </a:lnTo>
                  <a:lnTo>
                    <a:pt x="96799" y="30313"/>
                  </a:lnTo>
                  <a:cubicBezTo>
                    <a:pt x="96809" y="32664"/>
                    <a:pt x="98426" y="34702"/>
                    <a:pt x="100713" y="35245"/>
                  </a:cubicBezTo>
                  <a:cubicBezTo>
                    <a:pt x="106507" y="36594"/>
                    <a:pt x="112040" y="38887"/>
                    <a:pt x="117091" y="42031"/>
                  </a:cubicBezTo>
                  <a:cubicBezTo>
                    <a:pt x="119100" y="43282"/>
                    <a:pt x="121707" y="42982"/>
                    <a:pt x="123380" y="41308"/>
                  </a:cubicBezTo>
                  <a:lnTo>
                    <a:pt x="137654" y="27033"/>
                  </a:lnTo>
                  <a:lnTo>
                    <a:pt x="149598" y="39000"/>
                  </a:lnTo>
                  <a:lnTo>
                    <a:pt x="135324" y="53275"/>
                  </a:lnTo>
                  <a:cubicBezTo>
                    <a:pt x="133654" y="54940"/>
                    <a:pt x="133354" y="57538"/>
                    <a:pt x="134600" y="59541"/>
                  </a:cubicBezTo>
                  <a:cubicBezTo>
                    <a:pt x="137751" y="64588"/>
                    <a:pt x="140044" y="70122"/>
                    <a:pt x="141387" y="75919"/>
                  </a:cubicBezTo>
                  <a:cubicBezTo>
                    <a:pt x="141903" y="78220"/>
                    <a:pt x="143938" y="79861"/>
                    <a:pt x="146296" y="79878"/>
                  </a:cubicBezTo>
                  <a:lnTo>
                    <a:pt x="166452" y="79878"/>
                  </a:lnTo>
                  <a:close/>
                </a:path>
              </a:pathLst>
            </a:custGeom>
            <a:solidFill>
              <a:srgbClr val="BF5C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 178">
              <a:extLst>
                <a:ext uri="{FF2B5EF4-FFF2-40B4-BE49-F238E27FC236}">
                  <a16:creationId xmlns:a16="http://schemas.microsoft.com/office/drawing/2014/main" id="{30E6B6DF-7369-6230-837A-84B40A716059}"/>
                </a:ext>
              </a:extLst>
            </p:cNvPr>
            <p:cNvSpPr/>
            <p:nvPr/>
          </p:nvSpPr>
          <p:spPr>
            <a:xfrm>
              <a:off x="4182066" y="4342689"/>
              <a:ext cx="93454" cy="93457"/>
            </a:xfrm>
            <a:custGeom>
              <a:avLst/>
              <a:gdLst>
                <a:gd name="connsiteX0" fmla="*/ 92196 w 93454"/>
                <a:gd name="connsiteY0" fmla="*/ 68052 h 93457"/>
                <a:gd name="connsiteX1" fmla="*/ 67606 w 93454"/>
                <a:gd name="connsiteY1" fmla="*/ 43462 h 93457"/>
                <a:gd name="connsiteX2" fmla="*/ 79663 w 93454"/>
                <a:gd name="connsiteY2" fmla="*/ 31404 h 93457"/>
                <a:gd name="connsiteX3" fmla="*/ 79693 w 93454"/>
                <a:gd name="connsiteY3" fmla="*/ 25390 h 93457"/>
                <a:gd name="connsiteX4" fmla="*/ 78012 w 93454"/>
                <a:gd name="connsiteY4" fmla="*/ 24346 h 93457"/>
                <a:gd name="connsiteX5" fmla="*/ 5622 w 93454"/>
                <a:gd name="connsiteY5" fmla="*/ 209 h 93457"/>
                <a:gd name="connsiteX6" fmla="*/ 1256 w 93454"/>
                <a:gd name="connsiteY6" fmla="*/ 1250 h 93457"/>
                <a:gd name="connsiteX7" fmla="*/ 215 w 93454"/>
                <a:gd name="connsiteY7" fmla="*/ 5616 h 93457"/>
                <a:gd name="connsiteX8" fmla="*/ 24353 w 93454"/>
                <a:gd name="connsiteY8" fmla="*/ 78006 h 93457"/>
                <a:gd name="connsiteX9" fmla="*/ 29730 w 93454"/>
                <a:gd name="connsiteY9" fmla="*/ 80701 h 93457"/>
                <a:gd name="connsiteX10" fmla="*/ 31411 w 93454"/>
                <a:gd name="connsiteY10" fmla="*/ 79657 h 93457"/>
                <a:gd name="connsiteX11" fmla="*/ 43468 w 93454"/>
                <a:gd name="connsiteY11" fmla="*/ 67599 h 93457"/>
                <a:gd name="connsiteX12" fmla="*/ 68058 w 93454"/>
                <a:gd name="connsiteY12" fmla="*/ 92189 h 93457"/>
                <a:gd name="connsiteX13" fmla="*/ 74041 w 93454"/>
                <a:gd name="connsiteY13" fmla="*/ 92247 h 93457"/>
                <a:gd name="connsiteX14" fmla="*/ 74098 w 93454"/>
                <a:gd name="connsiteY14" fmla="*/ 92189 h 93457"/>
                <a:gd name="connsiteX15" fmla="*/ 92196 w 93454"/>
                <a:gd name="connsiteY15" fmla="*/ 74092 h 93457"/>
                <a:gd name="connsiteX16" fmla="*/ 92221 w 93454"/>
                <a:gd name="connsiteY16" fmla="*/ 68077 h 93457"/>
                <a:gd name="connsiteX17" fmla="*/ 92196 w 93454"/>
                <a:gd name="connsiteY17" fmla="*/ 68052 h 93457"/>
                <a:gd name="connsiteX18" fmla="*/ 71090 w 93454"/>
                <a:gd name="connsiteY18" fmla="*/ 83141 h 93457"/>
                <a:gd name="connsiteX19" fmla="*/ 46500 w 93454"/>
                <a:gd name="connsiteY19" fmla="*/ 58528 h 93457"/>
                <a:gd name="connsiteX20" fmla="*/ 40482 w 93454"/>
                <a:gd name="connsiteY20" fmla="*/ 58528 h 93457"/>
                <a:gd name="connsiteX21" fmla="*/ 30280 w 93454"/>
                <a:gd name="connsiteY21" fmla="*/ 68731 h 93457"/>
                <a:gd name="connsiteX22" fmla="*/ 11029 w 93454"/>
                <a:gd name="connsiteY22" fmla="*/ 11000 h 93457"/>
                <a:gd name="connsiteX23" fmla="*/ 68760 w 93454"/>
                <a:gd name="connsiteY23" fmla="*/ 30251 h 93457"/>
                <a:gd name="connsiteX24" fmla="*/ 58557 w 93454"/>
                <a:gd name="connsiteY24" fmla="*/ 40453 h 93457"/>
                <a:gd name="connsiteX25" fmla="*/ 58557 w 93454"/>
                <a:gd name="connsiteY25" fmla="*/ 46471 h 93457"/>
                <a:gd name="connsiteX26" fmla="*/ 83147 w 93454"/>
                <a:gd name="connsiteY26" fmla="*/ 71061 h 93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3454" h="93457">
                  <a:moveTo>
                    <a:pt x="92196" y="68052"/>
                  </a:moveTo>
                  <a:lnTo>
                    <a:pt x="67606" y="43462"/>
                  </a:lnTo>
                  <a:lnTo>
                    <a:pt x="79663" y="31404"/>
                  </a:lnTo>
                  <a:cubicBezTo>
                    <a:pt x="81332" y="29752"/>
                    <a:pt x="81346" y="27059"/>
                    <a:pt x="79693" y="25390"/>
                  </a:cubicBezTo>
                  <a:cubicBezTo>
                    <a:pt x="79222" y="24915"/>
                    <a:pt x="78646" y="24557"/>
                    <a:pt x="78012" y="24346"/>
                  </a:cubicBezTo>
                  <a:lnTo>
                    <a:pt x="5622" y="209"/>
                  </a:lnTo>
                  <a:cubicBezTo>
                    <a:pt x="4086" y="-287"/>
                    <a:pt x="2403" y="115"/>
                    <a:pt x="1256" y="1250"/>
                  </a:cubicBezTo>
                  <a:cubicBezTo>
                    <a:pt x="112" y="2391"/>
                    <a:pt x="-291" y="4080"/>
                    <a:pt x="215" y="5616"/>
                  </a:cubicBezTo>
                  <a:lnTo>
                    <a:pt x="24353" y="78006"/>
                  </a:lnTo>
                  <a:cubicBezTo>
                    <a:pt x="25093" y="80235"/>
                    <a:pt x="27501" y="81441"/>
                    <a:pt x="29730" y="80701"/>
                  </a:cubicBezTo>
                  <a:cubicBezTo>
                    <a:pt x="30364" y="80490"/>
                    <a:pt x="30940" y="80132"/>
                    <a:pt x="31411" y="79657"/>
                  </a:cubicBezTo>
                  <a:lnTo>
                    <a:pt x="43468" y="67599"/>
                  </a:lnTo>
                  <a:lnTo>
                    <a:pt x="68058" y="92189"/>
                  </a:lnTo>
                  <a:cubicBezTo>
                    <a:pt x="69694" y="93857"/>
                    <a:pt x="72373" y="93883"/>
                    <a:pt x="74041" y="92247"/>
                  </a:cubicBezTo>
                  <a:cubicBezTo>
                    <a:pt x="74060" y="92228"/>
                    <a:pt x="74079" y="92209"/>
                    <a:pt x="74098" y="92189"/>
                  </a:cubicBezTo>
                  <a:lnTo>
                    <a:pt x="92196" y="74092"/>
                  </a:lnTo>
                  <a:cubicBezTo>
                    <a:pt x="93864" y="72438"/>
                    <a:pt x="93875" y="69745"/>
                    <a:pt x="92221" y="68077"/>
                  </a:cubicBezTo>
                  <a:cubicBezTo>
                    <a:pt x="92213" y="68069"/>
                    <a:pt x="92204" y="68060"/>
                    <a:pt x="92196" y="68052"/>
                  </a:cubicBezTo>
                  <a:close/>
                  <a:moveTo>
                    <a:pt x="71090" y="83141"/>
                  </a:moveTo>
                  <a:lnTo>
                    <a:pt x="46500" y="58528"/>
                  </a:lnTo>
                  <a:cubicBezTo>
                    <a:pt x="44833" y="56878"/>
                    <a:pt x="42149" y="56878"/>
                    <a:pt x="40482" y="58528"/>
                  </a:cubicBezTo>
                  <a:lnTo>
                    <a:pt x="30280" y="68731"/>
                  </a:lnTo>
                  <a:lnTo>
                    <a:pt x="11029" y="11000"/>
                  </a:lnTo>
                  <a:lnTo>
                    <a:pt x="68760" y="30251"/>
                  </a:lnTo>
                  <a:lnTo>
                    <a:pt x="58557" y="40453"/>
                  </a:lnTo>
                  <a:cubicBezTo>
                    <a:pt x="56907" y="42120"/>
                    <a:pt x="56907" y="44804"/>
                    <a:pt x="58557" y="46471"/>
                  </a:cubicBezTo>
                  <a:lnTo>
                    <a:pt x="83147" y="71061"/>
                  </a:ln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 179">
              <a:extLst>
                <a:ext uri="{FF2B5EF4-FFF2-40B4-BE49-F238E27FC236}">
                  <a16:creationId xmlns:a16="http://schemas.microsoft.com/office/drawing/2014/main" id="{B14C92AC-1BEE-FC9F-3AB5-6DCD556A69E4}"/>
                </a:ext>
              </a:extLst>
            </p:cNvPr>
            <p:cNvSpPr/>
            <p:nvPr/>
          </p:nvSpPr>
          <p:spPr>
            <a:xfrm>
              <a:off x="3909349" y="4103491"/>
              <a:ext cx="317769" cy="287456"/>
            </a:xfrm>
            <a:custGeom>
              <a:avLst/>
              <a:gdLst>
                <a:gd name="connsiteX0" fmla="*/ 263025 w 317769"/>
                <a:gd name="connsiteY0" fmla="*/ 277322 h 287456"/>
                <a:gd name="connsiteX1" fmla="*/ 10202 w 317769"/>
                <a:gd name="connsiteY1" fmla="*/ 277322 h 287456"/>
                <a:gd name="connsiteX2" fmla="*/ 10202 w 317769"/>
                <a:gd name="connsiteY2" fmla="*/ 277322 h 287456"/>
                <a:gd name="connsiteX3" fmla="*/ 10202 w 317769"/>
                <a:gd name="connsiteY3" fmla="*/ 10202 h 287456"/>
                <a:gd name="connsiteX4" fmla="*/ 10202 w 317769"/>
                <a:gd name="connsiteY4" fmla="*/ 10202 h 287456"/>
                <a:gd name="connsiteX5" fmla="*/ 197806 w 317769"/>
                <a:gd name="connsiteY5" fmla="*/ 10202 h 287456"/>
                <a:gd name="connsiteX6" fmla="*/ 197806 w 317769"/>
                <a:gd name="connsiteY6" fmla="*/ 10202 h 287456"/>
                <a:gd name="connsiteX7" fmla="*/ 197806 w 317769"/>
                <a:gd name="connsiteY7" fmla="*/ 40538 h 287456"/>
                <a:gd name="connsiteX8" fmla="*/ 197806 w 317769"/>
                <a:gd name="connsiteY8" fmla="*/ 40538 h 287456"/>
                <a:gd name="connsiteX9" fmla="*/ 25585 w 317769"/>
                <a:gd name="connsiteY9" fmla="*/ 40538 h 287456"/>
                <a:gd name="connsiteX10" fmla="*/ 20337 w 317769"/>
                <a:gd name="connsiteY10" fmla="*/ 45063 h 287456"/>
                <a:gd name="connsiteX11" fmla="*/ 24757 w 317769"/>
                <a:gd name="connsiteY11" fmla="*/ 50704 h 287456"/>
                <a:gd name="connsiteX12" fmla="*/ 25382 w 317769"/>
                <a:gd name="connsiteY12" fmla="*/ 50741 h 287456"/>
                <a:gd name="connsiteX13" fmla="*/ 292320 w 317769"/>
                <a:gd name="connsiteY13" fmla="*/ 50741 h 287456"/>
                <a:gd name="connsiteX14" fmla="*/ 297568 w 317769"/>
                <a:gd name="connsiteY14" fmla="*/ 46216 h 287456"/>
                <a:gd name="connsiteX15" fmla="*/ 293149 w 317769"/>
                <a:gd name="connsiteY15" fmla="*/ 40575 h 287456"/>
                <a:gd name="connsiteX16" fmla="*/ 292523 w 317769"/>
                <a:gd name="connsiteY16" fmla="*/ 40538 h 287456"/>
                <a:gd name="connsiteX17" fmla="*/ 208053 w 317769"/>
                <a:gd name="connsiteY17" fmla="*/ 40538 h 287456"/>
                <a:gd name="connsiteX18" fmla="*/ 208053 w 317769"/>
                <a:gd name="connsiteY18" fmla="*/ 40538 h 287456"/>
                <a:gd name="connsiteX19" fmla="*/ 208053 w 317769"/>
                <a:gd name="connsiteY19" fmla="*/ 10202 h 287456"/>
                <a:gd name="connsiteX20" fmla="*/ 208053 w 317769"/>
                <a:gd name="connsiteY20" fmla="*/ 10202 h 287456"/>
                <a:gd name="connsiteX21" fmla="*/ 307725 w 317769"/>
                <a:gd name="connsiteY21" fmla="*/ 10202 h 287456"/>
                <a:gd name="connsiteX22" fmla="*/ 307725 w 317769"/>
                <a:gd name="connsiteY22" fmla="*/ 10202 h 287456"/>
                <a:gd name="connsiteX23" fmla="*/ 307725 w 317769"/>
                <a:gd name="connsiteY23" fmla="*/ 228843 h 287456"/>
                <a:gd name="connsiteX24" fmla="*/ 307725 w 317769"/>
                <a:gd name="connsiteY24" fmla="*/ 228843 h 287456"/>
                <a:gd name="connsiteX25" fmla="*/ 317769 w 317769"/>
                <a:gd name="connsiteY25" fmla="*/ 228843 h 287456"/>
                <a:gd name="connsiteX26" fmla="*/ 317769 w 317769"/>
                <a:gd name="connsiteY26" fmla="*/ 228843 h 287456"/>
                <a:gd name="connsiteX27" fmla="*/ 317769 w 317769"/>
                <a:gd name="connsiteY27" fmla="*/ 5113 h 287456"/>
                <a:gd name="connsiteX28" fmla="*/ 312657 w 317769"/>
                <a:gd name="connsiteY28" fmla="*/ 0 h 287456"/>
                <a:gd name="connsiteX29" fmla="*/ 5135 w 317769"/>
                <a:gd name="connsiteY29" fmla="*/ 0 h 287456"/>
                <a:gd name="connsiteX30" fmla="*/ 0 w 317769"/>
                <a:gd name="connsiteY30" fmla="*/ 5113 h 287456"/>
                <a:gd name="connsiteX31" fmla="*/ 0 w 317769"/>
                <a:gd name="connsiteY31" fmla="*/ 282344 h 287456"/>
                <a:gd name="connsiteX32" fmla="*/ 5135 w 317769"/>
                <a:gd name="connsiteY32" fmla="*/ 287456 h 287456"/>
                <a:gd name="connsiteX33" fmla="*/ 263025 w 317769"/>
                <a:gd name="connsiteY33" fmla="*/ 287456 h 287456"/>
                <a:gd name="connsiteX34" fmla="*/ 263025 w 317769"/>
                <a:gd name="connsiteY34" fmla="*/ 277367 h 287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17769" h="287456">
                  <a:moveTo>
                    <a:pt x="263025" y="277322"/>
                  </a:moveTo>
                  <a:lnTo>
                    <a:pt x="10202" y="277322"/>
                  </a:lnTo>
                  <a:lnTo>
                    <a:pt x="10202" y="277322"/>
                  </a:lnTo>
                  <a:lnTo>
                    <a:pt x="10202" y="10202"/>
                  </a:lnTo>
                  <a:lnTo>
                    <a:pt x="10202" y="10202"/>
                  </a:lnTo>
                  <a:lnTo>
                    <a:pt x="197806" y="10202"/>
                  </a:lnTo>
                  <a:lnTo>
                    <a:pt x="197806" y="10202"/>
                  </a:lnTo>
                  <a:lnTo>
                    <a:pt x="197806" y="40538"/>
                  </a:lnTo>
                  <a:lnTo>
                    <a:pt x="197806" y="40538"/>
                  </a:lnTo>
                  <a:lnTo>
                    <a:pt x="25585" y="40538"/>
                  </a:lnTo>
                  <a:cubicBezTo>
                    <a:pt x="22940" y="40493"/>
                    <a:pt x="20682" y="42440"/>
                    <a:pt x="20337" y="45063"/>
                  </a:cubicBezTo>
                  <a:cubicBezTo>
                    <a:pt x="20000" y="47841"/>
                    <a:pt x="21978" y="50367"/>
                    <a:pt x="24757" y="50704"/>
                  </a:cubicBezTo>
                  <a:cubicBezTo>
                    <a:pt x="24964" y="50729"/>
                    <a:pt x="25173" y="50741"/>
                    <a:pt x="25382" y="50741"/>
                  </a:cubicBezTo>
                  <a:lnTo>
                    <a:pt x="292320" y="50741"/>
                  </a:lnTo>
                  <a:cubicBezTo>
                    <a:pt x="294965" y="50786"/>
                    <a:pt x="297223" y="48840"/>
                    <a:pt x="297568" y="46216"/>
                  </a:cubicBezTo>
                  <a:cubicBezTo>
                    <a:pt x="297906" y="43438"/>
                    <a:pt x="295927" y="40913"/>
                    <a:pt x="293149" y="40575"/>
                  </a:cubicBezTo>
                  <a:cubicBezTo>
                    <a:pt x="292941" y="40550"/>
                    <a:pt x="292732" y="40538"/>
                    <a:pt x="292523" y="40538"/>
                  </a:cubicBezTo>
                  <a:lnTo>
                    <a:pt x="208053" y="40538"/>
                  </a:lnTo>
                  <a:lnTo>
                    <a:pt x="208053" y="40538"/>
                  </a:lnTo>
                  <a:lnTo>
                    <a:pt x="208053" y="10202"/>
                  </a:lnTo>
                  <a:lnTo>
                    <a:pt x="208053" y="10202"/>
                  </a:lnTo>
                  <a:lnTo>
                    <a:pt x="307725" y="10202"/>
                  </a:lnTo>
                  <a:lnTo>
                    <a:pt x="307725" y="10202"/>
                  </a:lnTo>
                  <a:lnTo>
                    <a:pt x="307725" y="228843"/>
                  </a:lnTo>
                  <a:lnTo>
                    <a:pt x="307725" y="228843"/>
                  </a:lnTo>
                  <a:lnTo>
                    <a:pt x="317769" y="228843"/>
                  </a:lnTo>
                  <a:lnTo>
                    <a:pt x="317769" y="228843"/>
                  </a:lnTo>
                  <a:lnTo>
                    <a:pt x="317769" y="5113"/>
                  </a:lnTo>
                  <a:cubicBezTo>
                    <a:pt x="317769" y="2289"/>
                    <a:pt x="315481" y="0"/>
                    <a:pt x="312657" y="0"/>
                  </a:cubicBezTo>
                  <a:lnTo>
                    <a:pt x="5135" y="0"/>
                  </a:lnTo>
                  <a:cubicBezTo>
                    <a:pt x="2308" y="0"/>
                    <a:pt x="12" y="2285"/>
                    <a:pt x="0" y="5113"/>
                  </a:cubicBezTo>
                  <a:lnTo>
                    <a:pt x="0" y="282344"/>
                  </a:lnTo>
                  <a:cubicBezTo>
                    <a:pt x="12" y="285171"/>
                    <a:pt x="2308" y="287456"/>
                    <a:pt x="5135" y="287456"/>
                  </a:cubicBezTo>
                  <a:lnTo>
                    <a:pt x="263025" y="287456"/>
                  </a:lnTo>
                  <a:lnTo>
                    <a:pt x="263025" y="277367"/>
                  </a:ln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1" name="Graphic 272">
            <a:extLst>
              <a:ext uri="{FF2B5EF4-FFF2-40B4-BE49-F238E27FC236}">
                <a16:creationId xmlns:a16="http://schemas.microsoft.com/office/drawing/2014/main" id="{CDF7B951-D42F-8047-3052-BE455F12A9B9}"/>
              </a:ext>
            </a:extLst>
          </p:cNvPr>
          <p:cNvGrpSpPr/>
          <p:nvPr/>
        </p:nvGrpSpPr>
        <p:grpSpPr>
          <a:xfrm>
            <a:off x="4734766" y="4448175"/>
            <a:ext cx="292100" cy="292100"/>
            <a:chOff x="4697413" y="4071938"/>
            <a:chExt cx="292100" cy="292100"/>
          </a:xfrm>
        </p:grpSpPr>
        <p:sp>
          <p:nvSpPr>
            <p:cNvPr id="182" name="Freeform 181">
              <a:extLst>
                <a:ext uri="{FF2B5EF4-FFF2-40B4-BE49-F238E27FC236}">
                  <a16:creationId xmlns:a16="http://schemas.microsoft.com/office/drawing/2014/main" id="{8BDE6A22-EC9F-7705-1A1C-73279297C996}"/>
                </a:ext>
              </a:extLst>
            </p:cNvPr>
            <p:cNvSpPr/>
            <p:nvPr/>
          </p:nvSpPr>
          <p:spPr>
            <a:xfrm>
              <a:off x="4699003" y="4074321"/>
              <a:ext cx="292470" cy="292474"/>
            </a:xfrm>
            <a:custGeom>
              <a:avLst/>
              <a:gdLst>
                <a:gd name="connsiteX0" fmla="*/ 284814 w 292470"/>
                <a:gd name="connsiteY0" fmla="*/ 225637 h 292474"/>
                <a:gd name="connsiteX1" fmla="*/ 225609 w 292470"/>
                <a:gd name="connsiteY1" fmla="*/ 186149 h 292474"/>
                <a:gd name="connsiteX2" fmla="*/ 202478 w 292470"/>
                <a:gd name="connsiteY2" fmla="*/ 189910 h 292474"/>
                <a:gd name="connsiteX3" fmla="*/ 185226 w 292470"/>
                <a:gd name="connsiteY3" fmla="*/ 212091 h 292474"/>
                <a:gd name="connsiteX4" fmla="*/ 175788 w 292470"/>
                <a:gd name="connsiteY4" fmla="*/ 214081 h 292474"/>
                <a:gd name="connsiteX5" fmla="*/ 172502 w 292470"/>
                <a:gd name="connsiteY5" fmla="*/ 212255 h 292474"/>
                <a:gd name="connsiteX6" fmla="*/ 120836 w 292470"/>
                <a:gd name="connsiteY6" fmla="*/ 171672 h 292474"/>
                <a:gd name="connsiteX7" fmla="*/ 80253 w 292470"/>
                <a:gd name="connsiteY7" fmla="*/ 120006 h 292474"/>
                <a:gd name="connsiteX8" fmla="*/ 78427 w 292470"/>
                <a:gd name="connsiteY8" fmla="*/ 116720 h 292474"/>
                <a:gd name="connsiteX9" fmla="*/ 80362 w 292470"/>
                <a:gd name="connsiteY9" fmla="*/ 107245 h 292474"/>
                <a:gd name="connsiteX10" fmla="*/ 102525 w 292470"/>
                <a:gd name="connsiteY10" fmla="*/ 89993 h 292474"/>
                <a:gd name="connsiteX11" fmla="*/ 106286 w 292470"/>
                <a:gd name="connsiteY11" fmla="*/ 66863 h 292474"/>
                <a:gd name="connsiteX12" fmla="*/ 66853 w 292470"/>
                <a:gd name="connsiteY12" fmla="*/ 7676 h 292474"/>
                <a:gd name="connsiteX13" fmla="*/ 43667 w 292470"/>
                <a:gd name="connsiteY13" fmla="*/ 2454 h 292474"/>
                <a:gd name="connsiteX14" fmla="*/ 18912 w 292470"/>
                <a:gd name="connsiteY14" fmla="*/ 17333 h 292474"/>
                <a:gd name="connsiteX15" fmla="*/ 2992 w 292470"/>
                <a:gd name="connsiteY15" fmla="*/ 37999 h 292474"/>
                <a:gd name="connsiteX16" fmla="*/ 83320 w 292470"/>
                <a:gd name="connsiteY16" fmla="*/ 209133 h 292474"/>
                <a:gd name="connsiteX17" fmla="*/ 231524 w 292470"/>
                <a:gd name="connsiteY17" fmla="*/ 292473 h 292474"/>
                <a:gd name="connsiteX18" fmla="*/ 254436 w 292470"/>
                <a:gd name="connsiteY18" fmla="*/ 289479 h 292474"/>
                <a:gd name="connsiteX19" fmla="*/ 275102 w 292470"/>
                <a:gd name="connsiteY19" fmla="*/ 273560 h 292474"/>
                <a:gd name="connsiteX20" fmla="*/ 289999 w 292470"/>
                <a:gd name="connsiteY20" fmla="*/ 248823 h 292474"/>
                <a:gd name="connsiteX21" fmla="*/ 284814 w 292470"/>
                <a:gd name="connsiteY21" fmla="*/ 225637 h 292474"/>
                <a:gd name="connsiteX22" fmla="*/ 281637 w 292470"/>
                <a:gd name="connsiteY22" fmla="*/ 243893 h 292474"/>
                <a:gd name="connsiteX23" fmla="*/ 266777 w 292470"/>
                <a:gd name="connsiteY23" fmla="*/ 268576 h 292474"/>
                <a:gd name="connsiteX24" fmla="*/ 251916 w 292470"/>
                <a:gd name="connsiteY24" fmla="*/ 280096 h 292474"/>
                <a:gd name="connsiteX25" fmla="*/ 90257 w 292470"/>
                <a:gd name="connsiteY25" fmla="*/ 202233 h 292474"/>
                <a:gd name="connsiteX26" fmla="*/ 12394 w 292470"/>
                <a:gd name="connsiteY26" fmla="*/ 40574 h 292474"/>
                <a:gd name="connsiteX27" fmla="*/ 23969 w 292470"/>
                <a:gd name="connsiteY27" fmla="*/ 25695 h 292474"/>
                <a:gd name="connsiteX28" fmla="*/ 48688 w 292470"/>
                <a:gd name="connsiteY28" fmla="*/ 10834 h 292474"/>
                <a:gd name="connsiteX29" fmla="*/ 58747 w 292470"/>
                <a:gd name="connsiteY29" fmla="*/ 13098 h 292474"/>
                <a:gd name="connsiteX30" fmla="*/ 80198 w 292470"/>
                <a:gd name="connsiteY30" fmla="*/ 45302 h 292474"/>
                <a:gd name="connsiteX31" fmla="*/ 98199 w 292470"/>
                <a:gd name="connsiteY31" fmla="*/ 72303 h 292474"/>
                <a:gd name="connsiteX32" fmla="*/ 96556 w 292470"/>
                <a:gd name="connsiteY32" fmla="*/ 82344 h 292474"/>
                <a:gd name="connsiteX33" fmla="*/ 74392 w 292470"/>
                <a:gd name="connsiteY33" fmla="*/ 99578 h 292474"/>
                <a:gd name="connsiteX34" fmla="*/ 69883 w 292470"/>
                <a:gd name="connsiteY34" fmla="*/ 121485 h 292474"/>
                <a:gd name="connsiteX35" fmla="*/ 71709 w 292470"/>
                <a:gd name="connsiteY35" fmla="*/ 124680 h 292474"/>
                <a:gd name="connsiteX36" fmla="*/ 113899 w 292470"/>
                <a:gd name="connsiteY36" fmla="*/ 178573 h 292474"/>
                <a:gd name="connsiteX37" fmla="*/ 167791 w 292470"/>
                <a:gd name="connsiteY37" fmla="*/ 220817 h 292474"/>
                <a:gd name="connsiteX38" fmla="*/ 171005 w 292470"/>
                <a:gd name="connsiteY38" fmla="*/ 222643 h 292474"/>
                <a:gd name="connsiteX39" fmla="*/ 192912 w 292470"/>
                <a:gd name="connsiteY39" fmla="*/ 218134 h 292474"/>
                <a:gd name="connsiteX40" fmla="*/ 210146 w 292470"/>
                <a:gd name="connsiteY40" fmla="*/ 195971 h 292474"/>
                <a:gd name="connsiteX41" fmla="*/ 220187 w 292470"/>
                <a:gd name="connsiteY41" fmla="*/ 194328 h 292474"/>
                <a:gd name="connsiteX42" fmla="*/ 279392 w 292470"/>
                <a:gd name="connsiteY42" fmla="*/ 233816 h 292474"/>
                <a:gd name="connsiteX43" fmla="*/ 281637 w 292470"/>
                <a:gd name="connsiteY43" fmla="*/ 243820 h 292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92470" h="292474">
                  <a:moveTo>
                    <a:pt x="284814" y="225637"/>
                  </a:moveTo>
                  <a:lnTo>
                    <a:pt x="225609" y="186149"/>
                  </a:lnTo>
                  <a:cubicBezTo>
                    <a:pt x="218096" y="181189"/>
                    <a:pt x="208033" y="182825"/>
                    <a:pt x="202478" y="189910"/>
                  </a:cubicBezTo>
                  <a:lnTo>
                    <a:pt x="185226" y="212091"/>
                  </a:lnTo>
                  <a:cubicBezTo>
                    <a:pt x="183028" y="215034"/>
                    <a:pt x="178987" y="215886"/>
                    <a:pt x="175788" y="214081"/>
                  </a:cubicBezTo>
                  <a:lnTo>
                    <a:pt x="172502" y="212255"/>
                  </a:lnTo>
                  <a:cubicBezTo>
                    <a:pt x="153142" y="201696"/>
                    <a:pt x="135680" y="187980"/>
                    <a:pt x="120836" y="171672"/>
                  </a:cubicBezTo>
                  <a:cubicBezTo>
                    <a:pt x="104547" y="156810"/>
                    <a:pt x="90833" y="139352"/>
                    <a:pt x="80253" y="120006"/>
                  </a:cubicBezTo>
                  <a:lnTo>
                    <a:pt x="78427" y="116720"/>
                  </a:lnTo>
                  <a:cubicBezTo>
                    <a:pt x="76589" y="113526"/>
                    <a:pt x="77419" y="109463"/>
                    <a:pt x="80362" y="107245"/>
                  </a:cubicBezTo>
                  <a:lnTo>
                    <a:pt x="102525" y="89993"/>
                  </a:lnTo>
                  <a:cubicBezTo>
                    <a:pt x="109610" y="84438"/>
                    <a:pt x="111246" y="74376"/>
                    <a:pt x="106286" y="66863"/>
                  </a:cubicBezTo>
                  <a:lnTo>
                    <a:pt x="66853" y="7676"/>
                  </a:lnTo>
                  <a:cubicBezTo>
                    <a:pt x="61758" y="24"/>
                    <a:pt x="51550" y="-2274"/>
                    <a:pt x="43667" y="2454"/>
                  </a:cubicBezTo>
                  <a:lnTo>
                    <a:pt x="18912" y="17333"/>
                  </a:lnTo>
                  <a:cubicBezTo>
                    <a:pt x="11134" y="21906"/>
                    <a:pt x="5429" y="29312"/>
                    <a:pt x="2992" y="37999"/>
                  </a:cubicBezTo>
                  <a:cubicBezTo>
                    <a:pt x="-5917" y="70477"/>
                    <a:pt x="783" y="126542"/>
                    <a:pt x="83320" y="209133"/>
                  </a:cubicBezTo>
                  <a:cubicBezTo>
                    <a:pt x="149042" y="274856"/>
                    <a:pt x="197914" y="292473"/>
                    <a:pt x="231524" y="292473"/>
                  </a:cubicBezTo>
                  <a:cubicBezTo>
                    <a:pt x="239261" y="292511"/>
                    <a:pt x="246968" y="291504"/>
                    <a:pt x="254436" y="289479"/>
                  </a:cubicBezTo>
                  <a:cubicBezTo>
                    <a:pt x="263125" y="287048"/>
                    <a:pt x="270534" y="281342"/>
                    <a:pt x="275102" y="273560"/>
                  </a:cubicBezTo>
                  <a:lnTo>
                    <a:pt x="289999" y="248823"/>
                  </a:lnTo>
                  <a:cubicBezTo>
                    <a:pt x="294745" y="240950"/>
                    <a:pt x="292461" y="230738"/>
                    <a:pt x="284814" y="225637"/>
                  </a:cubicBezTo>
                  <a:close/>
                  <a:moveTo>
                    <a:pt x="281637" y="243893"/>
                  </a:moveTo>
                  <a:lnTo>
                    <a:pt x="266777" y="268576"/>
                  </a:lnTo>
                  <a:cubicBezTo>
                    <a:pt x="263496" y="274190"/>
                    <a:pt x="258171" y="278317"/>
                    <a:pt x="251916" y="280096"/>
                  </a:cubicBezTo>
                  <a:cubicBezTo>
                    <a:pt x="221921" y="288329"/>
                    <a:pt x="169544" y="281501"/>
                    <a:pt x="90257" y="202233"/>
                  </a:cubicBezTo>
                  <a:cubicBezTo>
                    <a:pt x="10970" y="122964"/>
                    <a:pt x="4161" y="70642"/>
                    <a:pt x="12394" y="40574"/>
                  </a:cubicBezTo>
                  <a:cubicBezTo>
                    <a:pt x="14189" y="34306"/>
                    <a:pt x="18336" y="28975"/>
                    <a:pt x="23969" y="25695"/>
                  </a:cubicBezTo>
                  <a:lnTo>
                    <a:pt x="48688" y="10834"/>
                  </a:lnTo>
                  <a:cubicBezTo>
                    <a:pt x="52107" y="8781"/>
                    <a:pt x="56537" y="9778"/>
                    <a:pt x="58747" y="13098"/>
                  </a:cubicBezTo>
                  <a:lnTo>
                    <a:pt x="80198" y="45302"/>
                  </a:lnTo>
                  <a:lnTo>
                    <a:pt x="98199" y="72303"/>
                  </a:lnTo>
                  <a:cubicBezTo>
                    <a:pt x="100350" y="75567"/>
                    <a:pt x="99635" y="79936"/>
                    <a:pt x="96556" y="82344"/>
                  </a:cubicBezTo>
                  <a:lnTo>
                    <a:pt x="74392" y="99578"/>
                  </a:lnTo>
                  <a:cubicBezTo>
                    <a:pt x="67641" y="104737"/>
                    <a:pt x="65718" y="114079"/>
                    <a:pt x="69883" y="121485"/>
                  </a:cubicBezTo>
                  <a:lnTo>
                    <a:pt x="71709" y="124680"/>
                  </a:lnTo>
                  <a:cubicBezTo>
                    <a:pt x="82684" y="144861"/>
                    <a:pt x="96942" y="163074"/>
                    <a:pt x="113899" y="178573"/>
                  </a:cubicBezTo>
                  <a:cubicBezTo>
                    <a:pt x="129389" y="195553"/>
                    <a:pt x="147603" y="209831"/>
                    <a:pt x="167791" y="220817"/>
                  </a:cubicBezTo>
                  <a:lnTo>
                    <a:pt x="171005" y="222643"/>
                  </a:lnTo>
                  <a:cubicBezTo>
                    <a:pt x="178412" y="226800"/>
                    <a:pt x="187749" y="224878"/>
                    <a:pt x="192912" y="218134"/>
                  </a:cubicBezTo>
                  <a:lnTo>
                    <a:pt x="210146" y="195971"/>
                  </a:lnTo>
                  <a:cubicBezTo>
                    <a:pt x="212554" y="192891"/>
                    <a:pt x="216923" y="192176"/>
                    <a:pt x="220187" y="194328"/>
                  </a:cubicBezTo>
                  <a:lnTo>
                    <a:pt x="279392" y="233816"/>
                  </a:lnTo>
                  <a:cubicBezTo>
                    <a:pt x="282674" y="236029"/>
                    <a:pt x="283659" y="240417"/>
                    <a:pt x="281637" y="243820"/>
                  </a:cubicBezTo>
                  <a:close/>
                </a:path>
              </a:pathLst>
            </a:custGeom>
            <a:solidFill>
              <a:srgbClr val="1F6898"/>
            </a:solidFill>
            <a:ln w="1785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 182">
              <a:extLst>
                <a:ext uri="{FF2B5EF4-FFF2-40B4-BE49-F238E27FC236}">
                  <a16:creationId xmlns:a16="http://schemas.microsoft.com/office/drawing/2014/main" id="{E78247B4-CB38-6EB3-68EC-672015D4CD9C}"/>
                </a:ext>
              </a:extLst>
            </p:cNvPr>
            <p:cNvSpPr/>
            <p:nvPr/>
          </p:nvSpPr>
          <p:spPr>
            <a:xfrm>
              <a:off x="4859857" y="4113343"/>
              <a:ext cx="97415" cy="97488"/>
            </a:xfrm>
            <a:custGeom>
              <a:avLst/>
              <a:gdLst>
                <a:gd name="connsiteX0" fmla="*/ 4874 w 97415"/>
                <a:gd name="connsiteY0" fmla="*/ 9712 h 97488"/>
                <a:gd name="connsiteX1" fmla="*/ 87667 w 97415"/>
                <a:gd name="connsiteY1" fmla="*/ 92614 h 97488"/>
                <a:gd name="connsiteX2" fmla="*/ 92541 w 97415"/>
                <a:gd name="connsiteY2" fmla="*/ 97488 h 97488"/>
                <a:gd name="connsiteX3" fmla="*/ 97415 w 97415"/>
                <a:gd name="connsiteY3" fmla="*/ 92614 h 97488"/>
                <a:gd name="connsiteX4" fmla="*/ 4874 w 97415"/>
                <a:gd name="connsiteY4" fmla="*/ 0 h 97488"/>
                <a:gd name="connsiteX5" fmla="*/ 0 w 97415"/>
                <a:gd name="connsiteY5" fmla="*/ 4874 h 97488"/>
                <a:gd name="connsiteX6" fmla="*/ 4874 w 97415"/>
                <a:gd name="connsiteY6" fmla="*/ 9749 h 97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415" h="97488">
                  <a:moveTo>
                    <a:pt x="4874" y="9712"/>
                  </a:moveTo>
                  <a:cubicBezTo>
                    <a:pt x="50609" y="9793"/>
                    <a:pt x="87646" y="46880"/>
                    <a:pt x="87667" y="92614"/>
                  </a:cubicBezTo>
                  <a:cubicBezTo>
                    <a:pt x="87667" y="95306"/>
                    <a:pt x="89849" y="97488"/>
                    <a:pt x="92541" y="97488"/>
                  </a:cubicBezTo>
                  <a:cubicBezTo>
                    <a:pt x="95233" y="97488"/>
                    <a:pt x="97415" y="95306"/>
                    <a:pt x="97415" y="92614"/>
                  </a:cubicBezTo>
                  <a:cubicBezTo>
                    <a:pt x="97365" y="41514"/>
                    <a:pt x="55974" y="91"/>
                    <a:pt x="4874" y="0"/>
                  </a:cubicBezTo>
                  <a:cubicBezTo>
                    <a:pt x="2182" y="0"/>
                    <a:pt x="0" y="2182"/>
                    <a:pt x="0" y="4874"/>
                  </a:cubicBezTo>
                  <a:cubicBezTo>
                    <a:pt x="0" y="7566"/>
                    <a:pt x="2182" y="9749"/>
                    <a:pt x="4874" y="9749"/>
                  </a:cubicBezTo>
                  <a:close/>
                </a:path>
              </a:pathLst>
            </a:custGeom>
            <a:solidFill>
              <a:srgbClr val="BD5C7A"/>
            </a:solidFill>
            <a:ln w="1785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 183">
              <a:extLst>
                <a:ext uri="{FF2B5EF4-FFF2-40B4-BE49-F238E27FC236}">
                  <a16:creationId xmlns:a16="http://schemas.microsoft.com/office/drawing/2014/main" id="{1B6827AB-FADB-DC5F-EF41-6BAADFE603EC}"/>
                </a:ext>
              </a:extLst>
            </p:cNvPr>
            <p:cNvSpPr/>
            <p:nvPr/>
          </p:nvSpPr>
          <p:spPr>
            <a:xfrm>
              <a:off x="4859857" y="4142589"/>
              <a:ext cx="68205" cy="68241"/>
            </a:xfrm>
            <a:custGeom>
              <a:avLst/>
              <a:gdLst>
                <a:gd name="connsiteX0" fmla="*/ 4874 w 68205"/>
                <a:gd name="connsiteY0" fmla="*/ 9676 h 68241"/>
                <a:gd name="connsiteX1" fmla="*/ 58457 w 68205"/>
                <a:gd name="connsiteY1" fmla="*/ 63367 h 68241"/>
                <a:gd name="connsiteX2" fmla="*/ 63331 w 68205"/>
                <a:gd name="connsiteY2" fmla="*/ 68242 h 68241"/>
                <a:gd name="connsiteX3" fmla="*/ 68205 w 68205"/>
                <a:gd name="connsiteY3" fmla="*/ 63367 h 68241"/>
                <a:gd name="connsiteX4" fmla="*/ 4874 w 68205"/>
                <a:gd name="connsiteY4" fmla="*/ 0 h 68241"/>
                <a:gd name="connsiteX5" fmla="*/ 0 w 68205"/>
                <a:gd name="connsiteY5" fmla="*/ 4874 h 68241"/>
                <a:gd name="connsiteX6" fmla="*/ 4874 w 68205"/>
                <a:gd name="connsiteY6" fmla="*/ 9749 h 68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205" h="68241">
                  <a:moveTo>
                    <a:pt x="4874" y="9676"/>
                  </a:moveTo>
                  <a:cubicBezTo>
                    <a:pt x="34489" y="9726"/>
                    <a:pt x="58467" y="33753"/>
                    <a:pt x="58457" y="63367"/>
                  </a:cubicBezTo>
                  <a:cubicBezTo>
                    <a:pt x="58457" y="66060"/>
                    <a:pt x="60639" y="68242"/>
                    <a:pt x="63331" y="68242"/>
                  </a:cubicBezTo>
                  <a:cubicBezTo>
                    <a:pt x="66023" y="68242"/>
                    <a:pt x="68205" y="66060"/>
                    <a:pt x="68205" y="63367"/>
                  </a:cubicBezTo>
                  <a:cubicBezTo>
                    <a:pt x="68165" y="28401"/>
                    <a:pt x="39840" y="60"/>
                    <a:pt x="4874" y="0"/>
                  </a:cubicBezTo>
                  <a:cubicBezTo>
                    <a:pt x="2182" y="0"/>
                    <a:pt x="0" y="2182"/>
                    <a:pt x="0" y="4874"/>
                  </a:cubicBezTo>
                  <a:cubicBezTo>
                    <a:pt x="0" y="7566"/>
                    <a:pt x="2182" y="9749"/>
                    <a:pt x="4874" y="9749"/>
                  </a:cubicBezTo>
                  <a:close/>
                </a:path>
              </a:pathLst>
            </a:custGeom>
            <a:solidFill>
              <a:srgbClr val="BD5C7A"/>
            </a:solidFill>
            <a:ln w="1785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 184">
              <a:extLst>
                <a:ext uri="{FF2B5EF4-FFF2-40B4-BE49-F238E27FC236}">
                  <a16:creationId xmlns:a16="http://schemas.microsoft.com/office/drawing/2014/main" id="{DEE89743-A515-0A95-508F-973D3018D5A3}"/>
                </a:ext>
              </a:extLst>
            </p:cNvPr>
            <p:cNvSpPr/>
            <p:nvPr/>
          </p:nvSpPr>
          <p:spPr>
            <a:xfrm>
              <a:off x="4859857" y="4171836"/>
              <a:ext cx="38995" cy="38995"/>
            </a:xfrm>
            <a:custGeom>
              <a:avLst/>
              <a:gdLst>
                <a:gd name="connsiteX0" fmla="*/ 4874 w 38995"/>
                <a:gd name="connsiteY0" fmla="*/ 9749 h 38995"/>
                <a:gd name="connsiteX1" fmla="*/ 29247 w 38995"/>
                <a:gd name="connsiteY1" fmla="*/ 34121 h 38995"/>
                <a:gd name="connsiteX2" fmla="*/ 34121 w 38995"/>
                <a:gd name="connsiteY2" fmla="*/ 38995 h 38995"/>
                <a:gd name="connsiteX3" fmla="*/ 38995 w 38995"/>
                <a:gd name="connsiteY3" fmla="*/ 34121 h 38995"/>
                <a:gd name="connsiteX4" fmla="*/ 4874 w 38995"/>
                <a:gd name="connsiteY4" fmla="*/ 0 h 38995"/>
                <a:gd name="connsiteX5" fmla="*/ 0 w 38995"/>
                <a:gd name="connsiteY5" fmla="*/ 4874 h 38995"/>
                <a:gd name="connsiteX6" fmla="*/ 4874 w 38995"/>
                <a:gd name="connsiteY6" fmla="*/ 9749 h 38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95" h="38995">
                  <a:moveTo>
                    <a:pt x="4874" y="9749"/>
                  </a:moveTo>
                  <a:cubicBezTo>
                    <a:pt x="18335" y="9749"/>
                    <a:pt x="29247" y="20661"/>
                    <a:pt x="29247" y="34121"/>
                  </a:cubicBezTo>
                  <a:cubicBezTo>
                    <a:pt x="29247" y="36813"/>
                    <a:pt x="31429" y="38995"/>
                    <a:pt x="34121" y="38995"/>
                  </a:cubicBezTo>
                  <a:cubicBezTo>
                    <a:pt x="36813" y="38995"/>
                    <a:pt x="38995" y="36813"/>
                    <a:pt x="38995" y="34121"/>
                  </a:cubicBezTo>
                  <a:cubicBezTo>
                    <a:pt x="38975" y="15285"/>
                    <a:pt x="23711" y="20"/>
                    <a:pt x="4874" y="0"/>
                  </a:cubicBezTo>
                  <a:cubicBezTo>
                    <a:pt x="2182" y="0"/>
                    <a:pt x="0" y="2182"/>
                    <a:pt x="0" y="4874"/>
                  </a:cubicBezTo>
                  <a:cubicBezTo>
                    <a:pt x="0" y="7566"/>
                    <a:pt x="2182" y="9749"/>
                    <a:pt x="4874" y="9749"/>
                  </a:cubicBezTo>
                  <a:close/>
                </a:path>
              </a:pathLst>
            </a:custGeom>
            <a:solidFill>
              <a:srgbClr val="BD5C7A"/>
            </a:solidFill>
            <a:ln w="1785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6" name="Graphic 279">
            <a:extLst>
              <a:ext uri="{FF2B5EF4-FFF2-40B4-BE49-F238E27FC236}">
                <a16:creationId xmlns:a16="http://schemas.microsoft.com/office/drawing/2014/main" id="{DB180D2C-8422-E96A-76A1-B2D38D07444E}"/>
              </a:ext>
            </a:extLst>
          </p:cNvPr>
          <p:cNvGrpSpPr/>
          <p:nvPr/>
        </p:nvGrpSpPr>
        <p:grpSpPr>
          <a:xfrm>
            <a:off x="5563440" y="4411661"/>
            <a:ext cx="360363" cy="360363"/>
            <a:chOff x="5500687" y="4025899"/>
            <a:chExt cx="360363" cy="360363"/>
          </a:xfrm>
        </p:grpSpPr>
        <p:sp>
          <p:nvSpPr>
            <p:cNvPr id="187" name="Freeform 186">
              <a:extLst>
                <a:ext uri="{FF2B5EF4-FFF2-40B4-BE49-F238E27FC236}">
                  <a16:creationId xmlns:a16="http://schemas.microsoft.com/office/drawing/2014/main" id="{926A2DAC-EAF6-D012-E4F1-825F82F2FA87}"/>
                </a:ext>
              </a:extLst>
            </p:cNvPr>
            <p:cNvSpPr/>
            <p:nvPr/>
          </p:nvSpPr>
          <p:spPr>
            <a:xfrm>
              <a:off x="5575536" y="4079048"/>
              <a:ext cx="268037" cy="195681"/>
            </a:xfrm>
            <a:custGeom>
              <a:avLst/>
              <a:gdLst>
                <a:gd name="connsiteX0" fmla="*/ 80557 w 268037"/>
                <a:gd name="connsiteY0" fmla="*/ 195682 h 195681"/>
                <a:gd name="connsiteX1" fmla="*/ 80129 w 268037"/>
                <a:gd name="connsiteY1" fmla="*/ 195682 h 195681"/>
                <a:gd name="connsiteX2" fmla="*/ 70197 w 268037"/>
                <a:gd name="connsiteY2" fmla="*/ 191177 h 195681"/>
                <a:gd name="connsiteX3" fmla="*/ 3552 w 268037"/>
                <a:gd name="connsiteY3" fmla="*/ 118812 h 195681"/>
                <a:gd name="connsiteX4" fmla="*/ 4729 w 268037"/>
                <a:gd name="connsiteY4" fmla="*/ 98939 h 195681"/>
                <a:gd name="connsiteX5" fmla="*/ 24250 w 268037"/>
                <a:gd name="connsiteY5" fmla="*/ 99735 h 195681"/>
                <a:gd name="connsiteX6" fmla="*/ 81053 w 268037"/>
                <a:gd name="connsiteY6" fmla="*/ 161470 h 195681"/>
                <a:gd name="connsiteX7" fmla="*/ 244545 w 268037"/>
                <a:gd name="connsiteY7" fmla="*/ 3585 h 195681"/>
                <a:gd name="connsiteX8" fmla="*/ 264453 w 268037"/>
                <a:gd name="connsiteY8" fmla="*/ 4705 h 195681"/>
                <a:gd name="connsiteX9" fmla="*/ 264117 w 268037"/>
                <a:gd name="connsiteY9" fmla="*/ 23856 h 195681"/>
                <a:gd name="connsiteX10" fmla="*/ 90242 w 268037"/>
                <a:gd name="connsiteY10" fmla="*/ 191718 h 195681"/>
                <a:gd name="connsiteX11" fmla="*/ 80557 w 268037"/>
                <a:gd name="connsiteY11" fmla="*/ 195681 h 19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8037" h="195681">
                  <a:moveTo>
                    <a:pt x="80557" y="195682"/>
                  </a:moveTo>
                  <a:lnTo>
                    <a:pt x="80129" y="195682"/>
                  </a:lnTo>
                  <a:cubicBezTo>
                    <a:pt x="76349" y="195568"/>
                    <a:pt x="72772" y="193946"/>
                    <a:pt x="70197" y="191177"/>
                  </a:cubicBezTo>
                  <a:lnTo>
                    <a:pt x="3552" y="118812"/>
                  </a:lnTo>
                  <a:cubicBezTo>
                    <a:pt x="-1611" y="112999"/>
                    <a:pt x="-1084" y="104102"/>
                    <a:pt x="4729" y="98939"/>
                  </a:cubicBezTo>
                  <a:cubicBezTo>
                    <a:pt x="10391" y="93910"/>
                    <a:pt x="19017" y="94262"/>
                    <a:pt x="24250" y="99735"/>
                  </a:cubicBezTo>
                  <a:lnTo>
                    <a:pt x="81053" y="161470"/>
                  </a:lnTo>
                  <a:lnTo>
                    <a:pt x="244545" y="3585"/>
                  </a:lnTo>
                  <a:cubicBezTo>
                    <a:pt x="250351" y="-1603"/>
                    <a:pt x="259264" y="-1101"/>
                    <a:pt x="264453" y="4705"/>
                  </a:cubicBezTo>
                  <a:cubicBezTo>
                    <a:pt x="269359" y="10197"/>
                    <a:pt x="269213" y="18540"/>
                    <a:pt x="264117" y="23856"/>
                  </a:cubicBezTo>
                  <a:lnTo>
                    <a:pt x="90242" y="191718"/>
                  </a:lnTo>
                  <a:cubicBezTo>
                    <a:pt x="87647" y="194240"/>
                    <a:pt x="84176" y="195661"/>
                    <a:pt x="80557" y="195681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 187">
              <a:extLst>
                <a:ext uri="{FF2B5EF4-FFF2-40B4-BE49-F238E27FC236}">
                  <a16:creationId xmlns:a16="http://schemas.microsoft.com/office/drawing/2014/main" id="{AE29D3A4-D2E4-C6E5-8C5B-CEF2A82214B9}"/>
                </a:ext>
              </a:extLst>
            </p:cNvPr>
            <p:cNvSpPr/>
            <p:nvPr/>
          </p:nvSpPr>
          <p:spPr>
            <a:xfrm>
              <a:off x="5526011" y="4056858"/>
              <a:ext cx="297364" cy="297333"/>
            </a:xfrm>
            <a:custGeom>
              <a:avLst/>
              <a:gdLst>
                <a:gd name="connsiteX0" fmla="*/ 293574 w 297364"/>
                <a:gd name="connsiteY0" fmla="*/ 115438 h 297333"/>
                <a:gd name="connsiteX1" fmla="*/ 181895 w 297364"/>
                <a:gd name="connsiteY1" fmla="*/ 293543 h 297333"/>
                <a:gd name="connsiteX2" fmla="*/ 3791 w 297364"/>
                <a:gd name="connsiteY2" fmla="*/ 181863 h 297333"/>
                <a:gd name="connsiteX3" fmla="*/ 115470 w 297364"/>
                <a:gd name="connsiteY3" fmla="*/ 3759 h 297333"/>
                <a:gd name="connsiteX4" fmla="*/ 238033 w 297364"/>
                <a:gd name="connsiteY4" fmla="*/ 29852 h 29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364" h="297333">
                  <a:moveTo>
                    <a:pt x="293574" y="115438"/>
                  </a:moveTo>
                  <a:cubicBezTo>
                    <a:pt x="311917" y="195460"/>
                    <a:pt x="261917" y="275200"/>
                    <a:pt x="181895" y="293543"/>
                  </a:cubicBezTo>
                  <a:cubicBezTo>
                    <a:pt x="101873" y="311886"/>
                    <a:pt x="22133" y="261885"/>
                    <a:pt x="3791" y="181863"/>
                  </a:cubicBezTo>
                  <a:cubicBezTo>
                    <a:pt x="-14552" y="101842"/>
                    <a:pt x="35448" y="22102"/>
                    <a:pt x="115470" y="3759"/>
                  </a:cubicBezTo>
                  <a:cubicBezTo>
                    <a:pt x="158173" y="-6030"/>
                    <a:pt x="203020" y="3518"/>
                    <a:pt x="238033" y="29852"/>
                  </a:cubicBezTo>
                </a:path>
              </a:pathLst>
            </a:custGeom>
            <a:noFill/>
            <a:ln w="16520" cap="rnd">
              <a:solidFill>
                <a:srgbClr val="1F689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9" name="Graphic 284">
            <a:extLst>
              <a:ext uri="{FF2B5EF4-FFF2-40B4-BE49-F238E27FC236}">
                <a16:creationId xmlns:a16="http://schemas.microsoft.com/office/drawing/2014/main" id="{2C9BB63C-F20F-7A2B-2232-7D07D091456F}"/>
              </a:ext>
            </a:extLst>
          </p:cNvPr>
          <p:cNvGrpSpPr/>
          <p:nvPr/>
        </p:nvGrpSpPr>
        <p:grpSpPr>
          <a:xfrm>
            <a:off x="6488953" y="4386262"/>
            <a:ext cx="323850" cy="323850"/>
            <a:chOff x="6426200" y="4000500"/>
            <a:chExt cx="323850" cy="323850"/>
          </a:xfrm>
        </p:grpSpPr>
        <p:sp>
          <p:nvSpPr>
            <p:cNvPr id="190" name="Freeform 189">
              <a:extLst>
                <a:ext uri="{FF2B5EF4-FFF2-40B4-BE49-F238E27FC236}">
                  <a16:creationId xmlns:a16="http://schemas.microsoft.com/office/drawing/2014/main" id="{A28A47B7-B118-BD8C-D6CB-9BFC83ECE518}"/>
                </a:ext>
              </a:extLst>
            </p:cNvPr>
            <p:cNvSpPr/>
            <p:nvPr/>
          </p:nvSpPr>
          <p:spPr>
            <a:xfrm>
              <a:off x="6613854" y="4126462"/>
              <a:ext cx="60359" cy="32886"/>
            </a:xfrm>
            <a:custGeom>
              <a:avLst/>
              <a:gdLst>
                <a:gd name="connsiteX0" fmla="*/ 583 w 60359"/>
                <a:gd name="connsiteY0" fmla="*/ 29891 h 32886"/>
                <a:gd name="connsiteX1" fmla="*/ 5482 w 60359"/>
                <a:gd name="connsiteY1" fmla="*/ 32886 h 32886"/>
                <a:gd name="connsiteX2" fmla="*/ 7951 w 60359"/>
                <a:gd name="connsiteY2" fmla="*/ 32299 h 32886"/>
                <a:gd name="connsiteX3" fmla="*/ 56529 w 60359"/>
                <a:gd name="connsiteY3" fmla="*/ 10723 h 32886"/>
                <a:gd name="connsiteX4" fmla="*/ 60101 w 60359"/>
                <a:gd name="connsiteY4" fmla="*/ 3831 h 32886"/>
                <a:gd name="connsiteX5" fmla="*/ 53209 w 60359"/>
                <a:gd name="connsiteY5" fmla="*/ 258 h 32886"/>
                <a:gd name="connsiteX6" fmla="*/ 3073 w 60359"/>
                <a:gd name="connsiteY6" fmla="*/ 22523 h 32886"/>
                <a:gd name="connsiteX7" fmla="*/ 553 w 60359"/>
                <a:gd name="connsiteY7" fmla="*/ 29829 h 32886"/>
                <a:gd name="connsiteX8" fmla="*/ 583 w 60359"/>
                <a:gd name="connsiteY8" fmla="*/ 29891 h 3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359" h="32886">
                  <a:moveTo>
                    <a:pt x="583" y="29891"/>
                  </a:moveTo>
                  <a:cubicBezTo>
                    <a:pt x="1521" y="31732"/>
                    <a:pt x="3415" y="32890"/>
                    <a:pt x="5482" y="32886"/>
                  </a:cubicBezTo>
                  <a:cubicBezTo>
                    <a:pt x="6340" y="32889"/>
                    <a:pt x="7186" y="32688"/>
                    <a:pt x="7951" y="32299"/>
                  </a:cubicBezTo>
                  <a:cubicBezTo>
                    <a:pt x="23723" y="24196"/>
                    <a:pt x="39942" y="16992"/>
                    <a:pt x="56529" y="10723"/>
                  </a:cubicBezTo>
                  <a:cubicBezTo>
                    <a:pt x="59418" y="9806"/>
                    <a:pt x="61018" y="6721"/>
                    <a:pt x="60101" y="3831"/>
                  </a:cubicBezTo>
                  <a:cubicBezTo>
                    <a:pt x="59184" y="941"/>
                    <a:pt x="56099" y="-658"/>
                    <a:pt x="53209" y="258"/>
                  </a:cubicBezTo>
                  <a:cubicBezTo>
                    <a:pt x="36078" y="6698"/>
                    <a:pt x="19337" y="14132"/>
                    <a:pt x="3073" y="22523"/>
                  </a:cubicBezTo>
                  <a:cubicBezTo>
                    <a:pt x="360" y="23845"/>
                    <a:pt x="-769" y="27116"/>
                    <a:pt x="553" y="29829"/>
                  </a:cubicBezTo>
                  <a:cubicBezTo>
                    <a:pt x="563" y="29850"/>
                    <a:pt x="573" y="29870"/>
                    <a:pt x="583" y="29891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eform 190">
              <a:extLst>
                <a:ext uri="{FF2B5EF4-FFF2-40B4-BE49-F238E27FC236}">
                  <a16:creationId xmlns:a16="http://schemas.microsoft.com/office/drawing/2014/main" id="{9E26176C-43D3-6E68-83C5-F326B5BBD54B}"/>
                </a:ext>
              </a:extLst>
            </p:cNvPr>
            <p:cNvSpPr/>
            <p:nvPr/>
          </p:nvSpPr>
          <p:spPr>
            <a:xfrm>
              <a:off x="6613959" y="4060638"/>
              <a:ext cx="60529" cy="32968"/>
            </a:xfrm>
            <a:custGeom>
              <a:avLst/>
              <a:gdLst>
                <a:gd name="connsiteX0" fmla="*/ 5417 w 60529"/>
                <a:gd name="connsiteY0" fmla="*/ 32968 h 32968"/>
                <a:gd name="connsiteX1" fmla="*/ 7886 w 60529"/>
                <a:gd name="connsiteY1" fmla="*/ 32361 h 32968"/>
                <a:gd name="connsiteX2" fmla="*/ 56464 w 60529"/>
                <a:gd name="connsiteY2" fmla="*/ 10784 h 32968"/>
                <a:gd name="connsiteX3" fmla="*/ 60341 w 60529"/>
                <a:gd name="connsiteY3" fmla="*/ 4065 h 32968"/>
                <a:gd name="connsiteX4" fmla="*/ 53622 w 60529"/>
                <a:gd name="connsiteY4" fmla="*/ 189 h 32968"/>
                <a:gd name="connsiteX5" fmla="*/ 53144 w 60529"/>
                <a:gd name="connsiteY5" fmla="*/ 340 h 32968"/>
                <a:gd name="connsiteX6" fmla="*/ 3008 w 60529"/>
                <a:gd name="connsiteY6" fmla="*/ 22605 h 32968"/>
                <a:gd name="connsiteX7" fmla="*/ 585 w 60529"/>
                <a:gd name="connsiteY7" fmla="*/ 29944 h 32968"/>
                <a:gd name="connsiteX8" fmla="*/ 600 w 60529"/>
                <a:gd name="connsiteY8" fmla="*/ 29973 h 32968"/>
                <a:gd name="connsiteX9" fmla="*/ 5417 w 60529"/>
                <a:gd name="connsiteY9" fmla="*/ 32968 h 3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529" h="32968">
                  <a:moveTo>
                    <a:pt x="5417" y="32968"/>
                  </a:moveTo>
                  <a:cubicBezTo>
                    <a:pt x="6277" y="32964"/>
                    <a:pt x="7123" y="32756"/>
                    <a:pt x="7886" y="32361"/>
                  </a:cubicBezTo>
                  <a:cubicBezTo>
                    <a:pt x="23658" y="24257"/>
                    <a:pt x="39877" y="17054"/>
                    <a:pt x="56464" y="10784"/>
                  </a:cubicBezTo>
                  <a:cubicBezTo>
                    <a:pt x="59390" y="10000"/>
                    <a:pt x="61125" y="6991"/>
                    <a:pt x="60341" y="4065"/>
                  </a:cubicBezTo>
                  <a:cubicBezTo>
                    <a:pt x="59556" y="1139"/>
                    <a:pt x="56547" y="-596"/>
                    <a:pt x="53622" y="189"/>
                  </a:cubicBezTo>
                  <a:cubicBezTo>
                    <a:pt x="53460" y="232"/>
                    <a:pt x="53301" y="283"/>
                    <a:pt x="53144" y="340"/>
                  </a:cubicBezTo>
                  <a:cubicBezTo>
                    <a:pt x="36010" y="6771"/>
                    <a:pt x="19269" y="14205"/>
                    <a:pt x="3008" y="22605"/>
                  </a:cubicBezTo>
                  <a:cubicBezTo>
                    <a:pt x="313" y="23962"/>
                    <a:pt x="-772" y="27248"/>
                    <a:pt x="585" y="29944"/>
                  </a:cubicBezTo>
                  <a:cubicBezTo>
                    <a:pt x="590" y="29954"/>
                    <a:pt x="595" y="29963"/>
                    <a:pt x="600" y="29973"/>
                  </a:cubicBezTo>
                  <a:cubicBezTo>
                    <a:pt x="1531" y="31782"/>
                    <a:pt x="3382" y="32933"/>
                    <a:pt x="5417" y="32968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 191">
              <a:extLst>
                <a:ext uri="{FF2B5EF4-FFF2-40B4-BE49-F238E27FC236}">
                  <a16:creationId xmlns:a16="http://schemas.microsoft.com/office/drawing/2014/main" id="{FF6183B2-4790-1A8F-C494-EBBA03D71403}"/>
                </a:ext>
              </a:extLst>
            </p:cNvPr>
            <p:cNvSpPr/>
            <p:nvPr/>
          </p:nvSpPr>
          <p:spPr>
            <a:xfrm>
              <a:off x="6427303" y="4000499"/>
              <a:ext cx="329061" cy="328789"/>
            </a:xfrm>
            <a:custGeom>
              <a:avLst/>
              <a:gdLst>
                <a:gd name="connsiteX0" fmla="*/ 323577 w 329061"/>
                <a:gd name="connsiteY0" fmla="*/ 82198 h 328789"/>
                <a:gd name="connsiteX1" fmla="*/ 318092 w 329061"/>
                <a:gd name="connsiteY1" fmla="*/ 87683 h 328789"/>
                <a:gd name="connsiteX2" fmla="*/ 318092 w 329061"/>
                <a:gd name="connsiteY2" fmla="*/ 301383 h 328789"/>
                <a:gd name="connsiteX3" fmla="*/ 301656 w 329061"/>
                <a:gd name="connsiteY3" fmla="*/ 317819 h 328789"/>
                <a:gd name="connsiteX4" fmla="*/ 170092 w 329061"/>
                <a:gd name="connsiteY4" fmla="*/ 317819 h 328789"/>
                <a:gd name="connsiteX5" fmla="*/ 170092 w 329061"/>
                <a:gd name="connsiteY5" fmla="*/ 305229 h 328789"/>
                <a:gd name="connsiteX6" fmla="*/ 219398 w 329061"/>
                <a:gd name="connsiteY6" fmla="*/ 295918 h 328789"/>
                <a:gd name="connsiteX7" fmla="*/ 299875 w 329061"/>
                <a:gd name="connsiteY7" fmla="*/ 306585 h 328789"/>
                <a:gd name="connsiteX8" fmla="*/ 306796 w 329061"/>
                <a:gd name="connsiteY8" fmla="*/ 303146 h 328789"/>
                <a:gd name="connsiteX9" fmla="*/ 307081 w 329061"/>
                <a:gd name="connsiteY9" fmla="*/ 301383 h 328789"/>
                <a:gd name="connsiteX10" fmla="*/ 307081 w 329061"/>
                <a:gd name="connsiteY10" fmla="*/ 60277 h 328789"/>
                <a:gd name="connsiteX11" fmla="*/ 302790 w 329061"/>
                <a:gd name="connsiteY11" fmla="*/ 54933 h 328789"/>
                <a:gd name="connsiteX12" fmla="*/ 291151 w 329061"/>
                <a:gd name="connsiteY12" fmla="*/ 52626 h 328789"/>
                <a:gd name="connsiteX13" fmla="*/ 284755 w 329061"/>
                <a:gd name="connsiteY13" fmla="*/ 56998 h 328789"/>
                <a:gd name="connsiteX14" fmla="*/ 289127 w 329061"/>
                <a:gd name="connsiteY14" fmla="*/ 63394 h 328789"/>
                <a:gd name="connsiteX15" fmla="*/ 296070 w 329061"/>
                <a:gd name="connsiteY15" fmla="*/ 64730 h 328789"/>
                <a:gd name="connsiteX16" fmla="*/ 296070 w 329061"/>
                <a:gd name="connsiteY16" fmla="*/ 294097 h 328789"/>
                <a:gd name="connsiteX17" fmla="*/ 219358 w 329061"/>
                <a:gd name="connsiteY17" fmla="*/ 284948 h 328789"/>
                <a:gd name="connsiteX18" fmla="*/ 164708 w 329061"/>
                <a:gd name="connsiteY18" fmla="*/ 295453 h 328789"/>
                <a:gd name="connsiteX19" fmla="*/ 115179 w 329061"/>
                <a:gd name="connsiteY19" fmla="*/ 284948 h 328789"/>
                <a:gd name="connsiteX20" fmla="*/ 32982 w 329061"/>
                <a:gd name="connsiteY20" fmla="*/ 294340 h 328789"/>
                <a:gd name="connsiteX21" fmla="*/ 32982 w 329061"/>
                <a:gd name="connsiteY21" fmla="*/ 64527 h 328789"/>
                <a:gd name="connsiteX22" fmla="*/ 115179 w 329061"/>
                <a:gd name="connsiteY22" fmla="*/ 54792 h 328789"/>
                <a:gd name="connsiteX23" fmla="*/ 159020 w 329061"/>
                <a:gd name="connsiteY23" fmla="*/ 63839 h 328789"/>
                <a:gd name="connsiteX24" fmla="*/ 159020 w 329061"/>
                <a:gd name="connsiteY24" fmla="*/ 279463 h 328789"/>
                <a:gd name="connsiteX25" fmla="*/ 161793 w 329061"/>
                <a:gd name="connsiteY25" fmla="*/ 284239 h 328789"/>
                <a:gd name="connsiteX26" fmla="*/ 167319 w 329061"/>
                <a:gd name="connsiteY26" fmla="*/ 284239 h 328789"/>
                <a:gd name="connsiteX27" fmla="*/ 270344 w 329061"/>
                <a:gd name="connsiteY27" fmla="*/ 235439 h 328789"/>
                <a:gd name="connsiteX28" fmla="*/ 274088 w 329061"/>
                <a:gd name="connsiteY28" fmla="*/ 230237 h 328789"/>
                <a:gd name="connsiteX29" fmla="*/ 274088 w 329061"/>
                <a:gd name="connsiteY29" fmla="*/ 5486 h 328789"/>
                <a:gd name="connsiteX30" fmla="*/ 271741 w 329061"/>
                <a:gd name="connsiteY30" fmla="*/ 972 h 328789"/>
                <a:gd name="connsiteX31" fmla="*/ 266680 w 329061"/>
                <a:gd name="connsiteY31" fmla="*/ 344 h 328789"/>
                <a:gd name="connsiteX32" fmla="*/ 178047 w 329061"/>
                <a:gd name="connsiteY32" fmla="*/ 44671 h 328789"/>
                <a:gd name="connsiteX33" fmla="*/ 175933 w 329061"/>
                <a:gd name="connsiteY33" fmla="*/ 52135 h 328789"/>
                <a:gd name="connsiteX34" fmla="*/ 183397 w 329061"/>
                <a:gd name="connsiteY34" fmla="*/ 54249 h 328789"/>
                <a:gd name="connsiteX35" fmla="*/ 183856 w 329061"/>
                <a:gd name="connsiteY35" fmla="*/ 53962 h 328789"/>
                <a:gd name="connsiteX36" fmla="*/ 263138 w 329061"/>
                <a:gd name="connsiteY36" fmla="*/ 13481 h 328789"/>
                <a:gd name="connsiteX37" fmla="*/ 263138 w 329061"/>
                <a:gd name="connsiteY37" fmla="*/ 226210 h 328789"/>
                <a:gd name="connsiteX38" fmla="*/ 170031 w 329061"/>
                <a:gd name="connsiteY38" fmla="*/ 269929 h 328789"/>
                <a:gd name="connsiteX39" fmla="*/ 170031 w 329061"/>
                <a:gd name="connsiteY39" fmla="*/ 60277 h 328789"/>
                <a:gd name="connsiteX40" fmla="*/ 166995 w 329061"/>
                <a:gd name="connsiteY40" fmla="*/ 55379 h 328789"/>
                <a:gd name="connsiteX41" fmla="*/ 115220 w 329061"/>
                <a:gd name="connsiteY41" fmla="*/ 43842 h 328789"/>
                <a:gd name="connsiteX42" fmla="*/ 26040 w 329061"/>
                <a:gd name="connsiteY42" fmla="*/ 55014 h 328789"/>
                <a:gd name="connsiteX43" fmla="*/ 21991 w 329061"/>
                <a:gd name="connsiteY43" fmla="*/ 60277 h 328789"/>
                <a:gd name="connsiteX44" fmla="*/ 21991 w 329061"/>
                <a:gd name="connsiteY44" fmla="*/ 301383 h 328789"/>
                <a:gd name="connsiteX45" fmla="*/ 27518 w 329061"/>
                <a:gd name="connsiteY45" fmla="*/ 306868 h 328789"/>
                <a:gd name="connsiteX46" fmla="*/ 28974 w 329061"/>
                <a:gd name="connsiteY46" fmla="*/ 306666 h 328789"/>
                <a:gd name="connsiteX47" fmla="*/ 115139 w 329061"/>
                <a:gd name="connsiteY47" fmla="*/ 295918 h 328789"/>
                <a:gd name="connsiteX48" fmla="*/ 158980 w 329061"/>
                <a:gd name="connsiteY48" fmla="*/ 304946 h 328789"/>
                <a:gd name="connsiteX49" fmla="*/ 158980 w 329061"/>
                <a:gd name="connsiteY49" fmla="*/ 317778 h 328789"/>
                <a:gd name="connsiteX50" fmla="*/ 27416 w 329061"/>
                <a:gd name="connsiteY50" fmla="*/ 317778 h 328789"/>
                <a:gd name="connsiteX51" fmla="*/ 10960 w 329061"/>
                <a:gd name="connsiteY51" fmla="*/ 301323 h 328789"/>
                <a:gd name="connsiteX52" fmla="*/ 10960 w 329061"/>
                <a:gd name="connsiteY52" fmla="*/ 87683 h 328789"/>
                <a:gd name="connsiteX53" fmla="*/ 5818 w 329061"/>
                <a:gd name="connsiteY53" fmla="*/ 81875 h 328789"/>
                <a:gd name="connsiteX54" fmla="*/ 10 w 329061"/>
                <a:gd name="connsiteY54" fmla="*/ 87017 h 328789"/>
                <a:gd name="connsiteX55" fmla="*/ 10 w 329061"/>
                <a:gd name="connsiteY55" fmla="*/ 87683 h 328789"/>
                <a:gd name="connsiteX56" fmla="*/ 10 w 329061"/>
                <a:gd name="connsiteY56" fmla="*/ 301383 h 328789"/>
                <a:gd name="connsiteX57" fmla="*/ 27416 w 329061"/>
                <a:gd name="connsiteY57" fmla="*/ 328789 h 328789"/>
                <a:gd name="connsiteX58" fmla="*/ 301656 w 329061"/>
                <a:gd name="connsiteY58" fmla="*/ 328789 h 328789"/>
                <a:gd name="connsiteX59" fmla="*/ 329062 w 329061"/>
                <a:gd name="connsiteY59" fmla="*/ 301383 h 328789"/>
                <a:gd name="connsiteX60" fmla="*/ 329062 w 329061"/>
                <a:gd name="connsiteY60" fmla="*/ 87683 h 328789"/>
                <a:gd name="connsiteX61" fmla="*/ 323577 w 329061"/>
                <a:gd name="connsiteY61" fmla="*/ 82198 h 328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29061" h="328789">
                  <a:moveTo>
                    <a:pt x="323577" y="82198"/>
                  </a:moveTo>
                  <a:cubicBezTo>
                    <a:pt x="320547" y="82198"/>
                    <a:pt x="318092" y="84653"/>
                    <a:pt x="318092" y="87683"/>
                  </a:cubicBezTo>
                  <a:lnTo>
                    <a:pt x="318092" y="301383"/>
                  </a:lnTo>
                  <a:cubicBezTo>
                    <a:pt x="318080" y="310456"/>
                    <a:pt x="310729" y="317808"/>
                    <a:pt x="301656" y="317819"/>
                  </a:cubicBezTo>
                  <a:lnTo>
                    <a:pt x="170092" y="317819"/>
                  </a:lnTo>
                  <a:lnTo>
                    <a:pt x="170092" y="305229"/>
                  </a:lnTo>
                  <a:cubicBezTo>
                    <a:pt x="185939" y="299564"/>
                    <a:pt x="202577" y="296422"/>
                    <a:pt x="219398" y="295918"/>
                  </a:cubicBezTo>
                  <a:cubicBezTo>
                    <a:pt x="246597" y="295593"/>
                    <a:pt x="273700" y="299186"/>
                    <a:pt x="299875" y="306585"/>
                  </a:cubicBezTo>
                  <a:cubicBezTo>
                    <a:pt x="302736" y="307547"/>
                    <a:pt x="305835" y="306007"/>
                    <a:pt x="306796" y="303146"/>
                  </a:cubicBezTo>
                  <a:cubicBezTo>
                    <a:pt x="306987" y="302578"/>
                    <a:pt x="307083" y="301982"/>
                    <a:pt x="307081" y="301383"/>
                  </a:cubicBezTo>
                  <a:lnTo>
                    <a:pt x="307081" y="60277"/>
                  </a:lnTo>
                  <a:cubicBezTo>
                    <a:pt x="307084" y="57709"/>
                    <a:pt x="305298" y="55485"/>
                    <a:pt x="302790" y="54933"/>
                  </a:cubicBezTo>
                  <a:cubicBezTo>
                    <a:pt x="302790" y="54933"/>
                    <a:pt x="298499" y="53982"/>
                    <a:pt x="291151" y="52626"/>
                  </a:cubicBezTo>
                  <a:cubicBezTo>
                    <a:pt x="288178" y="52067"/>
                    <a:pt x="285314" y="54024"/>
                    <a:pt x="284755" y="56998"/>
                  </a:cubicBezTo>
                  <a:cubicBezTo>
                    <a:pt x="284196" y="59971"/>
                    <a:pt x="286154" y="62835"/>
                    <a:pt x="289127" y="63394"/>
                  </a:cubicBezTo>
                  <a:lnTo>
                    <a:pt x="296070" y="64730"/>
                  </a:lnTo>
                  <a:lnTo>
                    <a:pt x="296070" y="294097"/>
                  </a:lnTo>
                  <a:cubicBezTo>
                    <a:pt x="270980" y="287862"/>
                    <a:pt x="245210" y="284789"/>
                    <a:pt x="219358" y="284948"/>
                  </a:cubicBezTo>
                  <a:cubicBezTo>
                    <a:pt x="200693" y="285469"/>
                    <a:pt x="182236" y="289016"/>
                    <a:pt x="164708" y="295453"/>
                  </a:cubicBezTo>
                  <a:cubicBezTo>
                    <a:pt x="149061" y="288693"/>
                    <a:pt x="132223" y="285122"/>
                    <a:pt x="115179" y="284948"/>
                  </a:cubicBezTo>
                  <a:cubicBezTo>
                    <a:pt x="87515" y="284991"/>
                    <a:pt x="59943" y="288141"/>
                    <a:pt x="32982" y="294340"/>
                  </a:cubicBezTo>
                  <a:lnTo>
                    <a:pt x="32982" y="64527"/>
                  </a:lnTo>
                  <a:cubicBezTo>
                    <a:pt x="59917" y="58137"/>
                    <a:pt x="87497" y="54870"/>
                    <a:pt x="115179" y="54792"/>
                  </a:cubicBezTo>
                  <a:cubicBezTo>
                    <a:pt x="130235" y="55000"/>
                    <a:pt x="145113" y="58070"/>
                    <a:pt x="159020" y="63839"/>
                  </a:cubicBezTo>
                  <a:lnTo>
                    <a:pt x="159020" y="279463"/>
                  </a:lnTo>
                  <a:cubicBezTo>
                    <a:pt x="159021" y="281437"/>
                    <a:pt x="160079" y="283260"/>
                    <a:pt x="161793" y="284239"/>
                  </a:cubicBezTo>
                  <a:cubicBezTo>
                    <a:pt x="163500" y="285239"/>
                    <a:pt x="165613" y="285239"/>
                    <a:pt x="167319" y="284239"/>
                  </a:cubicBezTo>
                  <a:cubicBezTo>
                    <a:pt x="200107" y="264877"/>
                    <a:pt x="234591" y="248543"/>
                    <a:pt x="270344" y="235439"/>
                  </a:cubicBezTo>
                  <a:cubicBezTo>
                    <a:pt x="272581" y="234691"/>
                    <a:pt x="274088" y="232596"/>
                    <a:pt x="274088" y="230237"/>
                  </a:cubicBezTo>
                  <a:lnTo>
                    <a:pt x="274088" y="5486"/>
                  </a:lnTo>
                  <a:cubicBezTo>
                    <a:pt x="274093" y="3687"/>
                    <a:pt x="273216" y="2001"/>
                    <a:pt x="271741" y="972"/>
                  </a:cubicBezTo>
                  <a:cubicBezTo>
                    <a:pt x="270256" y="-46"/>
                    <a:pt x="268369" y="-280"/>
                    <a:pt x="266680" y="344"/>
                  </a:cubicBezTo>
                  <a:cubicBezTo>
                    <a:pt x="235935" y="12585"/>
                    <a:pt x="206284" y="27414"/>
                    <a:pt x="178047" y="44671"/>
                  </a:cubicBezTo>
                  <a:cubicBezTo>
                    <a:pt x="175402" y="46149"/>
                    <a:pt x="174456" y="49491"/>
                    <a:pt x="175933" y="52135"/>
                  </a:cubicBezTo>
                  <a:cubicBezTo>
                    <a:pt x="177411" y="54780"/>
                    <a:pt x="180752" y="55726"/>
                    <a:pt x="183397" y="54249"/>
                  </a:cubicBezTo>
                  <a:cubicBezTo>
                    <a:pt x="183555" y="54161"/>
                    <a:pt x="183708" y="54065"/>
                    <a:pt x="183856" y="53962"/>
                  </a:cubicBezTo>
                  <a:cubicBezTo>
                    <a:pt x="209218" y="38477"/>
                    <a:pt x="235722" y="24944"/>
                    <a:pt x="263138" y="13481"/>
                  </a:cubicBezTo>
                  <a:lnTo>
                    <a:pt x="263138" y="226210"/>
                  </a:lnTo>
                  <a:cubicBezTo>
                    <a:pt x="230934" y="238151"/>
                    <a:pt x="199789" y="252776"/>
                    <a:pt x="170031" y="269929"/>
                  </a:cubicBezTo>
                  <a:lnTo>
                    <a:pt x="170031" y="60277"/>
                  </a:lnTo>
                  <a:cubicBezTo>
                    <a:pt x="170028" y="58201"/>
                    <a:pt x="168853" y="56305"/>
                    <a:pt x="166995" y="55379"/>
                  </a:cubicBezTo>
                  <a:cubicBezTo>
                    <a:pt x="150742" y="47929"/>
                    <a:pt x="133098" y="43998"/>
                    <a:pt x="115220" y="43842"/>
                  </a:cubicBezTo>
                  <a:cubicBezTo>
                    <a:pt x="85140" y="43776"/>
                    <a:pt x="55174" y="47531"/>
                    <a:pt x="26040" y="55014"/>
                  </a:cubicBezTo>
                  <a:cubicBezTo>
                    <a:pt x="23657" y="55654"/>
                    <a:pt x="21998" y="57810"/>
                    <a:pt x="21991" y="60277"/>
                  </a:cubicBezTo>
                  <a:lnTo>
                    <a:pt x="21991" y="301383"/>
                  </a:lnTo>
                  <a:cubicBezTo>
                    <a:pt x="22003" y="304424"/>
                    <a:pt x="24477" y="306879"/>
                    <a:pt x="27518" y="306868"/>
                  </a:cubicBezTo>
                  <a:cubicBezTo>
                    <a:pt x="28010" y="306866"/>
                    <a:pt x="28500" y="306798"/>
                    <a:pt x="28974" y="306666"/>
                  </a:cubicBezTo>
                  <a:cubicBezTo>
                    <a:pt x="57140" y="299529"/>
                    <a:pt x="86083" y="295919"/>
                    <a:pt x="115139" y="295918"/>
                  </a:cubicBezTo>
                  <a:cubicBezTo>
                    <a:pt x="130193" y="296120"/>
                    <a:pt x="145071" y="299183"/>
                    <a:pt x="158980" y="304946"/>
                  </a:cubicBezTo>
                  <a:lnTo>
                    <a:pt x="158980" y="317778"/>
                  </a:lnTo>
                  <a:lnTo>
                    <a:pt x="27416" y="317778"/>
                  </a:lnTo>
                  <a:cubicBezTo>
                    <a:pt x="18332" y="317767"/>
                    <a:pt x="10971" y="310406"/>
                    <a:pt x="10960" y="301323"/>
                  </a:cubicBezTo>
                  <a:lnTo>
                    <a:pt x="10960" y="87683"/>
                  </a:lnTo>
                  <a:cubicBezTo>
                    <a:pt x="11144" y="84659"/>
                    <a:pt x="8842" y="82059"/>
                    <a:pt x="5818" y="81875"/>
                  </a:cubicBezTo>
                  <a:cubicBezTo>
                    <a:pt x="2794" y="81691"/>
                    <a:pt x="194" y="83993"/>
                    <a:pt x="10" y="87017"/>
                  </a:cubicBezTo>
                  <a:cubicBezTo>
                    <a:pt x="-3" y="87238"/>
                    <a:pt x="-3" y="87461"/>
                    <a:pt x="10" y="87683"/>
                  </a:cubicBezTo>
                  <a:lnTo>
                    <a:pt x="10" y="301383"/>
                  </a:lnTo>
                  <a:cubicBezTo>
                    <a:pt x="21" y="316514"/>
                    <a:pt x="12285" y="328778"/>
                    <a:pt x="27416" y="328789"/>
                  </a:cubicBezTo>
                  <a:lnTo>
                    <a:pt x="301656" y="328789"/>
                  </a:lnTo>
                  <a:cubicBezTo>
                    <a:pt x="316787" y="328778"/>
                    <a:pt x="329051" y="316514"/>
                    <a:pt x="329062" y="301383"/>
                  </a:cubicBezTo>
                  <a:lnTo>
                    <a:pt x="329062" y="87683"/>
                  </a:lnTo>
                  <a:cubicBezTo>
                    <a:pt x="329062" y="84653"/>
                    <a:pt x="326606" y="82198"/>
                    <a:pt x="323577" y="82198"/>
                  </a:cubicBezTo>
                  <a:close/>
                </a:path>
              </a:pathLst>
            </a:custGeom>
            <a:solidFill>
              <a:srgbClr val="1F6898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 192">
              <a:extLst>
                <a:ext uri="{FF2B5EF4-FFF2-40B4-BE49-F238E27FC236}">
                  <a16:creationId xmlns:a16="http://schemas.microsoft.com/office/drawing/2014/main" id="{C1198471-7B6B-DA6D-A52E-D396F7BE6D80}"/>
                </a:ext>
              </a:extLst>
            </p:cNvPr>
            <p:cNvSpPr/>
            <p:nvPr/>
          </p:nvSpPr>
          <p:spPr>
            <a:xfrm>
              <a:off x="6613854" y="4093652"/>
              <a:ext cx="60359" cy="32886"/>
            </a:xfrm>
            <a:custGeom>
              <a:avLst/>
              <a:gdLst>
                <a:gd name="connsiteX0" fmla="*/ 583 w 60359"/>
                <a:gd name="connsiteY0" fmla="*/ 29891 h 32886"/>
                <a:gd name="connsiteX1" fmla="*/ 5482 w 60359"/>
                <a:gd name="connsiteY1" fmla="*/ 32886 h 32886"/>
                <a:gd name="connsiteX2" fmla="*/ 7951 w 60359"/>
                <a:gd name="connsiteY2" fmla="*/ 32279 h 32886"/>
                <a:gd name="connsiteX3" fmla="*/ 56529 w 60359"/>
                <a:gd name="connsiteY3" fmla="*/ 10723 h 32886"/>
                <a:gd name="connsiteX4" fmla="*/ 60101 w 60359"/>
                <a:gd name="connsiteY4" fmla="*/ 3831 h 32886"/>
                <a:gd name="connsiteX5" fmla="*/ 53209 w 60359"/>
                <a:gd name="connsiteY5" fmla="*/ 258 h 32886"/>
                <a:gd name="connsiteX6" fmla="*/ 3073 w 60359"/>
                <a:gd name="connsiteY6" fmla="*/ 22523 h 32886"/>
                <a:gd name="connsiteX7" fmla="*/ 553 w 60359"/>
                <a:gd name="connsiteY7" fmla="*/ 29829 h 32886"/>
                <a:gd name="connsiteX8" fmla="*/ 583 w 60359"/>
                <a:gd name="connsiteY8" fmla="*/ 29891 h 3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359" h="32886">
                  <a:moveTo>
                    <a:pt x="583" y="29891"/>
                  </a:moveTo>
                  <a:cubicBezTo>
                    <a:pt x="1521" y="31732"/>
                    <a:pt x="3415" y="32890"/>
                    <a:pt x="5482" y="32886"/>
                  </a:cubicBezTo>
                  <a:cubicBezTo>
                    <a:pt x="6341" y="32882"/>
                    <a:pt x="7188" y="32674"/>
                    <a:pt x="7951" y="32279"/>
                  </a:cubicBezTo>
                  <a:cubicBezTo>
                    <a:pt x="23725" y="24185"/>
                    <a:pt x="39943" y="16988"/>
                    <a:pt x="56529" y="10723"/>
                  </a:cubicBezTo>
                  <a:cubicBezTo>
                    <a:pt x="59418" y="9806"/>
                    <a:pt x="61018" y="6721"/>
                    <a:pt x="60101" y="3831"/>
                  </a:cubicBezTo>
                  <a:cubicBezTo>
                    <a:pt x="59184" y="941"/>
                    <a:pt x="56099" y="-658"/>
                    <a:pt x="53209" y="258"/>
                  </a:cubicBezTo>
                  <a:cubicBezTo>
                    <a:pt x="36078" y="6698"/>
                    <a:pt x="19337" y="14132"/>
                    <a:pt x="3073" y="22523"/>
                  </a:cubicBezTo>
                  <a:cubicBezTo>
                    <a:pt x="360" y="23845"/>
                    <a:pt x="-769" y="27116"/>
                    <a:pt x="553" y="29829"/>
                  </a:cubicBezTo>
                  <a:cubicBezTo>
                    <a:pt x="563" y="29850"/>
                    <a:pt x="573" y="29870"/>
                    <a:pt x="583" y="29891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 193">
              <a:extLst>
                <a:ext uri="{FF2B5EF4-FFF2-40B4-BE49-F238E27FC236}">
                  <a16:creationId xmlns:a16="http://schemas.microsoft.com/office/drawing/2014/main" id="{9F31F164-80B2-19F5-E115-8ECE07DD8864}"/>
                </a:ext>
              </a:extLst>
            </p:cNvPr>
            <p:cNvSpPr/>
            <p:nvPr/>
          </p:nvSpPr>
          <p:spPr>
            <a:xfrm>
              <a:off x="6613854" y="4159483"/>
              <a:ext cx="60116" cy="32816"/>
            </a:xfrm>
            <a:custGeom>
              <a:avLst/>
              <a:gdLst>
                <a:gd name="connsiteX0" fmla="*/ 583 w 60116"/>
                <a:gd name="connsiteY0" fmla="*/ 29821 h 32816"/>
                <a:gd name="connsiteX1" fmla="*/ 5482 w 60116"/>
                <a:gd name="connsiteY1" fmla="*/ 32816 h 32816"/>
                <a:gd name="connsiteX2" fmla="*/ 7951 w 60116"/>
                <a:gd name="connsiteY2" fmla="*/ 32209 h 32816"/>
                <a:gd name="connsiteX3" fmla="*/ 56529 w 60116"/>
                <a:gd name="connsiteY3" fmla="*/ 10632 h 32816"/>
                <a:gd name="connsiteX4" fmla="*/ 59776 w 60116"/>
                <a:gd name="connsiteY4" fmla="*/ 3588 h 32816"/>
                <a:gd name="connsiteX5" fmla="*/ 53209 w 60116"/>
                <a:gd name="connsiteY5" fmla="*/ 188 h 32816"/>
                <a:gd name="connsiteX6" fmla="*/ 3073 w 60116"/>
                <a:gd name="connsiteY6" fmla="*/ 22453 h 32816"/>
                <a:gd name="connsiteX7" fmla="*/ 553 w 60116"/>
                <a:gd name="connsiteY7" fmla="*/ 29759 h 32816"/>
                <a:gd name="connsiteX8" fmla="*/ 583 w 60116"/>
                <a:gd name="connsiteY8" fmla="*/ 29821 h 32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116" h="32816">
                  <a:moveTo>
                    <a:pt x="583" y="29821"/>
                  </a:moveTo>
                  <a:cubicBezTo>
                    <a:pt x="1521" y="31662"/>
                    <a:pt x="3415" y="32820"/>
                    <a:pt x="5482" y="32816"/>
                  </a:cubicBezTo>
                  <a:cubicBezTo>
                    <a:pt x="6341" y="32812"/>
                    <a:pt x="7188" y="32604"/>
                    <a:pt x="7951" y="32209"/>
                  </a:cubicBezTo>
                  <a:cubicBezTo>
                    <a:pt x="23727" y="24114"/>
                    <a:pt x="39945" y="16910"/>
                    <a:pt x="56529" y="10632"/>
                  </a:cubicBezTo>
                  <a:cubicBezTo>
                    <a:pt x="59371" y="9584"/>
                    <a:pt x="60825" y="6430"/>
                    <a:pt x="59776" y="3588"/>
                  </a:cubicBezTo>
                  <a:cubicBezTo>
                    <a:pt x="58795" y="928"/>
                    <a:pt x="55948" y="-546"/>
                    <a:pt x="53209" y="188"/>
                  </a:cubicBezTo>
                  <a:cubicBezTo>
                    <a:pt x="36078" y="6628"/>
                    <a:pt x="19337" y="14062"/>
                    <a:pt x="3073" y="22453"/>
                  </a:cubicBezTo>
                  <a:cubicBezTo>
                    <a:pt x="360" y="23775"/>
                    <a:pt x="-769" y="27046"/>
                    <a:pt x="553" y="29759"/>
                  </a:cubicBezTo>
                  <a:cubicBezTo>
                    <a:pt x="563" y="29780"/>
                    <a:pt x="573" y="29800"/>
                    <a:pt x="583" y="29821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 194">
              <a:extLst>
                <a:ext uri="{FF2B5EF4-FFF2-40B4-BE49-F238E27FC236}">
                  <a16:creationId xmlns:a16="http://schemas.microsoft.com/office/drawing/2014/main" id="{C6AA3DE7-B484-D6FC-C6C9-8D60ABE5C14D}"/>
                </a:ext>
              </a:extLst>
            </p:cNvPr>
            <p:cNvSpPr/>
            <p:nvPr/>
          </p:nvSpPr>
          <p:spPr>
            <a:xfrm>
              <a:off x="6482286" y="4099416"/>
              <a:ext cx="81911" cy="16152"/>
            </a:xfrm>
            <a:custGeom>
              <a:avLst/>
              <a:gdLst>
                <a:gd name="connsiteX0" fmla="*/ 78048 w 81911"/>
                <a:gd name="connsiteY0" fmla="*/ 2772 h 16152"/>
                <a:gd name="connsiteX1" fmla="*/ 4149 w 81911"/>
                <a:gd name="connsiteY1" fmla="*/ 5383 h 16152"/>
                <a:gd name="connsiteX2" fmla="*/ 162 w 81911"/>
                <a:gd name="connsiteY2" fmla="*/ 12004 h 16152"/>
                <a:gd name="connsiteX3" fmla="*/ 5566 w 81911"/>
                <a:gd name="connsiteY3" fmla="*/ 16151 h 16152"/>
                <a:gd name="connsiteX4" fmla="*/ 6983 w 81911"/>
                <a:gd name="connsiteY4" fmla="*/ 15969 h 16152"/>
                <a:gd name="connsiteX5" fmla="*/ 75477 w 81911"/>
                <a:gd name="connsiteY5" fmla="*/ 13439 h 16152"/>
                <a:gd name="connsiteX6" fmla="*/ 81828 w 81911"/>
                <a:gd name="connsiteY6" fmla="*/ 8985 h 16152"/>
                <a:gd name="connsiteX7" fmla="*/ 77967 w 81911"/>
                <a:gd name="connsiteY7" fmla="*/ 2772 h 1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11" h="16152">
                  <a:moveTo>
                    <a:pt x="78048" y="2772"/>
                  </a:moveTo>
                  <a:cubicBezTo>
                    <a:pt x="53512" y="-1660"/>
                    <a:pt x="28311" y="-769"/>
                    <a:pt x="4149" y="5383"/>
                  </a:cubicBezTo>
                  <a:cubicBezTo>
                    <a:pt x="1220" y="6111"/>
                    <a:pt x="-565" y="9075"/>
                    <a:pt x="162" y="12004"/>
                  </a:cubicBezTo>
                  <a:cubicBezTo>
                    <a:pt x="776" y="14477"/>
                    <a:pt x="3018" y="16198"/>
                    <a:pt x="5566" y="16151"/>
                  </a:cubicBezTo>
                  <a:cubicBezTo>
                    <a:pt x="6044" y="16151"/>
                    <a:pt x="6520" y="16089"/>
                    <a:pt x="6983" y="15969"/>
                  </a:cubicBezTo>
                  <a:cubicBezTo>
                    <a:pt x="29387" y="10351"/>
                    <a:pt x="52720" y="9489"/>
                    <a:pt x="75477" y="13439"/>
                  </a:cubicBezTo>
                  <a:cubicBezTo>
                    <a:pt x="78461" y="13963"/>
                    <a:pt x="81305" y="11968"/>
                    <a:pt x="81828" y="8985"/>
                  </a:cubicBezTo>
                  <a:cubicBezTo>
                    <a:pt x="82311" y="6233"/>
                    <a:pt x="80648" y="3558"/>
                    <a:pt x="77967" y="2772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 195">
              <a:extLst>
                <a:ext uri="{FF2B5EF4-FFF2-40B4-BE49-F238E27FC236}">
                  <a16:creationId xmlns:a16="http://schemas.microsoft.com/office/drawing/2014/main" id="{8C2B09AB-F693-8F31-B429-AAC662484508}"/>
                </a:ext>
              </a:extLst>
            </p:cNvPr>
            <p:cNvSpPr/>
            <p:nvPr/>
          </p:nvSpPr>
          <p:spPr>
            <a:xfrm>
              <a:off x="6482424" y="4132299"/>
              <a:ext cx="81773" cy="16159"/>
            </a:xfrm>
            <a:custGeom>
              <a:avLst/>
              <a:gdLst>
                <a:gd name="connsiteX0" fmla="*/ 77910 w 81773"/>
                <a:gd name="connsiteY0" fmla="*/ 2780 h 16159"/>
                <a:gd name="connsiteX1" fmla="*/ 4011 w 81773"/>
                <a:gd name="connsiteY1" fmla="*/ 5391 h 16159"/>
                <a:gd name="connsiteX2" fmla="*/ 203 w 81773"/>
                <a:gd name="connsiteY2" fmla="*/ 12150 h 16159"/>
                <a:gd name="connsiteX3" fmla="*/ 5428 w 81773"/>
                <a:gd name="connsiteY3" fmla="*/ 16159 h 16159"/>
                <a:gd name="connsiteX4" fmla="*/ 6845 w 81773"/>
                <a:gd name="connsiteY4" fmla="*/ 15977 h 16159"/>
                <a:gd name="connsiteX5" fmla="*/ 75339 w 81773"/>
                <a:gd name="connsiteY5" fmla="*/ 13447 h 16159"/>
                <a:gd name="connsiteX6" fmla="*/ 81690 w 81773"/>
                <a:gd name="connsiteY6" fmla="*/ 8992 h 16159"/>
                <a:gd name="connsiteX7" fmla="*/ 77829 w 81773"/>
                <a:gd name="connsiteY7" fmla="*/ 2780 h 16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73" h="16159">
                  <a:moveTo>
                    <a:pt x="77910" y="2780"/>
                  </a:moveTo>
                  <a:cubicBezTo>
                    <a:pt x="53375" y="-1663"/>
                    <a:pt x="28171" y="-772"/>
                    <a:pt x="4011" y="5391"/>
                  </a:cubicBezTo>
                  <a:cubicBezTo>
                    <a:pt x="1094" y="6206"/>
                    <a:pt x="-611" y="9232"/>
                    <a:pt x="203" y="12150"/>
                  </a:cubicBezTo>
                  <a:cubicBezTo>
                    <a:pt x="860" y="14499"/>
                    <a:pt x="2989" y="16133"/>
                    <a:pt x="5428" y="16159"/>
                  </a:cubicBezTo>
                  <a:cubicBezTo>
                    <a:pt x="5906" y="16158"/>
                    <a:pt x="6382" y="16097"/>
                    <a:pt x="6845" y="15977"/>
                  </a:cubicBezTo>
                  <a:cubicBezTo>
                    <a:pt x="29248" y="10347"/>
                    <a:pt x="52583" y="9486"/>
                    <a:pt x="75339" y="13447"/>
                  </a:cubicBezTo>
                  <a:cubicBezTo>
                    <a:pt x="78323" y="13971"/>
                    <a:pt x="81167" y="11976"/>
                    <a:pt x="81690" y="8992"/>
                  </a:cubicBezTo>
                  <a:cubicBezTo>
                    <a:pt x="82173" y="6241"/>
                    <a:pt x="80510" y="3565"/>
                    <a:pt x="77829" y="2780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 196">
              <a:extLst>
                <a:ext uri="{FF2B5EF4-FFF2-40B4-BE49-F238E27FC236}">
                  <a16:creationId xmlns:a16="http://schemas.microsoft.com/office/drawing/2014/main" id="{37ADBA20-7D25-07B8-50EB-31BC03D297BF}"/>
                </a:ext>
              </a:extLst>
            </p:cNvPr>
            <p:cNvSpPr/>
            <p:nvPr/>
          </p:nvSpPr>
          <p:spPr>
            <a:xfrm>
              <a:off x="6613854" y="4192284"/>
              <a:ext cx="60359" cy="32886"/>
            </a:xfrm>
            <a:custGeom>
              <a:avLst/>
              <a:gdLst>
                <a:gd name="connsiteX0" fmla="*/ 583 w 60359"/>
                <a:gd name="connsiteY0" fmla="*/ 29891 h 32886"/>
                <a:gd name="connsiteX1" fmla="*/ 5482 w 60359"/>
                <a:gd name="connsiteY1" fmla="*/ 32886 h 32886"/>
                <a:gd name="connsiteX2" fmla="*/ 7951 w 60359"/>
                <a:gd name="connsiteY2" fmla="*/ 32299 h 32886"/>
                <a:gd name="connsiteX3" fmla="*/ 56529 w 60359"/>
                <a:gd name="connsiteY3" fmla="*/ 10723 h 32886"/>
                <a:gd name="connsiteX4" fmla="*/ 60101 w 60359"/>
                <a:gd name="connsiteY4" fmla="*/ 3831 h 32886"/>
                <a:gd name="connsiteX5" fmla="*/ 53209 w 60359"/>
                <a:gd name="connsiteY5" fmla="*/ 258 h 32886"/>
                <a:gd name="connsiteX6" fmla="*/ 3073 w 60359"/>
                <a:gd name="connsiteY6" fmla="*/ 22523 h 32886"/>
                <a:gd name="connsiteX7" fmla="*/ 553 w 60359"/>
                <a:gd name="connsiteY7" fmla="*/ 29829 h 32886"/>
                <a:gd name="connsiteX8" fmla="*/ 583 w 60359"/>
                <a:gd name="connsiteY8" fmla="*/ 29891 h 3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359" h="32886">
                  <a:moveTo>
                    <a:pt x="583" y="29891"/>
                  </a:moveTo>
                  <a:cubicBezTo>
                    <a:pt x="1521" y="31732"/>
                    <a:pt x="3415" y="32890"/>
                    <a:pt x="5482" y="32886"/>
                  </a:cubicBezTo>
                  <a:cubicBezTo>
                    <a:pt x="6340" y="32889"/>
                    <a:pt x="7186" y="32688"/>
                    <a:pt x="7951" y="32299"/>
                  </a:cubicBezTo>
                  <a:cubicBezTo>
                    <a:pt x="23719" y="24187"/>
                    <a:pt x="39938" y="16983"/>
                    <a:pt x="56529" y="10723"/>
                  </a:cubicBezTo>
                  <a:cubicBezTo>
                    <a:pt x="59418" y="9806"/>
                    <a:pt x="61018" y="6721"/>
                    <a:pt x="60101" y="3831"/>
                  </a:cubicBezTo>
                  <a:cubicBezTo>
                    <a:pt x="59184" y="941"/>
                    <a:pt x="56099" y="-658"/>
                    <a:pt x="53209" y="258"/>
                  </a:cubicBezTo>
                  <a:cubicBezTo>
                    <a:pt x="36078" y="6698"/>
                    <a:pt x="19337" y="14132"/>
                    <a:pt x="3073" y="22523"/>
                  </a:cubicBezTo>
                  <a:cubicBezTo>
                    <a:pt x="360" y="23845"/>
                    <a:pt x="-769" y="27116"/>
                    <a:pt x="553" y="29829"/>
                  </a:cubicBezTo>
                  <a:cubicBezTo>
                    <a:pt x="563" y="29850"/>
                    <a:pt x="573" y="29870"/>
                    <a:pt x="583" y="29891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eform 197">
              <a:extLst>
                <a:ext uri="{FF2B5EF4-FFF2-40B4-BE49-F238E27FC236}">
                  <a16:creationId xmlns:a16="http://schemas.microsoft.com/office/drawing/2014/main" id="{49B46F58-DE04-113B-64EE-E37BCEB3A8A1}"/>
                </a:ext>
              </a:extLst>
            </p:cNvPr>
            <p:cNvSpPr/>
            <p:nvPr/>
          </p:nvSpPr>
          <p:spPr>
            <a:xfrm>
              <a:off x="6482351" y="4165153"/>
              <a:ext cx="81846" cy="16155"/>
            </a:xfrm>
            <a:custGeom>
              <a:avLst/>
              <a:gdLst>
                <a:gd name="connsiteX0" fmla="*/ 77983 w 81846"/>
                <a:gd name="connsiteY0" fmla="*/ 2797 h 16155"/>
                <a:gd name="connsiteX1" fmla="*/ 4085 w 81846"/>
                <a:gd name="connsiteY1" fmla="*/ 5368 h 16155"/>
                <a:gd name="connsiteX2" fmla="*/ 183 w 81846"/>
                <a:gd name="connsiteY2" fmla="*/ 12072 h 16155"/>
                <a:gd name="connsiteX3" fmla="*/ 5502 w 81846"/>
                <a:gd name="connsiteY3" fmla="*/ 16156 h 16155"/>
                <a:gd name="connsiteX4" fmla="*/ 6918 w 81846"/>
                <a:gd name="connsiteY4" fmla="*/ 15953 h 16155"/>
                <a:gd name="connsiteX5" fmla="*/ 75413 w 81846"/>
                <a:gd name="connsiteY5" fmla="*/ 13464 h 16155"/>
                <a:gd name="connsiteX6" fmla="*/ 81764 w 81846"/>
                <a:gd name="connsiteY6" fmla="*/ 9009 h 16155"/>
                <a:gd name="connsiteX7" fmla="*/ 77902 w 81846"/>
                <a:gd name="connsiteY7" fmla="*/ 2797 h 16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46" h="16155">
                  <a:moveTo>
                    <a:pt x="77983" y="2797"/>
                  </a:moveTo>
                  <a:cubicBezTo>
                    <a:pt x="53451" y="-1659"/>
                    <a:pt x="28248" y="-782"/>
                    <a:pt x="4085" y="5368"/>
                  </a:cubicBezTo>
                  <a:cubicBezTo>
                    <a:pt x="1156" y="6142"/>
                    <a:pt x="-591" y="9144"/>
                    <a:pt x="183" y="12072"/>
                  </a:cubicBezTo>
                  <a:cubicBezTo>
                    <a:pt x="821" y="14485"/>
                    <a:pt x="3006" y="16163"/>
                    <a:pt x="5502" y="16156"/>
                  </a:cubicBezTo>
                  <a:cubicBezTo>
                    <a:pt x="5981" y="16148"/>
                    <a:pt x="6457" y="16080"/>
                    <a:pt x="6918" y="15953"/>
                  </a:cubicBezTo>
                  <a:cubicBezTo>
                    <a:pt x="29325" y="10349"/>
                    <a:pt x="52658" y="9501"/>
                    <a:pt x="75413" y="13464"/>
                  </a:cubicBezTo>
                  <a:cubicBezTo>
                    <a:pt x="78397" y="13987"/>
                    <a:pt x="81240" y="11993"/>
                    <a:pt x="81764" y="9009"/>
                  </a:cubicBezTo>
                  <a:cubicBezTo>
                    <a:pt x="82246" y="6257"/>
                    <a:pt x="80584" y="3582"/>
                    <a:pt x="77902" y="2797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reeform 198">
              <a:extLst>
                <a:ext uri="{FF2B5EF4-FFF2-40B4-BE49-F238E27FC236}">
                  <a16:creationId xmlns:a16="http://schemas.microsoft.com/office/drawing/2014/main" id="{D12B6AFC-37FE-FEA4-23CA-0FDBE55C8BDF}"/>
                </a:ext>
              </a:extLst>
            </p:cNvPr>
            <p:cNvSpPr/>
            <p:nvPr/>
          </p:nvSpPr>
          <p:spPr>
            <a:xfrm>
              <a:off x="6482424" y="4230932"/>
              <a:ext cx="81773" cy="16159"/>
            </a:xfrm>
            <a:custGeom>
              <a:avLst/>
              <a:gdLst>
                <a:gd name="connsiteX0" fmla="*/ 77910 w 81773"/>
                <a:gd name="connsiteY0" fmla="*/ 2780 h 16159"/>
                <a:gd name="connsiteX1" fmla="*/ 4011 w 81773"/>
                <a:gd name="connsiteY1" fmla="*/ 5391 h 16159"/>
                <a:gd name="connsiteX2" fmla="*/ 203 w 81773"/>
                <a:gd name="connsiteY2" fmla="*/ 12150 h 16159"/>
                <a:gd name="connsiteX3" fmla="*/ 5428 w 81773"/>
                <a:gd name="connsiteY3" fmla="*/ 16159 h 16159"/>
                <a:gd name="connsiteX4" fmla="*/ 6845 w 81773"/>
                <a:gd name="connsiteY4" fmla="*/ 15977 h 16159"/>
                <a:gd name="connsiteX5" fmla="*/ 75339 w 81773"/>
                <a:gd name="connsiteY5" fmla="*/ 13447 h 16159"/>
                <a:gd name="connsiteX6" fmla="*/ 81690 w 81773"/>
                <a:gd name="connsiteY6" fmla="*/ 8992 h 16159"/>
                <a:gd name="connsiteX7" fmla="*/ 77829 w 81773"/>
                <a:gd name="connsiteY7" fmla="*/ 2780 h 16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73" h="16159">
                  <a:moveTo>
                    <a:pt x="77910" y="2780"/>
                  </a:moveTo>
                  <a:cubicBezTo>
                    <a:pt x="53375" y="-1663"/>
                    <a:pt x="28171" y="-772"/>
                    <a:pt x="4011" y="5391"/>
                  </a:cubicBezTo>
                  <a:cubicBezTo>
                    <a:pt x="1094" y="6206"/>
                    <a:pt x="-611" y="9232"/>
                    <a:pt x="203" y="12150"/>
                  </a:cubicBezTo>
                  <a:cubicBezTo>
                    <a:pt x="860" y="14499"/>
                    <a:pt x="2989" y="16133"/>
                    <a:pt x="5428" y="16159"/>
                  </a:cubicBezTo>
                  <a:cubicBezTo>
                    <a:pt x="5906" y="16158"/>
                    <a:pt x="6382" y="16097"/>
                    <a:pt x="6845" y="15977"/>
                  </a:cubicBezTo>
                  <a:cubicBezTo>
                    <a:pt x="29249" y="10359"/>
                    <a:pt x="52582" y="9497"/>
                    <a:pt x="75339" y="13447"/>
                  </a:cubicBezTo>
                  <a:cubicBezTo>
                    <a:pt x="78323" y="13971"/>
                    <a:pt x="81167" y="11976"/>
                    <a:pt x="81690" y="8992"/>
                  </a:cubicBezTo>
                  <a:cubicBezTo>
                    <a:pt x="82173" y="6241"/>
                    <a:pt x="80510" y="3565"/>
                    <a:pt x="77829" y="2780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eform 199">
              <a:extLst>
                <a:ext uri="{FF2B5EF4-FFF2-40B4-BE49-F238E27FC236}">
                  <a16:creationId xmlns:a16="http://schemas.microsoft.com/office/drawing/2014/main" id="{1335F4AB-2BEE-EEDA-2E7A-19D7624DB21A}"/>
                </a:ext>
              </a:extLst>
            </p:cNvPr>
            <p:cNvSpPr/>
            <p:nvPr/>
          </p:nvSpPr>
          <p:spPr>
            <a:xfrm>
              <a:off x="6482351" y="4198097"/>
              <a:ext cx="81742" cy="16163"/>
            </a:xfrm>
            <a:custGeom>
              <a:avLst/>
              <a:gdLst>
                <a:gd name="connsiteX0" fmla="*/ 77983 w 81742"/>
                <a:gd name="connsiteY0" fmla="*/ 2785 h 16163"/>
                <a:gd name="connsiteX1" fmla="*/ 4085 w 81742"/>
                <a:gd name="connsiteY1" fmla="*/ 5376 h 16163"/>
                <a:gd name="connsiteX2" fmla="*/ 183 w 81742"/>
                <a:gd name="connsiteY2" fmla="*/ 12081 h 16163"/>
                <a:gd name="connsiteX3" fmla="*/ 5502 w 81742"/>
                <a:gd name="connsiteY3" fmla="*/ 16164 h 16163"/>
                <a:gd name="connsiteX4" fmla="*/ 6918 w 81742"/>
                <a:gd name="connsiteY4" fmla="*/ 15962 h 16163"/>
                <a:gd name="connsiteX5" fmla="*/ 75413 w 81742"/>
                <a:gd name="connsiteY5" fmla="*/ 13411 h 16163"/>
                <a:gd name="connsiteX6" fmla="*/ 81677 w 81742"/>
                <a:gd name="connsiteY6" fmla="*/ 8836 h 16163"/>
                <a:gd name="connsiteX7" fmla="*/ 77983 w 81742"/>
                <a:gd name="connsiteY7" fmla="*/ 2785 h 1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42" h="16163">
                  <a:moveTo>
                    <a:pt x="77983" y="2785"/>
                  </a:moveTo>
                  <a:cubicBezTo>
                    <a:pt x="53450" y="-1660"/>
                    <a:pt x="28247" y="-776"/>
                    <a:pt x="4085" y="5376"/>
                  </a:cubicBezTo>
                  <a:cubicBezTo>
                    <a:pt x="1156" y="6150"/>
                    <a:pt x="-591" y="9152"/>
                    <a:pt x="183" y="12081"/>
                  </a:cubicBezTo>
                  <a:cubicBezTo>
                    <a:pt x="821" y="14493"/>
                    <a:pt x="3006" y="16171"/>
                    <a:pt x="5502" y="16164"/>
                  </a:cubicBezTo>
                  <a:cubicBezTo>
                    <a:pt x="5981" y="16166"/>
                    <a:pt x="6459" y="16098"/>
                    <a:pt x="6918" y="15962"/>
                  </a:cubicBezTo>
                  <a:cubicBezTo>
                    <a:pt x="29320" y="10330"/>
                    <a:pt x="52654" y="9461"/>
                    <a:pt x="75413" y="13411"/>
                  </a:cubicBezTo>
                  <a:cubicBezTo>
                    <a:pt x="78406" y="13877"/>
                    <a:pt x="81211" y="11829"/>
                    <a:pt x="81677" y="8836"/>
                  </a:cubicBezTo>
                  <a:cubicBezTo>
                    <a:pt x="82089" y="6187"/>
                    <a:pt x="80527" y="3628"/>
                    <a:pt x="77983" y="2785"/>
                  </a:cubicBezTo>
                  <a:close/>
                </a:path>
              </a:pathLst>
            </a:custGeom>
            <a:solidFill>
              <a:srgbClr val="BF5C7A"/>
            </a:solidFill>
            <a:ln w="202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1" name="Graphic 298">
            <a:extLst>
              <a:ext uri="{FF2B5EF4-FFF2-40B4-BE49-F238E27FC236}">
                <a16:creationId xmlns:a16="http://schemas.microsoft.com/office/drawing/2014/main" id="{2BFD28AC-E95F-B453-9AF5-E9BE0AADB853}"/>
              </a:ext>
            </a:extLst>
          </p:cNvPr>
          <p:cNvGrpSpPr/>
          <p:nvPr/>
        </p:nvGrpSpPr>
        <p:grpSpPr>
          <a:xfrm>
            <a:off x="7322390" y="4366418"/>
            <a:ext cx="404813" cy="404813"/>
            <a:chOff x="7259637" y="3980656"/>
            <a:chExt cx="404813" cy="404813"/>
          </a:xfrm>
        </p:grpSpPr>
        <p:sp>
          <p:nvSpPr>
            <p:cNvPr id="202" name="Freeform 201">
              <a:extLst>
                <a:ext uri="{FF2B5EF4-FFF2-40B4-BE49-F238E27FC236}">
                  <a16:creationId xmlns:a16="http://schemas.microsoft.com/office/drawing/2014/main" id="{0CECA81E-192F-E059-7016-E88A10D2A054}"/>
                </a:ext>
              </a:extLst>
            </p:cNvPr>
            <p:cNvSpPr/>
            <p:nvPr/>
          </p:nvSpPr>
          <p:spPr>
            <a:xfrm>
              <a:off x="7262311" y="4056544"/>
              <a:ext cx="396781" cy="243863"/>
            </a:xfrm>
            <a:custGeom>
              <a:avLst/>
              <a:gdLst>
                <a:gd name="connsiteX0" fmla="*/ 336357 w 396781"/>
                <a:gd name="connsiteY0" fmla="*/ 243863 h 243863"/>
                <a:gd name="connsiteX1" fmla="*/ 60578 w 396781"/>
                <a:gd name="connsiteY1" fmla="*/ 243863 h 243863"/>
                <a:gd name="connsiteX2" fmla="*/ 1 w 396781"/>
                <a:gd name="connsiteY2" fmla="*/ 183807 h 243863"/>
                <a:gd name="connsiteX3" fmla="*/ 55087 w 396781"/>
                <a:gd name="connsiteY3" fmla="*/ 123456 h 243863"/>
                <a:gd name="connsiteX4" fmla="*/ 141413 w 396781"/>
                <a:gd name="connsiteY4" fmla="*/ 48238 h 243863"/>
                <a:gd name="connsiteX5" fmla="*/ 162009 w 396781"/>
                <a:gd name="connsiteY5" fmla="*/ 52387 h 243863"/>
                <a:gd name="connsiteX6" fmla="*/ 294069 w 396781"/>
                <a:gd name="connsiteY6" fmla="*/ 11219 h 243863"/>
                <a:gd name="connsiteX7" fmla="*/ 342985 w 396781"/>
                <a:gd name="connsiteY7" fmla="*/ 123583 h 243863"/>
                <a:gd name="connsiteX8" fmla="*/ 396422 w 396781"/>
                <a:gd name="connsiteY8" fmla="*/ 190072 h 243863"/>
                <a:gd name="connsiteX9" fmla="*/ 336357 w 396781"/>
                <a:gd name="connsiteY9" fmla="*/ 243863 h 243863"/>
                <a:gd name="connsiteX10" fmla="*/ 135772 w 396781"/>
                <a:gd name="connsiteY10" fmla="*/ 59370 h 243863"/>
                <a:gd name="connsiteX11" fmla="*/ 66270 w 396781"/>
                <a:gd name="connsiteY11" fmla="*/ 128871 h 243863"/>
                <a:gd name="connsiteX12" fmla="*/ 60603 w 396781"/>
                <a:gd name="connsiteY12" fmla="*/ 134538 h 243863"/>
                <a:gd name="connsiteX13" fmla="*/ 10495 w 396781"/>
                <a:gd name="connsiteY13" fmla="*/ 182420 h 243863"/>
                <a:gd name="connsiteX14" fmla="*/ 58376 w 396781"/>
                <a:gd name="connsiteY14" fmla="*/ 232528 h 243863"/>
                <a:gd name="connsiteX15" fmla="*/ 60603 w 396781"/>
                <a:gd name="connsiteY15" fmla="*/ 232528 h 243863"/>
                <a:gd name="connsiteX16" fmla="*/ 336357 w 396781"/>
                <a:gd name="connsiteY16" fmla="*/ 232528 h 243863"/>
                <a:gd name="connsiteX17" fmla="*/ 386465 w 396781"/>
                <a:gd name="connsiteY17" fmla="*/ 184647 h 243863"/>
                <a:gd name="connsiteX18" fmla="*/ 338583 w 396781"/>
                <a:gd name="connsiteY18" fmla="*/ 134538 h 243863"/>
                <a:gd name="connsiteX19" fmla="*/ 336357 w 396781"/>
                <a:gd name="connsiteY19" fmla="*/ 134538 h 243863"/>
                <a:gd name="connsiteX20" fmla="*/ 335420 w 396781"/>
                <a:gd name="connsiteY20" fmla="*/ 134538 h 243863"/>
                <a:gd name="connsiteX21" fmla="*/ 329756 w 396781"/>
                <a:gd name="connsiteY21" fmla="*/ 128817 h 243863"/>
                <a:gd name="connsiteX22" fmla="*/ 330082 w 396781"/>
                <a:gd name="connsiteY22" fmla="*/ 126948 h 243863"/>
                <a:gd name="connsiteX23" fmla="*/ 335142 w 396781"/>
                <a:gd name="connsiteY23" fmla="*/ 98055 h 243863"/>
                <a:gd name="connsiteX24" fmla="*/ 248716 w 396781"/>
                <a:gd name="connsiteY24" fmla="*/ 11424 h 243863"/>
                <a:gd name="connsiteX25" fmla="*/ 169953 w 396781"/>
                <a:gd name="connsiteY25" fmla="*/ 61900 h 243863"/>
                <a:gd name="connsiteX26" fmla="*/ 162616 w 396781"/>
                <a:gd name="connsiteY26" fmla="*/ 64733 h 243863"/>
                <a:gd name="connsiteX27" fmla="*/ 135772 w 396781"/>
                <a:gd name="connsiteY27" fmla="*/ 59370 h 243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96781" h="243863">
                  <a:moveTo>
                    <a:pt x="336357" y="243863"/>
                  </a:moveTo>
                  <a:lnTo>
                    <a:pt x="60578" y="243863"/>
                  </a:lnTo>
                  <a:cubicBezTo>
                    <a:pt x="27266" y="244007"/>
                    <a:pt x="144" y="217119"/>
                    <a:pt x="1" y="183807"/>
                  </a:cubicBezTo>
                  <a:cubicBezTo>
                    <a:pt x="-135" y="152422"/>
                    <a:pt x="23820" y="126178"/>
                    <a:pt x="55087" y="123456"/>
                  </a:cubicBezTo>
                  <a:cubicBezTo>
                    <a:pt x="58155" y="78847"/>
                    <a:pt x="96804" y="45171"/>
                    <a:pt x="141413" y="48238"/>
                  </a:cubicBezTo>
                  <a:cubicBezTo>
                    <a:pt x="148429" y="48720"/>
                    <a:pt x="155353" y="50115"/>
                    <a:pt x="162009" y="52387"/>
                  </a:cubicBezTo>
                  <a:cubicBezTo>
                    <a:pt x="187108" y="4551"/>
                    <a:pt x="246233" y="-13881"/>
                    <a:pt x="294069" y="11219"/>
                  </a:cubicBezTo>
                  <a:cubicBezTo>
                    <a:pt x="334725" y="32551"/>
                    <a:pt x="355072" y="79290"/>
                    <a:pt x="342985" y="123583"/>
                  </a:cubicBezTo>
                  <a:cubicBezTo>
                    <a:pt x="376102" y="127187"/>
                    <a:pt x="400026" y="156956"/>
                    <a:pt x="396422" y="190072"/>
                  </a:cubicBezTo>
                  <a:cubicBezTo>
                    <a:pt x="393087" y="220717"/>
                    <a:pt x="367182" y="243915"/>
                    <a:pt x="336357" y="243863"/>
                  </a:cubicBezTo>
                  <a:close/>
                  <a:moveTo>
                    <a:pt x="135772" y="59370"/>
                  </a:moveTo>
                  <a:cubicBezTo>
                    <a:pt x="97405" y="59411"/>
                    <a:pt x="66312" y="90504"/>
                    <a:pt x="66270" y="128871"/>
                  </a:cubicBezTo>
                  <a:cubicBezTo>
                    <a:pt x="66270" y="132001"/>
                    <a:pt x="63733" y="134538"/>
                    <a:pt x="60603" y="134538"/>
                  </a:cubicBezTo>
                  <a:cubicBezTo>
                    <a:pt x="33544" y="133923"/>
                    <a:pt x="11109" y="155361"/>
                    <a:pt x="10495" y="182420"/>
                  </a:cubicBezTo>
                  <a:cubicBezTo>
                    <a:pt x="9880" y="209479"/>
                    <a:pt x="31317" y="231913"/>
                    <a:pt x="58376" y="232528"/>
                  </a:cubicBezTo>
                  <a:cubicBezTo>
                    <a:pt x="59118" y="232545"/>
                    <a:pt x="59861" y="232545"/>
                    <a:pt x="60603" y="232528"/>
                  </a:cubicBezTo>
                  <a:lnTo>
                    <a:pt x="336357" y="232528"/>
                  </a:lnTo>
                  <a:cubicBezTo>
                    <a:pt x="363416" y="233143"/>
                    <a:pt x="385850" y="211706"/>
                    <a:pt x="386465" y="184647"/>
                  </a:cubicBezTo>
                  <a:cubicBezTo>
                    <a:pt x="387080" y="157588"/>
                    <a:pt x="365643" y="135153"/>
                    <a:pt x="338583" y="134538"/>
                  </a:cubicBezTo>
                  <a:cubicBezTo>
                    <a:pt x="337841" y="134521"/>
                    <a:pt x="337099" y="134521"/>
                    <a:pt x="336357" y="134538"/>
                  </a:cubicBezTo>
                  <a:lnTo>
                    <a:pt x="335420" y="134538"/>
                  </a:lnTo>
                  <a:cubicBezTo>
                    <a:pt x="332277" y="134522"/>
                    <a:pt x="329741" y="131961"/>
                    <a:pt x="329756" y="128817"/>
                  </a:cubicBezTo>
                  <a:cubicBezTo>
                    <a:pt x="329760" y="128180"/>
                    <a:pt x="329870" y="127548"/>
                    <a:pt x="330082" y="126948"/>
                  </a:cubicBezTo>
                  <a:cubicBezTo>
                    <a:pt x="333363" y="117665"/>
                    <a:pt x="335073" y="107900"/>
                    <a:pt x="335142" y="98055"/>
                  </a:cubicBezTo>
                  <a:cubicBezTo>
                    <a:pt x="335199" y="50266"/>
                    <a:pt x="296504" y="11480"/>
                    <a:pt x="248716" y="11424"/>
                  </a:cubicBezTo>
                  <a:cubicBezTo>
                    <a:pt x="214845" y="11383"/>
                    <a:pt x="184065" y="31109"/>
                    <a:pt x="169953" y="61900"/>
                  </a:cubicBezTo>
                  <a:cubicBezTo>
                    <a:pt x="168658" y="64654"/>
                    <a:pt x="165426" y="65902"/>
                    <a:pt x="162616" y="64733"/>
                  </a:cubicBezTo>
                  <a:cubicBezTo>
                    <a:pt x="154117" y="61168"/>
                    <a:pt x="144988" y="59344"/>
                    <a:pt x="135772" y="59370"/>
                  </a:cubicBezTo>
                  <a:close/>
                </a:path>
              </a:pathLst>
            </a:custGeom>
            <a:solidFill>
              <a:srgbClr val="1F6896"/>
            </a:solidFill>
            <a:ln w="250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eform 202">
              <a:extLst>
                <a:ext uri="{FF2B5EF4-FFF2-40B4-BE49-F238E27FC236}">
                  <a16:creationId xmlns:a16="http://schemas.microsoft.com/office/drawing/2014/main" id="{230D3300-1405-F869-3A3E-6C1130B14A48}"/>
                </a:ext>
              </a:extLst>
            </p:cNvPr>
            <p:cNvSpPr/>
            <p:nvPr/>
          </p:nvSpPr>
          <p:spPr>
            <a:xfrm>
              <a:off x="7372655" y="4171826"/>
              <a:ext cx="65099" cy="75207"/>
            </a:xfrm>
            <a:custGeom>
              <a:avLst/>
              <a:gdLst>
                <a:gd name="connsiteX0" fmla="*/ 65099 w 65099"/>
                <a:gd name="connsiteY0" fmla="*/ 62242 h 75207"/>
                <a:gd name="connsiteX1" fmla="*/ 54068 w 65099"/>
                <a:gd name="connsiteY1" fmla="*/ 71603 h 75207"/>
                <a:gd name="connsiteX2" fmla="*/ 37800 w 65099"/>
                <a:gd name="connsiteY2" fmla="*/ 75196 h 75207"/>
                <a:gd name="connsiteX3" fmla="*/ 22619 w 65099"/>
                <a:gd name="connsiteY3" fmla="*/ 72413 h 75207"/>
                <a:gd name="connsiteX4" fmla="*/ 10702 w 65099"/>
                <a:gd name="connsiteY4" fmla="*/ 64620 h 75207"/>
                <a:gd name="connsiteX5" fmla="*/ 2859 w 65099"/>
                <a:gd name="connsiteY5" fmla="*/ 52704 h 75207"/>
                <a:gd name="connsiteX6" fmla="*/ 2859 w 65099"/>
                <a:gd name="connsiteY6" fmla="*/ 22165 h 75207"/>
                <a:gd name="connsiteX7" fmla="*/ 10955 w 65099"/>
                <a:gd name="connsiteY7" fmla="*/ 10325 h 75207"/>
                <a:gd name="connsiteX8" fmla="*/ 23024 w 65099"/>
                <a:gd name="connsiteY8" fmla="*/ 2734 h 75207"/>
                <a:gd name="connsiteX9" fmla="*/ 38204 w 65099"/>
                <a:gd name="connsiteY9" fmla="*/ 2 h 75207"/>
                <a:gd name="connsiteX10" fmla="*/ 45567 w 65099"/>
                <a:gd name="connsiteY10" fmla="*/ 710 h 75207"/>
                <a:gd name="connsiteX11" fmla="*/ 52752 w 65099"/>
                <a:gd name="connsiteY11" fmla="*/ 2836 h 75207"/>
                <a:gd name="connsiteX12" fmla="*/ 59027 w 65099"/>
                <a:gd name="connsiteY12" fmla="*/ 6327 h 75207"/>
                <a:gd name="connsiteX13" fmla="*/ 63885 w 65099"/>
                <a:gd name="connsiteY13" fmla="*/ 11109 h 75207"/>
                <a:gd name="connsiteX14" fmla="*/ 55991 w 65099"/>
                <a:gd name="connsiteY14" fmla="*/ 17181 h 75207"/>
                <a:gd name="connsiteX15" fmla="*/ 48552 w 65099"/>
                <a:gd name="connsiteY15" fmla="*/ 11235 h 75207"/>
                <a:gd name="connsiteX16" fmla="*/ 38204 w 65099"/>
                <a:gd name="connsiteY16" fmla="*/ 8705 h 75207"/>
                <a:gd name="connsiteX17" fmla="*/ 26920 w 65099"/>
                <a:gd name="connsiteY17" fmla="*/ 10982 h 75207"/>
                <a:gd name="connsiteX18" fmla="*/ 18368 w 65099"/>
                <a:gd name="connsiteY18" fmla="*/ 17207 h 75207"/>
                <a:gd name="connsiteX19" fmla="*/ 12929 w 65099"/>
                <a:gd name="connsiteY19" fmla="*/ 26365 h 75207"/>
                <a:gd name="connsiteX20" fmla="*/ 11006 w 65099"/>
                <a:gd name="connsiteY20" fmla="*/ 37422 h 75207"/>
                <a:gd name="connsiteX21" fmla="*/ 12878 w 65099"/>
                <a:gd name="connsiteY21" fmla="*/ 48757 h 75207"/>
                <a:gd name="connsiteX22" fmla="*/ 18217 w 65099"/>
                <a:gd name="connsiteY22" fmla="*/ 57890 h 75207"/>
                <a:gd name="connsiteX23" fmla="*/ 26718 w 65099"/>
                <a:gd name="connsiteY23" fmla="*/ 64013 h 75207"/>
                <a:gd name="connsiteX24" fmla="*/ 37901 w 65099"/>
                <a:gd name="connsiteY24" fmla="*/ 66239 h 75207"/>
                <a:gd name="connsiteX25" fmla="*/ 48907 w 65099"/>
                <a:gd name="connsiteY25" fmla="*/ 63709 h 75207"/>
                <a:gd name="connsiteX26" fmla="*/ 57104 w 65099"/>
                <a:gd name="connsiteY26" fmla="*/ 56625 h 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5099" h="75207">
                  <a:moveTo>
                    <a:pt x="65099" y="62242"/>
                  </a:moveTo>
                  <a:cubicBezTo>
                    <a:pt x="62174" y="66154"/>
                    <a:pt x="58403" y="69354"/>
                    <a:pt x="54068" y="71603"/>
                  </a:cubicBezTo>
                  <a:cubicBezTo>
                    <a:pt x="49019" y="74110"/>
                    <a:pt x="43434" y="75343"/>
                    <a:pt x="37800" y="75196"/>
                  </a:cubicBezTo>
                  <a:cubicBezTo>
                    <a:pt x="32608" y="75250"/>
                    <a:pt x="27454" y="74306"/>
                    <a:pt x="22619" y="72413"/>
                  </a:cubicBezTo>
                  <a:cubicBezTo>
                    <a:pt x="18157" y="70655"/>
                    <a:pt x="14102" y="68003"/>
                    <a:pt x="10702" y="64620"/>
                  </a:cubicBezTo>
                  <a:cubicBezTo>
                    <a:pt x="7320" y="61210"/>
                    <a:pt x="4654" y="57159"/>
                    <a:pt x="2859" y="52704"/>
                  </a:cubicBezTo>
                  <a:cubicBezTo>
                    <a:pt x="-953" y="42881"/>
                    <a:pt x="-953" y="31988"/>
                    <a:pt x="2859" y="22165"/>
                  </a:cubicBezTo>
                  <a:cubicBezTo>
                    <a:pt x="4701" y="17697"/>
                    <a:pt x="7459" y="13663"/>
                    <a:pt x="10955" y="10325"/>
                  </a:cubicBezTo>
                  <a:cubicBezTo>
                    <a:pt x="14435" y="7019"/>
                    <a:pt x="18537" y="4439"/>
                    <a:pt x="23024" y="2734"/>
                  </a:cubicBezTo>
                  <a:cubicBezTo>
                    <a:pt x="27867" y="878"/>
                    <a:pt x="33017" y="-49"/>
                    <a:pt x="38204" y="2"/>
                  </a:cubicBezTo>
                  <a:cubicBezTo>
                    <a:pt x="40676" y="2"/>
                    <a:pt x="43141" y="239"/>
                    <a:pt x="45567" y="710"/>
                  </a:cubicBezTo>
                  <a:cubicBezTo>
                    <a:pt x="48032" y="1157"/>
                    <a:pt x="50441" y="1869"/>
                    <a:pt x="52752" y="2836"/>
                  </a:cubicBezTo>
                  <a:cubicBezTo>
                    <a:pt x="54980" y="3735"/>
                    <a:pt x="57088" y="4908"/>
                    <a:pt x="59027" y="6327"/>
                  </a:cubicBezTo>
                  <a:cubicBezTo>
                    <a:pt x="60875" y="7670"/>
                    <a:pt x="62513" y="9282"/>
                    <a:pt x="63885" y="11109"/>
                  </a:cubicBezTo>
                  <a:lnTo>
                    <a:pt x="55991" y="17181"/>
                  </a:lnTo>
                  <a:cubicBezTo>
                    <a:pt x="54036" y="14620"/>
                    <a:pt x="51482" y="12578"/>
                    <a:pt x="48552" y="11235"/>
                  </a:cubicBezTo>
                  <a:cubicBezTo>
                    <a:pt x="45346" y="9601"/>
                    <a:pt x="41803" y="8735"/>
                    <a:pt x="38204" y="8705"/>
                  </a:cubicBezTo>
                  <a:cubicBezTo>
                    <a:pt x="34323" y="8642"/>
                    <a:pt x="30473" y="9419"/>
                    <a:pt x="26920" y="10982"/>
                  </a:cubicBezTo>
                  <a:cubicBezTo>
                    <a:pt x="23669" y="12442"/>
                    <a:pt x="20757" y="14561"/>
                    <a:pt x="18368" y="17207"/>
                  </a:cubicBezTo>
                  <a:cubicBezTo>
                    <a:pt x="15987" y="19884"/>
                    <a:pt x="14140" y="22993"/>
                    <a:pt x="12929" y="26365"/>
                  </a:cubicBezTo>
                  <a:cubicBezTo>
                    <a:pt x="11630" y="29906"/>
                    <a:pt x="10979" y="33651"/>
                    <a:pt x="11006" y="37422"/>
                  </a:cubicBezTo>
                  <a:cubicBezTo>
                    <a:pt x="10967" y="41280"/>
                    <a:pt x="11600" y="45116"/>
                    <a:pt x="12878" y="48757"/>
                  </a:cubicBezTo>
                  <a:cubicBezTo>
                    <a:pt x="14046" y="52120"/>
                    <a:pt x="15860" y="55222"/>
                    <a:pt x="18217" y="57890"/>
                  </a:cubicBezTo>
                  <a:cubicBezTo>
                    <a:pt x="20574" y="60522"/>
                    <a:pt x="23474" y="62611"/>
                    <a:pt x="26718" y="64013"/>
                  </a:cubicBezTo>
                  <a:cubicBezTo>
                    <a:pt x="30245" y="65541"/>
                    <a:pt x="34057" y="66300"/>
                    <a:pt x="37901" y="66239"/>
                  </a:cubicBezTo>
                  <a:cubicBezTo>
                    <a:pt x="41716" y="66259"/>
                    <a:pt x="45483" y="65392"/>
                    <a:pt x="48907" y="63709"/>
                  </a:cubicBezTo>
                  <a:cubicBezTo>
                    <a:pt x="52210" y="62104"/>
                    <a:pt x="55036" y="59661"/>
                    <a:pt x="57104" y="56625"/>
                  </a:cubicBezTo>
                  <a:close/>
                </a:path>
              </a:pathLst>
            </a:custGeom>
            <a:solidFill>
              <a:srgbClr val="BD5C7A"/>
            </a:solidFill>
            <a:ln w="250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eform 203">
              <a:extLst>
                <a:ext uri="{FF2B5EF4-FFF2-40B4-BE49-F238E27FC236}">
                  <a16:creationId xmlns:a16="http://schemas.microsoft.com/office/drawing/2014/main" id="{AA6AC009-6551-5FE6-303C-CB0ACE2CB3FF}"/>
                </a:ext>
              </a:extLst>
            </p:cNvPr>
            <p:cNvSpPr/>
            <p:nvPr/>
          </p:nvSpPr>
          <p:spPr>
            <a:xfrm>
              <a:off x="7448077" y="4171763"/>
              <a:ext cx="75906" cy="75223"/>
            </a:xfrm>
            <a:custGeom>
              <a:avLst/>
              <a:gdLst>
                <a:gd name="connsiteX0" fmla="*/ 75902 w 75906"/>
                <a:gd name="connsiteY0" fmla="*/ 37536 h 75223"/>
                <a:gd name="connsiteX1" fmla="*/ 73018 w 75906"/>
                <a:gd name="connsiteY1" fmla="*/ 52716 h 75223"/>
                <a:gd name="connsiteX2" fmla="*/ 65074 w 75906"/>
                <a:gd name="connsiteY2" fmla="*/ 64633 h 75223"/>
                <a:gd name="connsiteX3" fmla="*/ 53056 w 75906"/>
                <a:gd name="connsiteY3" fmla="*/ 72426 h 75223"/>
                <a:gd name="connsiteX4" fmla="*/ 22695 w 75906"/>
                <a:gd name="connsiteY4" fmla="*/ 72426 h 75223"/>
                <a:gd name="connsiteX5" fmla="*/ 2834 w 75906"/>
                <a:gd name="connsiteY5" fmla="*/ 52716 h 75223"/>
                <a:gd name="connsiteX6" fmla="*/ 2834 w 75906"/>
                <a:gd name="connsiteY6" fmla="*/ 22178 h 75223"/>
                <a:gd name="connsiteX7" fmla="*/ 10727 w 75906"/>
                <a:gd name="connsiteY7" fmla="*/ 10338 h 75223"/>
                <a:gd name="connsiteX8" fmla="*/ 22695 w 75906"/>
                <a:gd name="connsiteY8" fmla="*/ 2747 h 75223"/>
                <a:gd name="connsiteX9" fmla="*/ 53056 w 75906"/>
                <a:gd name="connsiteY9" fmla="*/ 2747 h 75223"/>
                <a:gd name="connsiteX10" fmla="*/ 65074 w 75906"/>
                <a:gd name="connsiteY10" fmla="*/ 10338 h 75223"/>
                <a:gd name="connsiteX11" fmla="*/ 73018 w 75906"/>
                <a:gd name="connsiteY11" fmla="*/ 22178 h 75223"/>
                <a:gd name="connsiteX12" fmla="*/ 75902 w 75906"/>
                <a:gd name="connsiteY12" fmla="*/ 37536 h 75223"/>
                <a:gd name="connsiteX13" fmla="*/ 65074 w 75906"/>
                <a:gd name="connsiteY13" fmla="*/ 37536 h 75223"/>
                <a:gd name="connsiteX14" fmla="*/ 63176 w 75906"/>
                <a:gd name="connsiteY14" fmla="*/ 26479 h 75223"/>
                <a:gd name="connsiteX15" fmla="*/ 57711 w 75906"/>
                <a:gd name="connsiteY15" fmla="*/ 17321 h 75223"/>
                <a:gd name="connsiteX16" fmla="*/ 49159 w 75906"/>
                <a:gd name="connsiteY16" fmla="*/ 11097 h 75223"/>
                <a:gd name="connsiteX17" fmla="*/ 26718 w 75906"/>
                <a:gd name="connsiteY17" fmla="*/ 11097 h 75223"/>
                <a:gd name="connsiteX18" fmla="*/ 18217 w 75906"/>
                <a:gd name="connsiteY18" fmla="*/ 17321 h 75223"/>
                <a:gd name="connsiteX19" fmla="*/ 12827 w 75906"/>
                <a:gd name="connsiteY19" fmla="*/ 26479 h 75223"/>
                <a:gd name="connsiteX20" fmla="*/ 10905 w 75906"/>
                <a:gd name="connsiteY20" fmla="*/ 37536 h 75223"/>
                <a:gd name="connsiteX21" fmla="*/ 12827 w 75906"/>
                <a:gd name="connsiteY21" fmla="*/ 48769 h 75223"/>
                <a:gd name="connsiteX22" fmla="*/ 18267 w 75906"/>
                <a:gd name="connsiteY22" fmla="*/ 57903 h 75223"/>
                <a:gd name="connsiteX23" fmla="*/ 26768 w 75906"/>
                <a:gd name="connsiteY23" fmla="*/ 64026 h 75223"/>
                <a:gd name="connsiteX24" fmla="*/ 37901 w 75906"/>
                <a:gd name="connsiteY24" fmla="*/ 66252 h 75223"/>
                <a:gd name="connsiteX25" fmla="*/ 49109 w 75906"/>
                <a:gd name="connsiteY25" fmla="*/ 64026 h 75223"/>
                <a:gd name="connsiteX26" fmla="*/ 57711 w 75906"/>
                <a:gd name="connsiteY26" fmla="*/ 57903 h 75223"/>
                <a:gd name="connsiteX27" fmla="*/ 63176 w 75906"/>
                <a:gd name="connsiteY27" fmla="*/ 48769 h 75223"/>
                <a:gd name="connsiteX28" fmla="*/ 65074 w 75906"/>
                <a:gd name="connsiteY28" fmla="*/ 37536 h 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5906" h="75223">
                  <a:moveTo>
                    <a:pt x="75902" y="37536"/>
                  </a:moveTo>
                  <a:cubicBezTo>
                    <a:pt x="75956" y="42737"/>
                    <a:pt x="74975" y="47897"/>
                    <a:pt x="73018" y="52716"/>
                  </a:cubicBezTo>
                  <a:cubicBezTo>
                    <a:pt x="71197" y="57182"/>
                    <a:pt x="68495" y="61234"/>
                    <a:pt x="65074" y="64633"/>
                  </a:cubicBezTo>
                  <a:cubicBezTo>
                    <a:pt x="61640" y="68022"/>
                    <a:pt x="57551" y="70674"/>
                    <a:pt x="53056" y="72426"/>
                  </a:cubicBezTo>
                  <a:cubicBezTo>
                    <a:pt x="43279" y="76156"/>
                    <a:pt x="32471" y="76156"/>
                    <a:pt x="22695" y="72426"/>
                  </a:cubicBezTo>
                  <a:cubicBezTo>
                    <a:pt x="13637" y="68881"/>
                    <a:pt x="6448" y="61747"/>
                    <a:pt x="2834" y="52716"/>
                  </a:cubicBezTo>
                  <a:cubicBezTo>
                    <a:pt x="-945" y="42888"/>
                    <a:pt x="-945" y="32007"/>
                    <a:pt x="2834" y="22178"/>
                  </a:cubicBezTo>
                  <a:cubicBezTo>
                    <a:pt x="4610" y="17724"/>
                    <a:pt x="7299" y="13690"/>
                    <a:pt x="10727" y="10338"/>
                  </a:cubicBezTo>
                  <a:cubicBezTo>
                    <a:pt x="14174" y="7039"/>
                    <a:pt x="18242" y="4459"/>
                    <a:pt x="22695" y="2747"/>
                  </a:cubicBezTo>
                  <a:cubicBezTo>
                    <a:pt x="32484" y="-916"/>
                    <a:pt x="43267" y="-916"/>
                    <a:pt x="53056" y="2747"/>
                  </a:cubicBezTo>
                  <a:cubicBezTo>
                    <a:pt x="57530" y="4446"/>
                    <a:pt x="61617" y="7027"/>
                    <a:pt x="65074" y="10338"/>
                  </a:cubicBezTo>
                  <a:cubicBezTo>
                    <a:pt x="68510" y="13694"/>
                    <a:pt x="71215" y="17726"/>
                    <a:pt x="73018" y="22178"/>
                  </a:cubicBezTo>
                  <a:cubicBezTo>
                    <a:pt x="74995" y="27054"/>
                    <a:pt x="75976" y="32275"/>
                    <a:pt x="75902" y="37536"/>
                  </a:cubicBezTo>
                  <a:close/>
                  <a:moveTo>
                    <a:pt x="65074" y="37536"/>
                  </a:moveTo>
                  <a:cubicBezTo>
                    <a:pt x="65096" y="33767"/>
                    <a:pt x="64454" y="30025"/>
                    <a:pt x="63176" y="26479"/>
                  </a:cubicBezTo>
                  <a:cubicBezTo>
                    <a:pt x="61946" y="23110"/>
                    <a:pt x="60092" y="20003"/>
                    <a:pt x="57711" y="17321"/>
                  </a:cubicBezTo>
                  <a:cubicBezTo>
                    <a:pt x="55328" y="14670"/>
                    <a:pt x="52414" y="12549"/>
                    <a:pt x="49159" y="11097"/>
                  </a:cubicBezTo>
                  <a:cubicBezTo>
                    <a:pt x="41987" y="8061"/>
                    <a:pt x="33890" y="8061"/>
                    <a:pt x="26718" y="11097"/>
                  </a:cubicBezTo>
                  <a:cubicBezTo>
                    <a:pt x="23474" y="12544"/>
                    <a:pt x="20576" y="14666"/>
                    <a:pt x="18217" y="17321"/>
                  </a:cubicBezTo>
                  <a:cubicBezTo>
                    <a:pt x="15859" y="20007"/>
                    <a:pt x="14031" y="23114"/>
                    <a:pt x="12827" y="26479"/>
                  </a:cubicBezTo>
                  <a:cubicBezTo>
                    <a:pt x="11529" y="30020"/>
                    <a:pt x="10877" y="33765"/>
                    <a:pt x="10905" y="37536"/>
                  </a:cubicBezTo>
                  <a:cubicBezTo>
                    <a:pt x="10876" y="41365"/>
                    <a:pt x="11527" y="45168"/>
                    <a:pt x="12827" y="48769"/>
                  </a:cubicBezTo>
                  <a:cubicBezTo>
                    <a:pt x="14021" y="52143"/>
                    <a:pt x="15870" y="55247"/>
                    <a:pt x="18267" y="57903"/>
                  </a:cubicBezTo>
                  <a:cubicBezTo>
                    <a:pt x="20640" y="60518"/>
                    <a:pt x="23536" y="62604"/>
                    <a:pt x="26768" y="64026"/>
                  </a:cubicBezTo>
                  <a:cubicBezTo>
                    <a:pt x="30277" y="65556"/>
                    <a:pt x="34073" y="66315"/>
                    <a:pt x="37901" y="66252"/>
                  </a:cubicBezTo>
                  <a:cubicBezTo>
                    <a:pt x="41752" y="66307"/>
                    <a:pt x="45571" y="65548"/>
                    <a:pt x="49109" y="64026"/>
                  </a:cubicBezTo>
                  <a:cubicBezTo>
                    <a:pt x="52382" y="62626"/>
                    <a:pt x="55316" y="60537"/>
                    <a:pt x="57711" y="57903"/>
                  </a:cubicBezTo>
                  <a:cubicBezTo>
                    <a:pt x="60107" y="55242"/>
                    <a:pt x="61964" y="52139"/>
                    <a:pt x="63176" y="48769"/>
                  </a:cubicBezTo>
                  <a:cubicBezTo>
                    <a:pt x="64457" y="45164"/>
                    <a:pt x="65099" y="41362"/>
                    <a:pt x="65074" y="37536"/>
                  </a:cubicBezTo>
                  <a:close/>
                </a:path>
              </a:pathLst>
            </a:custGeom>
            <a:solidFill>
              <a:srgbClr val="BD5C7A"/>
            </a:solidFill>
            <a:ln w="250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reeform 204">
              <a:extLst>
                <a:ext uri="{FF2B5EF4-FFF2-40B4-BE49-F238E27FC236}">
                  <a16:creationId xmlns:a16="http://schemas.microsoft.com/office/drawing/2014/main" id="{B41D1693-8F30-3D9B-B9F6-4DE34D5BCEDB}"/>
                </a:ext>
              </a:extLst>
            </p:cNvPr>
            <p:cNvSpPr/>
            <p:nvPr/>
          </p:nvSpPr>
          <p:spPr>
            <a:xfrm>
              <a:off x="7538224" y="4209172"/>
              <a:ext cx="32612" cy="51183"/>
            </a:xfrm>
            <a:custGeom>
              <a:avLst/>
              <a:gdLst>
                <a:gd name="connsiteX0" fmla="*/ 32613 w 32612"/>
                <a:gd name="connsiteY0" fmla="*/ 51184 h 51183"/>
                <a:gd name="connsiteX1" fmla="*/ 0 w 32612"/>
                <a:gd name="connsiteY1" fmla="*/ 51184 h 51183"/>
                <a:gd name="connsiteX2" fmla="*/ 0 w 32612"/>
                <a:gd name="connsiteY2" fmla="*/ 44732 h 51183"/>
                <a:gd name="connsiteX3" fmla="*/ 19962 w 32612"/>
                <a:gd name="connsiteY3" fmla="*/ 24921 h 51183"/>
                <a:gd name="connsiteX4" fmla="*/ 23859 w 32612"/>
                <a:gd name="connsiteY4" fmla="*/ 20038 h 51183"/>
                <a:gd name="connsiteX5" fmla="*/ 25478 w 32612"/>
                <a:gd name="connsiteY5" fmla="*/ 14295 h 51183"/>
                <a:gd name="connsiteX6" fmla="*/ 24770 w 32612"/>
                <a:gd name="connsiteY6" fmla="*/ 10728 h 51183"/>
                <a:gd name="connsiteX7" fmla="*/ 22872 w 32612"/>
                <a:gd name="connsiteY7" fmla="*/ 7995 h 51183"/>
                <a:gd name="connsiteX8" fmla="*/ 20038 w 32612"/>
                <a:gd name="connsiteY8" fmla="*/ 6275 h 51183"/>
                <a:gd name="connsiteX9" fmla="*/ 16572 w 32612"/>
                <a:gd name="connsiteY9" fmla="*/ 5667 h 51183"/>
                <a:gd name="connsiteX10" fmla="*/ 10272 w 32612"/>
                <a:gd name="connsiteY10" fmla="*/ 8198 h 51183"/>
                <a:gd name="connsiteX11" fmla="*/ 7160 w 32612"/>
                <a:gd name="connsiteY11" fmla="*/ 14447 h 51183"/>
                <a:gd name="connsiteX12" fmla="*/ 430 w 32612"/>
                <a:gd name="connsiteY12" fmla="*/ 13308 h 51183"/>
                <a:gd name="connsiteX13" fmla="*/ 2252 w 32612"/>
                <a:gd name="connsiteY13" fmla="*/ 8046 h 51183"/>
                <a:gd name="connsiteX14" fmla="*/ 5743 w 32612"/>
                <a:gd name="connsiteY14" fmla="*/ 3795 h 51183"/>
                <a:gd name="connsiteX15" fmla="*/ 10652 w 32612"/>
                <a:gd name="connsiteY15" fmla="*/ 1012 h 51183"/>
                <a:gd name="connsiteX16" fmla="*/ 16648 w 32612"/>
                <a:gd name="connsiteY16" fmla="*/ 0 h 51183"/>
                <a:gd name="connsiteX17" fmla="*/ 22619 w 32612"/>
                <a:gd name="connsiteY17" fmla="*/ 936 h 51183"/>
                <a:gd name="connsiteX18" fmla="*/ 27679 w 32612"/>
                <a:gd name="connsiteY18" fmla="*/ 3618 h 51183"/>
                <a:gd name="connsiteX19" fmla="*/ 31196 w 32612"/>
                <a:gd name="connsiteY19" fmla="*/ 8071 h 51183"/>
                <a:gd name="connsiteX20" fmla="*/ 32486 w 32612"/>
                <a:gd name="connsiteY20" fmla="*/ 14244 h 51183"/>
                <a:gd name="connsiteX21" fmla="*/ 31854 w 32612"/>
                <a:gd name="connsiteY21" fmla="*/ 18697 h 51183"/>
                <a:gd name="connsiteX22" fmla="*/ 30133 w 32612"/>
                <a:gd name="connsiteY22" fmla="*/ 22594 h 51183"/>
                <a:gd name="connsiteX23" fmla="*/ 27603 w 32612"/>
                <a:gd name="connsiteY23" fmla="*/ 26085 h 51183"/>
                <a:gd name="connsiteX24" fmla="*/ 24466 w 32612"/>
                <a:gd name="connsiteY24" fmla="*/ 29374 h 51183"/>
                <a:gd name="connsiteX25" fmla="*/ 8197 w 32612"/>
                <a:gd name="connsiteY25" fmla="*/ 45238 h 51183"/>
                <a:gd name="connsiteX26" fmla="*/ 32613 w 32612"/>
                <a:gd name="connsiteY26" fmla="*/ 45238 h 5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2612" h="51183">
                  <a:moveTo>
                    <a:pt x="32613" y="51184"/>
                  </a:moveTo>
                  <a:lnTo>
                    <a:pt x="0" y="51184"/>
                  </a:lnTo>
                  <a:lnTo>
                    <a:pt x="0" y="44732"/>
                  </a:lnTo>
                  <a:lnTo>
                    <a:pt x="19962" y="24921"/>
                  </a:lnTo>
                  <a:cubicBezTo>
                    <a:pt x="21420" y="23427"/>
                    <a:pt x="22725" y="21792"/>
                    <a:pt x="23859" y="20038"/>
                  </a:cubicBezTo>
                  <a:cubicBezTo>
                    <a:pt x="24947" y="18323"/>
                    <a:pt x="25509" y="16326"/>
                    <a:pt x="25478" y="14295"/>
                  </a:cubicBezTo>
                  <a:cubicBezTo>
                    <a:pt x="25500" y="13069"/>
                    <a:pt x="25259" y="11852"/>
                    <a:pt x="24770" y="10728"/>
                  </a:cubicBezTo>
                  <a:cubicBezTo>
                    <a:pt x="24334" y="9695"/>
                    <a:pt x="23688" y="8764"/>
                    <a:pt x="22872" y="7995"/>
                  </a:cubicBezTo>
                  <a:cubicBezTo>
                    <a:pt x="22047" y="7245"/>
                    <a:pt x="21085" y="6661"/>
                    <a:pt x="20038" y="6275"/>
                  </a:cubicBezTo>
                  <a:cubicBezTo>
                    <a:pt x="18928" y="5867"/>
                    <a:pt x="17754" y="5661"/>
                    <a:pt x="16572" y="5667"/>
                  </a:cubicBezTo>
                  <a:cubicBezTo>
                    <a:pt x="14212" y="5602"/>
                    <a:pt x="11931" y="6518"/>
                    <a:pt x="10272" y="8198"/>
                  </a:cubicBezTo>
                  <a:cubicBezTo>
                    <a:pt x="8589" y="9891"/>
                    <a:pt x="7497" y="12083"/>
                    <a:pt x="7160" y="14447"/>
                  </a:cubicBezTo>
                  <a:lnTo>
                    <a:pt x="430" y="13308"/>
                  </a:lnTo>
                  <a:cubicBezTo>
                    <a:pt x="699" y="11455"/>
                    <a:pt x="1317" y="9669"/>
                    <a:pt x="2252" y="8046"/>
                  </a:cubicBezTo>
                  <a:cubicBezTo>
                    <a:pt x="3156" y="6434"/>
                    <a:pt x="4338" y="4995"/>
                    <a:pt x="5743" y="3795"/>
                  </a:cubicBezTo>
                  <a:cubicBezTo>
                    <a:pt x="7200" y="2582"/>
                    <a:pt x="8862" y="1639"/>
                    <a:pt x="10652" y="1012"/>
                  </a:cubicBezTo>
                  <a:cubicBezTo>
                    <a:pt x="12578" y="336"/>
                    <a:pt x="14606" y="-6"/>
                    <a:pt x="16648" y="0"/>
                  </a:cubicBezTo>
                  <a:cubicBezTo>
                    <a:pt x="18675" y="0"/>
                    <a:pt x="20689" y="316"/>
                    <a:pt x="22619" y="936"/>
                  </a:cubicBezTo>
                  <a:cubicBezTo>
                    <a:pt x="24456" y="1511"/>
                    <a:pt x="26172" y="2420"/>
                    <a:pt x="27679" y="3618"/>
                  </a:cubicBezTo>
                  <a:cubicBezTo>
                    <a:pt x="29164" y="4826"/>
                    <a:pt x="30365" y="6346"/>
                    <a:pt x="31196" y="8071"/>
                  </a:cubicBezTo>
                  <a:cubicBezTo>
                    <a:pt x="32087" y="10005"/>
                    <a:pt x="32528" y="12116"/>
                    <a:pt x="32486" y="14244"/>
                  </a:cubicBezTo>
                  <a:cubicBezTo>
                    <a:pt x="32503" y="15752"/>
                    <a:pt x="32290" y="17254"/>
                    <a:pt x="31854" y="18697"/>
                  </a:cubicBezTo>
                  <a:cubicBezTo>
                    <a:pt x="31433" y="20058"/>
                    <a:pt x="30855" y="21366"/>
                    <a:pt x="30133" y="22594"/>
                  </a:cubicBezTo>
                  <a:cubicBezTo>
                    <a:pt x="29397" y="23831"/>
                    <a:pt x="28550" y="25000"/>
                    <a:pt x="27603" y="26085"/>
                  </a:cubicBezTo>
                  <a:cubicBezTo>
                    <a:pt x="26591" y="27198"/>
                    <a:pt x="25554" y="28286"/>
                    <a:pt x="24466" y="29374"/>
                  </a:cubicBezTo>
                  <a:lnTo>
                    <a:pt x="8197" y="45238"/>
                  </a:lnTo>
                  <a:lnTo>
                    <a:pt x="32613" y="45238"/>
                  </a:lnTo>
                  <a:close/>
                </a:path>
              </a:pathLst>
            </a:custGeom>
            <a:solidFill>
              <a:srgbClr val="BD5C7A"/>
            </a:solidFill>
            <a:ln w="250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6" name="Graphic 305">
            <a:extLst>
              <a:ext uri="{FF2B5EF4-FFF2-40B4-BE49-F238E27FC236}">
                <a16:creationId xmlns:a16="http://schemas.microsoft.com/office/drawing/2014/main" id="{85281299-FE70-16B9-6230-259680E887A4}"/>
              </a:ext>
            </a:extLst>
          </p:cNvPr>
          <p:cNvGrpSpPr/>
          <p:nvPr/>
        </p:nvGrpSpPr>
        <p:grpSpPr>
          <a:xfrm>
            <a:off x="3920379" y="5054600"/>
            <a:ext cx="360362" cy="360362"/>
            <a:chOff x="3857626" y="4668838"/>
            <a:chExt cx="360362" cy="360362"/>
          </a:xfrm>
        </p:grpSpPr>
        <p:sp>
          <p:nvSpPr>
            <p:cNvPr id="207" name="Freeform 206">
              <a:extLst>
                <a:ext uri="{FF2B5EF4-FFF2-40B4-BE49-F238E27FC236}">
                  <a16:creationId xmlns:a16="http://schemas.microsoft.com/office/drawing/2014/main" id="{3358D81E-3B2A-817E-62D3-B25BA861E90A}"/>
                </a:ext>
              </a:extLst>
            </p:cNvPr>
            <p:cNvSpPr/>
            <p:nvPr/>
          </p:nvSpPr>
          <p:spPr>
            <a:xfrm>
              <a:off x="3860104" y="4682682"/>
              <a:ext cx="364707" cy="344231"/>
            </a:xfrm>
            <a:custGeom>
              <a:avLst/>
              <a:gdLst>
                <a:gd name="connsiteX0" fmla="*/ 358605 w 364707"/>
                <a:gd name="connsiteY0" fmla="*/ 332756 h 344231"/>
                <a:gd name="connsiteX1" fmla="*/ 334280 w 364707"/>
                <a:gd name="connsiteY1" fmla="*/ 332756 h 344231"/>
                <a:gd name="connsiteX2" fmla="*/ 334280 w 364707"/>
                <a:gd name="connsiteY2" fmla="*/ 172102 h 344231"/>
                <a:gd name="connsiteX3" fmla="*/ 316059 w 364707"/>
                <a:gd name="connsiteY3" fmla="*/ 154895 h 344231"/>
                <a:gd name="connsiteX4" fmla="*/ 316059 w 364707"/>
                <a:gd name="connsiteY4" fmla="*/ 120480 h 344231"/>
                <a:gd name="connsiteX5" fmla="*/ 297816 w 364707"/>
                <a:gd name="connsiteY5" fmla="*/ 103273 h 344231"/>
                <a:gd name="connsiteX6" fmla="*/ 297816 w 364707"/>
                <a:gd name="connsiteY6" fmla="*/ 68836 h 344231"/>
                <a:gd name="connsiteX7" fmla="*/ 279595 w 364707"/>
                <a:gd name="connsiteY7" fmla="*/ 51629 h 344231"/>
                <a:gd name="connsiteX8" fmla="*/ 279595 w 364707"/>
                <a:gd name="connsiteY8" fmla="*/ 17214 h 344231"/>
                <a:gd name="connsiteX9" fmla="*/ 261352 w 364707"/>
                <a:gd name="connsiteY9" fmla="*/ 7 h 344231"/>
                <a:gd name="connsiteX10" fmla="*/ 103378 w 364707"/>
                <a:gd name="connsiteY10" fmla="*/ 7 h 344231"/>
                <a:gd name="connsiteX11" fmla="*/ 85157 w 364707"/>
                <a:gd name="connsiteY11" fmla="*/ 17214 h 344231"/>
                <a:gd name="connsiteX12" fmla="*/ 85157 w 364707"/>
                <a:gd name="connsiteY12" fmla="*/ 51629 h 344231"/>
                <a:gd name="connsiteX13" fmla="*/ 66914 w 364707"/>
                <a:gd name="connsiteY13" fmla="*/ 68836 h 344231"/>
                <a:gd name="connsiteX14" fmla="*/ 66914 w 364707"/>
                <a:gd name="connsiteY14" fmla="*/ 103273 h 344231"/>
                <a:gd name="connsiteX15" fmla="*/ 48693 w 364707"/>
                <a:gd name="connsiteY15" fmla="*/ 120480 h 344231"/>
                <a:gd name="connsiteX16" fmla="*/ 48693 w 364707"/>
                <a:gd name="connsiteY16" fmla="*/ 154895 h 344231"/>
                <a:gd name="connsiteX17" fmla="*/ 30450 w 364707"/>
                <a:gd name="connsiteY17" fmla="*/ 172102 h 344231"/>
                <a:gd name="connsiteX18" fmla="*/ 30450 w 364707"/>
                <a:gd name="connsiteY18" fmla="*/ 332756 h 344231"/>
                <a:gd name="connsiteX19" fmla="*/ 6103 w 364707"/>
                <a:gd name="connsiteY19" fmla="*/ 332756 h 344231"/>
                <a:gd name="connsiteX20" fmla="*/ 11 w 364707"/>
                <a:gd name="connsiteY20" fmla="*/ 338128 h 344231"/>
                <a:gd name="connsiteX21" fmla="*/ 5384 w 364707"/>
                <a:gd name="connsiteY21" fmla="*/ 344220 h 344231"/>
                <a:gd name="connsiteX22" fmla="*/ 6103 w 364707"/>
                <a:gd name="connsiteY22" fmla="*/ 344220 h 344231"/>
                <a:gd name="connsiteX23" fmla="*/ 358605 w 364707"/>
                <a:gd name="connsiteY23" fmla="*/ 344220 h 344231"/>
                <a:gd name="connsiteX24" fmla="*/ 364696 w 364707"/>
                <a:gd name="connsiteY24" fmla="*/ 338847 h 344231"/>
                <a:gd name="connsiteX25" fmla="*/ 359324 w 364707"/>
                <a:gd name="connsiteY25" fmla="*/ 332756 h 344231"/>
                <a:gd name="connsiteX26" fmla="*/ 358605 w 364707"/>
                <a:gd name="connsiteY26" fmla="*/ 332756 h 344231"/>
                <a:gd name="connsiteX27" fmla="*/ 97275 w 364707"/>
                <a:gd name="connsiteY27" fmla="*/ 17214 h 344231"/>
                <a:gd name="connsiteX28" fmla="*/ 103328 w 364707"/>
                <a:gd name="connsiteY28" fmla="*/ 11469 h 344231"/>
                <a:gd name="connsiteX29" fmla="*/ 103378 w 364707"/>
                <a:gd name="connsiteY29" fmla="*/ 11471 h 344231"/>
                <a:gd name="connsiteX30" fmla="*/ 261397 w 364707"/>
                <a:gd name="connsiteY30" fmla="*/ 11471 h 344231"/>
                <a:gd name="connsiteX31" fmla="*/ 267478 w 364707"/>
                <a:gd name="connsiteY31" fmla="*/ 17214 h 344231"/>
                <a:gd name="connsiteX32" fmla="*/ 267478 w 364707"/>
                <a:gd name="connsiteY32" fmla="*/ 51629 h 344231"/>
                <a:gd name="connsiteX33" fmla="*/ 175653 w 364707"/>
                <a:gd name="connsiteY33" fmla="*/ 51629 h 344231"/>
                <a:gd name="connsiteX34" fmla="*/ 138044 w 364707"/>
                <a:gd name="connsiteY34" fmla="*/ 29688 h 344231"/>
                <a:gd name="connsiteX35" fmla="*/ 116103 w 364707"/>
                <a:gd name="connsiteY35" fmla="*/ 51629 h 344231"/>
                <a:gd name="connsiteX36" fmla="*/ 97275 w 364707"/>
                <a:gd name="connsiteY36" fmla="*/ 51629 h 344231"/>
                <a:gd name="connsiteX37" fmla="*/ 97275 w 364707"/>
                <a:gd name="connsiteY37" fmla="*/ 17214 h 344231"/>
                <a:gd name="connsiteX38" fmla="*/ 162996 w 364707"/>
                <a:gd name="connsiteY38" fmla="*/ 51629 h 344231"/>
                <a:gd name="connsiteX39" fmla="*/ 128784 w 364707"/>
                <a:gd name="connsiteY39" fmla="*/ 51629 h 344231"/>
                <a:gd name="connsiteX40" fmla="*/ 152912 w 364707"/>
                <a:gd name="connsiteY40" fmla="*/ 41544 h 344231"/>
                <a:gd name="connsiteX41" fmla="*/ 162996 w 364707"/>
                <a:gd name="connsiteY41" fmla="*/ 51629 h 344231"/>
                <a:gd name="connsiteX42" fmla="*/ 79031 w 364707"/>
                <a:gd name="connsiteY42" fmla="*/ 68836 h 344231"/>
                <a:gd name="connsiteX43" fmla="*/ 85112 w 364707"/>
                <a:gd name="connsiteY43" fmla="*/ 63115 h 344231"/>
                <a:gd name="connsiteX44" fmla="*/ 279595 w 364707"/>
                <a:gd name="connsiteY44" fmla="*/ 63115 h 344231"/>
                <a:gd name="connsiteX45" fmla="*/ 285676 w 364707"/>
                <a:gd name="connsiteY45" fmla="*/ 68836 h 344231"/>
                <a:gd name="connsiteX46" fmla="*/ 285676 w 364707"/>
                <a:gd name="connsiteY46" fmla="*/ 103273 h 344231"/>
                <a:gd name="connsiteX47" fmla="*/ 157432 w 364707"/>
                <a:gd name="connsiteY47" fmla="*/ 103273 h 344231"/>
                <a:gd name="connsiteX48" fmla="*/ 119823 w 364707"/>
                <a:gd name="connsiteY48" fmla="*/ 81333 h 344231"/>
                <a:gd name="connsiteX49" fmla="*/ 97883 w 364707"/>
                <a:gd name="connsiteY49" fmla="*/ 103273 h 344231"/>
                <a:gd name="connsiteX50" fmla="*/ 79031 w 364707"/>
                <a:gd name="connsiteY50" fmla="*/ 103273 h 344231"/>
                <a:gd name="connsiteX51" fmla="*/ 79031 w 364707"/>
                <a:gd name="connsiteY51" fmla="*/ 68836 h 344231"/>
                <a:gd name="connsiteX52" fmla="*/ 144775 w 364707"/>
                <a:gd name="connsiteY52" fmla="*/ 103273 h 344231"/>
                <a:gd name="connsiteX53" fmla="*/ 110540 w 364707"/>
                <a:gd name="connsiteY53" fmla="*/ 103273 h 344231"/>
                <a:gd name="connsiteX54" fmla="*/ 134652 w 364707"/>
                <a:gd name="connsiteY54" fmla="*/ 93150 h 344231"/>
                <a:gd name="connsiteX55" fmla="*/ 144775 w 364707"/>
                <a:gd name="connsiteY55" fmla="*/ 103273 h 344231"/>
                <a:gd name="connsiteX56" fmla="*/ 60810 w 364707"/>
                <a:gd name="connsiteY56" fmla="*/ 120480 h 344231"/>
                <a:gd name="connsiteX57" fmla="*/ 66865 w 364707"/>
                <a:gd name="connsiteY57" fmla="*/ 114737 h 344231"/>
                <a:gd name="connsiteX58" fmla="*/ 66869 w 364707"/>
                <a:gd name="connsiteY58" fmla="*/ 114737 h 344231"/>
                <a:gd name="connsiteX59" fmla="*/ 297816 w 364707"/>
                <a:gd name="connsiteY59" fmla="*/ 114737 h 344231"/>
                <a:gd name="connsiteX60" fmla="*/ 303897 w 364707"/>
                <a:gd name="connsiteY60" fmla="*/ 120480 h 344231"/>
                <a:gd name="connsiteX61" fmla="*/ 303897 w 364707"/>
                <a:gd name="connsiteY61" fmla="*/ 154895 h 344231"/>
                <a:gd name="connsiteX62" fmla="*/ 139189 w 364707"/>
                <a:gd name="connsiteY62" fmla="*/ 154895 h 344231"/>
                <a:gd name="connsiteX63" fmla="*/ 109414 w 364707"/>
                <a:gd name="connsiteY63" fmla="*/ 131944 h 344231"/>
                <a:gd name="connsiteX64" fmla="*/ 79639 w 364707"/>
                <a:gd name="connsiteY64" fmla="*/ 154895 h 344231"/>
                <a:gd name="connsiteX65" fmla="*/ 60810 w 364707"/>
                <a:gd name="connsiteY65" fmla="*/ 154895 h 344231"/>
                <a:gd name="connsiteX66" fmla="*/ 126531 w 364707"/>
                <a:gd name="connsiteY66" fmla="*/ 154895 h 344231"/>
                <a:gd name="connsiteX67" fmla="*/ 92297 w 364707"/>
                <a:gd name="connsiteY67" fmla="*/ 154895 h 344231"/>
                <a:gd name="connsiteX68" fmla="*/ 116468 w 364707"/>
                <a:gd name="connsiteY68" fmla="*/ 144831 h 344231"/>
                <a:gd name="connsiteX69" fmla="*/ 126531 w 364707"/>
                <a:gd name="connsiteY69" fmla="*/ 154895 h 344231"/>
                <a:gd name="connsiteX70" fmla="*/ 322140 w 364707"/>
                <a:gd name="connsiteY70" fmla="*/ 332824 h 344231"/>
                <a:gd name="connsiteX71" fmla="*/ 42567 w 364707"/>
                <a:gd name="connsiteY71" fmla="*/ 332824 h 344231"/>
                <a:gd name="connsiteX72" fmla="*/ 42567 w 364707"/>
                <a:gd name="connsiteY72" fmla="*/ 172102 h 344231"/>
                <a:gd name="connsiteX73" fmla="*/ 48644 w 364707"/>
                <a:gd name="connsiteY73" fmla="*/ 166336 h 344231"/>
                <a:gd name="connsiteX74" fmla="*/ 48648 w 364707"/>
                <a:gd name="connsiteY74" fmla="*/ 166336 h 344231"/>
                <a:gd name="connsiteX75" fmla="*/ 316059 w 364707"/>
                <a:gd name="connsiteY75" fmla="*/ 166336 h 344231"/>
                <a:gd name="connsiteX76" fmla="*/ 322140 w 364707"/>
                <a:gd name="connsiteY76" fmla="*/ 172057 h 344231"/>
                <a:gd name="connsiteX77" fmla="*/ 322140 w 364707"/>
                <a:gd name="connsiteY77" fmla="*/ 332711 h 34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364707" h="344231">
                  <a:moveTo>
                    <a:pt x="358605" y="332756"/>
                  </a:moveTo>
                  <a:lnTo>
                    <a:pt x="334280" y="332756"/>
                  </a:lnTo>
                  <a:lnTo>
                    <a:pt x="334280" y="172102"/>
                  </a:lnTo>
                  <a:cubicBezTo>
                    <a:pt x="333974" y="162331"/>
                    <a:pt x="325832" y="154642"/>
                    <a:pt x="316059" y="154895"/>
                  </a:cubicBezTo>
                  <a:lnTo>
                    <a:pt x="316059" y="120480"/>
                  </a:lnTo>
                  <a:cubicBezTo>
                    <a:pt x="315753" y="110700"/>
                    <a:pt x="307597" y="103008"/>
                    <a:pt x="297816" y="103273"/>
                  </a:cubicBezTo>
                  <a:lnTo>
                    <a:pt x="297816" y="68836"/>
                  </a:lnTo>
                  <a:cubicBezTo>
                    <a:pt x="297522" y="59059"/>
                    <a:pt x="289373" y="51363"/>
                    <a:pt x="279595" y="51629"/>
                  </a:cubicBezTo>
                  <a:lnTo>
                    <a:pt x="279595" y="17214"/>
                  </a:lnTo>
                  <a:cubicBezTo>
                    <a:pt x="279289" y="7434"/>
                    <a:pt x="271133" y="-259"/>
                    <a:pt x="261352" y="7"/>
                  </a:cubicBezTo>
                  <a:lnTo>
                    <a:pt x="103378" y="7"/>
                  </a:lnTo>
                  <a:cubicBezTo>
                    <a:pt x="93601" y="-258"/>
                    <a:pt x="85452" y="7437"/>
                    <a:pt x="85157" y="17214"/>
                  </a:cubicBezTo>
                  <a:lnTo>
                    <a:pt x="85157" y="51629"/>
                  </a:lnTo>
                  <a:cubicBezTo>
                    <a:pt x="75376" y="51363"/>
                    <a:pt x="67220" y="59056"/>
                    <a:pt x="66914" y="68836"/>
                  </a:cubicBezTo>
                  <a:lnTo>
                    <a:pt x="66914" y="103273"/>
                  </a:lnTo>
                  <a:cubicBezTo>
                    <a:pt x="57136" y="103008"/>
                    <a:pt x="48988" y="110703"/>
                    <a:pt x="48693" y="120480"/>
                  </a:cubicBezTo>
                  <a:lnTo>
                    <a:pt x="48693" y="154895"/>
                  </a:lnTo>
                  <a:cubicBezTo>
                    <a:pt x="38917" y="154642"/>
                    <a:pt x="30769" y="162327"/>
                    <a:pt x="30450" y="172102"/>
                  </a:cubicBezTo>
                  <a:lnTo>
                    <a:pt x="30450" y="332756"/>
                  </a:lnTo>
                  <a:lnTo>
                    <a:pt x="6103" y="332756"/>
                  </a:lnTo>
                  <a:cubicBezTo>
                    <a:pt x="2937" y="332557"/>
                    <a:pt x="210" y="334963"/>
                    <a:pt x="11" y="338128"/>
                  </a:cubicBezTo>
                  <a:cubicBezTo>
                    <a:pt x="-187" y="341294"/>
                    <a:pt x="2218" y="344021"/>
                    <a:pt x="5384" y="344220"/>
                  </a:cubicBezTo>
                  <a:cubicBezTo>
                    <a:pt x="5623" y="344235"/>
                    <a:pt x="5864" y="344235"/>
                    <a:pt x="6103" y="344220"/>
                  </a:cubicBezTo>
                  <a:lnTo>
                    <a:pt x="358605" y="344220"/>
                  </a:lnTo>
                  <a:cubicBezTo>
                    <a:pt x="361770" y="344418"/>
                    <a:pt x="364498" y="342013"/>
                    <a:pt x="364696" y="338847"/>
                  </a:cubicBezTo>
                  <a:cubicBezTo>
                    <a:pt x="364895" y="335682"/>
                    <a:pt x="362489" y="332954"/>
                    <a:pt x="359324" y="332756"/>
                  </a:cubicBezTo>
                  <a:cubicBezTo>
                    <a:pt x="359084" y="332741"/>
                    <a:pt x="358844" y="332741"/>
                    <a:pt x="358605" y="332756"/>
                  </a:cubicBezTo>
                  <a:close/>
                  <a:moveTo>
                    <a:pt x="97275" y="17214"/>
                  </a:moveTo>
                  <a:cubicBezTo>
                    <a:pt x="97360" y="13956"/>
                    <a:pt x="100070" y="11384"/>
                    <a:pt x="103328" y="11469"/>
                  </a:cubicBezTo>
                  <a:cubicBezTo>
                    <a:pt x="103344" y="11470"/>
                    <a:pt x="103361" y="11470"/>
                    <a:pt x="103378" y="11471"/>
                  </a:cubicBezTo>
                  <a:lnTo>
                    <a:pt x="261397" y="11471"/>
                  </a:lnTo>
                  <a:cubicBezTo>
                    <a:pt x="264660" y="11382"/>
                    <a:pt x="267380" y="13951"/>
                    <a:pt x="267478" y="17214"/>
                  </a:cubicBezTo>
                  <a:lnTo>
                    <a:pt x="267478" y="51629"/>
                  </a:lnTo>
                  <a:lnTo>
                    <a:pt x="175653" y="51629"/>
                  </a:lnTo>
                  <a:cubicBezTo>
                    <a:pt x="171326" y="35184"/>
                    <a:pt x="154488" y="25361"/>
                    <a:pt x="138044" y="29688"/>
                  </a:cubicBezTo>
                  <a:cubicBezTo>
                    <a:pt x="127310" y="32513"/>
                    <a:pt x="118928" y="40895"/>
                    <a:pt x="116103" y="51629"/>
                  </a:cubicBezTo>
                  <a:lnTo>
                    <a:pt x="97275" y="51629"/>
                  </a:lnTo>
                  <a:lnTo>
                    <a:pt x="97275" y="17214"/>
                  </a:lnTo>
                  <a:close/>
                  <a:moveTo>
                    <a:pt x="162996" y="51629"/>
                  </a:moveTo>
                  <a:lnTo>
                    <a:pt x="128784" y="51629"/>
                  </a:lnTo>
                  <a:cubicBezTo>
                    <a:pt x="132662" y="42181"/>
                    <a:pt x="143464" y="37666"/>
                    <a:pt x="152912" y="41544"/>
                  </a:cubicBezTo>
                  <a:cubicBezTo>
                    <a:pt x="157486" y="43422"/>
                    <a:pt x="161118" y="47054"/>
                    <a:pt x="162996" y="51629"/>
                  </a:cubicBezTo>
                  <a:close/>
                  <a:moveTo>
                    <a:pt x="79031" y="68836"/>
                  </a:moveTo>
                  <a:cubicBezTo>
                    <a:pt x="79141" y="65582"/>
                    <a:pt x="81857" y="63027"/>
                    <a:pt x="85112" y="63115"/>
                  </a:cubicBezTo>
                  <a:lnTo>
                    <a:pt x="279595" y="63115"/>
                  </a:lnTo>
                  <a:cubicBezTo>
                    <a:pt x="282850" y="63027"/>
                    <a:pt x="285566" y="65582"/>
                    <a:pt x="285676" y="68836"/>
                  </a:cubicBezTo>
                  <a:lnTo>
                    <a:pt x="285676" y="103273"/>
                  </a:lnTo>
                  <a:lnTo>
                    <a:pt x="157432" y="103273"/>
                  </a:lnTo>
                  <a:cubicBezTo>
                    <a:pt x="153105" y="86829"/>
                    <a:pt x="136267" y="77006"/>
                    <a:pt x="119823" y="81333"/>
                  </a:cubicBezTo>
                  <a:cubicBezTo>
                    <a:pt x="109090" y="84157"/>
                    <a:pt x="100707" y="92540"/>
                    <a:pt x="97883" y="103273"/>
                  </a:cubicBezTo>
                  <a:lnTo>
                    <a:pt x="79031" y="103273"/>
                  </a:lnTo>
                  <a:lnTo>
                    <a:pt x="79031" y="68836"/>
                  </a:lnTo>
                  <a:close/>
                  <a:moveTo>
                    <a:pt x="144775" y="103273"/>
                  </a:moveTo>
                  <a:lnTo>
                    <a:pt x="110540" y="103273"/>
                  </a:lnTo>
                  <a:cubicBezTo>
                    <a:pt x="114403" y="93819"/>
                    <a:pt x="125198" y="89287"/>
                    <a:pt x="134652" y="93150"/>
                  </a:cubicBezTo>
                  <a:cubicBezTo>
                    <a:pt x="139249" y="95028"/>
                    <a:pt x="142897" y="98676"/>
                    <a:pt x="144775" y="103273"/>
                  </a:cubicBezTo>
                  <a:close/>
                  <a:moveTo>
                    <a:pt x="60810" y="120480"/>
                  </a:moveTo>
                  <a:cubicBezTo>
                    <a:pt x="60896" y="117222"/>
                    <a:pt x="63607" y="114651"/>
                    <a:pt x="66865" y="114737"/>
                  </a:cubicBezTo>
                  <a:cubicBezTo>
                    <a:pt x="66866" y="114737"/>
                    <a:pt x="66868" y="114737"/>
                    <a:pt x="66869" y="114737"/>
                  </a:cubicBezTo>
                  <a:lnTo>
                    <a:pt x="297816" y="114737"/>
                  </a:lnTo>
                  <a:cubicBezTo>
                    <a:pt x="301079" y="114649"/>
                    <a:pt x="303799" y="117217"/>
                    <a:pt x="303897" y="120480"/>
                  </a:cubicBezTo>
                  <a:lnTo>
                    <a:pt x="303897" y="154895"/>
                  </a:lnTo>
                  <a:lnTo>
                    <a:pt x="139189" y="154895"/>
                  </a:lnTo>
                  <a:cubicBezTo>
                    <a:pt x="135875" y="141208"/>
                    <a:pt x="123493" y="131665"/>
                    <a:pt x="109414" y="131944"/>
                  </a:cubicBezTo>
                  <a:cubicBezTo>
                    <a:pt x="95338" y="131673"/>
                    <a:pt x="82961" y="141213"/>
                    <a:pt x="79639" y="154895"/>
                  </a:cubicBezTo>
                  <a:lnTo>
                    <a:pt x="60810" y="154895"/>
                  </a:lnTo>
                  <a:close/>
                  <a:moveTo>
                    <a:pt x="126531" y="154895"/>
                  </a:moveTo>
                  <a:lnTo>
                    <a:pt x="92297" y="154895"/>
                  </a:lnTo>
                  <a:cubicBezTo>
                    <a:pt x="96193" y="145441"/>
                    <a:pt x="107014" y="140936"/>
                    <a:pt x="116468" y="144831"/>
                  </a:cubicBezTo>
                  <a:cubicBezTo>
                    <a:pt x="121029" y="146711"/>
                    <a:pt x="124652" y="150333"/>
                    <a:pt x="126531" y="154895"/>
                  </a:cubicBezTo>
                  <a:close/>
                  <a:moveTo>
                    <a:pt x="322140" y="332824"/>
                  </a:moveTo>
                  <a:lnTo>
                    <a:pt x="42567" y="332824"/>
                  </a:lnTo>
                  <a:lnTo>
                    <a:pt x="42567" y="172102"/>
                  </a:lnTo>
                  <a:cubicBezTo>
                    <a:pt x="42653" y="168832"/>
                    <a:pt x="45374" y="166250"/>
                    <a:pt x="48644" y="166336"/>
                  </a:cubicBezTo>
                  <a:cubicBezTo>
                    <a:pt x="48645" y="166336"/>
                    <a:pt x="48647" y="166336"/>
                    <a:pt x="48648" y="166336"/>
                  </a:cubicBezTo>
                  <a:lnTo>
                    <a:pt x="316059" y="166336"/>
                  </a:lnTo>
                  <a:cubicBezTo>
                    <a:pt x="319314" y="166248"/>
                    <a:pt x="322030" y="168803"/>
                    <a:pt x="322140" y="172057"/>
                  </a:cubicBezTo>
                  <a:lnTo>
                    <a:pt x="322140" y="332711"/>
                  </a:lnTo>
                  <a:close/>
                </a:path>
              </a:pathLst>
            </a:custGeom>
            <a:solidFill>
              <a:srgbClr val="1F6898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eform 207">
              <a:extLst>
                <a:ext uri="{FF2B5EF4-FFF2-40B4-BE49-F238E27FC236}">
                  <a16:creationId xmlns:a16="http://schemas.microsoft.com/office/drawing/2014/main" id="{FE7E21B2-1D68-E0F8-3406-AAD3D869D37D}"/>
                </a:ext>
              </a:extLst>
            </p:cNvPr>
            <p:cNvSpPr/>
            <p:nvPr/>
          </p:nvSpPr>
          <p:spPr>
            <a:xfrm>
              <a:off x="3926841" y="4871945"/>
              <a:ext cx="73281" cy="68966"/>
            </a:xfrm>
            <a:custGeom>
              <a:avLst/>
              <a:gdLst>
                <a:gd name="connsiteX0" fmla="*/ 36641 w 73281"/>
                <a:gd name="connsiteY0" fmla="*/ 68898 h 68966"/>
                <a:gd name="connsiteX1" fmla="*/ 73213 w 73281"/>
                <a:gd name="connsiteY1" fmla="*/ 36641 h 68966"/>
                <a:gd name="connsiteX2" fmla="*/ 40956 w 73281"/>
                <a:gd name="connsiteY2" fmla="*/ 69 h 68966"/>
                <a:gd name="connsiteX3" fmla="*/ 36641 w 73281"/>
                <a:gd name="connsiteY3" fmla="*/ 69 h 68966"/>
                <a:gd name="connsiteX4" fmla="*/ 69 w 73281"/>
                <a:gd name="connsiteY4" fmla="*/ 32326 h 68966"/>
                <a:gd name="connsiteX5" fmla="*/ 32326 w 73281"/>
                <a:gd name="connsiteY5" fmla="*/ 68898 h 68966"/>
                <a:gd name="connsiteX6" fmla="*/ 36641 w 73281"/>
                <a:gd name="connsiteY6" fmla="*/ 68898 h 68966"/>
                <a:gd name="connsiteX7" fmla="*/ 36641 w 73281"/>
                <a:gd name="connsiteY7" fmla="*/ 11533 h 68966"/>
                <a:gd name="connsiteX8" fmla="*/ 61030 w 73281"/>
                <a:gd name="connsiteY8" fmla="*/ 33045 h 68966"/>
                <a:gd name="connsiteX9" fmla="*/ 39518 w 73281"/>
                <a:gd name="connsiteY9" fmla="*/ 57434 h 68966"/>
                <a:gd name="connsiteX10" fmla="*/ 36641 w 73281"/>
                <a:gd name="connsiteY10" fmla="*/ 57434 h 68966"/>
                <a:gd name="connsiteX11" fmla="*/ 12252 w 73281"/>
                <a:gd name="connsiteY11" fmla="*/ 35922 h 68966"/>
                <a:gd name="connsiteX12" fmla="*/ 33764 w 73281"/>
                <a:gd name="connsiteY12" fmla="*/ 11533 h 68966"/>
                <a:gd name="connsiteX13" fmla="*/ 36641 w 73281"/>
                <a:gd name="connsiteY13" fmla="*/ 11533 h 68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281" h="68966">
                  <a:moveTo>
                    <a:pt x="36641" y="68898"/>
                  </a:moveTo>
                  <a:cubicBezTo>
                    <a:pt x="55648" y="70089"/>
                    <a:pt x="72021" y="55648"/>
                    <a:pt x="73213" y="36641"/>
                  </a:cubicBezTo>
                  <a:cubicBezTo>
                    <a:pt x="74405" y="17634"/>
                    <a:pt x="59963" y="1260"/>
                    <a:pt x="40956" y="69"/>
                  </a:cubicBezTo>
                  <a:cubicBezTo>
                    <a:pt x="39519" y="-21"/>
                    <a:pt x="38078" y="-21"/>
                    <a:pt x="36641" y="69"/>
                  </a:cubicBezTo>
                  <a:cubicBezTo>
                    <a:pt x="17634" y="-1123"/>
                    <a:pt x="1260" y="13319"/>
                    <a:pt x="69" y="32326"/>
                  </a:cubicBezTo>
                  <a:cubicBezTo>
                    <a:pt x="-1123" y="51332"/>
                    <a:pt x="13319" y="67706"/>
                    <a:pt x="32326" y="68898"/>
                  </a:cubicBezTo>
                  <a:cubicBezTo>
                    <a:pt x="33763" y="68988"/>
                    <a:pt x="35204" y="68988"/>
                    <a:pt x="36641" y="68898"/>
                  </a:cubicBezTo>
                  <a:close/>
                  <a:moveTo>
                    <a:pt x="36641" y="11533"/>
                  </a:moveTo>
                  <a:cubicBezTo>
                    <a:pt x="49316" y="10738"/>
                    <a:pt x="60236" y="20369"/>
                    <a:pt x="61030" y="33045"/>
                  </a:cubicBezTo>
                  <a:cubicBezTo>
                    <a:pt x="61825" y="45720"/>
                    <a:pt x="52193" y="56639"/>
                    <a:pt x="39518" y="57434"/>
                  </a:cubicBezTo>
                  <a:cubicBezTo>
                    <a:pt x="38560" y="57494"/>
                    <a:pt x="37599" y="57494"/>
                    <a:pt x="36641" y="57434"/>
                  </a:cubicBezTo>
                  <a:cubicBezTo>
                    <a:pt x="23966" y="58228"/>
                    <a:pt x="13046" y="48597"/>
                    <a:pt x="12252" y="35922"/>
                  </a:cubicBezTo>
                  <a:cubicBezTo>
                    <a:pt x="11457" y="23247"/>
                    <a:pt x="21088" y="12327"/>
                    <a:pt x="33764" y="11533"/>
                  </a:cubicBezTo>
                  <a:cubicBezTo>
                    <a:pt x="34722" y="11473"/>
                    <a:pt x="35683" y="11473"/>
                    <a:pt x="36641" y="11533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eform 208">
              <a:extLst>
                <a:ext uri="{FF2B5EF4-FFF2-40B4-BE49-F238E27FC236}">
                  <a16:creationId xmlns:a16="http://schemas.microsoft.com/office/drawing/2014/main" id="{2811DAAC-B08A-9C3F-89A5-2ECFCC9FA4C4}"/>
                </a:ext>
              </a:extLst>
            </p:cNvPr>
            <p:cNvSpPr/>
            <p:nvPr/>
          </p:nvSpPr>
          <p:spPr>
            <a:xfrm>
              <a:off x="4018190" y="4872003"/>
              <a:ext cx="139819" cy="11486"/>
            </a:xfrm>
            <a:custGeom>
              <a:avLst/>
              <a:gdLst>
                <a:gd name="connsiteX0" fmla="*/ 133649 w 139819"/>
                <a:gd name="connsiteY0" fmla="*/ 11 h 11486"/>
                <a:gd name="connsiteX1" fmla="*/ 6103 w 139819"/>
                <a:gd name="connsiteY1" fmla="*/ 11 h 11486"/>
                <a:gd name="connsiteX2" fmla="*/ 11 w 139819"/>
                <a:gd name="connsiteY2" fmla="*/ 5384 h 11486"/>
                <a:gd name="connsiteX3" fmla="*/ 5384 w 139819"/>
                <a:gd name="connsiteY3" fmla="*/ 11475 h 11486"/>
                <a:gd name="connsiteX4" fmla="*/ 6103 w 139819"/>
                <a:gd name="connsiteY4" fmla="*/ 11475 h 11486"/>
                <a:gd name="connsiteX5" fmla="*/ 133716 w 139819"/>
                <a:gd name="connsiteY5" fmla="*/ 11475 h 11486"/>
                <a:gd name="connsiteX6" fmla="*/ 139808 w 139819"/>
                <a:gd name="connsiteY6" fmla="*/ 6103 h 11486"/>
                <a:gd name="connsiteX7" fmla="*/ 134435 w 139819"/>
                <a:gd name="connsiteY7" fmla="*/ 11 h 11486"/>
                <a:gd name="connsiteX8" fmla="*/ 133716 w 139819"/>
                <a:gd name="connsiteY8" fmla="*/ 11 h 1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819" h="11486">
                  <a:moveTo>
                    <a:pt x="133649" y="11"/>
                  </a:moveTo>
                  <a:lnTo>
                    <a:pt x="6103" y="11"/>
                  </a:lnTo>
                  <a:cubicBezTo>
                    <a:pt x="2937" y="-187"/>
                    <a:pt x="210" y="2218"/>
                    <a:pt x="11" y="5384"/>
                  </a:cubicBezTo>
                  <a:cubicBezTo>
                    <a:pt x="-187" y="8550"/>
                    <a:pt x="2218" y="11277"/>
                    <a:pt x="5384" y="11475"/>
                  </a:cubicBezTo>
                  <a:cubicBezTo>
                    <a:pt x="5623" y="11490"/>
                    <a:pt x="5864" y="11490"/>
                    <a:pt x="6103" y="11475"/>
                  </a:cubicBezTo>
                  <a:lnTo>
                    <a:pt x="133716" y="11475"/>
                  </a:lnTo>
                  <a:cubicBezTo>
                    <a:pt x="136882" y="11674"/>
                    <a:pt x="139609" y="9269"/>
                    <a:pt x="139808" y="6103"/>
                  </a:cubicBezTo>
                  <a:cubicBezTo>
                    <a:pt x="140006" y="2937"/>
                    <a:pt x="137601" y="210"/>
                    <a:pt x="134435" y="11"/>
                  </a:cubicBezTo>
                  <a:cubicBezTo>
                    <a:pt x="134196" y="-4"/>
                    <a:pt x="133956" y="-4"/>
                    <a:pt x="133716" y="11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Freeform 209">
              <a:extLst>
                <a:ext uri="{FF2B5EF4-FFF2-40B4-BE49-F238E27FC236}">
                  <a16:creationId xmlns:a16="http://schemas.microsoft.com/office/drawing/2014/main" id="{59087D48-768B-8767-D4B3-795832B49F01}"/>
                </a:ext>
              </a:extLst>
            </p:cNvPr>
            <p:cNvSpPr/>
            <p:nvPr/>
          </p:nvSpPr>
          <p:spPr>
            <a:xfrm>
              <a:off x="4018550" y="4900685"/>
              <a:ext cx="139099" cy="11486"/>
            </a:xfrm>
            <a:custGeom>
              <a:avLst/>
              <a:gdLst>
                <a:gd name="connsiteX0" fmla="*/ 133289 w 139099"/>
                <a:gd name="connsiteY0" fmla="*/ 0 h 11486"/>
                <a:gd name="connsiteX1" fmla="*/ 5743 w 139099"/>
                <a:gd name="connsiteY1" fmla="*/ 0 h 11486"/>
                <a:gd name="connsiteX2" fmla="*/ 0 w 139099"/>
                <a:gd name="connsiteY2" fmla="*/ 5743 h 11486"/>
                <a:gd name="connsiteX3" fmla="*/ 5743 w 139099"/>
                <a:gd name="connsiteY3" fmla="*/ 11487 h 11486"/>
                <a:gd name="connsiteX4" fmla="*/ 133356 w 139099"/>
                <a:gd name="connsiteY4" fmla="*/ 11487 h 11486"/>
                <a:gd name="connsiteX5" fmla="*/ 139100 w 139099"/>
                <a:gd name="connsiteY5" fmla="*/ 5743 h 11486"/>
                <a:gd name="connsiteX6" fmla="*/ 133356 w 139099"/>
                <a:gd name="connsiteY6" fmla="*/ 0 h 1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099" h="11486">
                  <a:moveTo>
                    <a:pt x="133289" y="0"/>
                  </a:moveTo>
                  <a:lnTo>
                    <a:pt x="5743" y="0"/>
                  </a:lnTo>
                  <a:cubicBezTo>
                    <a:pt x="2571" y="0"/>
                    <a:pt x="0" y="2571"/>
                    <a:pt x="0" y="5743"/>
                  </a:cubicBezTo>
                  <a:cubicBezTo>
                    <a:pt x="0" y="8915"/>
                    <a:pt x="2571" y="11487"/>
                    <a:pt x="5743" y="11487"/>
                  </a:cubicBezTo>
                  <a:lnTo>
                    <a:pt x="133356" y="11487"/>
                  </a:lnTo>
                  <a:cubicBezTo>
                    <a:pt x="136528" y="11487"/>
                    <a:pt x="139100" y="8915"/>
                    <a:pt x="139100" y="5743"/>
                  </a:cubicBezTo>
                  <a:cubicBezTo>
                    <a:pt x="139100" y="2571"/>
                    <a:pt x="136528" y="0"/>
                    <a:pt x="133356" y="0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Freeform 210">
              <a:extLst>
                <a:ext uri="{FF2B5EF4-FFF2-40B4-BE49-F238E27FC236}">
                  <a16:creationId xmlns:a16="http://schemas.microsoft.com/office/drawing/2014/main" id="{EDA8DD98-A6BE-102C-14A8-1C7BC92665D3}"/>
                </a:ext>
              </a:extLst>
            </p:cNvPr>
            <p:cNvSpPr/>
            <p:nvPr/>
          </p:nvSpPr>
          <p:spPr>
            <a:xfrm>
              <a:off x="4018190" y="4929368"/>
              <a:ext cx="139819" cy="11486"/>
            </a:xfrm>
            <a:custGeom>
              <a:avLst/>
              <a:gdLst>
                <a:gd name="connsiteX0" fmla="*/ 133649 w 139819"/>
                <a:gd name="connsiteY0" fmla="*/ 11 h 11486"/>
                <a:gd name="connsiteX1" fmla="*/ 6103 w 139819"/>
                <a:gd name="connsiteY1" fmla="*/ 11 h 11486"/>
                <a:gd name="connsiteX2" fmla="*/ 11 w 139819"/>
                <a:gd name="connsiteY2" fmla="*/ 5384 h 11486"/>
                <a:gd name="connsiteX3" fmla="*/ 5384 w 139819"/>
                <a:gd name="connsiteY3" fmla="*/ 11475 h 11486"/>
                <a:gd name="connsiteX4" fmla="*/ 6103 w 139819"/>
                <a:gd name="connsiteY4" fmla="*/ 11475 h 11486"/>
                <a:gd name="connsiteX5" fmla="*/ 133716 w 139819"/>
                <a:gd name="connsiteY5" fmla="*/ 11475 h 11486"/>
                <a:gd name="connsiteX6" fmla="*/ 139808 w 139819"/>
                <a:gd name="connsiteY6" fmla="*/ 6103 h 11486"/>
                <a:gd name="connsiteX7" fmla="*/ 134435 w 139819"/>
                <a:gd name="connsiteY7" fmla="*/ 11 h 11486"/>
                <a:gd name="connsiteX8" fmla="*/ 133716 w 139819"/>
                <a:gd name="connsiteY8" fmla="*/ 11 h 1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819" h="11486">
                  <a:moveTo>
                    <a:pt x="133649" y="11"/>
                  </a:moveTo>
                  <a:lnTo>
                    <a:pt x="6103" y="11"/>
                  </a:lnTo>
                  <a:cubicBezTo>
                    <a:pt x="2937" y="-187"/>
                    <a:pt x="210" y="2218"/>
                    <a:pt x="11" y="5384"/>
                  </a:cubicBezTo>
                  <a:cubicBezTo>
                    <a:pt x="-187" y="8550"/>
                    <a:pt x="2218" y="11277"/>
                    <a:pt x="5384" y="11475"/>
                  </a:cubicBezTo>
                  <a:cubicBezTo>
                    <a:pt x="5623" y="11490"/>
                    <a:pt x="5864" y="11490"/>
                    <a:pt x="6103" y="11475"/>
                  </a:cubicBezTo>
                  <a:lnTo>
                    <a:pt x="133716" y="11475"/>
                  </a:lnTo>
                  <a:cubicBezTo>
                    <a:pt x="136882" y="11674"/>
                    <a:pt x="139609" y="9269"/>
                    <a:pt x="139808" y="6103"/>
                  </a:cubicBezTo>
                  <a:cubicBezTo>
                    <a:pt x="140006" y="2937"/>
                    <a:pt x="137601" y="210"/>
                    <a:pt x="134435" y="11"/>
                  </a:cubicBezTo>
                  <a:cubicBezTo>
                    <a:pt x="134196" y="-4"/>
                    <a:pt x="133956" y="-4"/>
                    <a:pt x="133716" y="11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eform 211">
              <a:extLst>
                <a:ext uri="{FF2B5EF4-FFF2-40B4-BE49-F238E27FC236}">
                  <a16:creationId xmlns:a16="http://schemas.microsoft.com/office/drawing/2014/main" id="{AE8312BE-05AE-C03B-C3A6-D35A78B6E4CA}"/>
                </a:ext>
              </a:extLst>
            </p:cNvPr>
            <p:cNvSpPr/>
            <p:nvPr/>
          </p:nvSpPr>
          <p:spPr>
            <a:xfrm>
              <a:off x="3927310" y="4958051"/>
              <a:ext cx="230271" cy="11486"/>
            </a:xfrm>
            <a:custGeom>
              <a:avLst/>
              <a:gdLst>
                <a:gd name="connsiteX0" fmla="*/ 224528 w 230271"/>
                <a:gd name="connsiteY0" fmla="*/ 0 h 11486"/>
                <a:gd name="connsiteX1" fmla="*/ 5743 w 230271"/>
                <a:gd name="connsiteY1" fmla="*/ 0 h 11486"/>
                <a:gd name="connsiteX2" fmla="*/ 0 w 230271"/>
                <a:gd name="connsiteY2" fmla="*/ 5743 h 11486"/>
                <a:gd name="connsiteX3" fmla="*/ 5743 w 230271"/>
                <a:gd name="connsiteY3" fmla="*/ 11487 h 11486"/>
                <a:gd name="connsiteX4" fmla="*/ 224528 w 230271"/>
                <a:gd name="connsiteY4" fmla="*/ 11487 h 11486"/>
                <a:gd name="connsiteX5" fmla="*/ 230271 w 230271"/>
                <a:gd name="connsiteY5" fmla="*/ 5743 h 11486"/>
                <a:gd name="connsiteX6" fmla="*/ 224528 w 230271"/>
                <a:gd name="connsiteY6" fmla="*/ 0 h 1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71" h="11486">
                  <a:moveTo>
                    <a:pt x="224528" y="0"/>
                  </a:moveTo>
                  <a:lnTo>
                    <a:pt x="5743" y="0"/>
                  </a:lnTo>
                  <a:cubicBezTo>
                    <a:pt x="2571" y="0"/>
                    <a:pt x="0" y="2571"/>
                    <a:pt x="0" y="5743"/>
                  </a:cubicBezTo>
                  <a:cubicBezTo>
                    <a:pt x="0" y="8915"/>
                    <a:pt x="2571" y="11487"/>
                    <a:pt x="5743" y="11487"/>
                  </a:cubicBezTo>
                  <a:lnTo>
                    <a:pt x="224528" y="11487"/>
                  </a:lnTo>
                  <a:cubicBezTo>
                    <a:pt x="227700" y="11487"/>
                    <a:pt x="230271" y="8915"/>
                    <a:pt x="230271" y="5743"/>
                  </a:cubicBezTo>
                  <a:cubicBezTo>
                    <a:pt x="230271" y="2571"/>
                    <a:pt x="227700" y="0"/>
                    <a:pt x="224528" y="0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eform 212">
              <a:extLst>
                <a:ext uri="{FF2B5EF4-FFF2-40B4-BE49-F238E27FC236}">
                  <a16:creationId xmlns:a16="http://schemas.microsoft.com/office/drawing/2014/main" id="{B1A8A23D-937D-8335-1B97-A2B369DFDD8E}"/>
                </a:ext>
              </a:extLst>
            </p:cNvPr>
            <p:cNvSpPr/>
            <p:nvPr/>
          </p:nvSpPr>
          <p:spPr>
            <a:xfrm>
              <a:off x="3927310" y="4986744"/>
              <a:ext cx="230271" cy="11486"/>
            </a:xfrm>
            <a:custGeom>
              <a:avLst/>
              <a:gdLst>
                <a:gd name="connsiteX0" fmla="*/ 224528 w 230271"/>
                <a:gd name="connsiteY0" fmla="*/ 0 h 11486"/>
                <a:gd name="connsiteX1" fmla="*/ 5743 w 230271"/>
                <a:gd name="connsiteY1" fmla="*/ 0 h 11486"/>
                <a:gd name="connsiteX2" fmla="*/ 0 w 230271"/>
                <a:gd name="connsiteY2" fmla="*/ 5743 h 11486"/>
                <a:gd name="connsiteX3" fmla="*/ 5743 w 230271"/>
                <a:gd name="connsiteY3" fmla="*/ 11487 h 11486"/>
                <a:gd name="connsiteX4" fmla="*/ 224528 w 230271"/>
                <a:gd name="connsiteY4" fmla="*/ 11487 h 11486"/>
                <a:gd name="connsiteX5" fmla="*/ 230271 w 230271"/>
                <a:gd name="connsiteY5" fmla="*/ 5743 h 11486"/>
                <a:gd name="connsiteX6" fmla="*/ 224528 w 230271"/>
                <a:gd name="connsiteY6" fmla="*/ 0 h 1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71" h="11486">
                  <a:moveTo>
                    <a:pt x="224528" y="0"/>
                  </a:moveTo>
                  <a:lnTo>
                    <a:pt x="5743" y="0"/>
                  </a:lnTo>
                  <a:cubicBezTo>
                    <a:pt x="2571" y="0"/>
                    <a:pt x="0" y="2571"/>
                    <a:pt x="0" y="5743"/>
                  </a:cubicBezTo>
                  <a:cubicBezTo>
                    <a:pt x="0" y="8915"/>
                    <a:pt x="2571" y="11487"/>
                    <a:pt x="5743" y="11487"/>
                  </a:cubicBezTo>
                  <a:lnTo>
                    <a:pt x="224528" y="11487"/>
                  </a:lnTo>
                  <a:cubicBezTo>
                    <a:pt x="227700" y="11487"/>
                    <a:pt x="230271" y="8915"/>
                    <a:pt x="230271" y="5743"/>
                  </a:cubicBezTo>
                  <a:cubicBezTo>
                    <a:pt x="230271" y="2571"/>
                    <a:pt x="227700" y="0"/>
                    <a:pt x="224528" y="0"/>
                  </a:cubicBezTo>
                  <a:close/>
                </a:path>
              </a:pathLst>
            </a:custGeom>
            <a:solidFill>
              <a:srgbClr val="BD5C7A"/>
            </a:solidFill>
            <a:ln w="220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4" name="Graphic 315">
            <a:extLst>
              <a:ext uri="{FF2B5EF4-FFF2-40B4-BE49-F238E27FC236}">
                <a16:creationId xmlns:a16="http://schemas.microsoft.com/office/drawing/2014/main" id="{40BBEB0B-51FD-37CC-3784-86AC8A88104D}"/>
              </a:ext>
            </a:extLst>
          </p:cNvPr>
          <p:cNvGrpSpPr/>
          <p:nvPr/>
        </p:nvGrpSpPr>
        <p:grpSpPr>
          <a:xfrm>
            <a:off x="4731591" y="5040312"/>
            <a:ext cx="361950" cy="361950"/>
            <a:chOff x="4668838" y="4654550"/>
            <a:chExt cx="361950" cy="361950"/>
          </a:xfrm>
        </p:grpSpPr>
        <p:sp>
          <p:nvSpPr>
            <p:cNvPr id="215" name="Freeform 214">
              <a:extLst>
                <a:ext uri="{FF2B5EF4-FFF2-40B4-BE49-F238E27FC236}">
                  <a16:creationId xmlns:a16="http://schemas.microsoft.com/office/drawing/2014/main" id="{2BD3DE9D-71A1-348A-2223-72F6D7A7B607}"/>
                </a:ext>
              </a:extLst>
            </p:cNvPr>
            <p:cNvSpPr/>
            <p:nvPr/>
          </p:nvSpPr>
          <p:spPr>
            <a:xfrm>
              <a:off x="4689921" y="4659074"/>
              <a:ext cx="322768" cy="358828"/>
            </a:xfrm>
            <a:custGeom>
              <a:avLst/>
              <a:gdLst>
                <a:gd name="connsiteX0" fmla="*/ 296528 w 322768"/>
                <a:gd name="connsiteY0" fmla="*/ 24093 h 358828"/>
                <a:gd name="connsiteX1" fmla="*/ 274064 w 322768"/>
                <a:gd name="connsiteY1" fmla="*/ 24093 h 358828"/>
                <a:gd name="connsiteX2" fmla="*/ 274064 w 322768"/>
                <a:gd name="connsiteY2" fmla="*/ 16062 h 358828"/>
                <a:gd name="connsiteX3" fmla="*/ 258093 w 322768"/>
                <a:gd name="connsiteY3" fmla="*/ 0 h 358828"/>
                <a:gd name="connsiteX4" fmla="*/ 255672 w 322768"/>
                <a:gd name="connsiteY4" fmla="*/ 0 h 358828"/>
                <a:gd name="connsiteX5" fmla="*/ 239679 w 322768"/>
                <a:gd name="connsiteY5" fmla="*/ 15994 h 358828"/>
                <a:gd name="connsiteX6" fmla="*/ 239679 w 322768"/>
                <a:gd name="connsiteY6" fmla="*/ 24025 h 358828"/>
                <a:gd name="connsiteX7" fmla="*/ 83158 w 322768"/>
                <a:gd name="connsiteY7" fmla="*/ 24025 h 358828"/>
                <a:gd name="connsiteX8" fmla="*/ 83158 w 322768"/>
                <a:gd name="connsiteY8" fmla="*/ 16062 h 358828"/>
                <a:gd name="connsiteX9" fmla="*/ 67187 w 322768"/>
                <a:gd name="connsiteY9" fmla="*/ 0 h 358828"/>
                <a:gd name="connsiteX10" fmla="*/ 67142 w 322768"/>
                <a:gd name="connsiteY10" fmla="*/ 0 h 358828"/>
                <a:gd name="connsiteX11" fmla="*/ 64880 w 322768"/>
                <a:gd name="connsiteY11" fmla="*/ 0 h 358828"/>
                <a:gd name="connsiteX12" fmla="*/ 48773 w 322768"/>
                <a:gd name="connsiteY12" fmla="*/ 15836 h 358828"/>
                <a:gd name="connsiteX13" fmla="*/ 48773 w 322768"/>
                <a:gd name="connsiteY13" fmla="*/ 24002 h 358828"/>
                <a:gd name="connsiteX14" fmla="*/ 26422 w 322768"/>
                <a:gd name="connsiteY14" fmla="*/ 24002 h 358828"/>
                <a:gd name="connsiteX15" fmla="*/ 0 w 322768"/>
                <a:gd name="connsiteY15" fmla="*/ 50334 h 358828"/>
                <a:gd name="connsiteX16" fmla="*/ 0 w 322768"/>
                <a:gd name="connsiteY16" fmla="*/ 50379 h 358828"/>
                <a:gd name="connsiteX17" fmla="*/ 0 w 322768"/>
                <a:gd name="connsiteY17" fmla="*/ 50379 h 358828"/>
                <a:gd name="connsiteX18" fmla="*/ 0 w 322768"/>
                <a:gd name="connsiteY18" fmla="*/ 332542 h 358828"/>
                <a:gd name="connsiteX19" fmla="*/ 26264 w 322768"/>
                <a:gd name="connsiteY19" fmla="*/ 358828 h 358828"/>
                <a:gd name="connsiteX20" fmla="*/ 296573 w 322768"/>
                <a:gd name="connsiteY20" fmla="*/ 358828 h 358828"/>
                <a:gd name="connsiteX21" fmla="*/ 322769 w 322768"/>
                <a:gd name="connsiteY21" fmla="*/ 332542 h 358828"/>
                <a:gd name="connsiteX22" fmla="*/ 322769 w 322768"/>
                <a:gd name="connsiteY22" fmla="*/ 50402 h 358828"/>
                <a:gd name="connsiteX23" fmla="*/ 296528 w 322768"/>
                <a:gd name="connsiteY23" fmla="*/ 24093 h 358828"/>
                <a:gd name="connsiteX24" fmla="*/ 250198 w 322768"/>
                <a:gd name="connsiteY24" fmla="*/ 16062 h 358828"/>
                <a:gd name="connsiteX25" fmla="*/ 255672 w 322768"/>
                <a:gd name="connsiteY25" fmla="*/ 10587 h 358828"/>
                <a:gd name="connsiteX26" fmla="*/ 258070 w 322768"/>
                <a:gd name="connsiteY26" fmla="*/ 10587 h 358828"/>
                <a:gd name="connsiteX27" fmla="*/ 263545 w 322768"/>
                <a:gd name="connsiteY27" fmla="*/ 16062 h 358828"/>
                <a:gd name="connsiteX28" fmla="*/ 263545 w 322768"/>
                <a:gd name="connsiteY28" fmla="*/ 24093 h 358828"/>
                <a:gd name="connsiteX29" fmla="*/ 250198 w 322768"/>
                <a:gd name="connsiteY29" fmla="*/ 24093 h 358828"/>
                <a:gd name="connsiteX30" fmla="*/ 64880 w 322768"/>
                <a:gd name="connsiteY30" fmla="*/ 10587 h 358828"/>
                <a:gd name="connsiteX31" fmla="*/ 67142 w 322768"/>
                <a:gd name="connsiteY31" fmla="*/ 10587 h 358828"/>
                <a:gd name="connsiteX32" fmla="*/ 72639 w 322768"/>
                <a:gd name="connsiteY32" fmla="*/ 16039 h 358828"/>
                <a:gd name="connsiteX33" fmla="*/ 72639 w 322768"/>
                <a:gd name="connsiteY33" fmla="*/ 16039 h 358828"/>
                <a:gd name="connsiteX34" fmla="*/ 72639 w 322768"/>
                <a:gd name="connsiteY34" fmla="*/ 16039 h 358828"/>
                <a:gd name="connsiteX35" fmla="*/ 72639 w 322768"/>
                <a:gd name="connsiteY35" fmla="*/ 24070 h 358828"/>
                <a:gd name="connsiteX36" fmla="*/ 59292 w 322768"/>
                <a:gd name="connsiteY36" fmla="*/ 24070 h 358828"/>
                <a:gd name="connsiteX37" fmla="*/ 59292 w 322768"/>
                <a:gd name="connsiteY37" fmla="*/ 16062 h 358828"/>
                <a:gd name="connsiteX38" fmla="*/ 59292 w 322768"/>
                <a:gd name="connsiteY38" fmla="*/ 16062 h 358828"/>
                <a:gd name="connsiteX39" fmla="*/ 64765 w 322768"/>
                <a:gd name="connsiteY39" fmla="*/ 10586 h 358828"/>
                <a:gd name="connsiteX40" fmla="*/ 64880 w 322768"/>
                <a:gd name="connsiteY40" fmla="*/ 10587 h 358828"/>
                <a:gd name="connsiteX41" fmla="*/ 312318 w 322768"/>
                <a:gd name="connsiteY41" fmla="*/ 332542 h 358828"/>
                <a:gd name="connsiteX42" fmla="*/ 296482 w 322768"/>
                <a:gd name="connsiteY42" fmla="*/ 348377 h 358828"/>
                <a:gd name="connsiteX43" fmla="*/ 26264 w 322768"/>
                <a:gd name="connsiteY43" fmla="*/ 348377 h 358828"/>
                <a:gd name="connsiteX44" fmla="*/ 10429 w 322768"/>
                <a:gd name="connsiteY44" fmla="*/ 332542 h 358828"/>
                <a:gd name="connsiteX45" fmla="*/ 10429 w 322768"/>
                <a:gd name="connsiteY45" fmla="*/ 332542 h 358828"/>
                <a:gd name="connsiteX46" fmla="*/ 26264 w 322768"/>
                <a:gd name="connsiteY46" fmla="*/ 337835 h 358828"/>
                <a:gd name="connsiteX47" fmla="*/ 239339 w 322768"/>
                <a:gd name="connsiteY47" fmla="*/ 337835 h 358828"/>
                <a:gd name="connsiteX48" fmla="*/ 257935 w 322768"/>
                <a:gd name="connsiteY48" fmla="*/ 330121 h 358828"/>
                <a:gd name="connsiteX49" fmla="*/ 312227 w 322768"/>
                <a:gd name="connsiteY49" fmla="*/ 275829 h 358828"/>
                <a:gd name="connsiteX50" fmla="*/ 252641 w 322768"/>
                <a:gd name="connsiteY50" fmla="*/ 320597 h 358828"/>
                <a:gd name="connsiteX51" fmla="*/ 253275 w 322768"/>
                <a:gd name="connsiteY51" fmla="*/ 315304 h 358828"/>
                <a:gd name="connsiteX52" fmla="*/ 253275 w 322768"/>
                <a:gd name="connsiteY52" fmla="*/ 280217 h 358828"/>
                <a:gd name="connsiteX53" fmla="*/ 265264 w 322768"/>
                <a:gd name="connsiteY53" fmla="*/ 268228 h 358828"/>
                <a:gd name="connsiteX54" fmla="*/ 300351 w 322768"/>
                <a:gd name="connsiteY54" fmla="*/ 268228 h 358828"/>
                <a:gd name="connsiteX55" fmla="*/ 305644 w 322768"/>
                <a:gd name="connsiteY55" fmla="*/ 267594 h 358828"/>
                <a:gd name="connsiteX56" fmla="*/ 312340 w 322768"/>
                <a:gd name="connsiteY56" fmla="*/ 99197 h 358828"/>
                <a:gd name="connsiteX57" fmla="*/ 267391 w 322768"/>
                <a:gd name="connsiteY57" fmla="*/ 99197 h 358828"/>
                <a:gd name="connsiteX58" fmla="*/ 262142 w 322768"/>
                <a:gd name="connsiteY58" fmla="*/ 104445 h 358828"/>
                <a:gd name="connsiteX59" fmla="*/ 267391 w 322768"/>
                <a:gd name="connsiteY59" fmla="*/ 109694 h 358828"/>
                <a:gd name="connsiteX60" fmla="*/ 312318 w 322768"/>
                <a:gd name="connsiteY60" fmla="*/ 109694 h 358828"/>
                <a:gd name="connsiteX61" fmla="*/ 312318 w 322768"/>
                <a:gd name="connsiteY61" fmla="*/ 245719 h 358828"/>
                <a:gd name="connsiteX62" fmla="*/ 300328 w 322768"/>
                <a:gd name="connsiteY62" fmla="*/ 257709 h 358828"/>
                <a:gd name="connsiteX63" fmla="*/ 265241 w 322768"/>
                <a:gd name="connsiteY63" fmla="*/ 257709 h 358828"/>
                <a:gd name="connsiteX64" fmla="*/ 242755 w 322768"/>
                <a:gd name="connsiteY64" fmla="*/ 280217 h 358828"/>
                <a:gd name="connsiteX65" fmla="*/ 242755 w 322768"/>
                <a:gd name="connsiteY65" fmla="*/ 315304 h 358828"/>
                <a:gd name="connsiteX66" fmla="*/ 230743 w 322768"/>
                <a:gd name="connsiteY66" fmla="*/ 327294 h 358828"/>
                <a:gd name="connsiteX67" fmla="*/ 26422 w 322768"/>
                <a:gd name="connsiteY67" fmla="*/ 327294 h 358828"/>
                <a:gd name="connsiteX68" fmla="*/ 10587 w 322768"/>
                <a:gd name="connsiteY68" fmla="*/ 311458 h 358828"/>
                <a:gd name="connsiteX69" fmla="*/ 10587 w 322768"/>
                <a:gd name="connsiteY69" fmla="*/ 109694 h 358828"/>
                <a:gd name="connsiteX70" fmla="*/ 246352 w 322768"/>
                <a:gd name="connsiteY70" fmla="*/ 109694 h 358828"/>
                <a:gd name="connsiteX71" fmla="*/ 251601 w 322768"/>
                <a:gd name="connsiteY71" fmla="*/ 104445 h 358828"/>
                <a:gd name="connsiteX72" fmla="*/ 246352 w 322768"/>
                <a:gd name="connsiteY72" fmla="*/ 99197 h 358828"/>
                <a:gd name="connsiteX73" fmla="*/ 10587 w 322768"/>
                <a:gd name="connsiteY73" fmla="*/ 99197 h 358828"/>
                <a:gd name="connsiteX74" fmla="*/ 10587 w 322768"/>
                <a:gd name="connsiteY74" fmla="*/ 50402 h 358828"/>
                <a:gd name="connsiteX75" fmla="*/ 26422 w 322768"/>
                <a:gd name="connsiteY75" fmla="*/ 34566 h 358828"/>
                <a:gd name="connsiteX76" fmla="*/ 48886 w 322768"/>
                <a:gd name="connsiteY76" fmla="*/ 34566 h 358828"/>
                <a:gd name="connsiteX77" fmla="*/ 48886 w 322768"/>
                <a:gd name="connsiteY77" fmla="*/ 50017 h 358828"/>
                <a:gd name="connsiteX78" fmla="*/ 64880 w 322768"/>
                <a:gd name="connsiteY78" fmla="*/ 66011 h 358828"/>
                <a:gd name="connsiteX79" fmla="*/ 69794 w 322768"/>
                <a:gd name="connsiteY79" fmla="*/ 60406 h 358828"/>
                <a:gd name="connsiteX80" fmla="*/ 64880 w 322768"/>
                <a:gd name="connsiteY80" fmla="*/ 55492 h 358828"/>
                <a:gd name="connsiteX81" fmla="*/ 59405 w 322768"/>
                <a:gd name="connsiteY81" fmla="*/ 50017 h 358828"/>
                <a:gd name="connsiteX82" fmla="*/ 59405 w 322768"/>
                <a:gd name="connsiteY82" fmla="*/ 50017 h 358828"/>
                <a:gd name="connsiteX83" fmla="*/ 59405 w 322768"/>
                <a:gd name="connsiteY83" fmla="*/ 34589 h 358828"/>
                <a:gd name="connsiteX84" fmla="*/ 239792 w 322768"/>
                <a:gd name="connsiteY84" fmla="*/ 34589 h 358828"/>
                <a:gd name="connsiteX85" fmla="*/ 239792 w 322768"/>
                <a:gd name="connsiteY85" fmla="*/ 50040 h 358828"/>
                <a:gd name="connsiteX86" fmla="*/ 255786 w 322768"/>
                <a:gd name="connsiteY86" fmla="*/ 66034 h 358828"/>
                <a:gd name="connsiteX87" fmla="*/ 260700 w 322768"/>
                <a:gd name="connsiteY87" fmla="*/ 60429 h 358828"/>
                <a:gd name="connsiteX88" fmla="*/ 255786 w 322768"/>
                <a:gd name="connsiteY88" fmla="*/ 55514 h 358828"/>
                <a:gd name="connsiteX89" fmla="*/ 250379 w 322768"/>
                <a:gd name="connsiteY89" fmla="*/ 50040 h 358828"/>
                <a:gd name="connsiteX90" fmla="*/ 250379 w 322768"/>
                <a:gd name="connsiteY90" fmla="*/ 34589 h 358828"/>
                <a:gd name="connsiteX91" fmla="*/ 296528 w 322768"/>
                <a:gd name="connsiteY91" fmla="*/ 34589 h 358828"/>
                <a:gd name="connsiteX92" fmla="*/ 312363 w 322768"/>
                <a:gd name="connsiteY92" fmla="*/ 50424 h 358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322768" h="358828">
                  <a:moveTo>
                    <a:pt x="296528" y="24093"/>
                  </a:moveTo>
                  <a:lnTo>
                    <a:pt x="274064" y="24093"/>
                  </a:lnTo>
                  <a:lnTo>
                    <a:pt x="274064" y="16062"/>
                  </a:lnTo>
                  <a:cubicBezTo>
                    <a:pt x="274089" y="7216"/>
                    <a:pt x="266939" y="25"/>
                    <a:pt x="258093" y="0"/>
                  </a:cubicBezTo>
                  <a:lnTo>
                    <a:pt x="255672" y="0"/>
                  </a:lnTo>
                  <a:cubicBezTo>
                    <a:pt x="246850" y="25"/>
                    <a:pt x="239704" y="7171"/>
                    <a:pt x="239679" y="15994"/>
                  </a:cubicBezTo>
                  <a:lnTo>
                    <a:pt x="239679" y="24025"/>
                  </a:lnTo>
                  <a:lnTo>
                    <a:pt x="83158" y="24025"/>
                  </a:lnTo>
                  <a:lnTo>
                    <a:pt x="83158" y="16062"/>
                  </a:lnTo>
                  <a:cubicBezTo>
                    <a:pt x="83183" y="7216"/>
                    <a:pt x="76033" y="25"/>
                    <a:pt x="67187" y="0"/>
                  </a:cubicBezTo>
                  <a:cubicBezTo>
                    <a:pt x="67172" y="0"/>
                    <a:pt x="67157" y="0"/>
                    <a:pt x="67142" y="0"/>
                  </a:cubicBezTo>
                  <a:lnTo>
                    <a:pt x="64880" y="0"/>
                  </a:lnTo>
                  <a:cubicBezTo>
                    <a:pt x="56069" y="-50"/>
                    <a:pt x="48872" y="7025"/>
                    <a:pt x="48773" y="15836"/>
                  </a:cubicBezTo>
                  <a:lnTo>
                    <a:pt x="48773" y="24002"/>
                  </a:lnTo>
                  <a:lnTo>
                    <a:pt x="26422" y="24002"/>
                  </a:lnTo>
                  <a:cubicBezTo>
                    <a:pt x="11855" y="23977"/>
                    <a:pt x="25" y="35766"/>
                    <a:pt x="0" y="50334"/>
                  </a:cubicBezTo>
                  <a:cubicBezTo>
                    <a:pt x="0" y="50349"/>
                    <a:pt x="0" y="50364"/>
                    <a:pt x="0" y="50379"/>
                  </a:cubicBezTo>
                  <a:lnTo>
                    <a:pt x="0" y="50379"/>
                  </a:lnTo>
                  <a:lnTo>
                    <a:pt x="0" y="332542"/>
                  </a:lnTo>
                  <a:cubicBezTo>
                    <a:pt x="12" y="347046"/>
                    <a:pt x="11760" y="358804"/>
                    <a:pt x="26264" y="358828"/>
                  </a:cubicBezTo>
                  <a:lnTo>
                    <a:pt x="296573" y="358828"/>
                  </a:lnTo>
                  <a:cubicBezTo>
                    <a:pt x="311050" y="358766"/>
                    <a:pt x="322757" y="347019"/>
                    <a:pt x="322769" y="332542"/>
                  </a:cubicBezTo>
                  <a:lnTo>
                    <a:pt x="322769" y="50402"/>
                  </a:lnTo>
                  <a:cubicBezTo>
                    <a:pt x="322744" y="35908"/>
                    <a:pt x="311021" y="24155"/>
                    <a:pt x="296528" y="24093"/>
                  </a:cubicBezTo>
                  <a:close/>
                  <a:moveTo>
                    <a:pt x="250198" y="16062"/>
                  </a:moveTo>
                  <a:cubicBezTo>
                    <a:pt x="250198" y="13038"/>
                    <a:pt x="252649" y="10587"/>
                    <a:pt x="255672" y="10587"/>
                  </a:cubicBezTo>
                  <a:lnTo>
                    <a:pt x="258070" y="10587"/>
                  </a:lnTo>
                  <a:cubicBezTo>
                    <a:pt x="261094" y="10587"/>
                    <a:pt x="263545" y="13038"/>
                    <a:pt x="263545" y="16062"/>
                  </a:cubicBezTo>
                  <a:lnTo>
                    <a:pt x="263545" y="24093"/>
                  </a:lnTo>
                  <a:lnTo>
                    <a:pt x="250198" y="24093"/>
                  </a:lnTo>
                  <a:close/>
                  <a:moveTo>
                    <a:pt x="64880" y="10587"/>
                  </a:moveTo>
                  <a:lnTo>
                    <a:pt x="67142" y="10587"/>
                  </a:lnTo>
                  <a:cubicBezTo>
                    <a:pt x="70165" y="10575"/>
                    <a:pt x="72626" y="13016"/>
                    <a:pt x="72639" y="16039"/>
                  </a:cubicBezTo>
                  <a:cubicBezTo>
                    <a:pt x="72639" y="16039"/>
                    <a:pt x="72639" y="16039"/>
                    <a:pt x="72639" y="16039"/>
                  </a:cubicBezTo>
                  <a:lnTo>
                    <a:pt x="72639" y="16039"/>
                  </a:lnTo>
                  <a:lnTo>
                    <a:pt x="72639" y="24070"/>
                  </a:lnTo>
                  <a:lnTo>
                    <a:pt x="59292" y="24070"/>
                  </a:lnTo>
                  <a:lnTo>
                    <a:pt x="59292" y="16062"/>
                  </a:lnTo>
                  <a:lnTo>
                    <a:pt x="59292" y="16062"/>
                  </a:lnTo>
                  <a:cubicBezTo>
                    <a:pt x="59291" y="13038"/>
                    <a:pt x="61742" y="10587"/>
                    <a:pt x="64765" y="10586"/>
                  </a:cubicBezTo>
                  <a:cubicBezTo>
                    <a:pt x="64803" y="10586"/>
                    <a:pt x="64841" y="10587"/>
                    <a:pt x="64880" y="10587"/>
                  </a:cubicBezTo>
                  <a:close/>
                  <a:moveTo>
                    <a:pt x="312318" y="332542"/>
                  </a:moveTo>
                  <a:cubicBezTo>
                    <a:pt x="312318" y="341287"/>
                    <a:pt x="305228" y="348377"/>
                    <a:pt x="296482" y="348377"/>
                  </a:cubicBezTo>
                  <a:lnTo>
                    <a:pt x="26264" y="348377"/>
                  </a:lnTo>
                  <a:cubicBezTo>
                    <a:pt x="17518" y="348377"/>
                    <a:pt x="10429" y="341287"/>
                    <a:pt x="10429" y="332542"/>
                  </a:cubicBezTo>
                  <a:lnTo>
                    <a:pt x="10429" y="332542"/>
                  </a:lnTo>
                  <a:cubicBezTo>
                    <a:pt x="14987" y="335989"/>
                    <a:pt x="20549" y="337849"/>
                    <a:pt x="26264" y="337835"/>
                  </a:cubicBezTo>
                  <a:lnTo>
                    <a:pt x="239339" y="337835"/>
                  </a:lnTo>
                  <a:cubicBezTo>
                    <a:pt x="246321" y="337859"/>
                    <a:pt x="253020" y="335080"/>
                    <a:pt x="257935" y="330121"/>
                  </a:cubicBezTo>
                  <a:lnTo>
                    <a:pt x="312227" y="275829"/>
                  </a:lnTo>
                  <a:close/>
                  <a:moveTo>
                    <a:pt x="252641" y="320597"/>
                  </a:moveTo>
                  <a:cubicBezTo>
                    <a:pt x="253055" y="318863"/>
                    <a:pt x="253267" y="317087"/>
                    <a:pt x="253275" y="315304"/>
                  </a:cubicBezTo>
                  <a:lnTo>
                    <a:pt x="253275" y="280217"/>
                  </a:lnTo>
                  <a:cubicBezTo>
                    <a:pt x="253299" y="273606"/>
                    <a:pt x="258653" y="268253"/>
                    <a:pt x="265264" y="268228"/>
                  </a:cubicBezTo>
                  <a:lnTo>
                    <a:pt x="300351" y="268228"/>
                  </a:lnTo>
                  <a:cubicBezTo>
                    <a:pt x="302134" y="268232"/>
                    <a:pt x="303912" y="268019"/>
                    <a:pt x="305644" y="267594"/>
                  </a:cubicBezTo>
                  <a:close/>
                  <a:moveTo>
                    <a:pt x="312340" y="99197"/>
                  </a:moveTo>
                  <a:lnTo>
                    <a:pt x="267391" y="99197"/>
                  </a:lnTo>
                  <a:cubicBezTo>
                    <a:pt x="264492" y="99197"/>
                    <a:pt x="262142" y="101547"/>
                    <a:pt x="262142" y="104445"/>
                  </a:cubicBezTo>
                  <a:cubicBezTo>
                    <a:pt x="262142" y="107344"/>
                    <a:pt x="264492" y="109694"/>
                    <a:pt x="267391" y="109694"/>
                  </a:cubicBezTo>
                  <a:lnTo>
                    <a:pt x="312318" y="109694"/>
                  </a:lnTo>
                  <a:lnTo>
                    <a:pt x="312318" y="245719"/>
                  </a:lnTo>
                  <a:cubicBezTo>
                    <a:pt x="312318" y="252341"/>
                    <a:pt x="306950" y="257709"/>
                    <a:pt x="300328" y="257709"/>
                  </a:cubicBezTo>
                  <a:lnTo>
                    <a:pt x="265241" y="257709"/>
                  </a:lnTo>
                  <a:cubicBezTo>
                    <a:pt x="252845" y="257783"/>
                    <a:pt x="242817" y="267821"/>
                    <a:pt x="242755" y="280217"/>
                  </a:cubicBezTo>
                  <a:lnTo>
                    <a:pt x="242755" y="315304"/>
                  </a:lnTo>
                  <a:cubicBezTo>
                    <a:pt x="242743" y="321929"/>
                    <a:pt x="237368" y="327294"/>
                    <a:pt x="230743" y="327294"/>
                  </a:cubicBezTo>
                  <a:lnTo>
                    <a:pt x="26422" y="327294"/>
                  </a:lnTo>
                  <a:cubicBezTo>
                    <a:pt x="17677" y="327294"/>
                    <a:pt x="10587" y="320204"/>
                    <a:pt x="10587" y="311458"/>
                  </a:cubicBezTo>
                  <a:lnTo>
                    <a:pt x="10587" y="109694"/>
                  </a:lnTo>
                  <a:lnTo>
                    <a:pt x="246352" y="109694"/>
                  </a:lnTo>
                  <a:cubicBezTo>
                    <a:pt x="249251" y="109694"/>
                    <a:pt x="251601" y="107344"/>
                    <a:pt x="251601" y="104445"/>
                  </a:cubicBezTo>
                  <a:cubicBezTo>
                    <a:pt x="251601" y="101547"/>
                    <a:pt x="249251" y="99197"/>
                    <a:pt x="246352" y="99197"/>
                  </a:cubicBezTo>
                  <a:lnTo>
                    <a:pt x="10587" y="99197"/>
                  </a:lnTo>
                  <a:lnTo>
                    <a:pt x="10587" y="50402"/>
                  </a:lnTo>
                  <a:cubicBezTo>
                    <a:pt x="10587" y="41656"/>
                    <a:pt x="17677" y="34566"/>
                    <a:pt x="26422" y="34566"/>
                  </a:cubicBezTo>
                  <a:lnTo>
                    <a:pt x="48886" y="34566"/>
                  </a:lnTo>
                  <a:lnTo>
                    <a:pt x="48886" y="50017"/>
                  </a:lnTo>
                  <a:cubicBezTo>
                    <a:pt x="48911" y="58840"/>
                    <a:pt x="56057" y="65986"/>
                    <a:pt x="64880" y="66011"/>
                  </a:cubicBezTo>
                  <a:cubicBezTo>
                    <a:pt x="67784" y="65820"/>
                    <a:pt x="69985" y="63311"/>
                    <a:pt x="69794" y="60406"/>
                  </a:cubicBezTo>
                  <a:cubicBezTo>
                    <a:pt x="69621" y="57767"/>
                    <a:pt x="67519" y="55665"/>
                    <a:pt x="64880" y="55492"/>
                  </a:cubicBezTo>
                  <a:cubicBezTo>
                    <a:pt x="61856" y="55492"/>
                    <a:pt x="59405" y="53041"/>
                    <a:pt x="59405" y="50017"/>
                  </a:cubicBezTo>
                  <a:lnTo>
                    <a:pt x="59405" y="50017"/>
                  </a:lnTo>
                  <a:lnTo>
                    <a:pt x="59405" y="34589"/>
                  </a:lnTo>
                  <a:lnTo>
                    <a:pt x="239792" y="34589"/>
                  </a:lnTo>
                  <a:lnTo>
                    <a:pt x="239792" y="50040"/>
                  </a:lnTo>
                  <a:cubicBezTo>
                    <a:pt x="239817" y="58863"/>
                    <a:pt x="246963" y="66009"/>
                    <a:pt x="255786" y="66034"/>
                  </a:cubicBezTo>
                  <a:cubicBezTo>
                    <a:pt x="258690" y="65843"/>
                    <a:pt x="260891" y="63334"/>
                    <a:pt x="260700" y="60429"/>
                  </a:cubicBezTo>
                  <a:cubicBezTo>
                    <a:pt x="260527" y="57790"/>
                    <a:pt x="258425" y="55688"/>
                    <a:pt x="255786" y="55514"/>
                  </a:cubicBezTo>
                  <a:cubicBezTo>
                    <a:pt x="252789" y="55477"/>
                    <a:pt x="250379" y="53037"/>
                    <a:pt x="250379" y="50040"/>
                  </a:cubicBezTo>
                  <a:lnTo>
                    <a:pt x="250379" y="34589"/>
                  </a:lnTo>
                  <a:lnTo>
                    <a:pt x="296528" y="34589"/>
                  </a:lnTo>
                  <a:cubicBezTo>
                    <a:pt x="305273" y="34589"/>
                    <a:pt x="312363" y="41679"/>
                    <a:pt x="312363" y="50424"/>
                  </a:cubicBezTo>
                  <a:close/>
                </a:path>
              </a:pathLst>
            </a:custGeom>
            <a:solidFill>
              <a:srgbClr val="1F6898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eform 215">
              <a:extLst>
                <a:ext uri="{FF2B5EF4-FFF2-40B4-BE49-F238E27FC236}">
                  <a16:creationId xmlns:a16="http://schemas.microsoft.com/office/drawing/2014/main" id="{BA1D251D-39AE-8E20-8AE7-780603BB4833}"/>
                </a:ext>
              </a:extLst>
            </p:cNvPr>
            <p:cNvSpPr/>
            <p:nvPr/>
          </p:nvSpPr>
          <p:spPr>
            <a:xfrm>
              <a:off x="4761683" y="4787626"/>
              <a:ext cx="178519" cy="171075"/>
            </a:xfrm>
            <a:custGeom>
              <a:avLst/>
              <a:gdLst>
                <a:gd name="connsiteX0" fmla="*/ 41528 w 178519"/>
                <a:gd name="connsiteY0" fmla="*/ 171075 h 171075"/>
                <a:gd name="connsiteX1" fmla="*/ 29646 w 178519"/>
                <a:gd name="connsiteY1" fmla="*/ 159159 h 171075"/>
                <a:gd name="connsiteX2" fmla="*/ 30217 w 178519"/>
                <a:gd name="connsiteY2" fmla="*/ 155534 h 171075"/>
                <a:gd name="connsiteX3" fmla="*/ 45736 w 178519"/>
                <a:gd name="connsiteY3" fmla="*/ 107485 h 171075"/>
                <a:gd name="connsiteX4" fmla="*/ 4858 w 178519"/>
                <a:gd name="connsiteY4" fmla="*/ 77805 h 171075"/>
                <a:gd name="connsiteX5" fmla="*/ 2308 w 178519"/>
                <a:gd name="connsiteY5" fmla="*/ 61172 h 171075"/>
                <a:gd name="connsiteX6" fmla="*/ 11826 w 178519"/>
                <a:gd name="connsiteY6" fmla="*/ 56314 h 171075"/>
                <a:gd name="connsiteX7" fmla="*/ 62431 w 178519"/>
                <a:gd name="connsiteY7" fmla="*/ 56314 h 171075"/>
                <a:gd name="connsiteX8" fmla="*/ 78266 w 178519"/>
                <a:gd name="connsiteY8" fmla="*/ 8311 h 171075"/>
                <a:gd name="connsiteX9" fmla="*/ 93124 w 178519"/>
                <a:gd name="connsiteY9" fmla="*/ 546 h 171075"/>
                <a:gd name="connsiteX10" fmla="*/ 100888 w 178519"/>
                <a:gd name="connsiteY10" fmla="*/ 8311 h 171075"/>
                <a:gd name="connsiteX11" fmla="*/ 116565 w 178519"/>
                <a:gd name="connsiteY11" fmla="*/ 56314 h 171075"/>
                <a:gd name="connsiteX12" fmla="*/ 166650 w 178519"/>
                <a:gd name="connsiteY12" fmla="*/ 56314 h 171075"/>
                <a:gd name="connsiteX13" fmla="*/ 178520 w 178519"/>
                <a:gd name="connsiteY13" fmla="*/ 68242 h 171075"/>
                <a:gd name="connsiteX14" fmla="*/ 173663 w 178519"/>
                <a:gd name="connsiteY14" fmla="*/ 77805 h 171075"/>
                <a:gd name="connsiteX15" fmla="*/ 132717 w 178519"/>
                <a:gd name="connsiteY15" fmla="*/ 107485 h 171075"/>
                <a:gd name="connsiteX16" fmla="*/ 148552 w 178519"/>
                <a:gd name="connsiteY16" fmla="*/ 155534 h 171075"/>
                <a:gd name="connsiteX17" fmla="*/ 140966 w 178519"/>
                <a:gd name="connsiteY17" fmla="*/ 170483 h 171075"/>
                <a:gd name="connsiteX18" fmla="*/ 130297 w 178519"/>
                <a:gd name="connsiteY18" fmla="*/ 168790 h 171075"/>
                <a:gd name="connsiteX19" fmla="*/ 89351 w 178519"/>
                <a:gd name="connsiteY19" fmla="*/ 139088 h 171075"/>
                <a:gd name="connsiteX20" fmla="*/ 48451 w 178519"/>
                <a:gd name="connsiteY20" fmla="*/ 168790 h 171075"/>
                <a:gd name="connsiteX21" fmla="*/ 41528 w 178519"/>
                <a:gd name="connsiteY21" fmla="*/ 171075 h 171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8519" h="171075">
                  <a:moveTo>
                    <a:pt x="41528" y="171075"/>
                  </a:moveTo>
                  <a:cubicBezTo>
                    <a:pt x="34957" y="171066"/>
                    <a:pt x="29637" y="165731"/>
                    <a:pt x="29646" y="159159"/>
                  </a:cubicBezTo>
                  <a:cubicBezTo>
                    <a:pt x="29648" y="157928"/>
                    <a:pt x="29841" y="156705"/>
                    <a:pt x="30217" y="155534"/>
                  </a:cubicBezTo>
                  <a:lnTo>
                    <a:pt x="45736" y="107485"/>
                  </a:lnTo>
                  <a:lnTo>
                    <a:pt x="4858" y="77805"/>
                  </a:lnTo>
                  <a:cubicBezTo>
                    <a:pt x="-439" y="73916"/>
                    <a:pt x="-1581" y="66469"/>
                    <a:pt x="2308" y="61172"/>
                  </a:cubicBezTo>
                  <a:cubicBezTo>
                    <a:pt x="4534" y="58139"/>
                    <a:pt x="8064" y="56338"/>
                    <a:pt x="11826" y="56314"/>
                  </a:cubicBezTo>
                  <a:lnTo>
                    <a:pt x="62431" y="56314"/>
                  </a:lnTo>
                  <a:lnTo>
                    <a:pt x="78266" y="8311"/>
                  </a:lnTo>
                  <a:cubicBezTo>
                    <a:pt x="80225" y="2064"/>
                    <a:pt x="86877" y="-1413"/>
                    <a:pt x="93124" y="546"/>
                  </a:cubicBezTo>
                  <a:cubicBezTo>
                    <a:pt x="96827" y="1707"/>
                    <a:pt x="99727" y="4607"/>
                    <a:pt x="100888" y="8311"/>
                  </a:cubicBezTo>
                  <a:lnTo>
                    <a:pt x="116565" y="56314"/>
                  </a:lnTo>
                  <a:lnTo>
                    <a:pt x="166650" y="56314"/>
                  </a:lnTo>
                  <a:cubicBezTo>
                    <a:pt x="173222" y="56330"/>
                    <a:pt x="178536" y="61671"/>
                    <a:pt x="178520" y="68242"/>
                  </a:cubicBezTo>
                  <a:cubicBezTo>
                    <a:pt x="178511" y="72020"/>
                    <a:pt x="176708" y="75569"/>
                    <a:pt x="173663" y="77805"/>
                  </a:cubicBezTo>
                  <a:lnTo>
                    <a:pt x="132717" y="107485"/>
                  </a:lnTo>
                  <a:lnTo>
                    <a:pt x="148552" y="155534"/>
                  </a:lnTo>
                  <a:cubicBezTo>
                    <a:pt x="150586" y="161757"/>
                    <a:pt x="147189" y="168450"/>
                    <a:pt x="140966" y="170483"/>
                  </a:cubicBezTo>
                  <a:cubicBezTo>
                    <a:pt x="137344" y="171666"/>
                    <a:pt x="133374" y="171037"/>
                    <a:pt x="130297" y="168790"/>
                  </a:cubicBezTo>
                  <a:lnTo>
                    <a:pt x="89351" y="139088"/>
                  </a:lnTo>
                  <a:lnTo>
                    <a:pt x="48451" y="168790"/>
                  </a:lnTo>
                  <a:cubicBezTo>
                    <a:pt x="46449" y="170276"/>
                    <a:pt x="44021" y="171077"/>
                    <a:pt x="41528" y="171075"/>
                  </a:cubicBezTo>
                  <a:close/>
                </a:path>
              </a:pathLst>
            </a:custGeom>
            <a:noFill/>
            <a:ln w="11311" cap="rnd">
              <a:solidFill>
                <a:srgbClr val="BD5C7A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7" name="Graphic 320">
            <a:extLst>
              <a:ext uri="{FF2B5EF4-FFF2-40B4-BE49-F238E27FC236}">
                <a16:creationId xmlns:a16="http://schemas.microsoft.com/office/drawing/2014/main" id="{DC055C1F-7707-6A79-E48C-284FC4F7A29E}"/>
              </a:ext>
            </a:extLst>
          </p:cNvPr>
          <p:cNvGrpSpPr/>
          <p:nvPr/>
        </p:nvGrpSpPr>
        <p:grpSpPr>
          <a:xfrm>
            <a:off x="5572965" y="5054600"/>
            <a:ext cx="365125" cy="365125"/>
            <a:chOff x="5465762" y="4668837"/>
            <a:chExt cx="365125" cy="365125"/>
          </a:xfrm>
        </p:grpSpPr>
        <p:sp>
          <p:nvSpPr>
            <p:cNvPr id="218" name="Freeform 217">
              <a:extLst>
                <a:ext uri="{FF2B5EF4-FFF2-40B4-BE49-F238E27FC236}">
                  <a16:creationId xmlns:a16="http://schemas.microsoft.com/office/drawing/2014/main" id="{42323149-9A45-0193-E6B6-2EDADBF7B1F1}"/>
                </a:ext>
              </a:extLst>
            </p:cNvPr>
            <p:cNvSpPr/>
            <p:nvPr/>
          </p:nvSpPr>
          <p:spPr>
            <a:xfrm>
              <a:off x="5616988" y="4994756"/>
              <a:ext cx="66576" cy="32811"/>
            </a:xfrm>
            <a:custGeom>
              <a:avLst/>
              <a:gdLst>
                <a:gd name="connsiteX0" fmla="*/ 59519 w 66576"/>
                <a:gd name="connsiteY0" fmla="*/ 1 h 32811"/>
                <a:gd name="connsiteX1" fmla="*/ 7033 w 66576"/>
                <a:gd name="connsiteY1" fmla="*/ 1 h 32811"/>
                <a:gd name="connsiteX2" fmla="*/ 0 w 66576"/>
                <a:gd name="connsiteY2" fmla="*/ 6888 h 32811"/>
                <a:gd name="connsiteX3" fmla="*/ 346 w 66576"/>
                <a:gd name="connsiteY3" fmla="*/ 9129 h 32811"/>
                <a:gd name="connsiteX4" fmla="*/ 44370 w 66576"/>
                <a:gd name="connsiteY4" fmla="*/ 30988 h 32811"/>
                <a:gd name="connsiteX5" fmla="*/ 66229 w 66576"/>
                <a:gd name="connsiteY5" fmla="*/ 9129 h 32811"/>
                <a:gd name="connsiteX6" fmla="*/ 61783 w 66576"/>
                <a:gd name="connsiteY6" fmla="*/ 346 h 32811"/>
                <a:gd name="connsiteX7" fmla="*/ 59519 w 66576"/>
                <a:gd name="connsiteY7" fmla="*/ 1 h 32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576" h="32811">
                  <a:moveTo>
                    <a:pt x="59519" y="1"/>
                  </a:moveTo>
                  <a:lnTo>
                    <a:pt x="7033" y="1"/>
                  </a:lnTo>
                  <a:cubicBezTo>
                    <a:pt x="3189" y="-39"/>
                    <a:pt x="40" y="3044"/>
                    <a:pt x="0" y="6888"/>
                  </a:cubicBezTo>
                  <a:cubicBezTo>
                    <a:pt x="-8" y="7649"/>
                    <a:pt x="109" y="8406"/>
                    <a:pt x="346" y="9129"/>
                  </a:cubicBezTo>
                  <a:cubicBezTo>
                    <a:pt x="6467" y="27322"/>
                    <a:pt x="26177" y="37108"/>
                    <a:pt x="44370" y="30988"/>
                  </a:cubicBezTo>
                  <a:cubicBezTo>
                    <a:pt x="54674" y="27521"/>
                    <a:pt x="62762" y="19433"/>
                    <a:pt x="66229" y="9129"/>
                  </a:cubicBezTo>
                  <a:cubicBezTo>
                    <a:pt x="67426" y="5476"/>
                    <a:pt x="65436" y="1544"/>
                    <a:pt x="61783" y="346"/>
                  </a:cubicBezTo>
                  <a:cubicBezTo>
                    <a:pt x="61053" y="107"/>
                    <a:pt x="60288" y="-10"/>
                    <a:pt x="59519" y="1"/>
                  </a:cubicBezTo>
                  <a:close/>
                </a:path>
              </a:pathLst>
            </a:custGeom>
            <a:solidFill>
              <a:srgbClr val="BA5D7A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eform 218">
              <a:extLst>
                <a:ext uri="{FF2B5EF4-FFF2-40B4-BE49-F238E27FC236}">
                  <a16:creationId xmlns:a16="http://schemas.microsoft.com/office/drawing/2014/main" id="{9A5A4858-E0E2-AAD8-88C1-A008A07D2C31}"/>
                </a:ext>
              </a:extLst>
            </p:cNvPr>
            <p:cNvSpPr/>
            <p:nvPr/>
          </p:nvSpPr>
          <p:spPr>
            <a:xfrm>
              <a:off x="5510426" y="4706695"/>
              <a:ext cx="282625" cy="279007"/>
            </a:xfrm>
            <a:custGeom>
              <a:avLst/>
              <a:gdLst>
                <a:gd name="connsiteX0" fmla="*/ 258024 w 282625"/>
                <a:gd name="connsiteY0" fmla="*/ 279001 h 279007"/>
                <a:gd name="connsiteX1" fmla="*/ 24618 w 282625"/>
                <a:gd name="connsiteY1" fmla="*/ 279001 h 279007"/>
                <a:gd name="connsiteX2" fmla="*/ 2437 w 282625"/>
                <a:gd name="connsiteY2" fmla="*/ 265925 h 279007"/>
                <a:gd name="connsiteX3" fmla="*/ 4285 w 282625"/>
                <a:gd name="connsiteY3" fmla="*/ 243105 h 279007"/>
                <a:gd name="connsiteX4" fmla="*/ 35207 w 282625"/>
                <a:gd name="connsiteY4" fmla="*/ 214146 h 279007"/>
                <a:gd name="connsiteX5" fmla="*/ 35207 w 282625"/>
                <a:gd name="connsiteY5" fmla="*/ 134115 h 279007"/>
                <a:gd name="connsiteX6" fmla="*/ 108757 w 282625"/>
                <a:gd name="connsiteY6" fmla="*/ 34413 h 279007"/>
                <a:gd name="connsiteX7" fmla="*/ 108757 w 282625"/>
                <a:gd name="connsiteY7" fmla="*/ 30876 h 279007"/>
                <a:gd name="connsiteX8" fmla="*/ 139633 w 282625"/>
                <a:gd name="connsiteY8" fmla="*/ 0 h 279007"/>
                <a:gd name="connsiteX9" fmla="*/ 170508 w 282625"/>
                <a:gd name="connsiteY9" fmla="*/ 30876 h 279007"/>
                <a:gd name="connsiteX10" fmla="*/ 170508 w 282625"/>
                <a:gd name="connsiteY10" fmla="*/ 34527 h 279007"/>
                <a:gd name="connsiteX11" fmla="*/ 243807 w 282625"/>
                <a:gd name="connsiteY11" fmla="*/ 134115 h 279007"/>
                <a:gd name="connsiteX12" fmla="*/ 243807 w 282625"/>
                <a:gd name="connsiteY12" fmla="*/ 214260 h 279007"/>
                <a:gd name="connsiteX13" fmla="*/ 276303 w 282625"/>
                <a:gd name="connsiteY13" fmla="*/ 240846 h 279007"/>
                <a:gd name="connsiteX14" fmla="*/ 277513 w 282625"/>
                <a:gd name="connsiteY14" fmla="*/ 242055 h 279007"/>
                <a:gd name="connsiteX15" fmla="*/ 280480 w 282625"/>
                <a:gd name="connsiteY15" fmla="*/ 265332 h 279007"/>
                <a:gd name="connsiteX16" fmla="*/ 258024 w 282625"/>
                <a:gd name="connsiteY16" fmla="*/ 279001 h 279007"/>
                <a:gd name="connsiteX17" fmla="*/ 48397 w 282625"/>
                <a:gd name="connsiteY17" fmla="*/ 225145 h 279007"/>
                <a:gd name="connsiteX18" fmla="*/ 16951 w 282625"/>
                <a:gd name="connsiteY18" fmla="*/ 254424 h 279007"/>
                <a:gd name="connsiteX19" fmla="*/ 17590 w 282625"/>
                <a:gd name="connsiteY19" fmla="*/ 258143 h 279007"/>
                <a:gd name="connsiteX20" fmla="*/ 24436 w 282625"/>
                <a:gd name="connsiteY20" fmla="*/ 261886 h 279007"/>
                <a:gd name="connsiteX21" fmla="*/ 258024 w 282625"/>
                <a:gd name="connsiteY21" fmla="*/ 261886 h 279007"/>
                <a:gd name="connsiteX22" fmla="*/ 265007 w 282625"/>
                <a:gd name="connsiteY22" fmla="*/ 258006 h 279007"/>
                <a:gd name="connsiteX23" fmla="*/ 264688 w 282625"/>
                <a:gd name="connsiteY23" fmla="*/ 253442 h 279007"/>
                <a:gd name="connsiteX24" fmla="*/ 229818 w 282625"/>
                <a:gd name="connsiteY24" fmla="*/ 224940 h 279007"/>
                <a:gd name="connsiteX25" fmla="*/ 226692 w 282625"/>
                <a:gd name="connsiteY25" fmla="*/ 218322 h 279007"/>
                <a:gd name="connsiteX26" fmla="*/ 226692 w 282625"/>
                <a:gd name="connsiteY26" fmla="*/ 134115 h 279007"/>
                <a:gd name="connsiteX27" fmla="*/ 159920 w 282625"/>
                <a:gd name="connsiteY27" fmla="*/ 49338 h 279007"/>
                <a:gd name="connsiteX28" fmla="*/ 153393 w 282625"/>
                <a:gd name="connsiteY28" fmla="*/ 41031 h 279007"/>
                <a:gd name="connsiteX29" fmla="*/ 153393 w 282625"/>
                <a:gd name="connsiteY29" fmla="*/ 30876 h 279007"/>
                <a:gd name="connsiteX30" fmla="*/ 139633 w 282625"/>
                <a:gd name="connsiteY30" fmla="*/ 17115 h 279007"/>
                <a:gd name="connsiteX31" fmla="*/ 125872 w 282625"/>
                <a:gd name="connsiteY31" fmla="*/ 30876 h 279007"/>
                <a:gd name="connsiteX32" fmla="*/ 125872 w 282625"/>
                <a:gd name="connsiteY32" fmla="*/ 40940 h 279007"/>
                <a:gd name="connsiteX33" fmla="*/ 119300 w 282625"/>
                <a:gd name="connsiteY33" fmla="*/ 49269 h 279007"/>
                <a:gd name="connsiteX34" fmla="*/ 52208 w 282625"/>
                <a:gd name="connsiteY34" fmla="*/ 134115 h 279007"/>
                <a:gd name="connsiteX35" fmla="*/ 52208 w 282625"/>
                <a:gd name="connsiteY35" fmla="*/ 218002 h 279007"/>
                <a:gd name="connsiteX36" fmla="*/ 48397 w 282625"/>
                <a:gd name="connsiteY36" fmla="*/ 225145 h 279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82625" h="279007">
                  <a:moveTo>
                    <a:pt x="258024" y="279001"/>
                  </a:moveTo>
                  <a:lnTo>
                    <a:pt x="24618" y="279001"/>
                  </a:lnTo>
                  <a:cubicBezTo>
                    <a:pt x="15352" y="279169"/>
                    <a:pt x="6777" y="274114"/>
                    <a:pt x="2437" y="265925"/>
                  </a:cubicBezTo>
                  <a:cubicBezTo>
                    <a:pt x="-1386" y="258596"/>
                    <a:pt x="-667" y="249723"/>
                    <a:pt x="4285" y="243105"/>
                  </a:cubicBezTo>
                  <a:lnTo>
                    <a:pt x="35207" y="214146"/>
                  </a:lnTo>
                  <a:lnTo>
                    <a:pt x="35207" y="134115"/>
                  </a:lnTo>
                  <a:cubicBezTo>
                    <a:pt x="35105" y="88315"/>
                    <a:pt x="64967" y="47835"/>
                    <a:pt x="108757" y="34413"/>
                  </a:cubicBezTo>
                  <a:lnTo>
                    <a:pt x="108757" y="30876"/>
                  </a:lnTo>
                  <a:cubicBezTo>
                    <a:pt x="108757" y="13824"/>
                    <a:pt x="122580" y="0"/>
                    <a:pt x="139633" y="0"/>
                  </a:cubicBezTo>
                  <a:cubicBezTo>
                    <a:pt x="156685" y="0"/>
                    <a:pt x="170508" y="13824"/>
                    <a:pt x="170508" y="30876"/>
                  </a:cubicBezTo>
                  <a:lnTo>
                    <a:pt x="170508" y="34527"/>
                  </a:lnTo>
                  <a:cubicBezTo>
                    <a:pt x="214140" y="48052"/>
                    <a:pt x="243863" y="88435"/>
                    <a:pt x="243807" y="134115"/>
                  </a:cubicBezTo>
                  <a:lnTo>
                    <a:pt x="243807" y="214260"/>
                  </a:lnTo>
                  <a:lnTo>
                    <a:pt x="276303" y="240846"/>
                  </a:lnTo>
                  <a:cubicBezTo>
                    <a:pt x="276756" y="241197"/>
                    <a:pt x="277162" y="241603"/>
                    <a:pt x="277513" y="242055"/>
                  </a:cubicBezTo>
                  <a:cubicBezTo>
                    <a:pt x="283023" y="248542"/>
                    <a:pt x="284186" y="257670"/>
                    <a:pt x="280480" y="265332"/>
                  </a:cubicBezTo>
                  <a:cubicBezTo>
                    <a:pt x="276300" y="273877"/>
                    <a:pt x="267534" y="279212"/>
                    <a:pt x="258024" y="279001"/>
                  </a:cubicBezTo>
                  <a:close/>
                  <a:moveTo>
                    <a:pt x="48397" y="225145"/>
                  </a:moveTo>
                  <a:lnTo>
                    <a:pt x="16951" y="254424"/>
                  </a:lnTo>
                  <a:cubicBezTo>
                    <a:pt x="16784" y="255700"/>
                    <a:pt x="17007" y="256996"/>
                    <a:pt x="17590" y="258143"/>
                  </a:cubicBezTo>
                  <a:cubicBezTo>
                    <a:pt x="18997" y="260568"/>
                    <a:pt x="21635" y="262010"/>
                    <a:pt x="24436" y="261886"/>
                  </a:cubicBezTo>
                  <a:lnTo>
                    <a:pt x="258024" y="261886"/>
                  </a:lnTo>
                  <a:cubicBezTo>
                    <a:pt x="260910" y="262070"/>
                    <a:pt x="263639" y="260554"/>
                    <a:pt x="265007" y="258006"/>
                  </a:cubicBezTo>
                  <a:cubicBezTo>
                    <a:pt x="265778" y="256548"/>
                    <a:pt x="265654" y="254779"/>
                    <a:pt x="264688" y="253442"/>
                  </a:cubicBezTo>
                  <a:lnTo>
                    <a:pt x="229818" y="224940"/>
                  </a:lnTo>
                  <a:cubicBezTo>
                    <a:pt x="227838" y="223313"/>
                    <a:pt x="226691" y="220885"/>
                    <a:pt x="226692" y="218322"/>
                  </a:cubicBezTo>
                  <a:lnTo>
                    <a:pt x="226692" y="134115"/>
                  </a:lnTo>
                  <a:cubicBezTo>
                    <a:pt x="226728" y="93811"/>
                    <a:pt x="199110" y="58746"/>
                    <a:pt x="159920" y="49338"/>
                  </a:cubicBezTo>
                  <a:cubicBezTo>
                    <a:pt x="156086" y="48409"/>
                    <a:pt x="153388" y="44975"/>
                    <a:pt x="153393" y="41031"/>
                  </a:cubicBezTo>
                  <a:lnTo>
                    <a:pt x="153393" y="30876"/>
                  </a:lnTo>
                  <a:cubicBezTo>
                    <a:pt x="153393" y="23276"/>
                    <a:pt x="147232" y="17115"/>
                    <a:pt x="139633" y="17115"/>
                  </a:cubicBezTo>
                  <a:cubicBezTo>
                    <a:pt x="132033" y="17115"/>
                    <a:pt x="125872" y="23276"/>
                    <a:pt x="125872" y="30876"/>
                  </a:cubicBezTo>
                  <a:lnTo>
                    <a:pt x="125872" y="40940"/>
                  </a:lnTo>
                  <a:cubicBezTo>
                    <a:pt x="125866" y="44900"/>
                    <a:pt x="123150" y="48342"/>
                    <a:pt x="119300" y="49269"/>
                  </a:cubicBezTo>
                  <a:cubicBezTo>
                    <a:pt x="80160" y="58873"/>
                    <a:pt x="52529" y="93815"/>
                    <a:pt x="52208" y="134115"/>
                  </a:cubicBezTo>
                  <a:lnTo>
                    <a:pt x="52208" y="218002"/>
                  </a:lnTo>
                  <a:cubicBezTo>
                    <a:pt x="52199" y="220868"/>
                    <a:pt x="50772" y="223543"/>
                    <a:pt x="48397" y="225145"/>
                  </a:cubicBezTo>
                  <a:close/>
                </a:path>
              </a:pathLst>
            </a:custGeom>
            <a:solidFill>
              <a:srgbClr val="1F6896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eform 219">
              <a:extLst>
                <a:ext uri="{FF2B5EF4-FFF2-40B4-BE49-F238E27FC236}">
                  <a16:creationId xmlns:a16="http://schemas.microsoft.com/office/drawing/2014/main" id="{22E2F94F-460F-26B7-FC72-C75B14370CF7}"/>
                </a:ext>
              </a:extLst>
            </p:cNvPr>
            <p:cNvSpPr/>
            <p:nvPr/>
          </p:nvSpPr>
          <p:spPr>
            <a:xfrm>
              <a:off x="5711590" y="4682258"/>
              <a:ext cx="104644" cy="104665"/>
            </a:xfrm>
            <a:custGeom>
              <a:avLst/>
              <a:gdLst>
                <a:gd name="connsiteX0" fmla="*/ 104578 w 104644"/>
                <a:gd name="connsiteY0" fmla="*/ 99265 h 104665"/>
                <a:gd name="connsiteX1" fmla="*/ 12492 w 104644"/>
                <a:gd name="connsiteY1" fmla="*/ 66 h 104665"/>
                <a:gd name="connsiteX2" fmla="*/ 5400 w 104644"/>
                <a:gd name="connsiteY2" fmla="*/ 65 h 104665"/>
                <a:gd name="connsiteX3" fmla="*/ 3 w 104644"/>
                <a:gd name="connsiteY3" fmla="*/ 5850 h 104665"/>
                <a:gd name="connsiteX4" fmla="*/ 5788 w 104644"/>
                <a:gd name="connsiteY4" fmla="*/ 11247 h 104665"/>
                <a:gd name="connsiteX5" fmla="*/ 93396 w 104644"/>
                <a:gd name="connsiteY5" fmla="*/ 92386 h 104665"/>
                <a:gd name="connsiteX6" fmla="*/ 93396 w 104644"/>
                <a:gd name="connsiteY6" fmla="*/ 98877 h 104665"/>
                <a:gd name="connsiteX7" fmla="*/ 95039 w 104644"/>
                <a:gd name="connsiteY7" fmla="*/ 103031 h 104665"/>
                <a:gd name="connsiteX8" fmla="*/ 102945 w 104644"/>
                <a:gd name="connsiteY8" fmla="*/ 103026 h 104665"/>
                <a:gd name="connsiteX9" fmla="*/ 104578 w 104644"/>
                <a:gd name="connsiteY9" fmla="*/ 99265 h 104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644" h="104665">
                  <a:moveTo>
                    <a:pt x="104578" y="99265"/>
                  </a:moveTo>
                  <a:cubicBezTo>
                    <a:pt x="106542" y="46443"/>
                    <a:pt x="65314" y="2030"/>
                    <a:pt x="12492" y="66"/>
                  </a:cubicBezTo>
                  <a:cubicBezTo>
                    <a:pt x="10129" y="-22"/>
                    <a:pt x="7763" y="-22"/>
                    <a:pt x="5400" y="65"/>
                  </a:cubicBezTo>
                  <a:cubicBezTo>
                    <a:pt x="2313" y="172"/>
                    <a:pt x="-104" y="2762"/>
                    <a:pt x="3" y="5850"/>
                  </a:cubicBezTo>
                  <a:cubicBezTo>
                    <a:pt x="111" y="8938"/>
                    <a:pt x="2701" y="11354"/>
                    <a:pt x="5788" y="11247"/>
                  </a:cubicBezTo>
                  <a:cubicBezTo>
                    <a:pt x="52386" y="9461"/>
                    <a:pt x="91610" y="45788"/>
                    <a:pt x="93396" y="92386"/>
                  </a:cubicBezTo>
                  <a:cubicBezTo>
                    <a:pt x="93479" y="94549"/>
                    <a:pt x="93479" y="96714"/>
                    <a:pt x="93396" y="98877"/>
                  </a:cubicBezTo>
                  <a:cubicBezTo>
                    <a:pt x="93356" y="100427"/>
                    <a:pt x="93949" y="101927"/>
                    <a:pt x="95039" y="103031"/>
                  </a:cubicBezTo>
                  <a:cubicBezTo>
                    <a:pt x="97223" y="105213"/>
                    <a:pt x="100763" y="105211"/>
                    <a:pt x="102945" y="103026"/>
                  </a:cubicBezTo>
                  <a:cubicBezTo>
                    <a:pt x="103946" y="102024"/>
                    <a:pt x="104529" y="100680"/>
                    <a:pt x="104578" y="99265"/>
                  </a:cubicBezTo>
                  <a:close/>
                </a:path>
              </a:pathLst>
            </a:custGeom>
            <a:solidFill>
              <a:srgbClr val="1F6896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reeform 220">
              <a:extLst>
                <a:ext uri="{FF2B5EF4-FFF2-40B4-BE49-F238E27FC236}">
                  <a16:creationId xmlns:a16="http://schemas.microsoft.com/office/drawing/2014/main" id="{DA19AA23-1494-9CC8-A9F8-F39A44589F5B}"/>
                </a:ext>
              </a:extLst>
            </p:cNvPr>
            <p:cNvSpPr/>
            <p:nvPr/>
          </p:nvSpPr>
          <p:spPr>
            <a:xfrm>
              <a:off x="5709597" y="4713180"/>
              <a:ext cx="75672" cy="75691"/>
            </a:xfrm>
            <a:custGeom>
              <a:avLst/>
              <a:gdLst>
                <a:gd name="connsiteX0" fmla="*/ 75649 w 75672"/>
                <a:gd name="connsiteY0" fmla="*/ 70146 h 75691"/>
                <a:gd name="connsiteX1" fmla="*/ 8894 w 75672"/>
                <a:gd name="connsiteY1" fmla="*/ 21 h 75691"/>
                <a:gd name="connsiteX2" fmla="*/ 5591 w 75672"/>
                <a:gd name="connsiteY2" fmla="*/ 19 h 75691"/>
                <a:gd name="connsiteX3" fmla="*/ 0 w 75672"/>
                <a:gd name="connsiteY3" fmla="*/ 5610 h 75691"/>
                <a:gd name="connsiteX4" fmla="*/ 5591 w 75672"/>
                <a:gd name="connsiteY4" fmla="*/ 11201 h 75691"/>
                <a:gd name="connsiteX5" fmla="*/ 64490 w 75672"/>
                <a:gd name="connsiteY5" fmla="*/ 66954 h 75691"/>
                <a:gd name="connsiteX6" fmla="*/ 64490 w 75672"/>
                <a:gd name="connsiteY6" fmla="*/ 70100 h 75691"/>
                <a:gd name="connsiteX7" fmla="*/ 70081 w 75672"/>
                <a:gd name="connsiteY7" fmla="*/ 75691 h 75691"/>
                <a:gd name="connsiteX8" fmla="*/ 75672 w 75672"/>
                <a:gd name="connsiteY8" fmla="*/ 70100 h 7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672" h="75691">
                  <a:moveTo>
                    <a:pt x="75649" y="70146"/>
                  </a:moveTo>
                  <a:cubicBezTo>
                    <a:pt x="76580" y="32347"/>
                    <a:pt x="46693" y="951"/>
                    <a:pt x="8894" y="21"/>
                  </a:cubicBezTo>
                  <a:cubicBezTo>
                    <a:pt x="7793" y="-6"/>
                    <a:pt x="6692" y="-7"/>
                    <a:pt x="5591" y="19"/>
                  </a:cubicBezTo>
                  <a:cubicBezTo>
                    <a:pt x="2503" y="19"/>
                    <a:pt x="0" y="2522"/>
                    <a:pt x="0" y="5610"/>
                  </a:cubicBezTo>
                  <a:cubicBezTo>
                    <a:pt x="0" y="8698"/>
                    <a:pt x="2503" y="11201"/>
                    <a:pt x="5591" y="11201"/>
                  </a:cubicBezTo>
                  <a:cubicBezTo>
                    <a:pt x="37251" y="10332"/>
                    <a:pt x="63621" y="35293"/>
                    <a:pt x="64490" y="66954"/>
                  </a:cubicBezTo>
                  <a:cubicBezTo>
                    <a:pt x="64519" y="68002"/>
                    <a:pt x="64519" y="69052"/>
                    <a:pt x="64490" y="70100"/>
                  </a:cubicBezTo>
                  <a:cubicBezTo>
                    <a:pt x="64490" y="73188"/>
                    <a:pt x="66993" y="75691"/>
                    <a:pt x="70081" y="75691"/>
                  </a:cubicBezTo>
                  <a:cubicBezTo>
                    <a:pt x="73169" y="75691"/>
                    <a:pt x="75672" y="73188"/>
                    <a:pt x="75672" y="70100"/>
                  </a:cubicBezTo>
                  <a:close/>
                </a:path>
              </a:pathLst>
            </a:custGeom>
            <a:solidFill>
              <a:srgbClr val="1F6896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eform 221">
              <a:extLst>
                <a:ext uri="{FF2B5EF4-FFF2-40B4-BE49-F238E27FC236}">
                  <a16:creationId xmlns:a16="http://schemas.microsoft.com/office/drawing/2014/main" id="{CC7D3473-12AB-3FF1-FCE6-7330C2CC2E32}"/>
                </a:ext>
              </a:extLst>
            </p:cNvPr>
            <p:cNvSpPr/>
            <p:nvPr/>
          </p:nvSpPr>
          <p:spPr>
            <a:xfrm>
              <a:off x="5489744" y="4681319"/>
              <a:ext cx="104648" cy="104658"/>
            </a:xfrm>
            <a:custGeom>
              <a:avLst/>
              <a:gdLst>
                <a:gd name="connsiteX0" fmla="*/ 5844 w 104648"/>
                <a:gd name="connsiteY0" fmla="*/ 104654 h 104658"/>
                <a:gd name="connsiteX1" fmla="*/ 9609 w 104648"/>
                <a:gd name="connsiteY1" fmla="*/ 103011 h 104658"/>
                <a:gd name="connsiteX2" fmla="*/ 11252 w 104648"/>
                <a:gd name="connsiteY2" fmla="*/ 98858 h 104658"/>
                <a:gd name="connsiteX3" fmla="*/ 92392 w 104648"/>
                <a:gd name="connsiteY3" fmla="*/ 11250 h 104658"/>
                <a:gd name="connsiteX4" fmla="*/ 98860 w 104648"/>
                <a:gd name="connsiteY4" fmla="*/ 11250 h 104658"/>
                <a:gd name="connsiteX5" fmla="*/ 104645 w 104648"/>
                <a:gd name="connsiteY5" fmla="*/ 5853 h 104658"/>
                <a:gd name="connsiteX6" fmla="*/ 99248 w 104648"/>
                <a:gd name="connsiteY6" fmla="*/ 68 h 104658"/>
                <a:gd name="connsiteX7" fmla="*/ 67 w 104648"/>
                <a:gd name="connsiteY7" fmla="*/ 92079 h 104658"/>
                <a:gd name="connsiteX8" fmla="*/ 71 w 104648"/>
                <a:gd name="connsiteY8" fmla="*/ 99337 h 104658"/>
                <a:gd name="connsiteX9" fmla="*/ 5844 w 104648"/>
                <a:gd name="connsiteY9" fmla="*/ 104654 h 104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648" h="104658">
                  <a:moveTo>
                    <a:pt x="5844" y="104654"/>
                  </a:moveTo>
                  <a:cubicBezTo>
                    <a:pt x="7263" y="104606"/>
                    <a:pt x="8610" y="104019"/>
                    <a:pt x="9609" y="103011"/>
                  </a:cubicBezTo>
                  <a:cubicBezTo>
                    <a:pt x="10706" y="101912"/>
                    <a:pt x="11300" y="100409"/>
                    <a:pt x="11252" y="98858"/>
                  </a:cubicBezTo>
                  <a:cubicBezTo>
                    <a:pt x="9466" y="52260"/>
                    <a:pt x="45794" y="13037"/>
                    <a:pt x="92392" y="11250"/>
                  </a:cubicBezTo>
                  <a:cubicBezTo>
                    <a:pt x="94547" y="11168"/>
                    <a:pt x="96704" y="11168"/>
                    <a:pt x="98860" y="11250"/>
                  </a:cubicBezTo>
                  <a:cubicBezTo>
                    <a:pt x="101947" y="11358"/>
                    <a:pt x="104537" y="8941"/>
                    <a:pt x="104645" y="5853"/>
                  </a:cubicBezTo>
                  <a:cubicBezTo>
                    <a:pt x="104752" y="2766"/>
                    <a:pt x="102335" y="176"/>
                    <a:pt x="99248" y="68"/>
                  </a:cubicBezTo>
                  <a:cubicBezTo>
                    <a:pt x="46452" y="-1911"/>
                    <a:pt x="2047" y="39283"/>
                    <a:pt x="67" y="92079"/>
                  </a:cubicBezTo>
                  <a:cubicBezTo>
                    <a:pt x="-23" y="94498"/>
                    <a:pt x="-22" y="96919"/>
                    <a:pt x="71" y="99337"/>
                  </a:cubicBezTo>
                  <a:cubicBezTo>
                    <a:pt x="206" y="102395"/>
                    <a:pt x="2785" y="104770"/>
                    <a:pt x="5844" y="104654"/>
                  </a:cubicBezTo>
                  <a:close/>
                </a:path>
              </a:pathLst>
            </a:custGeom>
            <a:solidFill>
              <a:srgbClr val="1F6896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reeform 222">
              <a:extLst>
                <a:ext uri="{FF2B5EF4-FFF2-40B4-BE49-F238E27FC236}">
                  <a16:creationId xmlns:a16="http://schemas.microsoft.com/office/drawing/2014/main" id="{C0D52BD6-3A3A-F559-7A86-EBB4940139A6}"/>
                </a:ext>
              </a:extLst>
            </p:cNvPr>
            <p:cNvSpPr/>
            <p:nvPr/>
          </p:nvSpPr>
          <p:spPr>
            <a:xfrm>
              <a:off x="5520669" y="4712219"/>
              <a:ext cx="76142" cy="75739"/>
            </a:xfrm>
            <a:custGeom>
              <a:avLst/>
              <a:gdLst>
                <a:gd name="connsiteX0" fmla="*/ 5635 w 76142"/>
                <a:gd name="connsiteY0" fmla="*/ 75740 h 75739"/>
                <a:gd name="connsiteX1" fmla="*/ 11271 w 76142"/>
                <a:gd name="connsiteY1" fmla="*/ 70149 h 75739"/>
                <a:gd name="connsiteX2" fmla="*/ 11271 w 76142"/>
                <a:gd name="connsiteY2" fmla="*/ 70103 h 75739"/>
                <a:gd name="connsiteX3" fmla="*/ 67047 w 76142"/>
                <a:gd name="connsiteY3" fmla="*/ 11226 h 75739"/>
                <a:gd name="connsiteX4" fmla="*/ 70170 w 76142"/>
                <a:gd name="connsiteY4" fmla="*/ 11227 h 75739"/>
                <a:gd name="connsiteX5" fmla="*/ 76131 w 76142"/>
                <a:gd name="connsiteY5" fmla="*/ 5982 h 75739"/>
                <a:gd name="connsiteX6" fmla="*/ 70886 w 76142"/>
                <a:gd name="connsiteY6" fmla="*/ 22 h 75739"/>
                <a:gd name="connsiteX7" fmla="*/ 70170 w 76142"/>
                <a:gd name="connsiteY7" fmla="*/ 22 h 75739"/>
                <a:gd name="connsiteX8" fmla="*/ 21 w 76142"/>
                <a:gd name="connsiteY8" fmla="*/ 66752 h 75739"/>
                <a:gd name="connsiteX9" fmla="*/ 21 w 76142"/>
                <a:gd name="connsiteY9" fmla="*/ 70149 h 75739"/>
                <a:gd name="connsiteX10" fmla="*/ 5612 w 76142"/>
                <a:gd name="connsiteY10" fmla="*/ 75740 h 75739"/>
                <a:gd name="connsiteX11" fmla="*/ 5635 w 76142"/>
                <a:gd name="connsiteY11" fmla="*/ 75740 h 75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142" h="75739">
                  <a:moveTo>
                    <a:pt x="5635" y="75740"/>
                  </a:moveTo>
                  <a:cubicBezTo>
                    <a:pt x="8735" y="75752"/>
                    <a:pt x="11259" y="73249"/>
                    <a:pt x="11271" y="70149"/>
                  </a:cubicBezTo>
                  <a:cubicBezTo>
                    <a:pt x="11271" y="70133"/>
                    <a:pt x="11271" y="70118"/>
                    <a:pt x="11271" y="70103"/>
                  </a:cubicBezTo>
                  <a:cubicBezTo>
                    <a:pt x="10415" y="38442"/>
                    <a:pt x="35387" y="12082"/>
                    <a:pt x="67047" y="11226"/>
                  </a:cubicBezTo>
                  <a:cubicBezTo>
                    <a:pt x="68088" y="11198"/>
                    <a:pt x="69130" y="11198"/>
                    <a:pt x="70170" y="11227"/>
                  </a:cubicBezTo>
                  <a:cubicBezTo>
                    <a:pt x="73265" y="11424"/>
                    <a:pt x="75933" y="9076"/>
                    <a:pt x="76131" y="5982"/>
                  </a:cubicBezTo>
                  <a:cubicBezTo>
                    <a:pt x="76328" y="2888"/>
                    <a:pt x="73980" y="219"/>
                    <a:pt x="70886" y="22"/>
                  </a:cubicBezTo>
                  <a:cubicBezTo>
                    <a:pt x="70648" y="7"/>
                    <a:pt x="70409" y="7"/>
                    <a:pt x="70170" y="22"/>
                  </a:cubicBezTo>
                  <a:cubicBezTo>
                    <a:pt x="32372" y="-922"/>
                    <a:pt x="965" y="28954"/>
                    <a:pt x="21" y="66752"/>
                  </a:cubicBezTo>
                  <a:cubicBezTo>
                    <a:pt x="-7" y="67884"/>
                    <a:pt x="-7" y="69017"/>
                    <a:pt x="21" y="70149"/>
                  </a:cubicBezTo>
                  <a:cubicBezTo>
                    <a:pt x="21" y="73236"/>
                    <a:pt x="2524" y="75740"/>
                    <a:pt x="5612" y="75740"/>
                  </a:cubicBezTo>
                  <a:cubicBezTo>
                    <a:pt x="5619" y="75740"/>
                    <a:pt x="5627" y="75740"/>
                    <a:pt x="5635" y="75740"/>
                  </a:cubicBezTo>
                  <a:close/>
                </a:path>
              </a:pathLst>
            </a:custGeom>
            <a:solidFill>
              <a:srgbClr val="1F6896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4" name="Graphic 329">
            <a:extLst>
              <a:ext uri="{FF2B5EF4-FFF2-40B4-BE49-F238E27FC236}">
                <a16:creationId xmlns:a16="http://schemas.microsoft.com/office/drawing/2014/main" id="{0736767D-356B-8FAD-CE55-33E41358D5C7}"/>
              </a:ext>
            </a:extLst>
          </p:cNvPr>
          <p:cNvGrpSpPr/>
          <p:nvPr/>
        </p:nvGrpSpPr>
        <p:grpSpPr>
          <a:xfrm>
            <a:off x="6471491" y="5054600"/>
            <a:ext cx="371476" cy="321946"/>
            <a:chOff x="6411913" y="4668838"/>
            <a:chExt cx="371476" cy="321946"/>
          </a:xfrm>
        </p:grpSpPr>
        <p:sp>
          <p:nvSpPr>
            <p:cNvPr id="225" name="Freeform 224">
              <a:extLst>
                <a:ext uri="{FF2B5EF4-FFF2-40B4-BE49-F238E27FC236}">
                  <a16:creationId xmlns:a16="http://schemas.microsoft.com/office/drawing/2014/main" id="{8C784ADE-A993-59E2-142F-A53249BAC15A}"/>
                </a:ext>
              </a:extLst>
            </p:cNvPr>
            <p:cNvSpPr/>
            <p:nvPr/>
          </p:nvSpPr>
          <p:spPr>
            <a:xfrm>
              <a:off x="6443238" y="4878101"/>
              <a:ext cx="300972" cy="114184"/>
            </a:xfrm>
            <a:custGeom>
              <a:avLst/>
              <a:gdLst>
                <a:gd name="connsiteX0" fmla="*/ 192657 w 300972"/>
                <a:gd name="connsiteY0" fmla="*/ 97336 h 114184"/>
                <a:gd name="connsiteX1" fmla="*/ 153740 w 300972"/>
                <a:gd name="connsiteY1" fmla="*/ 101718 h 114184"/>
                <a:gd name="connsiteX2" fmla="*/ 85053 w 300972"/>
                <a:gd name="connsiteY2" fmla="*/ 82276 h 114184"/>
                <a:gd name="connsiteX3" fmla="*/ 62057 w 300972"/>
                <a:gd name="connsiteY3" fmla="*/ 84834 h 114184"/>
                <a:gd name="connsiteX4" fmla="*/ 56148 w 300972"/>
                <a:gd name="connsiteY4" fmla="*/ 88018 h 114184"/>
                <a:gd name="connsiteX5" fmla="*/ 57758 w 300972"/>
                <a:gd name="connsiteY5" fmla="*/ 29978 h 114184"/>
                <a:gd name="connsiteX6" fmla="*/ 120308 w 300972"/>
                <a:gd name="connsiteY6" fmla="*/ 26597 h 114184"/>
                <a:gd name="connsiteX7" fmla="*/ 124341 w 300972"/>
                <a:gd name="connsiteY7" fmla="*/ 28618 h 114184"/>
                <a:gd name="connsiteX8" fmla="*/ 147602 w 300972"/>
                <a:gd name="connsiteY8" fmla="*/ 34700 h 114184"/>
                <a:gd name="connsiteX9" fmla="*/ 188128 w 300972"/>
                <a:gd name="connsiteY9" fmla="*/ 35844 h 114184"/>
                <a:gd name="connsiteX10" fmla="*/ 211461 w 300972"/>
                <a:gd name="connsiteY10" fmla="*/ 55519 h 114184"/>
                <a:gd name="connsiteX11" fmla="*/ 151069 w 300972"/>
                <a:gd name="connsiteY11" fmla="*/ 53855 h 114184"/>
                <a:gd name="connsiteX12" fmla="*/ 145329 w 300972"/>
                <a:gd name="connsiteY12" fmla="*/ 59355 h 114184"/>
                <a:gd name="connsiteX13" fmla="*/ 150769 w 300972"/>
                <a:gd name="connsiteY13" fmla="*/ 65159 h 114184"/>
                <a:gd name="connsiteX14" fmla="*/ 217351 w 300972"/>
                <a:gd name="connsiteY14" fmla="*/ 66948 h 114184"/>
                <a:gd name="connsiteX15" fmla="*/ 217510 w 300972"/>
                <a:gd name="connsiteY15" fmla="*/ 66948 h 114184"/>
                <a:gd name="connsiteX16" fmla="*/ 223029 w 300972"/>
                <a:gd name="connsiteY16" fmla="*/ 61439 h 114184"/>
                <a:gd name="connsiteX17" fmla="*/ 223030 w 300972"/>
                <a:gd name="connsiteY17" fmla="*/ 61421 h 114184"/>
                <a:gd name="connsiteX18" fmla="*/ 222463 w 300972"/>
                <a:gd name="connsiteY18" fmla="*/ 53981 h 114184"/>
                <a:gd name="connsiteX19" fmla="*/ 267483 w 300972"/>
                <a:gd name="connsiteY19" fmla="*/ 32518 h 114184"/>
                <a:gd name="connsiteX20" fmla="*/ 267695 w 300972"/>
                <a:gd name="connsiteY20" fmla="*/ 32518 h 114184"/>
                <a:gd name="connsiteX21" fmla="*/ 287153 w 300972"/>
                <a:gd name="connsiteY21" fmla="*/ 35254 h 114184"/>
                <a:gd name="connsiteX22" fmla="*/ 11341 w 300972"/>
                <a:gd name="connsiteY22" fmla="*/ 98821 h 114184"/>
                <a:gd name="connsiteX23" fmla="*/ 13729 w 300972"/>
                <a:gd name="connsiteY23" fmla="*/ 11681 h 114184"/>
                <a:gd name="connsiteX24" fmla="*/ 46968 w 300972"/>
                <a:gd name="connsiteY24" fmla="*/ 12575 h 114184"/>
                <a:gd name="connsiteX25" fmla="*/ 44562 w 300972"/>
                <a:gd name="connsiteY25" fmla="*/ 99840 h 114184"/>
                <a:gd name="connsiteX26" fmla="*/ 262795 w 300972"/>
                <a:gd name="connsiteY26" fmla="*/ 22662 h 114184"/>
                <a:gd name="connsiteX27" fmla="*/ 218926 w 300972"/>
                <a:gd name="connsiteY27" fmla="*/ 43607 h 114184"/>
                <a:gd name="connsiteX28" fmla="*/ 188447 w 300972"/>
                <a:gd name="connsiteY28" fmla="*/ 24612 h 114184"/>
                <a:gd name="connsiteX29" fmla="*/ 147938 w 300972"/>
                <a:gd name="connsiteY29" fmla="*/ 23485 h 114184"/>
                <a:gd name="connsiteX30" fmla="*/ 129647 w 300972"/>
                <a:gd name="connsiteY30" fmla="*/ 18674 h 114184"/>
                <a:gd name="connsiteX31" fmla="*/ 125544 w 300972"/>
                <a:gd name="connsiteY31" fmla="*/ 16510 h 114184"/>
                <a:gd name="connsiteX32" fmla="*/ 58183 w 300972"/>
                <a:gd name="connsiteY32" fmla="*/ 16510 h 114184"/>
                <a:gd name="connsiteX33" fmla="*/ 58448 w 300972"/>
                <a:gd name="connsiteY33" fmla="*/ 7066 h 114184"/>
                <a:gd name="connsiteX34" fmla="*/ 52949 w 300972"/>
                <a:gd name="connsiteY34" fmla="*/ 1253 h 114184"/>
                <a:gd name="connsiteX35" fmla="*/ 52947 w 300972"/>
                <a:gd name="connsiteY35" fmla="*/ 1253 h 114184"/>
                <a:gd name="connsiteX36" fmla="*/ 8458 w 300972"/>
                <a:gd name="connsiteY36" fmla="*/ 1 h 114184"/>
                <a:gd name="connsiteX37" fmla="*/ 2709 w 300972"/>
                <a:gd name="connsiteY37" fmla="*/ 5564 h 114184"/>
                <a:gd name="connsiteX38" fmla="*/ 2 w 300972"/>
                <a:gd name="connsiteY38" fmla="*/ 104061 h 114184"/>
                <a:gd name="connsiteX39" fmla="*/ 5446 w 300972"/>
                <a:gd name="connsiteY39" fmla="*/ 109892 h 114184"/>
                <a:gd name="connsiteX40" fmla="*/ 5451 w 300972"/>
                <a:gd name="connsiteY40" fmla="*/ 109892 h 114184"/>
                <a:gd name="connsiteX41" fmla="*/ 5451 w 300972"/>
                <a:gd name="connsiteY41" fmla="*/ 109892 h 114184"/>
                <a:gd name="connsiteX42" fmla="*/ 49886 w 300972"/>
                <a:gd name="connsiteY42" fmla="*/ 111126 h 114184"/>
                <a:gd name="connsiteX43" fmla="*/ 50045 w 300972"/>
                <a:gd name="connsiteY43" fmla="*/ 111126 h 114184"/>
                <a:gd name="connsiteX44" fmla="*/ 55671 w 300972"/>
                <a:gd name="connsiteY44" fmla="*/ 105564 h 114184"/>
                <a:gd name="connsiteX45" fmla="*/ 55795 w 300972"/>
                <a:gd name="connsiteY45" fmla="*/ 100842 h 114184"/>
                <a:gd name="connsiteX46" fmla="*/ 67328 w 300972"/>
                <a:gd name="connsiteY46" fmla="*/ 94600 h 114184"/>
                <a:gd name="connsiteX47" fmla="*/ 82099 w 300972"/>
                <a:gd name="connsiteY47" fmla="*/ 92954 h 114184"/>
                <a:gd name="connsiteX48" fmla="*/ 151087 w 300972"/>
                <a:gd name="connsiteY48" fmla="*/ 112629 h 114184"/>
                <a:gd name="connsiteX49" fmla="*/ 151423 w 300972"/>
                <a:gd name="connsiteY49" fmla="*/ 112629 h 114184"/>
                <a:gd name="connsiteX50" fmla="*/ 197805 w 300972"/>
                <a:gd name="connsiteY50" fmla="*/ 107263 h 114184"/>
                <a:gd name="connsiteX51" fmla="*/ 198494 w 300972"/>
                <a:gd name="connsiteY51" fmla="*/ 106869 h 114184"/>
                <a:gd name="connsiteX52" fmla="*/ 298421 w 300972"/>
                <a:gd name="connsiteY52" fmla="*/ 41532 h 114184"/>
                <a:gd name="connsiteX53" fmla="*/ 300190 w 300972"/>
                <a:gd name="connsiteY53" fmla="*/ 33966 h 114184"/>
                <a:gd name="connsiteX54" fmla="*/ 262813 w 300972"/>
                <a:gd name="connsiteY54" fmla="*/ 22484 h 11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00972" h="114184">
                  <a:moveTo>
                    <a:pt x="192657" y="97336"/>
                  </a:moveTo>
                  <a:cubicBezTo>
                    <a:pt x="180465" y="102904"/>
                    <a:pt x="166845" y="104437"/>
                    <a:pt x="153740" y="101718"/>
                  </a:cubicBezTo>
                  <a:lnTo>
                    <a:pt x="85053" y="82276"/>
                  </a:lnTo>
                  <a:cubicBezTo>
                    <a:pt x="77349" y="80084"/>
                    <a:pt x="69105" y="81001"/>
                    <a:pt x="62057" y="84834"/>
                  </a:cubicBezTo>
                  <a:lnTo>
                    <a:pt x="56148" y="88018"/>
                  </a:lnTo>
                  <a:lnTo>
                    <a:pt x="57758" y="29978"/>
                  </a:lnTo>
                  <a:cubicBezTo>
                    <a:pt x="76440" y="17408"/>
                    <a:pt x="100407" y="16113"/>
                    <a:pt x="120308" y="26597"/>
                  </a:cubicBezTo>
                  <a:lnTo>
                    <a:pt x="124341" y="28618"/>
                  </a:lnTo>
                  <a:cubicBezTo>
                    <a:pt x="131546" y="32382"/>
                    <a:pt x="139496" y="34460"/>
                    <a:pt x="147602" y="34700"/>
                  </a:cubicBezTo>
                  <a:lnTo>
                    <a:pt x="188128" y="35844"/>
                  </a:lnTo>
                  <a:cubicBezTo>
                    <a:pt x="199474" y="36147"/>
                    <a:pt x="209129" y="44288"/>
                    <a:pt x="211461" y="55519"/>
                  </a:cubicBezTo>
                  <a:lnTo>
                    <a:pt x="151069" y="53855"/>
                  </a:lnTo>
                  <a:cubicBezTo>
                    <a:pt x="147982" y="53772"/>
                    <a:pt x="145412" y="56234"/>
                    <a:pt x="145329" y="59355"/>
                  </a:cubicBezTo>
                  <a:cubicBezTo>
                    <a:pt x="145246" y="62477"/>
                    <a:pt x="147681" y="65075"/>
                    <a:pt x="150769" y="65159"/>
                  </a:cubicBezTo>
                  <a:lnTo>
                    <a:pt x="217351" y="66948"/>
                  </a:lnTo>
                  <a:lnTo>
                    <a:pt x="217510" y="66948"/>
                  </a:lnTo>
                  <a:cubicBezTo>
                    <a:pt x="220539" y="66968"/>
                    <a:pt x="223010" y="64501"/>
                    <a:pt x="223029" y="61439"/>
                  </a:cubicBezTo>
                  <a:cubicBezTo>
                    <a:pt x="223029" y="61433"/>
                    <a:pt x="223029" y="61427"/>
                    <a:pt x="223030" y="61421"/>
                  </a:cubicBezTo>
                  <a:cubicBezTo>
                    <a:pt x="223098" y="58928"/>
                    <a:pt x="222908" y="56434"/>
                    <a:pt x="222463" y="53981"/>
                  </a:cubicBezTo>
                  <a:lnTo>
                    <a:pt x="267483" y="32518"/>
                  </a:lnTo>
                  <a:lnTo>
                    <a:pt x="267695" y="32518"/>
                  </a:lnTo>
                  <a:cubicBezTo>
                    <a:pt x="274106" y="29208"/>
                    <a:pt x="281879" y="30301"/>
                    <a:pt x="287153" y="35254"/>
                  </a:cubicBezTo>
                  <a:close/>
                  <a:moveTo>
                    <a:pt x="11341" y="98821"/>
                  </a:moveTo>
                  <a:lnTo>
                    <a:pt x="13729" y="11681"/>
                  </a:lnTo>
                  <a:lnTo>
                    <a:pt x="46968" y="12575"/>
                  </a:lnTo>
                  <a:lnTo>
                    <a:pt x="44562" y="99840"/>
                  </a:lnTo>
                  <a:close/>
                  <a:moveTo>
                    <a:pt x="262795" y="22662"/>
                  </a:moveTo>
                  <a:lnTo>
                    <a:pt x="218926" y="43607"/>
                  </a:lnTo>
                  <a:cubicBezTo>
                    <a:pt x="212857" y="32220"/>
                    <a:pt x="201235" y="24977"/>
                    <a:pt x="188447" y="24612"/>
                  </a:cubicBezTo>
                  <a:lnTo>
                    <a:pt x="147938" y="23485"/>
                  </a:lnTo>
                  <a:cubicBezTo>
                    <a:pt x="141565" y="23266"/>
                    <a:pt x="135318" y="21623"/>
                    <a:pt x="129647" y="18674"/>
                  </a:cubicBezTo>
                  <a:lnTo>
                    <a:pt x="125544" y="16510"/>
                  </a:lnTo>
                  <a:cubicBezTo>
                    <a:pt x="104442" y="5367"/>
                    <a:pt x="79284" y="5367"/>
                    <a:pt x="58183" y="16510"/>
                  </a:cubicBezTo>
                  <a:lnTo>
                    <a:pt x="58448" y="7066"/>
                  </a:lnTo>
                  <a:cubicBezTo>
                    <a:pt x="58517" y="3926"/>
                    <a:pt x="56055" y="1323"/>
                    <a:pt x="52949" y="1253"/>
                  </a:cubicBezTo>
                  <a:cubicBezTo>
                    <a:pt x="52948" y="1253"/>
                    <a:pt x="52947" y="1253"/>
                    <a:pt x="52947" y="1253"/>
                  </a:cubicBezTo>
                  <a:lnTo>
                    <a:pt x="8458" y="1"/>
                  </a:lnTo>
                  <a:cubicBezTo>
                    <a:pt x="5355" y="-59"/>
                    <a:pt x="2786" y="2426"/>
                    <a:pt x="2709" y="5564"/>
                  </a:cubicBezTo>
                  <a:lnTo>
                    <a:pt x="2" y="104061"/>
                  </a:lnTo>
                  <a:cubicBezTo>
                    <a:pt x="-87" y="107191"/>
                    <a:pt x="2351" y="109802"/>
                    <a:pt x="5446" y="109892"/>
                  </a:cubicBezTo>
                  <a:cubicBezTo>
                    <a:pt x="5448" y="109892"/>
                    <a:pt x="5449" y="109892"/>
                    <a:pt x="5451" y="109892"/>
                  </a:cubicBezTo>
                  <a:lnTo>
                    <a:pt x="5451" y="109892"/>
                  </a:lnTo>
                  <a:lnTo>
                    <a:pt x="49886" y="111126"/>
                  </a:lnTo>
                  <a:lnTo>
                    <a:pt x="50045" y="111126"/>
                  </a:lnTo>
                  <a:cubicBezTo>
                    <a:pt x="53108" y="111136"/>
                    <a:pt x="55613" y="108660"/>
                    <a:pt x="55671" y="105564"/>
                  </a:cubicBezTo>
                  <a:lnTo>
                    <a:pt x="55795" y="100842"/>
                  </a:lnTo>
                  <a:lnTo>
                    <a:pt x="67328" y="94600"/>
                  </a:lnTo>
                  <a:cubicBezTo>
                    <a:pt x="71856" y="92141"/>
                    <a:pt x="77150" y="91552"/>
                    <a:pt x="82099" y="92954"/>
                  </a:cubicBezTo>
                  <a:lnTo>
                    <a:pt x="151087" y="112629"/>
                  </a:lnTo>
                  <a:lnTo>
                    <a:pt x="151423" y="112629"/>
                  </a:lnTo>
                  <a:cubicBezTo>
                    <a:pt x="167054" y="115883"/>
                    <a:pt x="183305" y="114003"/>
                    <a:pt x="197805" y="107263"/>
                  </a:cubicBezTo>
                  <a:cubicBezTo>
                    <a:pt x="198053" y="107167"/>
                    <a:pt x="198285" y="107035"/>
                    <a:pt x="198494" y="106869"/>
                  </a:cubicBezTo>
                  <a:lnTo>
                    <a:pt x="298421" y="41532"/>
                  </a:lnTo>
                  <a:cubicBezTo>
                    <a:pt x="300937" y="39909"/>
                    <a:pt x="301721" y="36557"/>
                    <a:pt x="300190" y="33966"/>
                  </a:cubicBezTo>
                  <a:cubicBezTo>
                    <a:pt x="292760" y="20665"/>
                    <a:pt x="276306" y="15610"/>
                    <a:pt x="262813" y="22484"/>
                  </a:cubicBezTo>
                  <a:close/>
                </a:path>
              </a:pathLst>
            </a:custGeom>
            <a:solidFill>
              <a:srgbClr val="1F6999"/>
            </a:solidFill>
            <a:ln w="1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eform 225">
              <a:extLst>
                <a:ext uri="{FF2B5EF4-FFF2-40B4-BE49-F238E27FC236}">
                  <a16:creationId xmlns:a16="http://schemas.microsoft.com/office/drawing/2014/main" id="{80ED9B28-CFE3-2C64-A513-69F6AF007458}"/>
                </a:ext>
              </a:extLst>
            </p:cNvPr>
            <p:cNvSpPr/>
            <p:nvPr/>
          </p:nvSpPr>
          <p:spPr>
            <a:xfrm>
              <a:off x="6442445" y="4710051"/>
              <a:ext cx="136849" cy="100961"/>
            </a:xfrm>
            <a:custGeom>
              <a:avLst/>
              <a:gdLst>
                <a:gd name="connsiteX0" fmla="*/ 41180 w 136849"/>
                <a:gd name="connsiteY0" fmla="*/ 100961 h 100961"/>
                <a:gd name="connsiteX1" fmla="*/ 40968 w 136849"/>
                <a:gd name="connsiteY1" fmla="*/ 100961 h 100961"/>
                <a:gd name="connsiteX2" fmla="*/ 35891 w 136849"/>
                <a:gd name="connsiteY2" fmla="*/ 98618 h 100961"/>
                <a:gd name="connsiteX3" fmla="*/ 1892 w 136849"/>
                <a:gd name="connsiteY3" fmla="*/ 61290 h 100961"/>
                <a:gd name="connsiteX4" fmla="*/ 2335 w 136849"/>
                <a:gd name="connsiteY4" fmla="*/ 51006 h 100961"/>
                <a:gd name="connsiteX5" fmla="*/ 12506 w 136849"/>
                <a:gd name="connsiteY5" fmla="*/ 51453 h 100961"/>
                <a:gd name="connsiteX6" fmla="*/ 41516 w 136849"/>
                <a:gd name="connsiteY6" fmla="*/ 83308 h 100961"/>
                <a:gd name="connsiteX7" fmla="*/ 124869 w 136849"/>
                <a:gd name="connsiteY7" fmla="*/ 1838 h 100961"/>
                <a:gd name="connsiteX8" fmla="*/ 135033 w 136849"/>
                <a:gd name="connsiteY8" fmla="*/ 2445 h 100961"/>
                <a:gd name="connsiteX9" fmla="*/ 134863 w 136849"/>
                <a:gd name="connsiteY9" fmla="*/ 12301 h 100961"/>
                <a:gd name="connsiteX10" fmla="*/ 46133 w 136849"/>
                <a:gd name="connsiteY10" fmla="*/ 98922 h 100961"/>
                <a:gd name="connsiteX11" fmla="*/ 41180 w 136849"/>
                <a:gd name="connsiteY11" fmla="*/ 100961 h 100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6849" h="100961">
                  <a:moveTo>
                    <a:pt x="41180" y="100961"/>
                  </a:moveTo>
                  <a:lnTo>
                    <a:pt x="40968" y="100961"/>
                  </a:lnTo>
                  <a:cubicBezTo>
                    <a:pt x="39033" y="100904"/>
                    <a:pt x="37202" y="100059"/>
                    <a:pt x="35891" y="98618"/>
                  </a:cubicBezTo>
                  <a:lnTo>
                    <a:pt x="1892" y="61290"/>
                  </a:lnTo>
                  <a:cubicBezTo>
                    <a:pt x="-794" y="58327"/>
                    <a:pt x="-596" y="53722"/>
                    <a:pt x="2335" y="51006"/>
                  </a:cubicBezTo>
                  <a:cubicBezTo>
                    <a:pt x="5265" y="48290"/>
                    <a:pt x="9819" y="48490"/>
                    <a:pt x="12506" y="51453"/>
                  </a:cubicBezTo>
                  <a:lnTo>
                    <a:pt x="41516" y="83308"/>
                  </a:lnTo>
                  <a:lnTo>
                    <a:pt x="124869" y="1838"/>
                  </a:lnTo>
                  <a:cubicBezTo>
                    <a:pt x="127841" y="-833"/>
                    <a:pt x="132392" y="-561"/>
                    <a:pt x="135033" y="2445"/>
                  </a:cubicBezTo>
                  <a:cubicBezTo>
                    <a:pt x="137519" y="5275"/>
                    <a:pt x="137446" y="9560"/>
                    <a:pt x="134863" y="12301"/>
                  </a:cubicBezTo>
                  <a:lnTo>
                    <a:pt x="46133" y="98922"/>
                  </a:lnTo>
                  <a:cubicBezTo>
                    <a:pt x="44804" y="100223"/>
                    <a:pt x="43030" y="100954"/>
                    <a:pt x="41180" y="100961"/>
                  </a:cubicBezTo>
                </a:path>
              </a:pathLst>
            </a:custGeom>
            <a:solidFill>
              <a:srgbClr val="BA5C7A"/>
            </a:solidFill>
            <a:ln w="1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reeform 226">
              <a:extLst>
                <a:ext uri="{FF2B5EF4-FFF2-40B4-BE49-F238E27FC236}">
                  <a16:creationId xmlns:a16="http://schemas.microsoft.com/office/drawing/2014/main" id="{89018D77-6809-4C25-10D3-E500BDB829BF}"/>
                </a:ext>
              </a:extLst>
            </p:cNvPr>
            <p:cNvSpPr/>
            <p:nvPr/>
          </p:nvSpPr>
          <p:spPr>
            <a:xfrm>
              <a:off x="6412941" y="4694241"/>
              <a:ext cx="160364" cy="162147"/>
            </a:xfrm>
            <a:custGeom>
              <a:avLst/>
              <a:gdLst>
                <a:gd name="connsiteX0" fmla="*/ 80024 w 160364"/>
                <a:gd name="connsiteY0" fmla="*/ 162147 h 162147"/>
                <a:gd name="connsiteX1" fmla="*/ 2031 w 160364"/>
                <a:gd name="connsiteY1" fmla="*/ 99153 h 162147"/>
                <a:gd name="connsiteX2" fmla="*/ 62361 w 160364"/>
                <a:gd name="connsiteY2" fmla="*/ 2037 h 162147"/>
                <a:gd name="connsiteX3" fmla="*/ 128386 w 160364"/>
                <a:gd name="connsiteY3" fmla="*/ 16252 h 162147"/>
                <a:gd name="connsiteX4" fmla="*/ 129235 w 160364"/>
                <a:gd name="connsiteY4" fmla="*/ 22369 h 162147"/>
                <a:gd name="connsiteX5" fmla="*/ 123186 w 160364"/>
                <a:gd name="connsiteY5" fmla="*/ 23228 h 162147"/>
                <a:gd name="connsiteX6" fmla="*/ 22964 w 160364"/>
                <a:gd name="connsiteY6" fmla="*/ 37540 h 162147"/>
                <a:gd name="connsiteX7" fmla="*/ 37119 w 160364"/>
                <a:gd name="connsiteY7" fmla="*/ 138876 h 162147"/>
                <a:gd name="connsiteX8" fmla="*/ 137341 w 160364"/>
                <a:gd name="connsiteY8" fmla="*/ 124563 h 162147"/>
                <a:gd name="connsiteX9" fmla="*/ 149914 w 160364"/>
                <a:gd name="connsiteY9" fmla="*/ 64884 h 162147"/>
                <a:gd name="connsiteX10" fmla="*/ 153160 w 160364"/>
                <a:gd name="connsiteY10" fmla="*/ 59652 h 162147"/>
                <a:gd name="connsiteX11" fmla="*/ 158334 w 160364"/>
                <a:gd name="connsiteY11" fmla="*/ 62934 h 162147"/>
                <a:gd name="connsiteX12" fmla="*/ 98031 w 160364"/>
                <a:gd name="connsiteY12" fmla="*/ 160073 h 162147"/>
                <a:gd name="connsiteX13" fmla="*/ 79953 w 160364"/>
                <a:gd name="connsiteY13" fmla="*/ 162147 h 162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0364" h="162147">
                  <a:moveTo>
                    <a:pt x="80024" y="162147"/>
                  </a:moveTo>
                  <a:cubicBezTo>
                    <a:pt x="42703" y="162039"/>
                    <a:pt x="10381" y="135933"/>
                    <a:pt x="2031" y="99153"/>
                  </a:cubicBezTo>
                  <a:cubicBezTo>
                    <a:pt x="-7832" y="55491"/>
                    <a:pt x="19178" y="12010"/>
                    <a:pt x="62361" y="2037"/>
                  </a:cubicBezTo>
                  <a:cubicBezTo>
                    <a:pt x="85366" y="-3276"/>
                    <a:pt x="109518" y="1924"/>
                    <a:pt x="128386" y="16252"/>
                  </a:cubicBezTo>
                  <a:cubicBezTo>
                    <a:pt x="130291" y="17704"/>
                    <a:pt x="130672" y="20443"/>
                    <a:pt x="129235" y="22369"/>
                  </a:cubicBezTo>
                  <a:cubicBezTo>
                    <a:pt x="127799" y="24295"/>
                    <a:pt x="125091" y="24680"/>
                    <a:pt x="123186" y="23228"/>
                  </a:cubicBezTo>
                  <a:cubicBezTo>
                    <a:pt x="91601" y="-803"/>
                    <a:pt x="46730" y="5605"/>
                    <a:pt x="22964" y="37540"/>
                  </a:cubicBezTo>
                  <a:cubicBezTo>
                    <a:pt x="-803" y="69476"/>
                    <a:pt x="5535" y="114845"/>
                    <a:pt x="37119" y="138876"/>
                  </a:cubicBezTo>
                  <a:cubicBezTo>
                    <a:pt x="68703" y="162907"/>
                    <a:pt x="113574" y="156499"/>
                    <a:pt x="137341" y="124563"/>
                  </a:cubicBezTo>
                  <a:cubicBezTo>
                    <a:pt x="150027" y="107517"/>
                    <a:pt x="154628" y="85679"/>
                    <a:pt x="149914" y="64884"/>
                  </a:cubicBezTo>
                  <a:cubicBezTo>
                    <a:pt x="149382" y="62533"/>
                    <a:pt x="150835" y="60191"/>
                    <a:pt x="153160" y="59652"/>
                  </a:cubicBezTo>
                  <a:cubicBezTo>
                    <a:pt x="155485" y="59114"/>
                    <a:pt x="157802" y="60583"/>
                    <a:pt x="158334" y="62934"/>
                  </a:cubicBezTo>
                  <a:cubicBezTo>
                    <a:pt x="168192" y="106592"/>
                    <a:pt x="141202" y="150070"/>
                    <a:pt x="98031" y="160073"/>
                  </a:cubicBezTo>
                  <a:cubicBezTo>
                    <a:pt x="92102" y="161451"/>
                    <a:pt x="86037" y="162147"/>
                    <a:pt x="79953" y="162147"/>
                  </a:cubicBezTo>
                </a:path>
              </a:pathLst>
            </a:custGeom>
            <a:solidFill>
              <a:srgbClr val="1F6994"/>
            </a:solidFill>
            <a:ln w="1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reeform 227">
              <a:extLst>
                <a:ext uri="{FF2B5EF4-FFF2-40B4-BE49-F238E27FC236}">
                  <a16:creationId xmlns:a16="http://schemas.microsoft.com/office/drawing/2014/main" id="{ECD92DD3-DA93-29A9-EBB2-7285E6E0D6C7}"/>
                </a:ext>
              </a:extLst>
            </p:cNvPr>
            <p:cNvSpPr/>
            <p:nvPr/>
          </p:nvSpPr>
          <p:spPr>
            <a:xfrm>
              <a:off x="6672176" y="4752132"/>
              <a:ext cx="45500" cy="46002"/>
            </a:xfrm>
            <a:custGeom>
              <a:avLst/>
              <a:gdLst>
                <a:gd name="connsiteX0" fmla="*/ 22766 w 45500"/>
                <a:gd name="connsiteY0" fmla="*/ 7619 h 46002"/>
                <a:gd name="connsiteX1" fmla="*/ 7571 w 45500"/>
                <a:gd name="connsiteY1" fmla="*/ 22948 h 46002"/>
                <a:gd name="connsiteX2" fmla="*/ 22731 w 45500"/>
                <a:gd name="connsiteY2" fmla="*/ 38312 h 46002"/>
                <a:gd name="connsiteX3" fmla="*/ 37926 w 45500"/>
                <a:gd name="connsiteY3" fmla="*/ 22983 h 46002"/>
                <a:gd name="connsiteX4" fmla="*/ 22766 w 45500"/>
                <a:gd name="connsiteY4" fmla="*/ 7619 h 46002"/>
                <a:gd name="connsiteX5" fmla="*/ 22766 w 45500"/>
                <a:gd name="connsiteY5" fmla="*/ 46002 h 46002"/>
                <a:gd name="connsiteX6" fmla="*/ 0 w 45500"/>
                <a:gd name="connsiteY6" fmla="*/ 23019 h 46002"/>
                <a:gd name="connsiteX7" fmla="*/ 22731 w 45500"/>
                <a:gd name="connsiteY7" fmla="*/ 0 h 46002"/>
                <a:gd name="connsiteX8" fmla="*/ 45497 w 45500"/>
                <a:gd name="connsiteY8" fmla="*/ 22983 h 46002"/>
                <a:gd name="connsiteX9" fmla="*/ 23580 w 45500"/>
                <a:gd name="connsiteY9" fmla="*/ 46003 h 46002"/>
                <a:gd name="connsiteX10" fmla="*/ 22766 w 45500"/>
                <a:gd name="connsiteY10" fmla="*/ 46002 h 4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500" h="46002">
                  <a:moveTo>
                    <a:pt x="22766" y="7619"/>
                  </a:moveTo>
                  <a:cubicBezTo>
                    <a:pt x="14384" y="7610"/>
                    <a:pt x="7581" y="14472"/>
                    <a:pt x="7571" y="22948"/>
                  </a:cubicBezTo>
                  <a:cubicBezTo>
                    <a:pt x="7561" y="31423"/>
                    <a:pt x="14349" y="38302"/>
                    <a:pt x="22731" y="38312"/>
                  </a:cubicBezTo>
                  <a:cubicBezTo>
                    <a:pt x="31113" y="38321"/>
                    <a:pt x="37916" y="31459"/>
                    <a:pt x="37926" y="22983"/>
                  </a:cubicBezTo>
                  <a:cubicBezTo>
                    <a:pt x="37936" y="14508"/>
                    <a:pt x="31148" y="7629"/>
                    <a:pt x="22766" y="7619"/>
                  </a:cubicBezTo>
                  <a:moveTo>
                    <a:pt x="22766" y="46002"/>
                  </a:moveTo>
                  <a:cubicBezTo>
                    <a:pt x="10203" y="46012"/>
                    <a:pt x="10" y="35722"/>
                    <a:pt x="0" y="23019"/>
                  </a:cubicBezTo>
                  <a:cubicBezTo>
                    <a:pt x="-10" y="10316"/>
                    <a:pt x="10167" y="10"/>
                    <a:pt x="22731" y="0"/>
                  </a:cubicBezTo>
                  <a:cubicBezTo>
                    <a:pt x="35294" y="-10"/>
                    <a:pt x="45487" y="10280"/>
                    <a:pt x="45497" y="22983"/>
                  </a:cubicBezTo>
                  <a:cubicBezTo>
                    <a:pt x="45724" y="35456"/>
                    <a:pt x="35916" y="45758"/>
                    <a:pt x="23580" y="46003"/>
                  </a:cubicBezTo>
                  <a:lnTo>
                    <a:pt x="22766" y="46002"/>
                  </a:lnTo>
                  <a:close/>
                </a:path>
              </a:pathLst>
            </a:custGeom>
            <a:solidFill>
              <a:srgbClr val="BD5C7A"/>
            </a:solidFill>
            <a:ln w="1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eform 228">
              <a:extLst>
                <a:ext uri="{FF2B5EF4-FFF2-40B4-BE49-F238E27FC236}">
                  <a16:creationId xmlns:a16="http://schemas.microsoft.com/office/drawing/2014/main" id="{1A8B0056-AF53-F42C-3848-6F21DD49156F}"/>
                </a:ext>
              </a:extLst>
            </p:cNvPr>
            <p:cNvSpPr/>
            <p:nvPr/>
          </p:nvSpPr>
          <p:spPr>
            <a:xfrm>
              <a:off x="6600198" y="4679128"/>
              <a:ext cx="189275" cy="191486"/>
            </a:xfrm>
            <a:custGeom>
              <a:avLst/>
              <a:gdLst>
                <a:gd name="connsiteX0" fmla="*/ 98990 w 189275"/>
                <a:gd name="connsiteY0" fmla="*/ 168175 h 191486"/>
                <a:gd name="connsiteX1" fmla="*/ 98990 w 189275"/>
                <a:gd name="connsiteY1" fmla="*/ 158194 h 191486"/>
                <a:gd name="connsiteX2" fmla="*/ 94388 w 189275"/>
                <a:gd name="connsiteY2" fmla="*/ 154101 h 191486"/>
                <a:gd name="connsiteX3" fmla="*/ 90339 w 189275"/>
                <a:gd name="connsiteY3" fmla="*/ 158194 h 191486"/>
                <a:gd name="connsiteX4" fmla="*/ 90339 w 189275"/>
                <a:gd name="connsiteY4" fmla="*/ 168175 h 191486"/>
                <a:gd name="connsiteX5" fmla="*/ 23279 w 189275"/>
                <a:gd name="connsiteY5" fmla="*/ 100352 h 191486"/>
                <a:gd name="connsiteX6" fmla="*/ 33150 w 189275"/>
                <a:gd name="connsiteY6" fmla="*/ 100352 h 191486"/>
                <a:gd name="connsiteX7" fmla="*/ 37466 w 189275"/>
                <a:gd name="connsiteY7" fmla="*/ 95987 h 191486"/>
                <a:gd name="connsiteX8" fmla="*/ 33150 w 189275"/>
                <a:gd name="connsiteY8" fmla="*/ 91623 h 191486"/>
                <a:gd name="connsiteX9" fmla="*/ 23279 w 189275"/>
                <a:gd name="connsiteY9" fmla="*/ 91623 h 191486"/>
                <a:gd name="connsiteX10" fmla="*/ 90339 w 189275"/>
                <a:gd name="connsiteY10" fmla="*/ 23836 h 191486"/>
                <a:gd name="connsiteX11" fmla="*/ 90339 w 189275"/>
                <a:gd name="connsiteY11" fmla="*/ 33816 h 191486"/>
                <a:gd name="connsiteX12" fmla="*/ 94388 w 189275"/>
                <a:gd name="connsiteY12" fmla="*/ 38469 h 191486"/>
                <a:gd name="connsiteX13" fmla="*/ 98990 w 189275"/>
                <a:gd name="connsiteY13" fmla="*/ 34376 h 191486"/>
                <a:gd name="connsiteX14" fmla="*/ 98990 w 189275"/>
                <a:gd name="connsiteY14" fmla="*/ 33816 h 191486"/>
                <a:gd name="connsiteX15" fmla="*/ 98990 w 189275"/>
                <a:gd name="connsiteY15" fmla="*/ 23836 h 191486"/>
                <a:gd name="connsiteX16" fmla="*/ 166032 w 189275"/>
                <a:gd name="connsiteY16" fmla="*/ 91659 h 191486"/>
                <a:gd name="connsiteX17" fmla="*/ 156161 w 189275"/>
                <a:gd name="connsiteY17" fmla="*/ 91659 h 191486"/>
                <a:gd name="connsiteX18" fmla="*/ 151845 w 189275"/>
                <a:gd name="connsiteY18" fmla="*/ 96023 h 191486"/>
                <a:gd name="connsiteX19" fmla="*/ 156161 w 189275"/>
                <a:gd name="connsiteY19" fmla="*/ 100387 h 191486"/>
                <a:gd name="connsiteX20" fmla="*/ 166032 w 189275"/>
                <a:gd name="connsiteY20" fmla="*/ 100387 h 191486"/>
                <a:gd name="connsiteX21" fmla="*/ 98990 w 189275"/>
                <a:gd name="connsiteY21" fmla="*/ 168211 h 191486"/>
                <a:gd name="connsiteX22" fmla="*/ 184960 w 189275"/>
                <a:gd name="connsiteY22" fmla="*/ 91659 h 191486"/>
                <a:gd name="connsiteX23" fmla="*/ 174611 w 189275"/>
                <a:gd name="connsiteY23" fmla="*/ 91659 h 191486"/>
                <a:gd name="connsiteX24" fmla="*/ 98936 w 189275"/>
                <a:gd name="connsiteY24" fmla="*/ 15107 h 191486"/>
                <a:gd name="connsiteX25" fmla="*/ 98936 w 189275"/>
                <a:gd name="connsiteY25" fmla="*/ 4662 h 191486"/>
                <a:gd name="connsiteX26" fmla="*/ 94888 w 189275"/>
                <a:gd name="connsiteY26" fmla="*/ 9 h 191486"/>
                <a:gd name="connsiteX27" fmla="*/ 90286 w 189275"/>
                <a:gd name="connsiteY27" fmla="*/ 4102 h 191486"/>
                <a:gd name="connsiteX28" fmla="*/ 90286 w 189275"/>
                <a:gd name="connsiteY28" fmla="*/ 4662 h 191486"/>
                <a:gd name="connsiteX29" fmla="*/ 90286 w 189275"/>
                <a:gd name="connsiteY29" fmla="*/ 15072 h 191486"/>
                <a:gd name="connsiteX30" fmla="*/ 14647 w 189275"/>
                <a:gd name="connsiteY30" fmla="*/ 91659 h 191486"/>
                <a:gd name="connsiteX31" fmla="*/ 4316 w 189275"/>
                <a:gd name="connsiteY31" fmla="*/ 91659 h 191486"/>
                <a:gd name="connsiteX32" fmla="*/ 0 w 189275"/>
                <a:gd name="connsiteY32" fmla="*/ 96023 h 191486"/>
                <a:gd name="connsiteX33" fmla="*/ 4316 w 189275"/>
                <a:gd name="connsiteY33" fmla="*/ 100387 h 191486"/>
                <a:gd name="connsiteX34" fmla="*/ 14647 w 189275"/>
                <a:gd name="connsiteY34" fmla="*/ 100387 h 191486"/>
                <a:gd name="connsiteX35" fmla="*/ 90339 w 189275"/>
                <a:gd name="connsiteY35" fmla="*/ 176939 h 191486"/>
                <a:gd name="connsiteX36" fmla="*/ 90339 w 189275"/>
                <a:gd name="connsiteY36" fmla="*/ 187384 h 191486"/>
                <a:gd name="connsiteX37" fmla="*/ 94941 w 189275"/>
                <a:gd name="connsiteY37" fmla="*/ 191478 h 191486"/>
                <a:gd name="connsiteX38" fmla="*/ 98990 w 189275"/>
                <a:gd name="connsiteY38" fmla="*/ 187384 h 191486"/>
                <a:gd name="connsiteX39" fmla="*/ 98990 w 189275"/>
                <a:gd name="connsiteY39" fmla="*/ 176939 h 191486"/>
                <a:gd name="connsiteX40" fmla="*/ 174664 w 189275"/>
                <a:gd name="connsiteY40" fmla="*/ 100387 h 191486"/>
                <a:gd name="connsiteX41" fmla="*/ 184960 w 189275"/>
                <a:gd name="connsiteY41" fmla="*/ 100387 h 191486"/>
                <a:gd name="connsiteX42" fmla="*/ 189276 w 189275"/>
                <a:gd name="connsiteY42" fmla="*/ 96023 h 191486"/>
                <a:gd name="connsiteX43" fmla="*/ 184960 w 189275"/>
                <a:gd name="connsiteY43" fmla="*/ 91659 h 19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89275" h="191486">
                  <a:moveTo>
                    <a:pt x="98990" y="168175"/>
                  </a:moveTo>
                  <a:lnTo>
                    <a:pt x="98990" y="158194"/>
                  </a:lnTo>
                  <a:cubicBezTo>
                    <a:pt x="98837" y="155779"/>
                    <a:pt x="96776" y="153947"/>
                    <a:pt x="94388" y="154101"/>
                  </a:cubicBezTo>
                  <a:cubicBezTo>
                    <a:pt x="92212" y="154242"/>
                    <a:pt x="90479" y="155995"/>
                    <a:pt x="90339" y="158194"/>
                  </a:cubicBezTo>
                  <a:lnTo>
                    <a:pt x="90339" y="168175"/>
                  </a:lnTo>
                  <a:cubicBezTo>
                    <a:pt x="54252" y="165939"/>
                    <a:pt x="25481" y="136840"/>
                    <a:pt x="23279" y="100352"/>
                  </a:cubicBezTo>
                  <a:lnTo>
                    <a:pt x="33150" y="100352"/>
                  </a:lnTo>
                  <a:cubicBezTo>
                    <a:pt x="35534" y="100352"/>
                    <a:pt x="37466" y="98398"/>
                    <a:pt x="37466" y="95987"/>
                  </a:cubicBezTo>
                  <a:cubicBezTo>
                    <a:pt x="37466" y="93577"/>
                    <a:pt x="35534" y="91623"/>
                    <a:pt x="33150" y="91623"/>
                  </a:cubicBezTo>
                  <a:lnTo>
                    <a:pt x="23279" y="91623"/>
                  </a:lnTo>
                  <a:cubicBezTo>
                    <a:pt x="25491" y="55145"/>
                    <a:pt x="54261" y="26062"/>
                    <a:pt x="90339" y="23836"/>
                  </a:cubicBezTo>
                  <a:lnTo>
                    <a:pt x="90339" y="33816"/>
                  </a:lnTo>
                  <a:cubicBezTo>
                    <a:pt x="90187" y="36231"/>
                    <a:pt x="91999" y="38314"/>
                    <a:pt x="94388" y="38469"/>
                  </a:cubicBezTo>
                  <a:cubicBezTo>
                    <a:pt x="96776" y="38623"/>
                    <a:pt x="98837" y="36791"/>
                    <a:pt x="98990" y="34376"/>
                  </a:cubicBezTo>
                  <a:cubicBezTo>
                    <a:pt x="99001" y="34189"/>
                    <a:pt x="99001" y="34002"/>
                    <a:pt x="98990" y="33816"/>
                  </a:cubicBezTo>
                  <a:lnTo>
                    <a:pt x="98990" y="23836"/>
                  </a:lnTo>
                  <a:cubicBezTo>
                    <a:pt x="135073" y="26073"/>
                    <a:pt x="163839" y="55173"/>
                    <a:pt x="166032" y="91659"/>
                  </a:cubicBezTo>
                  <a:lnTo>
                    <a:pt x="156161" y="91659"/>
                  </a:lnTo>
                  <a:cubicBezTo>
                    <a:pt x="153778" y="91659"/>
                    <a:pt x="151845" y="93613"/>
                    <a:pt x="151845" y="96023"/>
                  </a:cubicBezTo>
                  <a:cubicBezTo>
                    <a:pt x="151845" y="98433"/>
                    <a:pt x="153778" y="100387"/>
                    <a:pt x="156161" y="100387"/>
                  </a:cubicBezTo>
                  <a:lnTo>
                    <a:pt x="166032" y="100387"/>
                  </a:lnTo>
                  <a:cubicBezTo>
                    <a:pt x="163831" y="136870"/>
                    <a:pt x="135070" y="165966"/>
                    <a:pt x="98990" y="168211"/>
                  </a:cubicBezTo>
                  <a:moveTo>
                    <a:pt x="184960" y="91659"/>
                  </a:moveTo>
                  <a:lnTo>
                    <a:pt x="174611" y="91659"/>
                  </a:lnTo>
                  <a:cubicBezTo>
                    <a:pt x="172374" y="50368"/>
                    <a:pt x="139773" y="17389"/>
                    <a:pt x="98936" y="15107"/>
                  </a:cubicBezTo>
                  <a:lnTo>
                    <a:pt x="98936" y="4662"/>
                  </a:lnTo>
                  <a:cubicBezTo>
                    <a:pt x="99089" y="2247"/>
                    <a:pt x="97277" y="164"/>
                    <a:pt x="94888" y="9"/>
                  </a:cubicBezTo>
                  <a:cubicBezTo>
                    <a:pt x="92500" y="-145"/>
                    <a:pt x="90439" y="1687"/>
                    <a:pt x="90286" y="4102"/>
                  </a:cubicBezTo>
                  <a:cubicBezTo>
                    <a:pt x="90275" y="4289"/>
                    <a:pt x="90275" y="4476"/>
                    <a:pt x="90286" y="4662"/>
                  </a:cubicBezTo>
                  <a:lnTo>
                    <a:pt x="90286" y="15072"/>
                  </a:lnTo>
                  <a:cubicBezTo>
                    <a:pt x="49454" y="17380"/>
                    <a:pt x="16873" y="50370"/>
                    <a:pt x="14647" y="91659"/>
                  </a:cubicBezTo>
                  <a:lnTo>
                    <a:pt x="4316" y="91659"/>
                  </a:lnTo>
                  <a:cubicBezTo>
                    <a:pt x="1932" y="91659"/>
                    <a:pt x="0" y="93613"/>
                    <a:pt x="0" y="96023"/>
                  </a:cubicBezTo>
                  <a:cubicBezTo>
                    <a:pt x="0" y="98433"/>
                    <a:pt x="1932" y="100387"/>
                    <a:pt x="4316" y="100387"/>
                  </a:cubicBezTo>
                  <a:lnTo>
                    <a:pt x="14647" y="100387"/>
                  </a:lnTo>
                  <a:cubicBezTo>
                    <a:pt x="16877" y="141689"/>
                    <a:pt x="49493" y="174674"/>
                    <a:pt x="90339" y="176939"/>
                  </a:cubicBezTo>
                  <a:lnTo>
                    <a:pt x="90339" y="187384"/>
                  </a:lnTo>
                  <a:cubicBezTo>
                    <a:pt x="90492" y="189799"/>
                    <a:pt x="92553" y="191632"/>
                    <a:pt x="94941" y="191478"/>
                  </a:cubicBezTo>
                  <a:cubicBezTo>
                    <a:pt x="97117" y="191337"/>
                    <a:pt x="98850" y="189584"/>
                    <a:pt x="98990" y="187384"/>
                  </a:cubicBezTo>
                  <a:lnTo>
                    <a:pt x="98990" y="176939"/>
                  </a:lnTo>
                  <a:cubicBezTo>
                    <a:pt x="139830" y="174665"/>
                    <a:pt x="172435" y="141682"/>
                    <a:pt x="174664" y="100387"/>
                  </a:cubicBezTo>
                  <a:lnTo>
                    <a:pt x="184960" y="100387"/>
                  </a:lnTo>
                  <a:cubicBezTo>
                    <a:pt x="187343" y="100387"/>
                    <a:pt x="189276" y="98433"/>
                    <a:pt x="189276" y="96023"/>
                  </a:cubicBezTo>
                  <a:cubicBezTo>
                    <a:pt x="189276" y="93613"/>
                    <a:pt x="187343" y="91659"/>
                    <a:pt x="184960" y="91659"/>
                  </a:cubicBezTo>
                </a:path>
              </a:pathLst>
            </a:custGeom>
            <a:solidFill>
              <a:srgbClr val="1F6996"/>
            </a:solidFill>
            <a:ln w="1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 229">
              <a:extLst>
                <a:ext uri="{FF2B5EF4-FFF2-40B4-BE49-F238E27FC236}">
                  <a16:creationId xmlns:a16="http://schemas.microsoft.com/office/drawing/2014/main" id="{68C5ACD3-1F09-415E-4593-A6A86A83F036}"/>
                </a:ext>
              </a:extLst>
            </p:cNvPr>
            <p:cNvSpPr/>
            <p:nvPr/>
          </p:nvSpPr>
          <p:spPr>
            <a:xfrm>
              <a:off x="6412938" y="4679408"/>
              <a:ext cx="376570" cy="312931"/>
            </a:xfrm>
            <a:custGeom>
              <a:avLst/>
              <a:gdLst>
                <a:gd name="connsiteX0" fmla="*/ 0 w 376570"/>
                <a:gd name="connsiteY0" fmla="*/ 0 h 312931"/>
                <a:gd name="connsiteX1" fmla="*/ 376571 w 376570"/>
                <a:gd name="connsiteY1" fmla="*/ 0 h 312931"/>
                <a:gd name="connsiteX2" fmla="*/ 376571 w 376570"/>
                <a:gd name="connsiteY2" fmla="*/ 312932 h 312931"/>
                <a:gd name="connsiteX3" fmla="*/ 0 w 376570"/>
                <a:gd name="connsiteY3" fmla="*/ 312932 h 312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570" h="312931">
                  <a:moveTo>
                    <a:pt x="0" y="0"/>
                  </a:moveTo>
                  <a:lnTo>
                    <a:pt x="376571" y="0"/>
                  </a:lnTo>
                  <a:lnTo>
                    <a:pt x="376571" y="312932"/>
                  </a:lnTo>
                  <a:lnTo>
                    <a:pt x="0" y="312932"/>
                  </a:lnTo>
                  <a:close/>
                </a:path>
              </a:pathLst>
            </a:custGeom>
            <a:noFill/>
            <a:ln w="1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1" name="Graphic 338">
            <a:extLst>
              <a:ext uri="{FF2B5EF4-FFF2-40B4-BE49-F238E27FC236}">
                <a16:creationId xmlns:a16="http://schemas.microsoft.com/office/drawing/2014/main" id="{A35FDFE7-9753-6EAB-1D1B-B69EB238B95C}"/>
              </a:ext>
            </a:extLst>
          </p:cNvPr>
          <p:cNvGrpSpPr/>
          <p:nvPr/>
        </p:nvGrpSpPr>
        <p:grpSpPr>
          <a:xfrm>
            <a:off x="7336677" y="5005387"/>
            <a:ext cx="390525" cy="390525"/>
            <a:chOff x="7259637" y="4633913"/>
            <a:chExt cx="390525" cy="390525"/>
          </a:xfrm>
        </p:grpSpPr>
        <p:sp>
          <p:nvSpPr>
            <p:cNvPr id="232" name="Freeform 231">
              <a:extLst>
                <a:ext uri="{FF2B5EF4-FFF2-40B4-BE49-F238E27FC236}">
                  <a16:creationId xmlns:a16="http://schemas.microsoft.com/office/drawing/2014/main" id="{E5750B23-99E5-5072-73CA-A1EFA710EC2C}"/>
                </a:ext>
              </a:extLst>
            </p:cNvPr>
            <p:cNvSpPr/>
            <p:nvPr/>
          </p:nvSpPr>
          <p:spPr>
            <a:xfrm>
              <a:off x="7270400" y="4642919"/>
              <a:ext cx="378980" cy="378982"/>
            </a:xfrm>
            <a:custGeom>
              <a:avLst/>
              <a:gdLst>
                <a:gd name="connsiteX0" fmla="*/ 353889 w 378980"/>
                <a:gd name="connsiteY0" fmla="*/ 312884 h 378982"/>
                <a:gd name="connsiteX1" fmla="*/ 378980 w 378980"/>
                <a:gd name="connsiteY1" fmla="*/ 246348 h 378982"/>
                <a:gd name="connsiteX2" fmla="*/ 263189 w 378980"/>
                <a:gd name="connsiteY2" fmla="*/ 133730 h 378982"/>
                <a:gd name="connsiteX3" fmla="*/ 265289 w 378980"/>
                <a:gd name="connsiteY3" fmla="*/ 113692 h 378982"/>
                <a:gd name="connsiteX4" fmla="*/ 132632 w 378980"/>
                <a:gd name="connsiteY4" fmla="*/ 0 h 378982"/>
                <a:gd name="connsiteX5" fmla="*/ 0 w 378980"/>
                <a:gd name="connsiteY5" fmla="*/ 113692 h 378982"/>
                <a:gd name="connsiteX6" fmla="*/ 21552 w 378980"/>
                <a:gd name="connsiteY6" fmla="*/ 175761 h 378982"/>
                <a:gd name="connsiteX7" fmla="*/ 415 w 378980"/>
                <a:gd name="connsiteY7" fmla="*/ 231459 h 378982"/>
                <a:gd name="connsiteX8" fmla="*/ 4179 w 378980"/>
                <a:gd name="connsiteY8" fmla="*/ 239568 h 378982"/>
                <a:gd name="connsiteX9" fmla="*/ 6322 w 378980"/>
                <a:gd name="connsiteY9" fmla="*/ 239953 h 378982"/>
                <a:gd name="connsiteX10" fmla="*/ 8762 w 378980"/>
                <a:gd name="connsiteY10" fmla="*/ 239416 h 378982"/>
                <a:gd name="connsiteX11" fmla="*/ 68513 w 378980"/>
                <a:gd name="connsiteY11" fmla="*/ 213251 h 378982"/>
                <a:gd name="connsiteX12" fmla="*/ 115791 w 378980"/>
                <a:gd name="connsiteY12" fmla="*/ 226285 h 378982"/>
                <a:gd name="connsiteX13" fmla="*/ 113692 w 378980"/>
                <a:gd name="connsiteY13" fmla="*/ 246348 h 378982"/>
                <a:gd name="connsiteX14" fmla="*/ 246348 w 378980"/>
                <a:gd name="connsiteY14" fmla="*/ 360040 h 378982"/>
                <a:gd name="connsiteX15" fmla="*/ 305317 w 378980"/>
                <a:gd name="connsiteY15" fmla="*/ 348202 h 378982"/>
                <a:gd name="connsiteX16" fmla="*/ 369998 w 378980"/>
                <a:gd name="connsiteY16" fmla="*/ 378394 h 378982"/>
                <a:gd name="connsiteX17" fmla="*/ 378392 w 378980"/>
                <a:gd name="connsiteY17" fmla="*/ 375318 h 378982"/>
                <a:gd name="connsiteX18" fmla="*/ 378468 w 378980"/>
                <a:gd name="connsiteY18" fmla="*/ 370169 h 378982"/>
                <a:gd name="connsiteX19" fmla="*/ 66121 w 378980"/>
                <a:gd name="connsiteY19" fmla="*/ 200510 h 378982"/>
                <a:gd name="connsiteX20" fmla="*/ 17574 w 378980"/>
                <a:gd name="connsiteY20" fmla="*/ 221867 h 378982"/>
                <a:gd name="connsiteX21" fmla="*/ 34659 w 378980"/>
                <a:gd name="connsiteY21" fmla="*/ 176883 h 378982"/>
                <a:gd name="connsiteX22" fmla="*/ 33634 w 378980"/>
                <a:gd name="connsiteY22" fmla="*/ 170659 h 378982"/>
                <a:gd name="connsiteX23" fmla="*/ 12643 w 378980"/>
                <a:gd name="connsiteY23" fmla="*/ 113692 h 378982"/>
                <a:gd name="connsiteX24" fmla="*/ 132632 w 378980"/>
                <a:gd name="connsiteY24" fmla="*/ 12619 h 378982"/>
                <a:gd name="connsiteX25" fmla="*/ 252645 w 378980"/>
                <a:gd name="connsiteY25" fmla="*/ 113692 h 378982"/>
                <a:gd name="connsiteX26" fmla="*/ 249228 w 378980"/>
                <a:gd name="connsiteY26" fmla="*/ 137538 h 378982"/>
                <a:gd name="connsiteX27" fmla="*/ 132632 w 378980"/>
                <a:gd name="connsiteY27" fmla="*/ 214764 h 378982"/>
                <a:gd name="connsiteX28" fmla="*/ 124041 w 378980"/>
                <a:gd name="connsiteY28" fmla="*/ 214447 h 378982"/>
                <a:gd name="connsiteX29" fmla="*/ 71490 w 378980"/>
                <a:gd name="connsiteY29" fmla="*/ 200657 h 378982"/>
                <a:gd name="connsiteX30" fmla="*/ 66121 w 378980"/>
                <a:gd name="connsiteY30" fmla="*/ 200510 h 378982"/>
                <a:gd name="connsiteX31" fmla="*/ 308075 w 378980"/>
                <a:gd name="connsiteY31" fmla="*/ 335559 h 378982"/>
                <a:gd name="connsiteX32" fmla="*/ 302803 w 378980"/>
                <a:gd name="connsiteY32" fmla="*/ 335559 h 378982"/>
                <a:gd name="connsiteX33" fmla="*/ 246348 w 378980"/>
                <a:gd name="connsiteY33" fmla="*/ 347445 h 378982"/>
                <a:gd name="connsiteX34" fmla="*/ 126335 w 378980"/>
                <a:gd name="connsiteY34" fmla="*/ 246397 h 378982"/>
                <a:gd name="connsiteX35" fmla="*/ 128483 w 378980"/>
                <a:gd name="connsiteY35" fmla="*/ 227383 h 378982"/>
                <a:gd name="connsiteX36" fmla="*/ 132632 w 378980"/>
                <a:gd name="connsiteY36" fmla="*/ 227383 h 378982"/>
                <a:gd name="connsiteX37" fmla="*/ 143835 w 378980"/>
                <a:gd name="connsiteY37" fmla="*/ 226993 h 378982"/>
                <a:gd name="connsiteX38" fmla="*/ 147545 w 378980"/>
                <a:gd name="connsiteY38" fmla="*/ 226602 h 378982"/>
                <a:gd name="connsiteX39" fmla="*/ 154868 w 378980"/>
                <a:gd name="connsiteY39" fmla="*/ 225797 h 378982"/>
                <a:gd name="connsiteX40" fmla="*/ 159237 w 378980"/>
                <a:gd name="connsiteY40" fmla="*/ 225040 h 378982"/>
                <a:gd name="connsiteX41" fmla="*/ 165534 w 378980"/>
                <a:gd name="connsiteY41" fmla="*/ 223868 h 378982"/>
                <a:gd name="connsiteX42" fmla="*/ 170122 w 378980"/>
                <a:gd name="connsiteY42" fmla="*/ 222721 h 378982"/>
                <a:gd name="connsiteX43" fmla="*/ 175907 w 378980"/>
                <a:gd name="connsiteY43" fmla="*/ 221232 h 378982"/>
                <a:gd name="connsiteX44" fmla="*/ 180520 w 378980"/>
                <a:gd name="connsiteY44" fmla="*/ 219719 h 378982"/>
                <a:gd name="connsiteX45" fmla="*/ 185939 w 378980"/>
                <a:gd name="connsiteY45" fmla="*/ 217889 h 378982"/>
                <a:gd name="connsiteX46" fmla="*/ 190454 w 378980"/>
                <a:gd name="connsiteY46" fmla="*/ 216034 h 378982"/>
                <a:gd name="connsiteX47" fmla="*/ 195507 w 378980"/>
                <a:gd name="connsiteY47" fmla="*/ 213886 h 378982"/>
                <a:gd name="connsiteX48" fmla="*/ 199924 w 378980"/>
                <a:gd name="connsiteY48" fmla="*/ 211689 h 378982"/>
                <a:gd name="connsiteX49" fmla="*/ 204806 w 378980"/>
                <a:gd name="connsiteY49" fmla="*/ 209248 h 378982"/>
                <a:gd name="connsiteX50" fmla="*/ 209077 w 378980"/>
                <a:gd name="connsiteY50" fmla="*/ 206807 h 378982"/>
                <a:gd name="connsiteX51" fmla="*/ 213495 w 378980"/>
                <a:gd name="connsiteY51" fmla="*/ 204098 h 378982"/>
                <a:gd name="connsiteX52" fmla="*/ 217571 w 378980"/>
                <a:gd name="connsiteY52" fmla="*/ 201267 h 378982"/>
                <a:gd name="connsiteX53" fmla="*/ 221647 w 378980"/>
                <a:gd name="connsiteY53" fmla="*/ 198289 h 378982"/>
                <a:gd name="connsiteX54" fmla="*/ 225504 w 378980"/>
                <a:gd name="connsiteY54" fmla="*/ 195116 h 378982"/>
                <a:gd name="connsiteX55" fmla="*/ 229263 w 378980"/>
                <a:gd name="connsiteY55" fmla="*/ 191894 h 378982"/>
                <a:gd name="connsiteX56" fmla="*/ 232826 w 378980"/>
                <a:gd name="connsiteY56" fmla="*/ 188477 h 378982"/>
                <a:gd name="connsiteX57" fmla="*/ 236268 w 378980"/>
                <a:gd name="connsiteY57" fmla="*/ 185011 h 378982"/>
                <a:gd name="connsiteX58" fmla="*/ 239514 w 378980"/>
                <a:gd name="connsiteY58" fmla="*/ 181326 h 378982"/>
                <a:gd name="connsiteX59" fmla="*/ 242614 w 378980"/>
                <a:gd name="connsiteY59" fmla="*/ 177616 h 378982"/>
                <a:gd name="connsiteX60" fmla="*/ 245543 w 378980"/>
                <a:gd name="connsiteY60" fmla="*/ 173686 h 378982"/>
                <a:gd name="connsiteX61" fmla="*/ 248276 w 378980"/>
                <a:gd name="connsiteY61" fmla="*/ 169732 h 378982"/>
                <a:gd name="connsiteX62" fmla="*/ 250717 w 378980"/>
                <a:gd name="connsiteY62" fmla="*/ 165631 h 378982"/>
                <a:gd name="connsiteX63" fmla="*/ 253158 w 378980"/>
                <a:gd name="connsiteY63" fmla="*/ 161409 h 378982"/>
                <a:gd name="connsiteX64" fmla="*/ 255306 w 378980"/>
                <a:gd name="connsiteY64" fmla="*/ 157138 h 378982"/>
                <a:gd name="connsiteX65" fmla="*/ 257332 w 378980"/>
                <a:gd name="connsiteY65" fmla="*/ 152671 h 378982"/>
                <a:gd name="connsiteX66" fmla="*/ 259065 w 378980"/>
                <a:gd name="connsiteY66" fmla="*/ 148253 h 378982"/>
                <a:gd name="connsiteX67" fmla="*/ 259943 w 378980"/>
                <a:gd name="connsiteY67" fmla="*/ 146008 h 378982"/>
                <a:gd name="connsiteX68" fmla="*/ 366532 w 378980"/>
                <a:gd name="connsiteY68" fmla="*/ 246446 h 378982"/>
                <a:gd name="connsiteX69" fmla="*/ 342002 w 378980"/>
                <a:gd name="connsiteY69" fmla="*/ 307465 h 378982"/>
                <a:gd name="connsiteX70" fmla="*/ 340880 w 378980"/>
                <a:gd name="connsiteY70" fmla="*/ 314202 h 378982"/>
                <a:gd name="connsiteX71" fmla="*/ 360406 w 378980"/>
                <a:gd name="connsiteY71" fmla="*/ 359942 h 378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378980" h="378982">
                  <a:moveTo>
                    <a:pt x="353889" y="312884"/>
                  </a:moveTo>
                  <a:cubicBezTo>
                    <a:pt x="369971" y="294438"/>
                    <a:pt x="378877" y="270820"/>
                    <a:pt x="378980" y="246348"/>
                  </a:cubicBezTo>
                  <a:cubicBezTo>
                    <a:pt x="378980" y="189014"/>
                    <a:pt x="328676" y="140857"/>
                    <a:pt x="263189" y="133730"/>
                  </a:cubicBezTo>
                  <a:cubicBezTo>
                    <a:pt x="264583" y="127142"/>
                    <a:pt x="265286" y="120426"/>
                    <a:pt x="265289" y="113692"/>
                  </a:cubicBezTo>
                  <a:cubicBezTo>
                    <a:pt x="265289" y="51012"/>
                    <a:pt x="205782" y="0"/>
                    <a:pt x="132632" y="0"/>
                  </a:cubicBezTo>
                  <a:cubicBezTo>
                    <a:pt x="59482" y="0"/>
                    <a:pt x="0" y="51012"/>
                    <a:pt x="0" y="113692"/>
                  </a:cubicBezTo>
                  <a:cubicBezTo>
                    <a:pt x="101" y="136199"/>
                    <a:pt x="7683" y="158034"/>
                    <a:pt x="21552" y="175761"/>
                  </a:cubicBezTo>
                  <a:lnTo>
                    <a:pt x="415" y="231459"/>
                  </a:lnTo>
                  <a:cubicBezTo>
                    <a:pt x="-785" y="234738"/>
                    <a:pt x="900" y="238369"/>
                    <a:pt x="4179" y="239568"/>
                  </a:cubicBezTo>
                  <a:cubicBezTo>
                    <a:pt x="4866" y="239820"/>
                    <a:pt x="5591" y="239950"/>
                    <a:pt x="6322" y="239953"/>
                  </a:cubicBezTo>
                  <a:cubicBezTo>
                    <a:pt x="7163" y="239937"/>
                    <a:pt x="7992" y="239755"/>
                    <a:pt x="8762" y="239416"/>
                  </a:cubicBezTo>
                  <a:lnTo>
                    <a:pt x="68513" y="213251"/>
                  </a:lnTo>
                  <a:cubicBezTo>
                    <a:pt x="83412" y="220264"/>
                    <a:pt x="99403" y="224673"/>
                    <a:pt x="115791" y="226285"/>
                  </a:cubicBezTo>
                  <a:cubicBezTo>
                    <a:pt x="114397" y="232882"/>
                    <a:pt x="113694" y="239606"/>
                    <a:pt x="113692" y="246348"/>
                  </a:cubicBezTo>
                  <a:cubicBezTo>
                    <a:pt x="113692" y="309027"/>
                    <a:pt x="173198" y="360040"/>
                    <a:pt x="246348" y="360040"/>
                  </a:cubicBezTo>
                  <a:cubicBezTo>
                    <a:pt x="266599" y="360085"/>
                    <a:pt x="286653" y="356059"/>
                    <a:pt x="305317" y="348202"/>
                  </a:cubicBezTo>
                  <a:lnTo>
                    <a:pt x="369998" y="378394"/>
                  </a:lnTo>
                  <a:cubicBezTo>
                    <a:pt x="373166" y="379863"/>
                    <a:pt x="376924" y="378486"/>
                    <a:pt x="378392" y="375318"/>
                  </a:cubicBezTo>
                  <a:cubicBezTo>
                    <a:pt x="379147" y="373690"/>
                    <a:pt x="379174" y="371818"/>
                    <a:pt x="378468" y="370169"/>
                  </a:cubicBezTo>
                  <a:close/>
                  <a:moveTo>
                    <a:pt x="66121" y="200510"/>
                  </a:moveTo>
                  <a:lnTo>
                    <a:pt x="17574" y="221867"/>
                  </a:lnTo>
                  <a:lnTo>
                    <a:pt x="34659" y="176883"/>
                  </a:lnTo>
                  <a:cubicBezTo>
                    <a:pt x="35451" y="174774"/>
                    <a:pt x="35060" y="172403"/>
                    <a:pt x="33634" y="170659"/>
                  </a:cubicBezTo>
                  <a:cubicBezTo>
                    <a:pt x="20214" y="154696"/>
                    <a:pt x="12789" y="134546"/>
                    <a:pt x="12643" y="113692"/>
                  </a:cubicBezTo>
                  <a:cubicBezTo>
                    <a:pt x="12619" y="57969"/>
                    <a:pt x="66462" y="12619"/>
                    <a:pt x="132632" y="12619"/>
                  </a:cubicBezTo>
                  <a:cubicBezTo>
                    <a:pt x="198802" y="12619"/>
                    <a:pt x="252645" y="57969"/>
                    <a:pt x="252645" y="113692"/>
                  </a:cubicBezTo>
                  <a:cubicBezTo>
                    <a:pt x="252648" y="121763"/>
                    <a:pt x="251498" y="129793"/>
                    <a:pt x="249228" y="137538"/>
                  </a:cubicBezTo>
                  <a:cubicBezTo>
                    <a:pt x="231628" y="186162"/>
                    <a:pt x="184269" y="217529"/>
                    <a:pt x="132632" y="214764"/>
                  </a:cubicBezTo>
                  <a:cubicBezTo>
                    <a:pt x="129801" y="214764"/>
                    <a:pt x="126994" y="214764"/>
                    <a:pt x="124041" y="214447"/>
                  </a:cubicBezTo>
                  <a:cubicBezTo>
                    <a:pt x="105764" y="213501"/>
                    <a:pt x="87877" y="208807"/>
                    <a:pt x="71490" y="200657"/>
                  </a:cubicBezTo>
                  <a:cubicBezTo>
                    <a:pt x="69813" y="199805"/>
                    <a:pt x="67842" y="199751"/>
                    <a:pt x="66121" y="200510"/>
                  </a:cubicBezTo>
                  <a:close/>
                  <a:moveTo>
                    <a:pt x="308075" y="335559"/>
                  </a:moveTo>
                  <a:cubicBezTo>
                    <a:pt x="306402" y="334791"/>
                    <a:pt x="304477" y="334791"/>
                    <a:pt x="302803" y="335559"/>
                  </a:cubicBezTo>
                  <a:cubicBezTo>
                    <a:pt x="285036" y="343465"/>
                    <a:pt x="265795" y="347516"/>
                    <a:pt x="246348" y="347445"/>
                  </a:cubicBezTo>
                  <a:cubicBezTo>
                    <a:pt x="180154" y="347445"/>
                    <a:pt x="126335" y="302120"/>
                    <a:pt x="126335" y="246397"/>
                  </a:cubicBezTo>
                  <a:cubicBezTo>
                    <a:pt x="126328" y="239998"/>
                    <a:pt x="127049" y="233619"/>
                    <a:pt x="128483" y="227383"/>
                  </a:cubicBezTo>
                  <a:cubicBezTo>
                    <a:pt x="129874" y="227383"/>
                    <a:pt x="131241" y="227383"/>
                    <a:pt x="132632" y="227383"/>
                  </a:cubicBezTo>
                  <a:cubicBezTo>
                    <a:pt x="136415" y="227383"/>
                    <a:pt x="140150" y="227261"/>
                    <a:pt x="143835" y="226993"/>
                  </a:cubicBezTo>
                  <a:cubicBezTo>
                    <a:pt x="145104" y="226993"/>
                    <a:pt x="146276" y="226724"/>
                    <a:pt x="147545" y="226602"/>
                  </a:cubicBezTo>
                  <a:cubicBezTo>
                    <a:pt x="149986" y="226358"/>
                    <a:pt x="152427" y="226138"/>
                    <a:pt x="154868" y="225797"/>
                  </a:cubicBezTo>
                  <a:cubicBezTo>
                    <a:pt x="156332" y="225577"/>
                    <a:pt x="157772" y="225284"/>
                    <a:pt x="159237" y="225040"/>
                  </a:cubicBezTo>
                  <a:cubicBezTo>
                    <a:pt x="161336" y="224674"/>
                    <a:pt x="163484" y="224332"/>
                    <a:pt x="165534" y="223868"/>
                  </a:cubicBezTo>
                  <a:cubicBezTo>
                    <a:pt x="167096" y="223527"/>
                    <a:pt x="168585" y="223112"/>
                    <a:pt x="170122" y="222721"/>
                  </a:cubicBezTo>
                  <a:cubicBezTo>
                    <a:pt x="172051" y="222233"/>
                    <a:pt x="174003" y="221769"/>
                    <a:pt x="175907" y="221232"/>
                  </a:cubicBezTo>
                  <a:cubicBezTo>
                    <a:pt x="177811" y="220695"/>
                    <a:pt x="178983" y="220232"/>
                    <a:pt x="180520" y="219719"/>
                  </a:cubicBezTo>
                  <a:cubicBezTo>
                    <a:pt x="182058" y="219207"/>
                    <a:pt x="184157" y="218548"/>
                    <a:pt x="185939" y="217889"/>
                  </a:cubicBezTo>
                  <a:cubicBezTo>
                    <a:pt x="187720" y="217230"/>
                    <a:pt x="188941" y="216668"/>
                    <a:pt x="190454" y="216034"/>
                  </a:cubicBezTo>
                  <a:cubicBezTo>
                    <a:pt x="191967" y="215399"/>
                    <a:pt x="193871" y="214642"/>
                    <a:pt x="195507" y="213886"/>
                  </a:cubicBezTo>
                  <a:cubicBezTo>
                    <a:pt x="197142" y="213129"/>
                    <a:pt x="198460" y="212421"/>
                    <a:pt x="199924" y="211689"/>
                  </a:cubicBezTo>
                  <a:cubicBezTo>
                    <a:pt x="201389" y="210957"/>
                    <a:pt x="203122" y="210102"/>
                    <a:pt x="204806" y="209248"/>
                  </a:cubicBezTo>
                  <a:cubicBezTo>
                    <a:pt x="206490" y="208394"/>
                    <a:pt x="207662" y="207564"/>
                    <a:pt x="209077" y="206807"/>
                  </a:cubicBezTo>
                  <a:cubicBezTo>
                    <a:pt x="210493" y="206051"/>
                    <a:pt x="212055" y="205050"/>
                    <a:pt x="213495" y="204098"/>
                  </a:cubicBezTo>
                  <a:cubicBezTo>
                    <a:pt x="214935" y="203146"/>
                    <a:pt x="216229" y="202219"/>
                    <a:pt x="217571" y="201267"/>
                  </a:cubicBezTo>
                  <a:cubicBezTo>
                    <a:pt x="218914" y="200315"/>
                    <a:pt x="220329" y="199314"/>
                    <a:pt x="221647" y="198289"/>
                  </a:cubicBezTo>
                  <a:cubicBezTo>
                    <a:pt x="222965" y="197264"/>
                    <a:pt x="224235" y="196190"/>
                    <a:pt x="225504" y="195116"/>
                  </a:cubicBezTo>
                  <a:cubicBezTo>
                    <a:pt x="226773" y="194042"/>
                    <a:pt x="227945" y="193017"/>
                    <a:pt x="229263" y="191894"/>
                  </a:cubicBezTo>
                  <a:cubicBezTo>
                    <a:pt x="230581" y="190771"/>
                    <a:pt x="231703" y="189624"/>
                    <a:pt x="232826" y="188477"/>
                  </a:cubicBezTo>
                  <a:cubicBezTo>
                    <a:pt x="233949" y="187330"/>
                    <a:pt x="235267" y="186183"/>
                    <a:pt x="236268" y="185011"/>
                  </a:cubicBezTo>
                  <a:cubicBezTo>
                    <a:pt x="237268" y="183840"/>
                    <a:pt x="238464" y="182570"/>
                    <a:pt x="239514" y="181326"/>
                  </a:cubicBezTo>
                  <a:cubicBezTo>
                    <a:pt x="240563" y="180081"/>
                    <a:pt x="241613" y="178885"/>
                    <a:pt x="242614" y="177616"/>
                  </a:cubicBezTo>
                  <a:cubicBezTo>
                    <a:pt x="243614" y="176346"/>
                    <a:pt x="244591" y="175004"/>
                    <a:pt x="245543" y="173686"/>
                  </a:cubicBezTo>
                  <a:cubicBezTo>
                    <a:pt x="246495" y="172368"/>
                    <a:pt x="247422" y="171074"/>
                    <a:pt x="248276" y="169732"/>
                  </a:cubicBezTo>
                  <a:cubicBezTo>
                    <a:pt x="249131" y="168390"/>
                    <a:pt x="250009" y="167023"/>
                    <a:pt x="250717" y="165631"/>
                  </a:cubicBezTo>
                  <a:cubicBezTo>
                    <a:pt x="251425" y="164240"/>
                    <a:pt x="252328" y="162849"/>
                    <a:pt x="253158" y="161409"/>
                  </a:cubicBezTo>
                  <a:cubicBezTo>
                    <a:pt x="253988" y="159969"/>
                    <a:pt x="254622" y="158578"/>
                    <a:pt x="255306" y="157138"/>
                  </a:cubicBezTo>
                  <a:cubicBezTo>
                    <a:pt x="255989" y="155697"/>
                    <a:pt x="256697" y="154184"/>
                    <a:pt x="257332" y="152671"/>
                  </a:cubicBezTo>
                  <a:cubicBezTo>
                    <a:pt x="257966" y="151158"/>
                    <a:pt x="258528" y="149766"/>
                    <a:pt x="259065" y="148253"/>
                  </a:cubicBezTo>
                  <a:cubicBezTo>
                    <a:pt x="259357" y="147496"/>
                    <a:pt x="259699" y="146764"/>
                    <a:pt x="259943" y="146008"/>
                  </a:cubicBezTo>
                  <a:cubicBezTo>
                    <a:pt x="320133" y="151695"/>
                    <a:pt x="366532" y="194994"/>
                    <a:pt x="366532" y="246446"/>
                  </a:cubicBezTo>
                  <a:cubicBezTo>
                    <a:pt x="366344" y="269151"/>
                    <a:pt x="357582" y="290947"/>
                    <a:pt x="342002" y="307465"/>
                  </a:cubicBezTo>
                  <a:cubicBezTo>
                    <a:pt x="340343" y="309298"/>
                    <a:pt x="339904" y="311930"/>
                    <a:pt x="340880" y="314202"/>
                  </a:cubicBezTo>
                  <a:lnTo>
                    <a:pt x="360406" y="359942"/>
                  </a:lnTo>
                  <a:close/>
                </a:path>
              </a:pathLst>
            </a:custGeom>
            <a:solidFill>
              <a:srgbClr val="1F6898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reeform 232">
              <a:extLst>
                <a:ext uri="{FF2B5EF4-FFF2-40B4-BE49-F238E27FC236}">
                  <a16:creationId xmlns:a16="http://schemas.microsoft.com/office/drawing/2014/main" id="{7A758447-48AD-B593-6ED8-771BA63E3AEA}"/>
                </a:ext>
              </a:extLst>
            </p:cNvPr>
            <p:cNvSpPr/>
            <p:nvPr/>
          </p:nvSpPr>
          <p:spPr>
            <a:xfrm>
              <a:off x="7356286" y="4701465"/>
              <a:ext cx="96832" cy="106571"/>
            </a:xfrm>
            <a:custGeom>
              <a:avLst/>
              <a:gdLst>
                <a:gd name="connsiteX0" fmla="*/ 75743 w 96832"/>
                <a:gd name="connsiteY0" fmla="*/ 93930 h 106571"/>
                <a:gd name="connsiteX1" fmla="*/ 62807 w 96832"/>
                <a:gd name="connsiteY1" fmla="*/ 102277 h 106571"/>
                <a:gd name="connsiteX2" fmla="*/ 46307 w 96832"/>
                <a:gd name="connsiteY2" fmla="*/ 105328 h 106571"/>
                <a:gd name="connsiteX3" fmla="*/ 26390 w 96832"/>
                <a:gd name="connsiteY3" fmla="*/ 100862 h 106571"/>
                <a:gd name="connsiteX4" fmla="*/ 11745 w 96832"/>
                <a:gd name="connsiteY4" fmla="*/ 89048 h 106571"/>
                <a:gd name="connsiteX5" fmla="*/ 2934 w 96832"/>
                <a:gd name="connsiteY5" fmla="*/ 72182 h 106571"/>
                <a:gd name="connsiteX6" fmla="*/ 2934 w 96832"/>
                <a:gd name="connsiteY6" fmla="*/ 33130 h 106571"/>
                <a:gd name="connsiteX7" fmla="*/ 11745 w 96832"/>
                <a:gd name="connsiteY7" fmla="*/ 16240 h 106571"/>
                <a:gd name="connsiteX8" fmla="*/ 26390 w 96832"/>
                <a:gd name="connsiteY8" fmla="*/ 4451 h 106571"/>
                <a:gd name="connsiteX9" fmla="*/ 46307 w 96832"/>
                <a:gd name="connsiteY9" fmla="*/ 8 h 106571"/>
                <a:gd name="connsiteX10" fmla="*/ 66199 w 96832"/>
                <a:gd name="connsiteY10" fmla="*/ 4451 h 106571"/>
                <a:gd name="connsiteX11" fmla="*/ 80844 w 96832"/>
                <a:gd name="connsiteY11" fmla="*/ 16240 h 106571"/>
                <a:gd name="connsiteX12" fmla="*/ 89655 w 96832"/>
                <a:gd name="connsiteY12" fmla="*/ 33154 h 106571"/>
                <a:gd name="connsiteX13" fmla="*/ 90314 w 96832"/>
                <a:gd name="connsiteY13" fmla="*/ 70132 h 106571"/>
                <a:gd name="connsiteX14" fmla="*/ 83431 w 96832"/>
                <a:gd name="connsiteY14" fmla="*/ 85485 h 106571"/>
                <a:gd name="connsiteX15" fmla="*/ 94366 w 96832"/>
                <a:gd name="connsiteY15" fmla="*/ 96126 h 106571"/>
                <a:gd name="connsiteX16" fmla="*/ 96172 w 96832"/>
                <a:gd name="connsiteY16" fmla="*/ 98421 h 106571"/>
                <a:gd name="connsiteX17" fmla="*/ 96831 w 96832"/>
                <a:gd name="connsiteY17" fmla="*/ 101179 h 106571"/>
                <a:gd name="connsiteX18" fmla="*/ 95269 w 96832"/>
                <a:gd name="connsiteY18" fmla="*/ 104913 h 106571"/>
                <a:gd name="connsiteX19" fmla="*/ 88093 w 96832"/>
                <a:gd name="connsiteY19" fmla="*/ 105767 h 106571"/>
                <a:gd name="connsiteX20" fmla="*/ 86165 w 96832"/>
                <a:gd name="connsiteY20" fmla="*/ 104205 h 106571"/>
                <a:gd name="connsiteX21" fmla="*/ 58657 w 96832"/>
                <a:gd name="connsiteY21" fmla="*/ 77503 h 106571"/>
                <a:gd name="connsiteX22" fmla="*/ 56729 w 96832"/>
                <a:gd name="connsiteY22" fmla="*/ 75233 h 106571"/>
                <a:gd name="connsiteX23" fmla="*/ 55997 w 96832"/>
                <a:gd name="connsiteY23" fmla="*/ 72646 h 106571"/>
                <a:gd name="connsiteX24" fmla="*/ 57632 w 96832"/>
                <a:gd name="connsiteY24" fmla="*/ 68424 h 106571"/>
                <a:gd name="connsiteX25" fmla="*/ 61757 w 96832"/>
                <a:gd name="connsiteY25" fmla="*/ 66715 h 106571"/>
                <a:gd name="connsiteX26" fmla="*/ 66639 w 96832"/>
                <a:gd name="connsiteY26" fmla="*/ 69156 h 106571"/>
                <a:gd name="connsiteX27" fmla="*/ 73961 w 96832"/>
                <a:gd name="connsiteY27" fmla="*/ 76258 h 106571"/>
                <a:gd name="connsiteX28" fmla="*/ 77598 w 96832"/>
                <a:gd name="connsiteY28" fmla="*/ 64933 h 106571"/>
                <a:gd name="connsiteX29" fmla="*/ 77012 w 96832"/>
                <a:gd name="connsiteY29" fmla="*/ 37914 h 106571"/>
                <a:gd name="connsiteX30" fmla="*/ 71447 w 96832"/>
                <a:gd name="connsiteY30" fmla="*/ 24563 h 106571"/>
                <a:gd name="connsiteX31" fmla="*/ 61464 w 96832"/>
                <a:gd name="connsiteY31" fmla="*/ 14922 h 106571"/>
                <a:gd name="connsiteX32" fmla="*/ 46453 w 96832"/>
                <a:gd name="connsiteY32" fmla="*/ 11212 h 106571"/>
                <a:gd name="connsiteX33" fmla="*/ 31418 w 96832"/>
                <a:gd name="connsiteY33" fmla="*/ 14897 h 106571"/>
                <a:gd name="connsiteX34" fmla="*/ 21411 w 96832"/>
                <a:gd name="connsiteY34" fmla="*/ 24660 h 106571"/>
                <a:gd name="connsiteX35" fmla="*/ 15870 w 96832"/>
                <a:gd name="connsiteY35" fmla="*/ 38011 h 106571"/>
                <a:gd name="connsiteX36" fmla="*/ 15870 w 96832"/>
                <a:gd name="connsiteY36" fmla="*/ 67569 h 106571"/>
                <a:gd name="connsiteX37" fmla="*/ 21411 w 96832"/>
                <a:gd name="connsiteY37" fmla="*/ 80896 h 106571"/>
                <a:gd name="connsiteX38" fmla="*/ 31418 w 96832"/>
                <a:gd name="connsiteY38" fmla="*/ 90537 h 106571"/>
                <a:gd name="connsiteX39" fmla="*/ 46453 w 96832"/>
                <a:gd name="connsiteY39" fmla="*/ 94247 h 106571"/>
                <a:gd name="connsiteX40" fmla="*/ 58438 w 96832"/>
                <a:gd name="connsiteY40" fmla="*/ 92075 h 106571"/>
                <a:gd name="connsiteX41" fmla="*/ 67468 w 96832"/>
                <a:gd name="connsiteY41" fmla="*/ 86022 h 10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96832" h="106571">
                  <a:moveTo>
                    <a:pt x="75743" y="93930"/>
                  </a:moveTo>
                  <a:cubicBezTo>
                    <a:pt x="71987" y="97492"/>
                    <a:pt x="67600" y="100323"/>
                    <a:pt x="62807" y="102277"/>
                  </a:cubicBezTo>
                  <a:cubicBezTo>
                    <a:pt x="57562" y="104372"/>
                    <a:pt x="51954" y="105409"/>
                    <a:pt x="46307" y="105328"/>
                  </a:cubicBezTo>
                  <a:cubicBezTo>
                    <a:pt x="39406" y="105457"/>
                    <a:pt x="32575" y="103925"/>
                    <a:pt x="26390" y="100862"/>
                  </a:cubicBezTo>
                  <a:cubicBezTo>
                    <a:pt x="20710" y="98032"/>
                    <a:pt x="15713" y="94001"/>
                    <a:pt x="11745" y="89048"/>
                  </a:cubicBezTo>
                  <a:cubicBezTo>
                    <a:pt x="7776" y="84029"/>
                    <a:pt x="4787" y="78307"/>
                    <a:pt x="2934" y="72182"/>
                  </a:cubicBezTo>
                  <a:cubicBezTo>
                    <a:pt x="-978" y="59459"/>
                    <a:pt x="-978" y="45853"/>
                    <a:pt x="2934" y="33130"/>
                  </a:cubicBezTo>
                  <a:cubicBezTo>
                    <a:pt x="4790" y="26999"/>
                    <a:pt x="7779" y="21270"/>
                    <a:pt x="11745" y="16240"/>
                  </a:cubicBezTo>
                  <a:cubicBezTo>
                    <a:pt x="15714" y="11294"/>
                    <a:pt x="20711" y="7271"/>
                    <a:pt x="26390" y="4451"/>
                  </a:cubicBezTo>
                  <a:cubicBezTo>
                    <a:pt x="32577" y="1395"/>
                    <a:pt x="39408" y="-128"/>
                    <a:pt x="46307" y="8"/>
                  </a:cubicBezTo>
                  <a:cubicBezTo>
                    <a:pt x="53197" y="-122"/>
                    <a:pt x="60019" y="1401"/>
                    <a:pt x="66199" y="4451"/>
                  </a:cubicBezTo>
                  <a:cubicBezTo>
                    <a:pt x="71878" y="7271"/>
                    <a:pt x="76876" y="11294"/>
                    <a:pt x="80844" y="16240"/>
                  </a:cubicBezTo>
                  <a:cubicBezTo>
                    <a:pt x="84805" y="21283"/>
                    <a:pt x="87793" y="27018"/>
                    <a:pt x="89655" y="33154"/>
                  </a:cubicBezTo>
                  <a:cubicBezTo>
                    <a:pt x="93354" y="45172"/>
                    <a:pt x="93583" y="57990"/>
                    <a:pt x="90314" y="70132"/>
                  </a:cubicBezTo>
                  <a:cubicBezTo>
                    <a:pt x="88832" y="75576"/>
                    <a:pt x="86510" y="80756"/>
                    <a:pt x="83431" y="85485"/>
                  </a:cubicBezTo>
                  <a:lnTo>
                    <a:pt x="94366" y="96126"/>
                  </a:lnTo>
                  <a:cubicBezTo>
                    <a:pt x="95071" y="96804"/>
                    <a:pt x="95679" y="97576"/>
                    <a:pt x="96172" y="98421"/>
                  </a:cubicBezTo>
                  <a:cubicBezTo>
                    <a:pt x="96626" y="99268"/>
                    <a:pt x="96853" y="100218"/>
                    <a:pt x="96831" y="101179"/>
                  </a:cubicBezTo>
                  <a:cubicBezTo>
                    <a:pt x="96810" y="102578"/>
                    <a:pt x="96250" y="103916"/>
                    <a:pt x="95269" y="104913"/>
                  </a:cubicBezTo>
                  <a:cubicBezTo>
                    <a:pt x="93328" y="106751"/>
                    <a:pt x="90411" y="107098"/>
                    <a:pt x="88093" y="105767"/>
                  </a:cubicBezTo>
                  <a:cubicBezTo>
                    <a:pt x="87401" y="105311"/>
                    <a:pt x="86755" y="104788"/>
                    <a:pt x="86165" y="104205"/>
                  </a:cubicBezTo>
                  <a:close/>
                  <a:moveTo>
                    <a:pt x="58657" y="77503"/>
                  </a:moveTo>
                  <a:cubicBezTo>
                    <a:pt x="57936" y="76817"/>
                    <a:pt x="57290" y="76056"/>
                    <a:pt x="56729" y="75233"/>
                  </a:cubicBezTo>
                  <a:cubicBezTo>
                    <a:pt x="56232" y="74463"/>
                    <a:pt x="55977" y="73562"/>
                    <a:pt x="55997" y="72646"/>
                  </a:cubicBezTo>
                  <a:cubicBezTo>
                    <a:pt x="55951" y="71076"/>
                    <a:pt x="56541" y="69553"/>
                    <a:pt x="57632" y="68424"/>
                  </a:cubicBezTo>
                  <a:cubicBezTo>
                    <a:pt x="58701" y="67293"/>
                    <a:pt x="60202" y="66672"/>
                    <a:pt x="61757" y="66715"/>
                  </a:cubicBezTo>
                  <a:cubicBezTo>
                    <a:pt x="63650" y="66824"/>
                    <a:pt x="65415" y="67707"/>
                    <a:pt x="66639" y="69156"/>
                  </a:cubicBezTo>
                  <a:lnTo>
                    <a:pt x="73961" y="76258"/>
                  </a:lnTo>
                  <a:cubicBezTo>
                    <a:pt x="75681" y="72666"/>
                    <a:pt x="76904" y="68856"/>
                    <a:pt x="77598" y="64933"/>
                  </a:cubicBezTo>
                  <a:cubicBezTo>
                    <a:pt x="79271" y="55983"/>
                    <a:pt x="79072" y="46783"/>
                    <a:pt x="77012" y="37914"/>
                  </a:cubicBezTo>
                  <a:cubicBezTo>
                    <a:pt x="75943" y="33175"/>
                    <a:pt x="74060" y="28658"/>
                    <a:pt x="71447" y="24563"/>
                  </a:cubicBezTo>
                  <a:cubicBezTo>
                    <a:pt x="68907" y="20623"/>
                    <a:pt x="65490" y="17323"/>
                    <a:pt x="61464" y="14922"/>
                  </a:cubicBezTo>
                  <a:cubicBezTo>
                    <a:pt x="56895" y="12332"/>
                    <a:pt x="51702" y="11048"/>
                    <a:pt x="46453" y="11212"/>
                  </a:cubicBezTo>
                  <a:cubicBezTo>
                    <a:pt x="41199" y="11046"/>
                    <a:pt x="36000" y="12321"/>
                    <a:pt x="31418" y="14897"/>
                  </a:cubicBezTo>
                  <a:cubicBezTo>
                    <a:pt x="27377" y="17339"/>
                    <a:pt x="23952" y="20680"/>
                    <a:pt x="21411" y="24660"/>
                  </a:cubicBezTo>
                  <a:cubicBezTo>
                    <a:pt x="18797" y="28752"/>
                    <a:pt x="16922" y="33271"/>
                    <a:pt x="15870" y="38011"/>
                  </a:cubicBezTo>
                  <a:cubicBezTo>
                    <a:pt x="13592" y="47732"/>
                    <a:pt x="13592" y="57848"/>
                    <a:pt x="15870" y="67569"/>
                  </a:cubicBezTo>
                  <a:cubicBezTo>
                    <a:pt x="16915" y="72304"/>
                    <a:pt x="18791" y="76816"/>
                    <a:pt x="21411" y="80896"/>
                  </a:cubicBezTo>
                  <a:cubicBezTo>
                    <a:pt x="23953" y="84843"/>
                    <a:pt x="27379" y="88144"/>
                    <a:pt x="31418" y="90537"/>
                  </a:cubicBezTo>
                  <a:cubicBezTo>
                    <a:pt x="35993" y="93133"/>
                    <a:pt x="41196" y="94416"/>
                    <a:pt x="46453" y="94247"/>
                  </a:cubicBezTo>
                  <a:cubicBezTo>
                    <a:pt x="50552" y="94321"/>
                    <a:pt x="54625" y="93583"/>
                    <a:pt x="58438" y="92075"/>
                  </a:cubicBezTo>
                  <a:cubicBezTo>
                    <a:pt x="61820" y="90676"/>
                    <a:pt x="64890" y="88618"/>
                    <a:pt x="67468" y="86022"/>
                  </a:cubicBezTo>
                  <a:close/>
                </a:path>
              </a:pathLst>
            </a:custGeom>
            <a:solidFill>
              <a:srgbClr val="BF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eform 233">
              <a:extLst>
                <a:ext uri="{FF2B5EF4-FFF2-40B4-BE49-F238E27FC236}">
                  <a16:creationId xmlns:a16="http://schemas.microsoft.com/office/drawing/2014/main" id="{ACA80632-CAFB-6A0E-A383-CDFB6279066C}"/>
                </a:ext>
              </a:extLst>
            </p:cNvPr>
            <p:cNvSpPr/>
            <p:nvPr/>
          </p:nvSpPr>
          <p:spPr>
            <a:xfrm>
              <a:off x="7472933" y="4847018"/>
              <a:ext cx="87628" cy="105427"/>
            </a:xfrm>
            <a:custGeom>
              <a:avLst/>
              <a:gdLst>
                <a:gd name="connsiteX0" fmla="*/ 12574 w 87628"/>
                <a:gd name="connsiteY0" fmla="*/ 100705 h 105427"/>
                <a:gd name="connsiteX1" fmla="*/ 10377 w 87628"/>
                <a:gd name="connsiteY1" fmla="*/ 104049 h 105427"/>
                <a:gd name="connsiteX2" fmla="*/ 6227 w 87628"/>
                <a:gd name="connsiteY2" fmla="*/ 105416 h 105427"/>
                <a:gd name="connsiteX3" fmla="*/ 1858 w 87628"/>
                <a:gd name="connsiteY3" fmla="*/ 103952 h 105427"/>
                <a:gd name="connsiteX4" fmla="*/ 3 w 87628"/>
                <a:gd name="connsiteY4" fmla="*/ 100022 h 105427"/>
                <a:gd name="connsiteX5" fmla="*/ 736 w 87628"/>
                <a:gd name="connsiteY5" fmla="*/ 96678 h 105427"/>
                <a:gd name="connsiteX6" fmla="*/ 1785 w 87628"/>
                <a:gd name="connsiteY6" fmla="*/ 93603 h 105427"/>
                <a:gd name="connsiteX7" fmla="*/ 34492 w 87628"/>
                <a:gd name="connsiteY7" fmla="*/ 7858 h 105427"/>
                <a:gd name="connsiteX8" fmla="*/ 37811 w 87628"/>
                <a:gd name="connsiteY8" fmla="*/ 2269 h 105427"/>
                <a:gd name="connsiteX9" fmla="*/ 49820 w 87628"/>
                <a:gd name="connsiteY9" fmla="*/ 2269 h 105427"/>
                <a:gd name="connsiteX10" fmla="*/ 53139 w 87628"/>
                <a:gd name="connsiteY10" fmla="*/ 7858 h 105427"/>
                <a:gd name="connsiteX11" fmla="*/ 85870 w 87628"/>
                <a:gd name="connsiteY11" fmla="*/ 93603 h 105427"/>
                <a:gd name="connsiteX12" fmla="*/ 86895 w 87628"/>
                <a:gd name="connsiteY12" fmla="*/ 96678 h 105427"/>
                <a:gd name="connsiteX13" fmla="*/ 87628 w 87628"/>
                <a:gd name="connsiteY13" fmla="*/ 100022 h 105427"/>
                <a:gd name="connsiteX14" fmla="*/ 85797 w 87628"/>
                <a:gd name="connsiteY14" fmla="*/ 103952 h 105427"/>
                <a:gd name="connsiteX15" fmla="*/ 81428 w 87628"/>
                <a:gd name="connsiteY15" fmla="*/ 105416 h 105427"/>
                <a:gd name="connsiteX16" fmla="*/ 77279 w 87628"/>
                <a:gd name="connsiteY16" fmla="*/ 104049 h 105427"/>
                <a:gd name="connsiteX17" fmla="*/ 75058 w 87628"/>
                <a:gd name="connsiteY17" fmla="*/ 100705 h 105427"/>
                <a:gd name="connsiteX18" fmla="*/ 68248 w 87628"/>
                <a:gd name="connsiteY18" fmla="*/ 82448 h 105427"/>
                <a:gd name="connsiteX19" fmla="*/ 19432 w 87628"/>
                <a:gd name="connsiteY19" fmla="*/ 82448 h 105427"/>
                <a:gd name="connsiteX20" fmla="*/ 43962 w 87628"/>
                <a:gd name="connsiteY20" fmla="*/ 14204 h 105427"/>
                <a:gd name="connsiteX21" fmla="*/ 43669 w 87628"/>
                <a:gd name="connsiteY21" fmla="*/ 14204 h 105427"/>
                <a:gd name="connsiteX22" fmla="*/ 23459 w 87628"/>
                <a:gd name="connsiteY22" fmla="*/ 71196 h 105427"/>
                <a:gd name="connsiteX23" fmla="*/ 64318 w 87628"/>
                <a:gd name="connsiteY23" fmla="*/ 71196 h 10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7628" h="105427">
                  <a:moveTo>
                    <a:pt x="12574" y="100705"/>
                  </a:moveTo>
                  <a:cubicBezTo>
                    <a:pt x="12117" y="101979"/>
                    <a:pt x="11364" y="103125"/>
                    <a:pt x="10377" y="104049"/>
                  </a:cubicBezTo>
                  <a:cubicBezTo>
                    <a:pt x="9216" y="105012"/>
                    <a:pt x="7733" y="105500"/>
                    <a:pt x="6227" y="105416"/>
                  </a:cubicBezTo>
                  <a:cubicBezTo>
                    <a:pt x="4645" y="105453"/>
                    <a:pt x="3099" y="104935"/>
                    <a:pt x="1858" y="103952"/>
                  </a:cubicBezTo>
                  <a:cubicBezTo>
                    <a:pt x="637" y="103022"/>
                    <a:pt x="-55" y="101556"/>
                    <a:pt x="3" y="100022"/>
                  </a:cubicBezTo>
                  <a:cubicBezTo>
                    <a:pt x="58" y="98874"/>
                    <a:pt x="306" y="97744"/>
                    <a:pt x="736" y="96678"/>
                  </a:cubicBezTo>
                  <a:cubicBezTo>
                    <a:pt x="1224" y="95311"/>
                    <a:pt x="1590" y="94237"/>
                    <a:pt x="1785" y="93603"/>
                  </a:cubicBezTo>
                  <a:lnTo>
                    <a:pt x="34492" y="7858"/>
                  </a:lnTo>
                  <a:cubicBezTo>
                    <a:pt x="35190" y="5781"/>
                    <a:pt x="36321" y="3876"/>
                    <a:pt x="37811" y="2269"/>
                  </a:cubicBezTo>
                  <a:cubicBezTo>
                    <a:pt x="41243" y="-756"/>
                    <a:pt x="46388" y="-756"/>
                    <a:pt x="49820" y="2269"/>
                  </a:cubicBezTo>
                  <a:cubicBezTo>
                    <a:pt x="51310" y="3876"/>
                    <a:pt x="52441" y="5781"/>
                    <a:pt x="53139" y="7858"/>
                  </a:cubicBezTo>
                  <a:lnTo>
                    <a:pt x="85870" y="93603"/>
                  </a:lnTo>
                  <a:cubicBezTo>
                    <a:pt x="86065" y="94286"/>
                    <a:pt x="86407" y="95311"/>
                    <a:pt x="86895" y="96678"/>
                  </a:cubicBezTo>
                  <a:cubicBezTo>
                    <a:pt x="87334" y="97741"/>
                    <a:pt x="87582" y="98873"/>
                    <a:pt x="87628" y="100022"/>
                  </a:cubicBezTo>
                  <a:cubicBezTo>
                    <a:pt x="87664" y="101546"/>
                    <a:pt x="86987" y="102999"/>
                    <a:pt x="85797" y="103952"/>
                  </a:cubicBezTo>
                  <a:cubicBezTo>
                    <a:pt x="84552" y="104927"/>
                    <a:pt x="83009" y="105444"/>
                    <a:pt x="81428" y="105416"/>
                  </a:cubicBezTo>
                  <a:cubicBezTo>
                    <a:pt x="79921" y="105508"/>
                    <a:pt x="78436" y="105018"/>
                    <a:pt x="77279" y="104049"/>
                  </a:cubicBezTo>
                  <a:cubicBezTo>
                    <a:pt x="76284" y="103126"/>
                    <a:pt x="75523" y="101980"/>
                    <a:pt x="75058" y="100705"/>
                  </a:cubicBezTo>
                  <a:lnTo>
                    <a:pt x="68248" y="82448"/>
                  </a:lnTo>
                  <a:lnTo>
                    <a:pt x="19432" y="82448"/>
                  </a:lnTo>
                  <a:close/>
                  <a:moveTo>
                    <a:pt x="43962" y="14204"/>
                  </a:moveTo>
                  <a:lnTo>
                    <a:pt x="43669" y="14204"/>
                  </a:lnTo>
                  <a:lnTo>
                    <a:pt x="23459" y="71196"/>
                  </a:lnTo>
                  <a:lnTo>
                    <a:pt x="64318" y="71196"/>
                  </a:lnTo>
                  <a:close/>
                </a:path>
              </a:pathLst>
            </a:custGeom>
            <a:solidFill>
              <a:srgbClr val="BF5C7A"/>
            </a:solidFill>
            <a:ln w="244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5" name="Graphic 283">
            <a:extLst>
              <a:ext uri="{FF2B5EF4-FFF2-40B4-BE49-F238E27FC236}">
                <a16:creationId xmlns:a16="http://schemas.microsoft.com/office/drawing/2014/main" id="{FE7D2DFE-FA24-9156-EC6F-1F3CDA75A0EA}"/>
              </a:ext>
            </a:extLst>
          </p:cNvPr>
          <p:cNvGrpSpPr/>
          <p:nvPr/>
        </p:nvGrpSpPr>
        <p:grpSpPr>
          <a:xfrm>
            <a:off x="8105823" y="1859756"/>
            <a:ext cx="396453" cy="387996"/>
            <a:chOff x="11013451" y="1300103"/>
            <a:chExt cx="587881" cy="587881"/>
          </a:xfrm>
          <a:solidFill>
            <a:srgbClr val="1F6898"/>
          </a:solidFill>
        </p:grpSpPr>
        <p:sp>
          <p:nvSpPr>
            <p:cNvPr id="236" name="Freeform 235">
              <a:extLst>
                <a:ext uri="{FF2B5EF4-FFF2-40B4-BE49-F238E27FC236}">
                  <a16:creationId xmlns:a16="http://schemas.microsoft.com/office/drawing/2014/main" id="{8E3D7780-3A43-BC27-531A-3902AB38D497}"/>
                </a:ext>
              </a:extLst>
            </p:cNvPr>
            <p:cNvSpPr/>
            <p:nvPr/>
          </p:nvSpPr>
          <p:spPr>
            <a:xfrm>
              <a:off x="11013451" y="1300103"/>
              <a:ext cx="587881" cy="587881"/>
            </a:xfrm>
            <a:custGeom>
              <a:avLst/>
              <a:gdLst>
                <a:gd name="connsiteX0" fmla="*/ 0 w 587881"/>
                <a:gd name="connsiteY0" fmla="*/ 293941 h 587881"/>
                <a:gd name="connsiteX1" fmla="*/ 293941 w 587881"/>
                <a:gd name="connsiteY1" fmla="*/ 587881 h 587881"/>
                <a:gd name="connsiteX2" fmla="*/ 587881 w 587881"/>
                <a:gd name="connsiteY2" fmla="*/ 293941 h 587881"/>
                <a:gd name="connsiteX3" fmla="*/ 293941 w 587881"/>
                <a:gd name="connsiteY3" fmla="*/ 0 h 587881"/>
                <a:gd name="connsiteX4" fmla="*/ 0 w 587881"/>
                <a:gd name="connsiteY4" fmla="*/ 293941 h 587881"/>
                <a:gd name="connsiteX5" fmla="*/ 19596 w 587881"/>
                <a:gd name="connsiteY5" fmla="*/ 293941 h 587881"/>
                <a:gd name="connsiteX6" fmla="*/ 293941 w 587881"/>
                <a:gd name="connsiteY6" fmla="*/ 19596 h 587881"/>
                <a:gd name="connsiteX7" fmla="*/ 568279 w 587881"/>
                <a:gd name="connsiteY7" fmla="*/ 293941 h 587881"/>
                <a:gd name="connsiteX8" fmla="*/ 293941 w 587881"/>
                <a:gd name="connsiteY8" fmla="*/ 568280 h 587881"/>
                <a:gd name="connsiteX9" fmla="*/ 19596 w 587881"/>
                <a:gd name="connsiteY9" fmla="*/ 293941 h 587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7881" h="587881">
                  <a:moveTo>
                    <a:pt x="0" y="293941"/>
                  </a:moveTo>
                  <a:cubicBezTo>
                    <a:pt x="0" y="456016"/>
                    <a:pt x="131861" y="587881"/>
                    <a:pt x="293941" y="587881"/>
                  </a:cubicBezTo>
                  <a:cubicBezTo>
                    <a:pt x="456021" y="587881"/>
                    <a:pt x="587881" y="456021"/>
                    <a:pt x="587881" y="293941"/>
                  </a:cubicBezTo>
                  <a:cubicBezTo>
                    <a:pt x="587881" y="131861"/>
                    <a:pt x="456014" y="0"/>
                    <a:pt x="293941" y="0"/>
                  </a:cubicBezTo>
                  <a:cubicBezTo>
                    <a:pt x="131867" y="0"/>
                    <a:pt x="0" y="131861"/>
                    <a:pt x="0" y="293941"/>
                  </a:cubicBezTo>
                  <a:close/>
                  <a:moveTo>
                    <a:pt x="19596" y="293941"/>
                  </a:moveTo>
                  <a:cubicBezTo>
                    <a:pt x="19596" y="142668"/>
                    <a:pt x="142667" y="19596"/>
                    <a:pt x="293941" y="19596"/>
                  </a:cubicBezTo>
                  <a:cubicBezTo>
                    <a:pt x="445215" y="19596"/>
                    <a:pt x="568279" y="142667"/>
                    <a:pt x="568279" y="293941"/>
                  </a:cubicBezTo>
                  <a:cubicBezTo>
                    <a:pt x="568279" y="445215"/>
                    <a:pt x="445208" y="568280"/>
                    <a:pt x="293941" y="568280"/>
                  </a:cubicBezTo>
                  <a:cubicBezTo>
                    <a:pt x="142673" y="568280"/>
                    <a:pt x="19596" y="445208"/>
                    <a:pt x="19596" y="293941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37" name="Freeform 236">
              <a:extLst>
                <a:ext uri="{FF2B5EF4-FFF2-40B4-BE49-F238E27FC236}">
                  <a16:creationId xmlns:a16="http://schemas.microsoft.com/office/drawing/2014/main" id="{918F430B-F9C0-FFFA-8A6A-66EFB1AA74B0}"/>
                </a:ext>
              </a:extLst>
            </p:cNvPr>
            <p:cNvSpPr/>
            <p:nvPr/>
          </p:nvSpPr>
          <p:spPr>
            <a:xfrm>
              <a:off x="11297590" y="1367503"/>
              <a:ext cx="19596" cy="29394"/>
            </a:xfrm>
            <a:custGeom>
              <a:avLst/>
              <a:gdLst>
                <a:gd name="connsiteX0" fmla="*/ 19596 w 19596"/>
                <a:gd name="connsiteY0" fmla="*/ 19596 h 29394"/>
                <a:gd name="connsiteX1" fmla="*/ 19596 w 19596"/>
                <a:gd name="connsiteY1" fmla="*/ 9798 h 29394"/>
                <a:gd name="connsiteX2" fmla="*/ 9798 w 19596"/>
                <a:gd name="connsiteY2" fmla="*/ 0 h 29394"/>
                <a:gd name="connsiteX3" fmla="*/ 0 w 19596"/>
                <a:gd name="connsiteY3" fmla="*/ 9798 h 29394"/>
                <a:gd name="connsiteX4" fmla="*/ 0 w 19596"/>
                <a:gd name="connsiteY4" fmla="*/ 19596 h 29394"/>
                <a:gd name="connsiteX5" fmla="*/ 9798 w 19596"/>
                <a:gd name="connsiteY5" fmla="*/ 29394 h 29394"/>
                <a:gd name="connsiteX6" fmla="*/ 19596 w 19596"/>
                <a:gd name="connsiteY6" fmla="*/ 19596 h 2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96" h="29394">
                  <a:moveTo>
                    <a:pt x="19596" y="19596"/>
                  </a:moveTo>
                  <a:lnTo>
                    <a:pt x="19596" y="9798"/>
                  </a:lnTo>
                  <a:cubicBezTo>
                    <a:pt x="19596" y="4387"/>
                    <a:pt x="15209" y="0"/>
                    <a:pt x="9798" y="0"/>
                  </a:cubicBezTo>
                  <a:cubicBezTo>
                    <a:pt x="4387" y="0"/>
                    <a:pt x="0" y="4387"/>
                    <a:pt x="0" y="9798"/>
                  </a:cubicBezTo>
                  <a:lnTo>
                    <a:pt x="0" y="19596"/>
                  </a:lnTo>
                  <a:cubicBezTo>
                    <a:pt x="0" y="25007"/>
                    <a:pt x="4387" y="29394"/>
                    <a:pt x="9798" y="29394"/>
                  </a:cubicBezTo>
                  <a:cubicBezTo>
                    <a:pt x="15209" y="29394"/>
                    <a:pt x="19596" y="25007"/>
                    <a:pt x="19596" y="19596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38" name="Freeform 237">
              <a:extLst>
                <a:ext uri="{FF2B5EF4-FFF2-40B4-BE49-F238E27FC236}">
                  <a16:creationId xmlns:a16="http://schemas.microsoft.com/office/drawing/2014/main" id="{941D9086-0C1A-196B-0E71-D4FDA168D0BF}"/>
                </a:ext>
              </a:extLst>
            </p:cNvPr>
            <p:cNvSpPr/>
            <p:nvPr/>
          </p:nvSpPr>
          <p:spPr>
            <a:xfrm>
              <a:off x="11297589" y="1788814"/>
              <a:ext cx="19596" cy="29493"/>
            </a:xfrm>
            <a:custGeom>
              <a:avLst/>
              <a:gdLst>
                <a:gd name="connsiteX0" fmla="*/ 1 w 19596"/>
                <a:gd name="connsiteY0" fmla="*/ 9798 h 29493"/>
                <a:gd name="connsiteX1" fmla="*/ 1 w 19596"/>
                <a:gd name="connsiteY1" fmla="*/ 19596 h 29493"/>
                <a:gd name="connsiteX2" fmla="*/ 9699 w 19596"/>
                <a:gd name="connsiteY2" fmla="*/ 29493 h 29493"/>
                <a:gd name="connsiteX3" fmla="*/ 19596 w 19596"/>
                <a:gd name="connsiteY3" fmla="*/ 19795 h 29493"/>
                <a:gd name="connsiteX4" fmla="*/ 19596 w 19596"/>
                <a:gd name="connsiteY4" fmla="*/ 19596 h 29493"/>
                <a:gd name="connsiteX5" fmla="*/ 19596 w 19596"/>
                <a:gd name="connsiteY5" fmla="*/ 9798 h 29493"/>
                <a:gd name="connsiteX6" fmla="*/ 9798 w 19596"/>
                <a:gd name="connsiteY6" fmla="*/ 0 h 29493"/>
                <a:gd name="connsiteX7" fmla="*/ 0 w 19596"/>
                <a:gd name="connsiteY7" fmla="*/ 9798 h 2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96" h="29493">
                  <a:moveTo>
                    <a:pt x="1" y="9798"/>
                  </a:moveTo>
                  <a:lnTo>
                    <a:pt x="1" y="19596"/>
                  </a:lnTo>
                  <a:cubicBezTo>
                    <a:pt x="-54" y="25007"/>
                    <a:pt x="4288" y="29438"/>
                    <a:pt x="9699" y="29493"/>
                  </a:cubicBezTo>
                  <a:cubicBezTo>
                    <a:pt x="15110" y="29548"/>
                    <a:pt x="19541" y="25206"/>
                    <a:pt x="19596" y="19795"/>
                  </a:cubicBezTo>
                  <a:cubicBezTo>
                    <a:pt x="19597" y="19728"/>
                    <a:pt x="19597" y="19662"/>
                    <a:pt x="19596" y="19596"/>
                  </a:cubicBezTo>
                  <a:lnTo>
                    <a:pt x="19596" y="9798"/>
                  </a:lnTo>
                  <a:cubicBezTo>
                    <a:pt x="19596" y="4387"/>
                    <a:pt x="15209" y="0"/>
                    <a:pt x="9798" y="0"/>
                  </a:cubicBezTo>
                  <a:cubicBezTo>
                    <a:pt x="4387" y="0"/>
                    <a:pt x="0" y="4387"/>
                    <a:pt x="0" y="9798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39" name="Freeform 238">
              <a:extLst>
                <a:ext uri="{FF2B5EF4-FFF2-40B4-BE49-F238E27FC236}">
                  <a16:creationId xmlns:a16="http://schemas.microsoft.com/office/drawing/2014/main" id="{F5EE2AA1-D023-DC44-B8ED-4D3FFC89E30E}"/>
                </a:ext>
              </a:extLst>
            </p:cNvPr>
            <p:cNvSpPr/>
            <p:nvPr/>
          </p:nvSpPr>
          <p:spPr>
            <a:xfrm>
              <a:off x="11082036" y="1583057"/>
              <a:ext cx="29394" cy="19596"/>
            </a:xfrm>
            <a:custGeom>
              <a:avLst/>
              <a:gdLst>
                <a:gd name="connsiteX0" fmla="*/ 0 w 29394"/>
                <a:gd name="connsiteY0" fmla="*/ 9798 h 19596"/>
                <a:gd name="connsiteX1" fmla="*/ 9794 w 29394"/>
                <a:gd name="connsiteY1" fmla="*/ 19596 h 19596"/>
                <a:gd name="connsiteX2" fmla="*/ 9798 w 29394"/>
                <a:gd name="connsiteY2" fmla="*/ 19596 h 19596"/>
                <a:gd name="connsiteX3" fmla="*/ 19596 w 29394"/>
                <a:gd name="connsiteY3" fmla="*/ 19596 h 19596"/>
                <a:gd name="connsiteX4" fmla="*/ 29394 w 29394"/>
                <a:gd name="connsiteY4" fmla="*/ 9798 h 19596"/>
                <a:gd name="connsiteX5" fmla="*/ 19596 w 29394"/>
                <a:gd name="connsiteY5" fmla="*/ 0 h 19596"/>
                <a:gd name="connsiteX6" fmla="*/ 9798 w 29394"/>
                <a:gd name="connsiteY6" fmla="*/ 0 h 19596"/>
                <a:gd name="connsiteX7" fmla="*/ 0 w 29394"/>
                <a:gd name="connsiteY7" fmla="*/ 9794 h 19596"/>
                <a:gd name="connsiteX8" fmla="*/ 0 w 29394"/>
                <a:gd name="connsiteY8" fmla="*/ 9798 h 19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4" h="19596">
                  <a:moveTo>
                    <a:pt x="0" y="9798"/>
                  </a:moveTo>
                  <a:cubicBezTo>
                    <a:pt x="-1" y="15208"/>
                    <a:pt x="4384" y="19595"/>
                    <a:pt x="9794" y="19596"/>
                  </a:cubicBezTo>
                  <a:cubicBezTo>
                    <a:pt x="9795" y="19596"/>
                    <a:pt x="9797" y="19596"/>
                    <a:pt x="9798" y="19596"/>
                  </a:cubicBezTo>
                  <a:lnTo>
                    <a:pt x="19596" y="19596"/>
                  </a:lnTo>
                  <a:cubicBezTo>
                    <a:pt x="25007" y="19596"/>
                    <a:pt x="29394" y="15209"/>
                    <a:pt x="29394" y="9798"/>
                  </a:cubicBezTo>
                  <a:cubicBezTo>
                    <a:pt x="29394" y="4387"/>
                    <a:pt x="25007" y="0"/>
                    <a:pt x="19596" y="0"/>
                  </a:cubicBezTo>
                  <a:lnTo>
                    <a:pt x="9798" y="0"/>
                  </a:lnTo>
                  <a:cubicBezTo>
                    <a:pt x="4388" y="-1"/>
                    <a:pt x="1" y="4384"/>
                    <a:pt x="0" y="9794"/>
                  </a:cubicBezTo>
                  <a:cubicBezTo>
                    <a:pt x="0" y="9795"/>
                    <a:pt x="0" y="9797"/>
                    <a:pt x="0" y="9798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40" name="Freeform 239">
              <a:extLst>
                <a:ext uri="{FF2B5EF4-FFF2-40B4-BE49-F238E27FC236}">
                  <a16:creationId xmlns:a16="http://schemas.microsoft.com/office/drawing/2014/main" id="{8547F65C-3DDF-4D58-DB8D-7FD6BE2746EA}"/>
                </a:ext>
              </a:extLst>
            </p:cNvPr>
            <p:cNvSpPr/>
            <p:nvPr/>
          </p:nvSpPr>
          <p:spPr>
            <a:xfrm>
              <a:off x="11503352" y="1583057"/>
              <a:ext cx="29493" cy="19596"/>
            </a:xfrm>
            <a:custGeom>
              <a:avLst/>
              <a:gdLst>
                <a:gd name="connsiteX0" fmla="*/ 0 w 29493"/>
                <a:gd name="connsiteY0" fmla="*/ 9799 h 19596"/>
                <a:gd name="connsiteX1" fmla="*/ 9793 w 29493"/>
                <a:gd name="connsiteY1" fmla="*/ 19596 h 19596"/>
                <a:gd name="connsiteX2" fmla="*/ 9798 w 29493"/>
                <a:gd name="connsiteY2" fmla="*/ 19596 h 19596"/>
                <a:gd name="connsiteX3" fmla="*/ 19596 w 29493"/>
                <a:gd name="connsiteY3" fmla="*/ 19596 h 19596"/>
                <a:gd name="connsiteX4" fmla="*/ 29493 w 29493"/>
                <a:gd name="connsiteY4" fmla="*/ 9897 h 19596"/>
                <a:gd name="connsiteX5" fmla="*/ 19795 w 29493"/>
                <a:gd name="connsiteY5" fmla="*/ 1 h 19596"/>
                <a:gd name="connsiteX6" fmla="*/ 19596 w 29493"/>
                <a:gd name="connsiteY6" fmla="*/ 1 h 19596"/>
                <a:gd name="connsiteX7" fmla="*/ 9798 w 29493"/>
                <a:gd name="connsiteY7" fmla="*/ 1 h 19596"/>
                <a:gd name="connsiteX8" fmla="*/ 0 w 29493"/>
                <a:gd name="connsiteY8" fmla="*/ 9793 h 19596"/>
                <a:gd name="connsiteX9" fmla="*/ 0 w 29493"/>
                <a:gd name="connsiteY9" fmla="*/ 9799 h 19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493" h="19596">
                  <a:moveTo>
                    <a:pt x="0" y="9799"/>
                  </a:moveTo>
                  <a:cubicBezTo>
                    <a:pt x="-1" y="15208"/>
                    <a:pt x="4383" y="19594"/>
                    <a:pt x="9793" y="19596"/>
                  </a:cubicBezTo>
                  <a:cubicBezTo>
                    <a:pt x="9795" y="19596"/>
                    <a:pt x="9796" y="19596"/>
                    <a:pt x="9798" y="19596"/>
                  </a:cubicBezTo>
                  <a:lnTo>
                    <a:pt x="19596" y="19596"/>
                  </a:lnTo>
                  <a:cubicBezTo>
                    <a:pt x="25007" y="19650"/>
                    <a:pt x="29438" y="15308"/>
                    <a:pt x="29493" y="9897"/>
                  </a:cubicBezTo>
                  <a:cubicBezTo>
                    <a:pt x="29548" y="4486"/>
                    <a:pt x="25206" y="55"/>
                    <a:pt x="19795" y="1"/>
                  </a:cubicBezTo>
                  <a:cubicBezTo>
                    <a:pt x="19728" y="0"/>
                    <a:pt x="19662" y="0"/>
                    <a:pt x="19596" y="1"/>
                  </a:cubicBezTo>
                  <a:lnTo>
                    <a:pt x="9798" y="1"/>
                  </a:lnTo>
                  <a:cubicBezTo>
                    <a:pt x="4388" y="-1"/>
                    <a:pt x="2" y="4383"/>
                    <a:pt x="0" y="9793"/>
                  </a:cubicBezTo>
                  <a:cubicBezTo>
                    <a:pt x="0" y="9795"/>
                    <a:pt x="0" y="9797"/>
                    <a:pt x="0" y="9799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41" name="Freeform 240">
              <a:extLst>
                <a:ext uri="{FF2B5EF4-FFF2-40B4-BE49-F238E27FC236}">
                  <a16:creationId xmlns:a16="http://schemas.microsoft.com/office/drawing/2014/main" id="{8768A9A6-3C71-5E15-67EE-B20F6758C081}"/>
                </a:ext>
              </a:extLst>
            </p:cNvPr>
            <p:cNvSpPr/>
            <p:nvPr/>
          </p:nvSpPr>
          <p:spPr>
            <a:xfrm>
              <a:off x="11145174" y="1430636"/>
              <a:ext cx="26680" cy="26676"/>
            </a:xfrm>
            <a:custGeom>
              <a:avLst/>
              <a:gdLst>
                <a:gd name="connsiteX0" fmla="*/ 2873 w 26680"/>
                <a:gd name="connsiteY0" fmla="*/ 2865 h 26676"/>
                <a:gd name="connsiteX1" fmla="*/ 2860 w 26680"/>
                <a:gd name="connsiteY1" fmla="*/ 16706 h 26676"/>
                <a:gd name="connsiteX2" fmla="*/ 2873 w 26680"/>
                <a:gd name="connsiteY2" fmla="*/ 16719 h 26676"/>
                <a:gd name="connsiteX3" fmla="*/ 9800 w 26680"/>
                <a:gd name="connsiteY3" fmla="*/ 23646 h 26676"/>
                <a:gd name="connsiteX4" fmla="*/ 23650 w 26680"/>
                <a:gd name="connsiteY4" fmla="*/ 23965 h 26676"/>
                <a:gd name="connsiteX5" fmla="*/ 23968 w 26680"/>
                <a:gd name="connsiteY5" fmla="*/ 10115 h 26676"/>
                <a:gd name="connsiteX6" fmla="*/ 23651 w 26680"/>
                <a:gd name="connsiteY6" fmla="*/ 9797 h 26676"/>
                <a:gd name="connsiteX7" fmla="*/ 16724 w 26680"/>
                <a:gd name="connsiteY7" fmla="*/ 2870 h 26676"/>
                <a:gd name="connsiteX8" fmla="*/ 2873 w 26680"/>
                <a:gd name="connsiteY8" fmla="*/ 2865 h 26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680" h="26676">
                  <a:moveTo>
                    <a:pt x="2873" y="2865"/>
                  </a:moveTo>
                  <a:cubicBezTo>
                    <a:pt x="-953" y="6684"/>
                    <a:pt x="-958" y="12881"/>
                    <a:pt x="2860" y="16706"/>
                  </a:cubicBezTo>
                  <a:cubicBezTo>
                    <a:pt x="2864" y="16711"/>
                    <a:pt x="2869" y="16715"/>
                    <a:pt x="2873" y="16719"/>
                  </a:cubicBezTo>
                  <a:lnTo>
                    <a:pt x="9800" y="23646"/>
                  </a:lnTo>
                  <a:cubicBezTo>
                    <a:pt x="13537" y="27559"/>
                    <a:pt x="19738" y="27701"/>
                    <a:pt x="23650" y="23965"/>
                  </a:cubicBezTo>
                  <a:cubicBezTo>
                    <a:pt x="27563" y="20228"/>
                    <a:pt x="27705" y="14027"/>
                    <a:pt x="23968" y="10115"/>
                  </a:cubicBezTo>
                  <a:cubicBezTo>
                    <a:pt x="23865" y="10007"/>
                    <a:pt x="23759" y="9901"/>
                    <a:pt x="23651" y="9797"/>
                  </a:cubicBezTo>
                  <a:lnTo>
                    <a:pt x="16724" y="2870"/>
                  </a:lnTo>
                  <a:cubicBezTo>
                    <a:pt x="12900" y="-955"/>
                    <a:pt x="6700" y="-957"/>
                    <a:pt x="2873" y="2865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42" name="Freeform 241">
              <a:extLst>
                <a:ext uri="{FF2B5EF4-FFF2-40B4-BE49-F238E27FC236}">
                  <a16:creationId xmlns:a16="http://schemas.microsoft.com/office/drawing/2014/main" id="{FC79C771-E052-81CA-0764-223807278DC4}"/>
                </a:ext>
              </a:extLst>
            </p:cNvPr>
            <p:cNvSpPr/>
            <p:nvPr/>
          </p:nvSpPr>
          <p:spPr>
            <a:xfrm>
              <a:off x="11443078" y="1728546"/>
              <a:ext cx="26526" cy="26523"/>
            </a:xfrm>
            <a:custGeom>
              <a:avLst/>
              <a:gdLst>
                <a:gd name="connsiteX0" fmla="*/ 2873 w 26526"/>
                <a:gd name="connsiteY0" fmla="*/ 2871 h 26523"/>
                <a:gd name="connsiteX1" fmla="*/ 2861 w 26526"/>
                <a:gd name="connsiteY1" fmla="*/ 16715 h 26523"/>
                <a:gd name="connsiteX2" fmla="*/ 2873 w 26526"/>
                <a:gd name="connsiteY2" fmla="*/ 16726 h 26523"/>
                <a:gd name="connsiteX3" fmla="*/ 9800 w 26526"/>
                <a:gd name="connsiteY3" fmla="*/ 23653 h 26523"/>
                <a:gd name="connsiteX4" fmla="*/ 23656 w 26526"/>
                <a:gd name="connsiteY4" fmla="*/ 23654 h 26523"/>
                <a:gd name="connsiteX5" fmla="*/ 23657 w 26526"/>
                <a:gd name="connsiteY5" fmla="*/ 9798 h 26523"/>
                <a:gd name="connsiteX6" fmla="*/ 16730 w 26526"/>
                <a:gd name="connsiteY6" fmla="*/ 2871 h 26523"/>
                <a:gd name="connsiteX7" fmla="*/ 2876 w 26526"/>
                <a:gd name="connsiteY7" fmla="*/ 2867 h 26523"/>
                <a:gd name="connsiteX8" fmla="*/ 2873 w 26526"/>
                <a:gd name="connsiteY8" fmla="*/ 2871 h 26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526" h="26523">
                  <a:moveTo>
                    <a:pt x="2873" y="2871"/>
                  </a:moveTo>
                  <a:cubicBezTo>
                    <a:pt x="-953" y="6691"/>
                    <a:pt x="-958" y="12889"/>
                    <a:pt x="2861" y="16715"/>
                  </a:cubicBezTo>
                  <a:cubicBezTo>
                    <a:pt x="2865" y="16718"/>
                    <a:pt x="2869" y="16722"/>
                    <a:pt x="2873" y="16726"/>
                  </a:cubicBezTo>
                  <a:lnTo>
                    <a:pt x="9800" y="23653"/>
                  </a:lnTo>
                  <a:cubicBezTo>
                    <a:pt x="13626" y="27479"/>
                    <a:pt x="19829" y="27480"/>
                    <a:pt x="23656" y="23654"/>
                  </a:cubicBezTo>
                  <a:cubicBezTo>
                    <a:pt x="27482" y="19828"/>
                    <a:pt x="27483" y="13624"/>
                    <a:pt x="23657" y="9798"/>
                  </a:cubicBezTo>
                  <a:lnTo>
                    <a:pt x="16730" y="2871"/>
                  </a:lnTo>
                  <a:cubicBezTo>
                    <a:pt x="12905" y="-956"/>
                    <a:pt x="6703" y="-957"/>
                    <a:pt x="2876" y="2867"/>
                  </a:cubicBezTo>
                  <a:cubicBezTo>
                    <a:pt x="2875" y="2869"/>
                    <a:pt x="2874" y="2870"/>
                    <a:pt x="2873" y="2871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43" name="Freeform 242">
              <a:extLst>
                <a:ext uri="{FF2B5EF4-FFF2-40B4-BE49-F238E27FC236}">
                  <a16:creationId xmlns:a16="http://schemas.microsoft.com/office/drawing/2014/main" id="{5BCC151B-0F1E-F28E-DB6F-9460642A6BB5}"/>
                </a:ext>
              </a:extLst>
            </p:cNvPr>
            <p:cNvSpPr/>
            <p:nvPr/>
          </p:nvSpPr>
          <p:spPr>
            <a:xfrm>
              <a:off x="11145118" y="1728608"/>
              <a:ext cx="26521" cy="26521"/>
            </a:xfrm>
            <a:custGeom>
              <a:avLst/>
              <a:gdLst>
                <a:gd name="connsiteX0" fmla="*/ 2930 w 26521"/>
                <a:gd name="connsiteY0" fmla="*/ 9736 h 26521"/>
                <a:gd name="connsiteX1" fmla="*/ 2809 w 26521"/>
                <a:gd name="connsiteY1" fmla="*/ 23591 h 26521"/>
                <a:gd name="connsiteX2" fmla="*/ 16664 w 26521"/>
                <a:gd name="connsiteY2" fmla="*/ 23712 h 26521"/>
                <a:gd name="connsiteX3" fmla="*/ 16785 w 26521"/>
                <a:gd name="connsiteY3" fmla="*/ 23591 h 26521"/>
                <a:gd name="connsiteX4" fmla="*/ 23712 w 26521"/>
                <a:gd name="connsiteY4" fmla="*/ 16664 h 26521"/>
                <a:gd name="connsiteX5" fmla="*/ 23591 w 26521"/>
                <a:gd name="connsiteY5" fmla="*/ 2809 h 26521"/>
                <a:gd name="connsiteX6" fmla="*/ 9857 w 26521"/>
                <a:gd name="connsiteY6" fmla="*/ 2809 h 26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21" h="26521">
                  <a:moveTo>
                    <a:pt x="2930" y="9736"/>
                  </a:moveTo>
                  <a:cubicBezTo>
                    <a:pt x="-929" y="13529"/>
                    <a:pt x="-983" y="19732"/>
                    <a:pt x="2809" y="23591"/>
                  </a:cubicBezTo>
                  <a:cubicBezTo>
                    <a:pt x="6602" y="27450"/>
                    <a:pt x="12805" y="27504"/>
                    <a:pt x="16664" y="23712"/>
                  </a:cubicBezTo>
                  <a:cubicBezTo>
                    <a:pt x="16705" y="23672"/>
                    <a:pt x="16745" y="23631"/>
                    <a:pt x="16785" y="23591"/>
                  </a:cubicBezTo>
                  <a:lnTo>
                    <a:pt x="23712" y="16664"/>
                  </a:lnTo>
                  <a:cubicBezTo>
                    <a:pt x="27504" y="12804"/>
                    <a:pt x="27450" y="6601"/>
                    <a:pt x="23591" y="2809"/>
                  </a:cubicBezTo>
                  <a:cubicBezTo>
                    <a:pt x="19779" y="-937"/>
                    <a:pt x="13669" y="-936"/>
                    <a:pt x="9857" y="2809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44" name="Freeform 243">
              <a:extLst>
                <a:ext uri="{FF2B5EF4-FFF2-40B4-BE49-F238E27FC236}">
                  <a16:creationId xmlns:a16="http://schemas.microsoft.com/office/drawing/2014/main" id="{A62E9D14-7F0C-2B75-E9AA-F03BDE3F396E}"/>
                </a:ext>
              </a:extLst>
            </p:cNvPr>
            <p:cNvSpPr/>
            <p:nvPr/>
          </p:nvSpPr>
          <p:spPr>
            <a:xfrm>
              <a:off x="11443081" y="1430637"/>
              <a:ext cx="26519" cy="26519"/>
            </a:xfrm>
            <a:custGeom>
              <a:avLst/>
              <a:gdLst>
                <a:gd name="connsiteX0" fmla="*/ 2869 w 26519"/>
                <a:gd name="connsiteY0" fmla="*/ 9796 h 26519"/>
                <a:gd name="connsiteX1" fmla="*/ 2869 w 26519"/>
                <a:gd name="connsiteY1" fmla="*/ 23650 h 26519"/>
                <a:gd name="connsiteX2" fmla="*/ 16723 w 26519"/>
                <a:gd name="connsiteY2" fmla="*/ 23650 h 26519"/>
                <a:gd name="connsiteX3" fmla="*/ 23650 w 26519"/>
                <a:gd name="connsiteY3" fmla="*/ 16723 h 26519"/>
                <a:gd name="connsiteX4" fmla="*/ 23650 w 26519"/>
                <a:gd name="connsiteY4" fmla="*/ 2869 h 26519"/>
                <a:gd name="connsiteX5" fmla="*/ 9796 w 26519"/>
                <a:gd name="connsiteY5" fmla="*/ 2869 h 26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519" h="26519">
                  <a:moveTo>
                    <a:pt x="2869" y="9796"/>
                  </a:moveTo>
                  <a:cubicBezTo>
                    <a:pt x="-956" y="13622"/>
                    <a:pt x="-956" y="19825"/>
                    <a:pt x="2869" y="23650"/>
                  </a:cubicBezTo>
                  <a:cubicBezTo>
                    <a:pt x="6695" y="27476"/>
                    <a:pt x="12898" y="27476"/>
                    <a:pt x="16723" y="23650"/>
                  </a:cubicBezTo>
                  <a:lnTo>
                    <a:pt x="23650" y="16723"/>
                  </a:lnTo>
                  <a:cubicBezTo>
                    <a:pt x="27476" y="12898"/>
                    <a:pt x="27476" y="6695"/>
                    <a:pt x="23650" y="2869"/>
                  </a:cubicBezTo>
                  <a:cubicBezTo>
                    <a:pt x="19825" y="-956"/>
                    <a:pt x="13622" y="-956"/>
                    <a:pt x="9796" y="2869"/>
                  </a:cubicBezTo>
                  <a:close/>
                </a:path>
              </a:pathLst>
            </a:custGeom>
            <a:solidFill>
              <a:srgbClr val="C05C7B"/>
            </a:solidFill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45" name="Freeform 244">
              <a:extLst>
                <a:ext uri="{FF2B5EF4-FFF2-40B4-BE49-F238E27FC236}">
                  <a16:creationId xmlns:a16="http://schemas.microsoft.com/office/drawing/2014/main" id="{AA824923-C494-5337-F4A1-5BD0AED78582}"/>
                </a:ext>
              </a:extLst>
            </p:cNvPr>
            <p:cNvSpPr/>
            <p:nvPr/>
          </p:nvSpPr>
          <p:spPr>
            <a:xfrm>
              <a:off x="11268187" y="1418759"/>
              <a:ext cx="156876" cy="213297"/>
            </a:xfrm>
            <a:custGeom>
              <a:avLst/>
              <a:gdLst>
                <a:gd name="connsiteX0" fmla="*/ 146978 w 156876"/>
                <a:gd name="connsiteY0" fmla="*/ 164298 h 213297"/>
                <a:gd name="connsiteX1" fmla="*/ 77002 w 156876"/>
                <a:gd name="connsiteY1" fmla="*/ 164298 h 213297"/>
                <a:gd name="connsiteX2" fmla="*/ 49095 w 156876"/>
                <a:gd name="connsiteY2" fmla="*/ 136324 h 213297"/>
                <a:gd name="connsiteX3" fmla="*/ 49034 w 156876"/>
                <a:gd name="connsiteY3" fmla="*/ 9864 h 213297"/>
                <a:gd name="connsiteX4" fmla="*/ 39300 w 156876"/>
                <a:gd name="connsiteY4" fmla="*/ 0 h 213297"/>
                <a:gd name="connsiteX5" fmla="*/ 39234 w 156876"/>
                <a:gd name="connsiteY5" fmla="*/ 0 h 213297"/>
                <a:gd name="connsiteX6" fmla="*/ 29436 w 156876"/>
                <a:gd name="connsiteY6" fmla="*/ 9733 h 213297"/>
                <a:gd name="connsiteX7" fmla="*/ 29537 w 156876"/>
                <a:gd name="connsiteY7" fmla="*/ 35380 h 213297"/>
                <a:gd name="connsiteX8" fmla="*/ 29404 w 156876"/>
                <a:gd name="connsiteY8" fmla="*/ 36925 h 213297"/>
                <a:gd name="connsiteX9" fmla="*/ 29404 w 156876"/>
                <a:gd name="connsiteY9" fmla="*/ 136295 h 213297"/>
                <a:gd name="connsiteX10" fmla="*/ 1235 w 156876"/>
                <a:gd name="connsiteY10" fmla="*/ 183894 h 213297"/>
                <a:gd name="connsiteX11" fmla="*/ 48834 w 156876"/>
                <a:gd name="connsiteY11" fmla="*/ 212063 h 213297"/>
                <a:gd name="connsiteX12" fmla="*/ 77003 w 156876"/>
                <a:gd name="connsiteY12" fmla="*/ 183894 h 213297"/>
                <a:gd name="connsiteX13" fmla="*/ 146979 w 156876"/>
                <a:gd name="connsiteY13" fmla="*/ 183894 h 213297"/>
                <a:gd name="connsiteX14" fmla="*/ 156876 w 156876"/>
                <a:gd name="connsiteY14" fmla="*/ 174196 h 213297"/>
                <a:gd name="connsiteX15" fmla="*/ 147178 w 156876"/>
                <a:gd name="connsiteY15" fmla="*/ 164299 h 213297"/>
                <a:gd name="connsiteX16" fmla="*/ 146979 w 156876"/>
                <a:gd name="connsiteY16" fmla="*/ 164299 h 213297"/>
                <a:gd name="connsiteX17" fmla="*/ 39204 w 156876"/>
                <a:gd name="connsiteY17" fmla="*/ 193693 h 213297"/>
                <a:gd name="connsiteX18" fmla="*/ 19608 w 156876"/>
                <a:gd name="connsiteY18" fmla="*/ 174097 h 213297"/>
                <a:gd name="connsiteX19" fmla="*/ 39204 w 156876"/>
                <a:gd name="connsiteY19" fmla="*/ 154501 h 213297"/>
                <a:gd name="connsiteX20" fmla="*/ 58800 w 156876"/>
                <a:gd name="connsiteY20" fmla="*/ 174097 h 213297"/>
                <a:gd name="connsiteX21" fmla="*/ 39204 w 156876"/>
                <a:gd name="connsiteY21" fmla="*/ 193693 h 213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6876" h="213297">
                  <a:moveTo>
                    <a:pt x="146978" y="164298"/>
                  </a:moveTo>
                  <a:lnTo>
                    <a:pt x="77002" y="164298"/>
                  </a:lnTo>
                  <a:cubicBezTo>
                    <a:pt x="73434" y="150618"/>
                    <a:pt x="62767" y="139925"/>
                    <a:pt x="49095" y="136324"/>
                  </a:cubicBezTo>
                  <a:lnTo>
                    <a:pt x="49034" y="9864"/>
                  </a:lnTo>
                  <a:cubicBezTo>
                    <a:pt x="49069" y="4453"/>
                    <a:pt x="44712" y="37"/>
                    <a:pt x="39300" y="0"/>
                  </a:cubicBezTo>
                  <a:lnTo>
                    <a:pt x="39234" y="0"/>
                  </a:lnTo>
                  <a:cubicBezTo>
                    <a:pt x="33848" y="0"/>
                    <a:pt x="29473" y="4347"/>
                    <a:pt x="29436" y="9733"/>
                  </a:cubicBezTo>
                  <a:lnTo>
                    <a:pt x="29537" y="35380"/>
                  </a:lnTo>
                  <a:cubicBezTo>
                    <a:pt x="29452" y="35890"/>
                    <a:pt x="29408" y="36407"/>
                    <a:pt x="29404" y="36925"/>
                  </a:cubicBezTo>
                  <a:lnTo>
                    <a:pt x="29404" y="136295"/>
                  </a:lnTo>
                  <a:cubicBezTo>
                    <a:pt x="8481" y="141661"/>
                    <a:pt x="-4130" y="162971"/>
                    <a:pt x="1235" y="183894"/>
                  </a:cubicBezTo>
                  <a:cubicBezTo>
                    <a:pt x="6601" y="204817"/>
                    <a:pt x="27912" y="217428"/>
                    <a:pt x="48834" y="212063"/>
                  </a:cubicBezTo>
                  <a:cubicBezTo>
                    <a:pt x="62660" y="208517"/>
                    <a:pt x="73457" y="197720"/>
                    <a:pt x="77003" y="183894"/>
                  </a:cubicBezTo>
                  <a:lnTo>
                    <a:pt x="146979" y="183894"/>
                  </a:lnTo>
                  <a:cubicBezTo>
                    <a:pt x="152390" y="183949"/>
                    <a:pt x="156821" y="179607"/>
                    <a:pt x="156876" y="174196"/>
                  </a:cubicBezTo>
                  <a:cubicBezTo>
                    <a:pt x="156931" y="168785"/>
                    <a:pt x="152589" y="164354"/>
                    <a:pt x="147178" y="164299"/>
                  </a:cubicBezTo>
                  <a:cubicBezTo>
                    <a:pt x="147112" y="164298"/>
                    <a:pt x="147045" y="164298"/>
                    <a:pt x="146979" y="164299"/>
                  </a:cubicBezTo>
                  <a:close/>
                  <a:moveTo>
                    <a:pt x="39204" y="193693"/>
                  </a:moveTo>
                  <a:cubicBezTo>
                    <a:pt x="28381" y="193693"/>
                    <a:pt x="19608" y="184920"/>
                    <a:pt x="19608" y="174097"/>
                  </a:cubicBezTo>
                  <a:cubicBezTo>
                    <a:pt x="19608" y="163274"/>
                    <a:pt x="28381" y="154501"/>
                    <a:pt x="39204" y="154501"/>
                  </a:cubicBezTo>
                  <a:cubicBezTo>
                    <a:pt x="50027" y="154501"/>
                    <a:pt x="58800" y="163274"/>
                    <a:pt x="58800" y="174097"/>
                  </a:cubicBezTo>
                  <a:cubicBezTo>
                    <a:pt x="58789" y="184915"/>
                    <a:pt x="50022" y="193682"/>
                    <a:pt x="39204" y="193693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6E54683C-A54D-81D8-50BE-3C4E455EA545}"/>
              </a:ext>
            </a:extLst>
          </p:cNvPr>
          <p:cNvGrpSpPr/>
          <p:nvPr/>
        </p:nvGrpSpPr>
        <p:grpSpPr>
          <a:xfrm>
            <a:off x="1277111" y="1125059"/>
            <a:ext cx="1127740" cy="811383"/>
            <a:chOff x="5625722" y="4330919"/>
            <a:chExt cx="1127740" cy="811383"/>
          </a:xfrm>
        </p:grpSpPr>
        <p:sp>
          <p:nvSpPr>
            <p:cNvPr id="247" name="TextBox 15">
              <a:extLst>
                <a:ext uri="{FF2B5EF4-FFF2-40B4-BE49-F238E27FC236}">
                  <a16:creationId xmlns:a16="http://schemas.microsoft.com/office/drawing/2014/main" id="{2386CFBC-9D31-3C87-7DC2-6DBE3ECF67D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25722" y="4803748"/>
              <a:ext cx="112774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800" b="1" dirty="0">
                  <a:solidFill>
                    <a:srgbClr val="3B3838"/>
                  </a:solidFill>
                  <a:latin typeface="+mj-lt"/>
                </a:rPr>
                <a:t>Monitoring Solutions</a:t>
              </a:r>
            </a:p>
          </p:txBody>
        </p:sp>
        <p:grpSp>
          <p:nvGrpSpPr>
            <p:cNvPr id="248" name="Graphic 205">
              <a:extLst>
                <a:ext uri="{FF2B5EF4-FFF2-40B4-BE49-F238E27FC236}">
                  <a16:creationId xmlns:a16="http://schemas.microsoft.com/office/drawing/2014/main" id="{A291CBF2-90F4-D853-C200-21568FF1DDBC}"/>
                </a:ext>
              </a:extLst>
            </p:cNvPr>
            <p:cNvGrpSpPr/>
            <p:nvPr userDrawn="1"/>
          </p:nvGrpSpPr>
          <p:grpSpPr>
            <a:xfrm>
              <a:off x="5955277" y="4330919"/>
              <a:ext cx="579821" cy="456651"/>
              <a:chOff x="5527674" y="2836227"/>
              <a:chExt cx="437757" cy="344753"/>
            </a:xfrm>
          </p:grpSpPr>
          <p:sp>
            <p:nvSpPr>
              <p:cNvPr id="249" name="Freeform 248">
                <a:extLst>
                  <a:ext uri="{FF2B5EF4-FFF2-40B4-BE49-F238E27FC236}">
                    <a16:creationId xmlns:a16="http://schemas.microsoft.com/office/drawing/2014/main" id="{F00FE6F6-801D-48A9-17B2-89C2E7835401}"/>
                  </a:ext>
                </a:extLst>
              </p:cNvPr>
              <p:cNvSpPr/>
              <p:nvPr/>
            </p:nvSpPr>
            <p:spPr>
              <a:xfrm>
                <a:off x="5672135" y="3055789"/>
                <a:ext cx="44468" cy="10965"/>
              </a:xfrm>
              <a:custGeom>
                <a:avLst/>
                <a:gdLst>
                  <a:gd name="connsiteX0" fmla="*/ 38921 w 44468"/>
                  <a:gd name="connsiteY0" fmla="*/ 10966 h 10965"/>
                  <a:gd name="connsiteX1" fmla="*/ 5548 w 44468"/>
                  <a:gd name="connsiteY1" fmla="*/ 10966 h 10965"/>
                  <a:gd name="connsiteX2" fmla="*/ 0 w 44468"/>
                  <a:gd name="connsiteY2" fmla="*/ 5483 h 10965"/>
                  <a:gd name="connsiteX3" fmla="*/ 5548 w 44468"/>
                  <a:gd name="connsiteY3" fmla="*/ 0 h 10965"/>
                  <a:gd name="connsiteX4" fmla="*/ 38921 w 44468"/>
                  <a:gd name="connsiteY4" fmla="*/ 0 h 10965"/>
                  <a:gd name="connsiteX5" fmla="*/ 44469 w 44468"/>
                  <a:gd name="connsiteY5" fmla="*/ 5483 h 10965"/>
                  <a:gd name="connsiteX6" fmla="*/ 38921 w 44468"/>
                  <a:gd name="connsiteY6" fmla="*/ 10966 h 1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468" h="10965">
                    <a:moveTo>
                      <a:pt x="38921" y="10966"/>
                    </a:moveTo>
                    <a:lnTo>
                      <a:pt x="5548" y="10966"/>
                    </a:lnTo>
                    <a:cubicBezTo>
                      <a:pt x="2484" y="10966"/>
                      <a:pt x="0" y="8511"/>
                      <a:pt x="0" y="5483"/>
                    </a:cubicBezTo>
                    <a:cubicBezTo>
                      <a:pt x="0" y="2455"/>
                      <a:pt x="2484" y="0"/>
                      <a:pt x="5548" y="0"/>
                    </a:cubicBezTo>
                    <a:lnTo>
                      <a:pt x="38921" y="0"/>
                    </a:lnTo>
                    <a:cubicBezTo>
                      <a:pt x="41985" y="0"/>
                      <a:pt x="44469" y="2455"/>
                      <a:pt x="44469" y="5483"/>
                    </a:cubicBezTo>
                    <a:cubicBezTo>
                      <a:pt x="44469" y="8511"/>
                      <a:pt x="41985" y="10966"/>
                      <a:pt x="38921" y="10966"/>
                    </a:cubicBezTo>
                    <a:close/>
                  </a:path>
                </a:pathLst>
              </a:custGeom>
              <a:solidFill>
                <a:srgbClr val="1F6896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50" name="Freeform 249">
                <a:extLst>
                  <a:ext uri="{FF2B5EF4-FFF2-40B4-BE49-F238E27FC236}">
                    <a16:creationId xmlns:a16="http://schemas.microsoft.com/office/drawing/2014/main" id="{EB93490E-3490-222C-8ED1-195BA52D363B}"/>
                  </a:ext>
                </a:extLst>
              </p:cNvPr>
              <p:cNvSpPr/>
              <p:nvPr/>
            </p:nvSpPr>
            <p:spPr>
              <a:xfrm>
                <a:off x="5602595" y="2906594"/>
                <a:ext cx="165318" cy="90203"/>
              </a:xfrm>
              <a:custGeom>
                <a:avLst/>
                <a:gdLst>
                  <a:gd name="connsiteX0" fmla="*/ 143809 w 165318"/>
                  <a:gd name="connsiteY0" fmla="*/ 391 h 90203"/>
                  <a:gd name="connsiteX1" fmla="*/ 122983 w 165318"/>
                  <a:gd name="connsiteY1" fmla="*/ 20993 h 90203"/>
                  <a:gd name="connsiteX2" fmla="*/ 125084 w 165318"/>
                  <a:gd name="connsiteY2" fmla="*/ 29758 h 90203"/>
                  <a:gd name="connsiteX3" fmla="*/ 104069 w 165318"/>
                  <a:gd name="connsiteY3" fmla="*/ 50526 h 90203"/>
                  <a:gd name="connsiteX4" fmla="*/ 95179 w 165318"/>
                  <a:gd name="connsiteY4" fmla="*/ 48449 h 90203"/>
                  <a:gd name="connsiteX5" fmla="*/ 86290 w 165318"/>
                  <a:gd name="connsiteY5" fmla="*/ 50526 h 90203"/>
                  <a:gd name="connsiteX6" fmla="*/ 65274 w 165318"/>
                  <a:gd name="connsiteY6" fmla="*/ 29758 h 90203"/>
                  <a:gd name="connsiteX7" fmla="*/ 67376 w 165318"/>
                  <a:gd name="connsiteY7" fmla="*/ 20973 h 90203"/>
                  <a:gd name="connsiteX8" fmla="*/ 46907 w 165318"/>
                  <a:gd name="connsiteY8" fmla="*/ 3 h 90203"/>
                  <a:gd name="connsiteX9" fmla="*/ 25688 w 165318"/>
                  <a:gd name="connsiteY9" fmla="*/ 20232 h 90203"/>
                  <a:gd name="connsiteX10" fmla="*/ 27846 w 165318"/>
                  <a:gd name="connsiteY10" fmla="*/ 29737 h 90203"/>
                  <a:gd name="connsiteX11" fmla="*/ 0 w 165318"/>
                  <a:gd name="connsiteY11" fmla="*/ 57317 h 90203"/>
                  <a:gd name="connsiteX12" fmla="*/ 9814 w 165318"/>
                  <a:gd name="connsiteY12" fmla="*/ 67016 h 90203"/>
                  <a:gd name="connsiteX13" fmla="*/ 37723 w 165318"/>
                  <a:gd name="connsiteY13" fmla="*/ 39456 h 90203"/>
                  <a:gd name="connsiteX14" fmla="*/ 55418 w 165318"/>
                  <a:gd name="connsiteY14" fmla="*/ 39456 h 90203"/>
                  <a:gd name="connsiteX15" fmla="*/ 76433 w 165318"/>
                  <a:gd name="connsiteY15" fmla="*/ 60225 h 90203"/>
                  <a:gd name="connsiteX16" fmla="*/ 74332 w 165318"/>
                  <a:gd name="connsiteY16" fmla="*/ 68947 h 90203"/>
                  <a:gd name="connsiteX17" fmla="*/ 94507 w 165318"/>
                  <a:gd name="connsiteY17" fmla="*/ 90193 h 90203"/>
                  <a:gd name="connsiteX18" fmla="*/ 116005 w 165318"/>
                  <a:gd name="connsiteY18" fmla="*/ 70256 h 90203"/>
                  <a:gd name="connsiteX19" fmla="*/ 116005 w 165318"/>
                  <a:gd name="connsiteY19" fmla="*/ 68947 h 90203"/>
                  <a:gd name="connsiteX20" fmla="*/ 113904 w 165318"/>
                  <a:gd name="connsiteY20" fmla="*/ 60204 h 90203"/>
                  <a:gd name="connsiteX21" fmla="*/ 134919 w 165318"/>
                  <a:gd name="connsiteY21" fmla="*/ 39436 h 90203"/>
                  <a:gd name="connsiteX22" fmla="*/ 143767 w 165318"/>
                  <a:gd name="connsiteY22" fmla="*/ 41512 h 90203"/>
                  <a:gd name="connsiteX23" fmla="*/ 165308 w 165318"/>
                  <a:gd name="connsiteY23" fmla="*/ 21533 h 90203"/>
                  <a:gd name="connsiteX24" fmla="*/ 145091 w 165318"/>
                  <a:gd name="connsiteY24" fmla="*/ 246 h 90203"/>
                  <a:gd name="connsiteX25" fmla="*/ 143767 w 165318"/>
                  <a:gd name="connsiteY25" fmla="*/ 246 h 90203"/>
                  <a:gd name="connsiteX26" fmla="*/ 39635 w 165318"/>
                  <a:gd name="connsiteY26" fmla="*/ 21014 h 90203"/>
                  <a:gd name="connsiteX27" fmla="*/ 46570 w 165318"/>
                  <a:gd name="connsiteY27" fmla="*/ 14119 h 90203"/>
                  <a:gd name="connsiteX28" fmla="*/ 53547 w 165318"/>
                  <a:gd name="connsiteY28" fmla="*/ 20973 h 90203"/>
                  <a:gd name="connsiteX29" fmla="*/ 46612 w 165318"/>
                  <a:gd name="connsiteY29" fmla="*/ 27868 h 90203"/>
                  <a:gd name="connsiteX30" fmla="*/ 46612 w 165318"/>
                  <a:gd name="connsiteY30" fmla="*/ 27868 h 90203"/>
                  <a:gd name="connsiteX31" fmla="*/ 39635 w 165318"/>
                  <a:gd name="connsiteY31" fmla="*/ 21014 h 90203"/>
                  <a:gd name="connsiteX32" fmla="*/ 95305 w 165318"/>
                  <a:gd name="connsiteY32" fmla="*/ 75905 h 90203"/>
                  <a:gd name="connsiteX33" fmla="*/ 88349 w 165318"/>
                  <a:gd name="connsiteY33" fmla="*/ 69030 h 90203"/>
                  <a:gd name="connsiteX34" fmla="*/ 95305 w 165318"/>
                  <a:gd name="connsiteY34" fmla="*/ 62156 h 90203"/>
                  <a:gd name="connsiteX35" fmla="*/ 102261 w 165318"/>
                  <a:gd name="connsiteY35" fmla="*/ 69030 h 90203"/>
                  <a:gd name="connsiteX36" fmla="*/ 95305 w 165318"/>
                  <a:gd name="connsiteY36" fmla="*/ 75905 h 90203"/>
                  <a:gd name="connsiteX37" fmla="*/ 143914 w 165318"/>
                  <a:gd name="connsiteY37" fmla="*/ 27847 h 90203"/>
                  <a:gd name="connsiteX38" fmla="*/ 136958 w 165318"/>
                  <a:gd name="connsiteY38" fmla="*/ 20973 h 90203"/>
                  <a:gd name="connsiteX39" fmla="*/ 143914 w 165318"/>
                  <a:gd name="connsiteY39" fmla="*/ 14098 h 90203"/>
                  <a:gd name="connsiteX40" fmla="*/ 150870 w 165318"/>
                  <a:gd name="connsiteY40" fmla="*/ 20973 h 90203"/>
                  <a:gd name="connsiteX41" fmla="*/ 150870 w 165318"/>
                  <a:gd name="connsiteY41" fmla="*/ 20973 h 90203"/>
                  <a:gd name="connsiteX42" fmla="*/ 143935 w 165318"/>
                  <a:gd name="connsiteY42" fmla="*/ 27826 h 90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165318" h="90203">
                    <a:moveTo>
                      <a:pt x="143809" y="391"/>
                    </a:moveTo>
                    <a:cubicBezTo>
                      <a:pt x="132308" y="414"/>
                      <a:pt x="122994" y="9628"/>
                      <a:pt x="122983" y="20993"/>
                    </a:cubicBezTo>
                    <a:cubicBezTo>
                      <a:pt x="123002" y="24034"/>
                      <a:pt x="123720" y="27031"/>
                      <a:pt x="125084" y="29758"/>
                    </a:cubicBezTo>
                    <a:lnTo>
                      <a:pt x="104069" y="50526"/>
                    </a:lnTo>
                    <a:cubicBezTo>
                      <a:pt x="101295" y="49198"/>
                      <a:pt x="98261" y="48489"/>
                      <a:pt x="95179" y="48449"/>
                    </a:cubicBezTo>
                    <a:cubicBezTo>
                      <a:pt x="92095" y="48468"/>
                      <a:pt x="89056" y="49178"/>
                      <a:pt x="86290" y="50526"/>
                    </a:cubicBezTo>
                    <a:lnTo>
                      <a:pt x="65274" y="29758"/>
                    </a:lnTo>
                    <a:cubicBezTo>
                      <a:pt x="66638" y="27024"/>
                      <a:pt x="67357" y="24020"/>
                      <a:pt x="67376" y="20973"/>
                    </a:cubicBezTo>
                    <a:cubicBezTo>
                      <a:pt x="67583" y="9596"/>
                      <a:pt x="58418" y="208"/>
                      <a:pt x="46907" y="3"/>
                    </a:cubicBezTo>
                    <a:cubicBezTo>
                      <a:pt x="35395" y="-201"/>
                      <a:pt x="25895" y="8855"/>
                      <a:pt x="25688" y="20232"/>
                    </a:cubicBezTo>
                    <a:cubicBezTo>
                      <a:pt x="25628" y="23525"/>
                      <a:pt x="26368" y="26784"/>
                      <a:pt x="27846" y="29737"/>
                    </a:cubicBezTo>
                    <a:lnTo>
                      <a:pt x="0" y="57317"/>
                    </a:lnTo>
                    <a:lnTo>
                      <a:pt x="9814" y="67016"/>
                    </a:lnTo>
                    <a:lnTo>
                      <a:pt x="37723" y="39456"/>
                    </a:lnTo>
                    <a:cubicBezTo>
                      <a:pt x="43280" y="42260"/>
                      <a:pt x="49861" y="42260"/>
                      <a:pt x="55418" y="39456"/>
                    </a:cubicBezTo>
                    <a:lnTo>
                      <a:pt x="76433" y="60225"/>
                    </a:lnTo>
                    <a:cubicBezTo>
                      <a:pt x="75080" y="62940"/>
                      <a:pt x="74362" y="65921"/>
                      <a:pt x="74332" y="68947"/>
                    </a:cubicBezTo>
                    <a:cubicBezTo>
                      <a:pt x="73966" y="80320"/>
                      <a:pt x="82999" y="89832"/>
                      <a:pt x="94507" y="90193"/>
                    </a:cubicBezTo>
                    <a:cubicBezTo>
                      <a:pt x="106014" y="90554"/>
                      <a:pt x="115640" y="81628"/>
                      <a:pt x="116005" y="70256"/>
                    </a:cubicBezTo>
                    <a:cubicBezTo>
                      <a:pt x="116005" y="69813"/>
                      <a:pt x="116005" y="69376"/>
                      <a:pt x="116005" y="68947"/>
                    </a:cubicBezTo>
                    <a:cubicBezTo>
                      <a:pt x="115966" y="65915"/>
                      <a:pt x="115248" y="62930"/>
                      <a:pt x="113904" y="60204"/>
                    </a:cubicBezTo>
                    <a:lnTo>
                      <a:pt x="134919" y="39436"/>
                    </a:lnTo>
                    <a:cubicBezTo>
                      <a:pt x="137674" y="40773"/>
                      <a:pt x="140698" y="41483"/>
                      <a:pt x="143767" y="41512"/>
                    </a:cubicBezTo>
                    <a:cubicBezTo>
                      <a:pt x="155298" y="41874"/>
                      <a:pt x="164942" y="32929"/>
                      <a:pt x="165308" y="21533"/>
                    </a:cubicBezTo>
                    <a:cubicBezTo>
                      <a:pt x="165673" y="10138"/>
                      <a:pt x="156622" y="607"/>
                      <a:pt x="145091" y="246"/>
                    </a:cubicBezTo>
                    <a:lnTo>
                      <a:pt x="143767" y="246"/>
                    </a:lnTo>
                    <a:close/>
                    <a:moveTo>
                      <a:pt x="39635" y="21014"/>
                    </a:moveTo>
                    <a:cubicBezTo>
                      <a:pt x="39624" y="17218"/>
                      <a:pt x="42729" y="14131"/>
                      <a:pt x="46570" y="14119"/>
                    </a:cubicBezTo>
                    <a:cubicBezTo>
                      <a:pt x="50412" y="14108"/>
                      <a:pt x="53536" y="17176"/>
                      <a:pt x="53547" y="20973"/>
                    </a:cubicBezTo>
                    <a:cubicBezTo>
                      <a:pt x="53559" y="24769"/>
                      <a:pt x="50454" y="27856"/>
                      <a:pt x="46612" y="27868"/>
                    </a:cubicBezTo>
                    <a:lnTo>
                      <a:pt x="46612" y="27868"/>
                    </a:lnTo>
                    <a:cubicBezTo>
                      <a:pt x="42775" y="27868"/>
                      <a:pt x="39658" y="24806"/>
                      <a:pt x="39635" y="21014"/>
                    </a:cubicBezTo>
                    <a:close/>
                    <a:moveTo>
                      <a:pt x="95305" y="75905"/>
                    </a:moveTo>
                    <a:cubicBezTo>
                      <a:pt x="91463" y="75905"/>
                      <a:pt x="88349" y="72827"/>
                      <a:pt x="88349" y="69030"/>
                    </a:cubicBezTo>
                    <a:cubicBezTo>
                      <a:pt x="88349" y="65234"/>
                      <a:pt x="91463" y="62156"/>
                      <a:pt x="95305" y="62156"/>
                    </a:cubicBezTo>
                    <a:cubicBezTo>
                      <a:pt x="99147" y="62156"/>
                      <a:pt x="102261" y="65234"/>
                      <a:pt x="102261" y="69030"/>
                    </a:cubicBezTo>
                    <a:cubicBezTo>
                      <a:pt x="102261" y="72827"/>
                      <a:pt x="99147" y="75905"/>
                      <a:pt x="95305" y="75905"/>
                    </a:cubicBezTo>
                    <a:close/>
                    <a:moveTo>
                      <a:pt x="143914" y="27847"/>
                    </a:moveTo>
                    <a:cubicBezTo>
                      <a:pt x="140072" y="27847"/>
                      <a:pt x="136958" y="24769"/>
                      <a:pt x="136958" y="20973"/>
                    </a:cubicBezTo>
                    <a:cubicBezTo>
                      <a:pt x="136958" y="17176"/>
                      <a:pt x="140072" y="14098"/>
                      <a:pt x="143914" y="14098"/>
                    </a:cubicBezTo>
                    <a:cubicBezTo>
                      <a:pt x="147756" y="14098"/>
                      <a:pt x="150870" y="17176"/>
                      <a:pt x="150870" y="20973"/>
                    </a:cubicBezTo>
                    <a:lnTo>
                      <a:pt x="150870" y="20973"/>
                    </a:lnTo>
                    <a:cubicBezTo>
                      <a:pt x="150870" y="24758"/>
                      <a:pt x="147765" y="27826"/>
                      <a:pt x="143935" y="27826"/>
                    </a:cubicBezTo>
                    <a:close/>
                  </a:path>
                </a:pathLst>
              </a:custGeom>
              <a:solidFill>
                <a:srgbClr val="BD5C7A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51" name="Freeform 250">
                <a:extLst>
                  <a:ext uri="{FF2B5EF4-FFF2-40B4-BE49-F238E27FC236}">
                    <a16:creationId xmlns:a16="http://schemas.microsoft.com/office/drawing/2014/main" id="{D90A5495-EA8B-1D89-A84F-C6F089C843F8}"/>
                  </a:ext>
                </a:extLst>
              </p:cNvPr>
              <p:cNvSpPr/>
              <p:nvPr/>
            </p:nvSpPr>
            <p:spPr>
              <a:xfrm>
                <a:off x="5527674" y="2836227"/>
                <a:ext cx="333368" cy="318410"/>
              </a:xfrm>
              <a:custGeom>
                <a:avLst/>
                <a:gdLst>
                  <a:gd name="connsiteX0" fmla="*/ 238904 w 333368"/>
                  <a:gd name="connsiteY0" fmla="*/ 285522 h 318410"/>
                  <a:gd name="connsiteX1" fmla="*/ 227808 w 333368"/>
                  <a:gd name="connsiteY1" fmla="*/ 285522 h 318410"/>
                  <a:gd name="connsiteX2" fmla="*/ 200172 w 333368"/>
                  <a:gd name="connsiteY2" fmla="*/ 252583 h 318410"/>
                  <a:gd name="connsiteX3" fmla="*/ 224025 w 333368"/>
                  <a:gd name="connsiteY3" fmla="*/ 252583 h 318410"/>
                  <a:gd name="connsiteX4" fmla="*/ 219402 w 333368"/>
                  <a:gd name="connsiteY4" fmla="*/ 241597 h 318410"/>
                  <a:gd name="connsiteX5" fmla="*/ 22234 w 333368"/>
                  <a:gd name="connsiteY5" fmla="*/ 241597 h 318410"/>
                  <a:gd name="connsiteX6" fmla="*/ 11117 w 333368"/>
                  <a:gd name="connsiteY6" fmla="*/ 230611 h 318410"/>
                  <a:gd name="connsiteX7" fmla="*/ 11117 w 333368"/>
                  <a:gd name="connsiteY7" fmla="*/ 230527 h 318410"/>
                  <a:gd name="connsiteX8" fmla="*/ 11117 w 333368"/>
                  <a:gd name="connsiteY8" fmla="*/ 230527 h 318410"/>
                  <a:gd name="connsiteX9" fmla="*/ 11117 w 333368"/>
                  <a:gd name="connsiteY9" fmla="*/ 208658 h 318410"/>
                  <a:gd name="connsiteX10" fmla="*/ 214757 w 333368"/>
                  <a:gd name="connsiteY10" fmla="*/ 208658 h 318410"/>
                  <a:gd name="connsiteX11" fmla="*/ 215976 w 333368"/>
                  <a:gd name="connsiteY11" fmla="*/ 197672 h 318410"/>
                  <a:gd name="connsiteX12" fmla="*/ 33331 w 333368"/>
                  <a:gd name="connsiteY12" fmla="*/ 197672 h 318410"/>
                  <a:gd name="connsiteX13" fmla="*/ 33331 w 333368"/>
                  <a:gd name="connsiteY13" fmla="*/ 32980 h 318410"/>
                  <a:gd name="connsiteX14" fmla="*/ 300038 w 333368"/>
                  <a:gd name="connsiteY14" fmla="*/ 32980 h 318410"/>
                  <a:gd name="connsiteX15" fmla="*/ 300038 w 333368"/>
                  <a:gd name="connsiteY15" fmla="*/ 123675 h 318410"/>
                  <a:gd name="connsiteX16" fmla="*/ 305166 w 333368"/>
                  <a:gd name="connsiteY16" fmla="*/ 123529 h 318410"/>
                  <a:gd name="connsiteX17" fmla="*/ 311155 w 333368"/>
                  <a:gd name="connsiteY17" fmla="*/ 123737 h 318410"/>
                  <a:gd name="connsiteX18" fmla="*/ 311155 w 333368"/>
                  <a:gd name="connsiteY18" fmla="*/ 27456 h 318410"/>
                  <a:gd name="connsiteX19" fmla="*/ 305586 w 333368"/>
                  <a:gd name="connsiteY19" fmla="*/ 21973 h 318410"/>
                  <a:gd name="connsiteX20" fmla="*/ 27867 w 333368"/>
                  <a:gd name="connsiteY20" fmla="*/ 21973 h 318410"/>
                  <a:gd name="connsiteX21" fmla="*/ 22297 w 333368"/>
                  <a:gd name="connsiteY21" fmla="*/ 27456 h 318410"/>
                  <a:gd name="connsiteX22" fmla="*/ 22297 w 333368"/>
                  <a:gd name="connsiteY22" fmla="*/ 197755 h 318410"/>
                  <a:gd name="connsiteX23" fmla="*/ 11054 w 333368"/>
                  <a:gd name="connsiteY23" fmla="*/ 197755 h 318410"/>
                  <a:gd name="connsiteX24" fmla="*/ 11054 w 333368"/>
                  <a:gd name="connsiteY24" fmla="*/ 21973 h 318410"/>
                  <a:gd name="connsiteX25" fmla="*/ 22171 w 333368"/>
                  <a:gd name="connsiteY25" fmla="*/ 10986 h 318410"/>
                  <a:gd name="connsiteX26" fmla="*/ 311134 w 333368"/>
                  <a:gd name="connsiteY26" fmla="*/ 10986 h 318410"/>
                  <a:gd name="connsiteX27" fmla="*/ 322251 w 333368"/>
                  <a:gd name="connsiteY27" fmla="*/ 21973 h 318410"/>
                  <a:gd name="connsiteX28" fmla="*/ 322251 w 333368"/>
                  <a:gd name="connsiteY28" fmla="*/ 125087 h 318410"/>
                  <a:gd name="connsiteX29" fmla="*/ 333369 w 333368"/>
                  <a:gd name="connsiteY29" fmla="*/ 127932 h 318410"/>
                  <a:gd name="connsiteX30" fmla="*/ 333369 w 333368"/>
                  <a:gd name="connsiteY30" fmla="*/ 22014 h 318410"/>
                  <a:gd name="connsiteX31" fmla="*/ 311134 w 333368"/>
                  <a:gd name="connsiteY31" fmla="*/ 0 h 318410"/>
                  <a:gd name="connsiteX32" fmla="*/ 22234 w 333368"/>
                  <a:gd name="connsiteY32" fmla="*/ 0 h 318410"/>
                  <a:gd name="connsiteX33" fmla="*/ 0 w 333368"/>
                  <a:gd name="connsiteY33" fmla="*/ 21973 h 318410"/>
                  <a:gd name="connsiteX34" fmla="*/ 0 w 333368"/>
                  <a:gd name="connsiteY34" fmla="*/ 230527 h 318410"/>
                  <a:gd name="connsiteX35" fmla="*/ 22234 w 333368"/>
                  <a:gd name="connsiteY35" fmla="*/ 252500 h 318410"/>
                  <a:gd name="connsiteX36" fmla="*/ 133175 w 333368"/>
                  <a:gd name="connsiteY36" fmla="*/ 252500 h 318410"/>
                  <a:gd name="connsiteX37" fmla="*/ 105561 w 333368"/>
                  <a:gd name="connsiteY37" fmla="*/ 285439 h 318410"/>
                  <a:gd name="connsiteX38" fmla="*/ 94444 w 333368"/>
                  <a:gd name="connsiteY38" fmla="*/ 285439 h 318410"/>
                  <a:gd name="connsiteX39" fmla="*/ 78360 w 333368"/>
                  <a:gd name="connsiteY39" fmla="*/ 302503 h 318410"/>
                  <a:gd name="connsiteX40" fmla="*/ 94444 w 333368"/>
                  <a:gd name="connsiteY40" fmla="*/ 318398 h 318410"/>
                  <a:gd name="connsiteX41" fmla="*/ 238904 w 333368"/>
                  <a:gd name="connsiteY41" fmla="*/ 318398 h 318410"/>
                  <a:gd name="connsiteX42" fmla="*/ 256231 w 333368"/>
                  <a:gd name="connsiteY42" fmla="*/ 302567 h 318410"/>
                  <a:gd name="connsiteX43" fmla="*/ 240212 w 333368"/>
                  <a:gd name="connsiteY43" fmla="*/ 285443 h 318410"/>
                  <a:gd name="connsiteX44" fmla="*/ 240081 w 333368"/>
                  <a:gd name="connsiteY44" fmla="*/ 285439 h 318410"/>
                  <a:gd name="connsiteX45" fmla="*/ 144334 w 333368"/>
                  <a:gd name="connsiteY45" fmla="*/ 252583 h 318410"/>
                  <a:gd name="connsiteX46" fmla="*/ 189139 w 333368"/>
                  <a:gd name="connsiteY46" fmla="*/ 252583 h 318410"/>
                  <a:gd name="connsiteX47" fmla="*/ 200824 w 333368"/>
                  <a:gd name="connsiteY47" fmla="*/ 285522 h 318410"/>
                  <a:gd name="connsiteX48" fmla="*/ 132629 w 333368"/>
                  <a:gd name="connsiteY48" fmla="*/ 285522 h 318410"/>
                  <a:gd name="connsiteX49" fmla="*/ 144313 w 333368"/>
                  <a:gd name="connsiteY49" fmla="*/ 252583 h 318410"/>
                  <a:gd name="connsiteX50" fmla="*/ 238904 w 333368"/>
                  <a:gd name="connsiteY50" fmla="*/ 307495 h 318410"/>
                  <a:gd name="connsiteX51" fmla="*/ 94444 w 333368"/>
                  <a:gd name="connsiteY51" fmla="*/ 307495 h 318410"/>
                  <a:gd name="connsiteX52" fmla="*/ 89227 w 333368"/>
                  <a:gd name="connsiteY52" fmla="*/ 301663 h 318410"/>
                  <a:gd name="connsiteX53" fmla="*/ 94444 w 333368"/>
                  <a:gd name="connsiteY53" fmla="*/ 296508 h 318410"/>
                  <a:gd name="connsiteX54" fmla="*/ 238904 w 333368"/>
                  <a:gd name="connsiteY54" fmla="*/ 296508 h 318410"/>
                  <a:gd name="connsiteX55" fmla="*/ 244809 w 333368"/>
                  <a:gd name="connsiteY55" fmla="*/ 301659 h 318410"/>
                  <a:gd name="connsiteX56" fmla="*/ 239597 w 333368"/>
                  <a:gd name="connsiteY56" fmla="*/ 307495 h 318410"/>
                  <a:gd name="connsiteX57" fmla="*/ 238904 w 333368"/>
                  <a:gd name="connsiteY57" fmla="*/ 307495 h 31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333368" h="318410">
                    <a:moveTo>
                      <a:pt x="238904" y="285522"/>
                    </a:moveTo>
                    <a:lnTo>
                      <a:pt x="227808" y="285522"/>
                    </a:lnTo>
                    <a:cubicBezTo>
                      <a:pt x="210743" y="285522"/>
                      <a:pt x="201475" y="274452"/>
                      <a:pt x="200172" y="252583"/>
                    </a:cubicBezTo>
                    <a:lnTo>
                      <a:pt x="224025" y="252583"/>
                    </a:lnTo>
                    <a:cubicBezTo>
                      <a:pt x="222233" y="249029"/>
                      <a:pt x="220689" y="245358"/>
                      <a:pt x="219402" y="241597"/>
                    </a:cubicBezTo>
                    <a:lnTo>
                      <a:pt x="22234" y="241597"/>
                    </a:lnTo>
                    <a:cubicBezTo>
                      <a:pt x="16095" y="241597"/>
                      <a:pt x="11117" y="236678"/>
                      <a:pt x="11117" y="230611"/>
                    </a:cubicBezTo>
                    <a:cubicBezTo>
                      <a:pt x="11117" y="230583"/>
                      <a:pt x="11117" y="230555"/>
                      <a:pt x="11117" y="230527"/>
                    </a:cubicBezTo>
                    <a:lnTo>
                      <a:pt x="11117" y="230527"/>
                    </a:lnTo>
                    <a:lnTo>
                      <a:pt x="11117" y="208658"/>
                    </a:lnTo>
                    <a:lnTo>
                      <a:pt x="214757" y="208658"/>
                    </a:lnTo>
                    <a:cubicBezTo>
                      <a:pt x="214943" y="204976"/>
                      <a:pt x="215350" y="201307"/>
                      <a:pt x="215976" y="197672"/>
                    </a:cubicBezTo>
                    <a:lnTo>
                      <a:pt x="33331" y="197672"/>
                    </a:lnTo>
                    <a:lnTo>
                      <a:pt x="33331" y="32980"/>
                    </a:lnTo>
                    <a:lnTo>
                      <a:pt x="300038" y="32980"/>
                    </a:lnTo>
                    <a:lnTo>
                      <a:pt x="300038" y="123675"/>
                    </a:lnTo>
                    <a:cubicBezTo>
                      <a:pt x="301740" y="123675"/>
                      <a:pt x="303442" y="123529"/>
                      <a:pt x="305166" y="123529"/>
                    </a:cubicBezTo>
                    <a:cubicBezTo>
                      <a:pt x="307164" y="123500"/>
                      <a:pt x="309163" y="123569"/>
                      <a:pt x="311155" y="123737"/>
                    </a:cubicBezTo>
                    <a:lnTo>
                      <a:pt x="311155" y="27456"/>
                    </a:lnTo>
                    <a:cubicBezTo>
                      <a:pt x="311144" y="24424"/>
                      <a:pt x="308654" y="21973"/>
                      <a:pt x="305586" y="21973"/>
                    </a:cubicBezTo>
                    <a:lnTo>
                      <a:pt x="27867" y="21973"/>
                    </a:lnTo>
                    <a:cubicBezTo>
                      <a:pt x="24799" y="21973"/>
                      <a:pt x="22309" y="24424"/>
                      <a:pt x="22297" y="27456"/>
                    </a:cubicBezTo>
                    <a:lnTo>
                      <a:pt x="22297" y="197755"/>
                    </a:lnTo>
                    <a:lnTo>
                      <a:pt x="11054" y="197755"/>
                    </a:lnTo>
                    <a:lnTo>
                      <a:pt x="11054" y="21973"/>
                    </a:lnTo>
                    <a:cubicBezTo>
                      <a:pt x="11054" y="15905"/>
                      <a:pt x="16031" y="10986"/>
                      <a:pt x="22171" y="10986"/>
                    </a:cubicBezTo>
                    <a:lnTo>
                      <a:pt x="311134" y="10986"/>
                    </a:lnTo>
                    <a:cubicBezTo>
                      <a:pt x="317274" y="10986"/>
                      <a:pt x="322251" y="15905"/>
                      <a:pt x="322251" y="21973"/>
                    </a:cubicBezTo>
                    <a:lnTo>
                      <a:pt x="322251" y="125087"/>
                    </a:lnTo>
                    <a:cubicBezTo>
                      <a:pt x="326016" y="125796"/>
                      <a:pt x="329729" y="126746"/>
                      <a:pt x="333369" y="127932"/>
                    </a:cubicBezTo>
                    <a:lnTo>
                      <a:pt x="333369" y="22014"/>
                    </a:lnTo>
                    <a:cubicBezTo>
                      <a:pt x="333369" y="9872"/>
                      <a:pt x="323421" y="23"/>
                      <a:pt x="311134" y="0"/>
                    </a:cubicBezTo>
                    <a:lnTo>
                      <a:pt x="22234" y="0"/>
                    </a:lnTo>
                    <a:cubicBezTo>
                      <a:pt x="9964" y="23"/>
                      <a:pt x="23" y="9847"/>
                      <a:pt x="0" y="21973"/>
                    </a:cubicBezTo>
                    <a:lnTo>
                      <a:pt x="0" y="230527"/>
                    </a:lnTo>
                    <a:cubicBezTo>
                      <a:pt x="23" y="242653"/>
                      <a:pt x="9964" y="252477"/>
                      <a:pt x="22234" y="252500"/>
                    </a:cubicBezTo>
                    <a:lnTo>
                      <a:pt x="133175" y="252500"/>
                    </a:lnTo>
                    <a:cubicBezTo>
                      <a:pt x="131893" y="274369"/>
                      <a:pt x="122667" y="285439"/>
                      <a:pt x="105561" y="285439"/>
                    </a:cubicBezTo>
                    <a:lnTo>
                      <a:pt x="94444" y="285439"/>
                    </a:lnTo>
                    <a:cubicBezTo>
                      <a:pt x="85234" y="285762"/>
                      <a:pt x="78033" y="293402"/>
                      <a:pt x="78360" y="302503"/>
                    </a:cubicBezTo>
                    <a:cubicBezTo>
                      <a:pt x="78671" y="311151"/>
                      <a:pt x="85693" y="318091"/>
                      <a:pt x="94444" y="318398"/>
                    </a:cubicBezTo>
                    <a:lnTo>
                      <a:pt x="238904" y="318398"/>
                    </a:lnTo>
                    <a:cubicBezTo>
                      <a:pt x="248112" y="318755"/>
                      <a:pt x="255870" y="311667"/>
                      <a:pt x="256231" y="302567"/>
                    </a:cubicBezTo>
                    <a:cubicBezTo>
                      <a:pt x="256593" y="293467"/>
                      <a:pt x="249420" y="285800"/>
                      <a:pt x="240212" y="285443"/>
                    </a:cubicBezTo>
                    <a:cubicBezTo>
                      <a:pt x="240168" y="285442"/>
                      <a:pt x="240125" y="285440"/>
                      <a:pt x="240081" y="285439"/>
                    </a:cubicBezTo>
                    <a:close/>
                    <a:moveTo>
                      <a:pt x="144334" y="252583"/>
                    </a:moveTo>
                    <a:lnTo>
                      <a:pt x="189139" y="252583"/>
                    </a:lnTo>
                    <a:cubicBezTo>
                      <a:pt x="189116" y="264559"/>
                      <a:pt x="193239" y="276182"/>
                      <a:pt x="200824" y="285522"/>
                    </a:cubicBezTo>
                    <a:lnTo>
                      <a:pt x="132629" y="285522"/>
                    </a:lnTo>
                    <a:cubicBezTo>
                      <a:pt x="140196" y="276172"/>
                      <a:pt x="144317" y="264556"/>
                      <a:pt x="144313" y="252583"/>
                    </a:cubicBezTo>
                    <a:close/>
                    <a:moveTo>
                      <a:pt x="238904" y="307495"/>
                    </a:moveTo>
                    <a:lnTo>
                      <a:pt x="94444" y="307495"/>
                    </a:lnTo>
                    <a:cubicBezTo>
                      <a:pt x="91374" y="307308"/>
                      <a:pt x="89038" y="304697"/>
                      <a:pt x="89227" y="301663"/>
                    </a:cubicBezTo>
                    <a:cubicBezTo>
                      <a:pt x="89400" y="298890"/>
                      <a:pt x="91637" y="296679"/>
                      <a:pt x="94444" y="296508"/>
                    </a:cubicBezTo>
                    <a:lnTo>
                      <a:pt x="238904" y="296508"/>
                    </a:lnTo>
                    <a:cubicBezTo>
                      <a:pt x="241974" y="296319"/>
                      <a:pt x="244618" y="298625"/>
                      <a:pt x="244809" y="301659"/>
                    </a:cubicBezTo>
                    <a:cubicBezTo>
                      <a:pt x="245001" y="304692"/>
                      <a:pt x="242667" y="307305"/>
                      <a:pt x="239597" y="307495"/>
                    </a:cubicBezTo>
                    <a:cubicBezTo>
                      <a:pt x="239367" y="307515"/>
                      <a:pt x="239135" y="307515"/>
                      <a:pt x="238904" y="307495"/>
                    </a:cubicBezTo>
                    <a:close/>
                  </a:path>
                </a:pathLst>
              </a:custGeom>
              <a:solidFill>
                <a:srgbClr val="1F6896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52" name="Freeform 251">
                <a:extLst>
                  <a:ext uri="{FF2B5EF4-FFF2-40B4-BE49-F238E27FC236}">
                    <a16:creationId xmlns:a16="http://schemas.microsoft.com/office/drawing/2014/main" id="{218FA38B-8E04-9B1E-13ED-15E9FB53D4A0}"/>
                  </a:ext>
                </a:extLst>
              </p:cNvPr>
              <p:cNvSpPr/>
              <p:nvPr/>
            </p:nvSpPr>
            <p:spPr>
              <a:xfrm>
                <a:off x="5756718" y="2974458"/>
                <a:ext cx="208713" cy="206522"/>
              </a:xfrm>
              <a:custGeom>
                <a:avLst/>
                <a:gdLst>
                  <a:gd name="connsiteX0" fmla="*/ 206692 w 208713"/>
                  <a:gd name="connsiteY0" fmla="*/ 175515 h 206522"/>
                  <a:gd name="connsiteX1" fmla="*/ 163105 w 208713"/>
                  <a:gd name="connsiteY1" fmla="*/ 132442 h 206522"/>
                  <a:gd name="connsiteX2" fmla="*/ 153270 w 208713"/>
                  <a:gd name="connsiteY2" fmla="*/ 132442 h 206522"/>
                  <a:gd name="connsiteX3" fmla="*/ 148500 w 208713"/>
                  <a:gd name="connsiteY3" fmla="*/ 137156 h 206522"/>
                  <a:gd name="connsiteX4" fmla="*/ 133789 w 208713"/>
                  <a:gd name="connsiteY4" fmla="*/ 122618 h 206522"/>
                  <a:gd name="connsiteX5" fmla="*/ 124078 w 208713"/>
                  <a:gd name="connsiteY5" fmla="*/ 17320 h 206522"/>
                  <a:gd name="connsiteX6" fmla="*/ 17526 w 208713"/>
                  <a:gd name="connsiteY6" fmla="*/ 26917 h 206522"/>
                  <a:gd name="connsiteX7" fmla="*/ 27237 w 208713"/>
                  <a:gd name="connsiteY7" fmla="*/ 132215 h 206522"/>
                  <a:gd name="connsiteX8" fmla="*/ 123954 w 208713"/>
                  <a:gd name="connsiteY8" fmla="*/ 132317 h 206522"/>
                  <a:gd name="connsiteX9" fmla="*/ 138664 w 208713"/>
                  <a:gd name="connsiteY9" fmla="*/ 146855 h 206522"/>
                  <a:gd name="connsiteX10" fmla="*/ 133873 w 208713"/>
                  <a:gd name="connsiteY10" fmla="*/ 151590 h 206522"/>
                  <a:gd name="connsiteX11" fmla="*/ 133866 w 208713"/>
                  <a:gd name="connsiteY11" fmla="*/ 161282 h 206522"/>
                  <a:gd name="connsiteX12" fmla="*/ 133873 w 208713"/>
                  <a:gd name="connsiteY12" fmla="*/ 161289 h 206522"/>
                  <a:gd name="connsiteX13" fmla="*/ 133873 w 208713"/>
                  <a:gd name="connsiteY13" fmla="*/ 161289 h 206522"/>
                  <a:gd name="connsiteX14" fmla="*/ 177480 w 208713"/>
                  <a:gd name="connsiteY14" fmla="*/ 204445 h 206522"/>
                  <a:gd name="connsiteX15" fmla="*/ 182377 w 208713"/>
                  <a:gd name="connsiteY15" fmla="*/ 206522 h 206522"/>
                  <a:gd name="connsiteX16" fmla="*/ 187294 w 208713"/>
                  <a:gd name="connsiteY16" fmla="*/ 204445 h 206522"/>
                  <a:gd name="connsiteX17" fmla="*/ 206671 w 208713"/>
                  <a:gd name="connsiteY17" fmla="*/ 185297 h 206522"/>
                  <a:gd name="connsiteX18" fmla="*/ 206707 w 208713"/>
                  <a:gd name="connsiteY18" fmla="*/ 175634 h 206522"/>
                  <a:gd name="connsiteX19" fmla="*/ 206671 w 208713"/>
                  <a:gd name="connsiteY19" fmla="*/ 175598 h 206522"/>
                  <a:gd name="connsiteX20" fmla="*/ 75786 w 208713"/>
                  <a:gd name="connsiteY20" fmla="*/ 135910 h 206522"/>
                  <a:gd name="connsiteX21" fmla="*/ 14232 w 208713"/>
                  <a:gd name="connsiteY21" fmla="*/ 75038 h 206522"/>
                  <a:gd name="connsiteX22" fmla="*/ 75828 w 208713"/>
                  <a:gd name="connsiteY22" fmla="*/ 14208 h 206522"/>
                  <a:gd name="connsiteX23" fmla="*/ 137383 w 208713"/>
                  <a:gd name="connsiteY23" fmla="*/ 75080 h 206522"/>
                  <a:gd name="connsiteX24" fmla="*/ 137383 w 208713"/>
                  <a:gd name="connsiteY24" fmla="*/ 75080 h 206522"/>
                  <a:gd name="connsiteX25" fmla="*/ 75786 w 208713"/>
                  <a:gd name="connsiteY25" fmla="*/ 135910 h 206522"/>
                  <a:gd name="connsiteX26" fmla="*/ 182398 w 208713"/>
                  <a:gd name="connsiteY26" fmla="*/ 189907 h 206522"/>
                  <a:gd name="connsiteX27" fmla="*/ 148626 w 208713"/>
                  <a:gd name="connsiteY27" fmla="*/ 156429 h 206522"/>
                  <a:gd name="connsiteX28" fmla="*/ 158188 w 208713"/>
                  <a:gd name="connsiteY28" fmla="*/ 147000 h 206522"/>
                  <a:gd name="connsiteX29" fmla="*/ 191960 w 208713"/>
                  <a:gd name="connsiteY29" fmla="*/ 180375 h 206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08713" h="206522">
                    <a:moveTo>
                      <a:pt x="206692" y="175515"/>
                    </a:moveTo>
                    <a:lnTo>
                      <a:pt x="163105" y="132442"/>
                    </a:lnTo>
                    <a:cubicBezTo>
                      <a:pt x="160389" y="129759"/>
                      <a:pt x="155987" y="129759"/>
                      <a:pt x="153270" y="132442"/>
                    </a:cubicBezTo>
                    <a:lnTo>
                      <a:pt x="148500" y="137156"/>
                    </a:lnTo>
                    <a:lnTo>
                      <a:pt x="133789" y="122618"/>
                    </a:lnTo>
                    <a:cubicBezTo>
                      <a:pt x="160531" y="90891"/>
                      <a:pt x="156183" y="43747"/>
                      <a:pt x="124078" y="17320"/>
                    </a:cubicBezTo>
                    <a:cubicBezTo>
                      <a:pt x="91973" y="-9107"/>
                      <a:pt x="44268" y="-4811"/>
                      <a:pt x="17526" y="26917"/>
                    </a:cubicBezTo>
                    <a:cubicBezTo>
                      <a:pt x="-9216" y="58644"/>
                      <a:pt x="-4868" y="105788"/>
                      <a:pt x="27237" y="132215"/>
                    </a:cubicBezTo>
                    <a:cubicBezTo>
                      <a:pt x="55242" y="155267"/>
                      <a:pt x="95899" y="155310"/>
                      <a:pt x="123954" y="132317"/>
                    </a:cubicBezTo>
                    <a:lnTo>
                      <a:pt x="138664" y="146855"/>
                    </a:lnTo>
                    <a:lnTo>
                      <a:pt x="133873" y="151590"/>
                    </a:lnTo>
                    <a:cubicBezTo>
                      <a:pt x="131163" y="154265"/>
                      <a:pt x="131160" y="158604"/>
                      <a:pt x="133866" y="161282"/>
                    </a:cubicBezTo>
                    <a:cubicBezTo>
                      <a:pt x="133869" y="161285"/>
                      <a:pt x="133871" y="161287"/>
                      <a:pt x="133873" y="161289"/>
                    </a:cubicBezTo>
                    <a:lnTo>
                      <a:pt x="133873" y="161289"/>
                    </a:lnTo>
                    <a:lnTo>
                      <a:pt x="177480" y="204445"/>
                    </a:lnTo>
                    <a:cubicBezTo>
                      <a:pt x="178767" y="205754"/>
                      <a:pt x="180530" y="206502"/>
                      <a:pt x="182377" y="206522"/>
                    </a:cubicBezTo>
                    <a:cubicBezTo>
                      <a:pt x="184229" y="206498"/>
                      <a:pt x="185997" y="205752"/>
                      <a:pt x="187294" y="204445"/>
                    </a:cubicBezTo>
                    <a:lnTo>
                      <a:pt x="206671" y="185297"/>
                    </a:lnTo>
                    <a:cubicBezTo>
                      <a:pt x="209381" y="182638"/>
                      <a:pt x="209397" y="178312"/>
                      <a:pt x="206707" y="175634"/>
                    </a:cubicBezTo>
                    <a:cubicBezTo>
                      <a:pt x="206695" y="175622"/>
                      <a:pt x="206683" y="175610"/>
                      <a:pt x="206671" y="175598"/>
                    </a:cubicBezTo>
                    <a:close/>
                    <a:moveTo>
                      <a:pt x="75786" y="135910"/>
                    </a:moveTo>
                    <a:cubicBezTo>
                      <a:pt x="41779" y="135899"/>
                      <a:pt x="14220" y="108645"/>
                      <a:pt x="14232" y="75038"/>
                    </a:cubicBezTo>
                    <a:cubicBezTo>
                      <a:pt x="14243" y="41431"/>
                      <a:pt x="41821" y="14197"/>
                      <a:pt x="75828" y="14208"/>
                    </a:cubicBezTo>
                    <a:cubicBezTo>
                      <a:pt x="109835" y="14220"/>
                      <a:pt x="137394" y="41473"/>
                      <a:pt x="137383" y="75080"/>
                    </a:cubicBezTo>
                    <a:lnTo>
                      <a:pt x="137383" y="75080"/>
                    </a:lnTo>
                    <a:cubicBezTo>
                      <a:pt x="137371" y="108687"/>
                      <a:pt x="109793" y="135921"/>
                      <a:pt x="75786" y="135910"/>
                    </a:cubicBezTo>
                    <a:close/>
                    <a:moveTo>
                      <a:pt x="182398" y="189907"/>
                    </a:moveTo>
                    <a:lnTo>
                      <a:pt x="148626" y="156429"/>
                    </a:lnTo>
                    <a:lnTo>
                      <a:pt x="158188" y="147000"/>
                    </a:lnTo>
                    <a:lnTo>
                      <a:pt x="191960" y="180375"/>
                    </a:lnTo>
                    <a:close/>
                  </a:path>
                </a:pathLst>
              </a:custGeom>
              <a:solidFill>
                <a:srgbClr val="1F6896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53" name="Freeform 252">
                <a:extLst>
                  <a:ext uri="{FF2B5EF4-FFF2-40B4-BE49-F238E27FC236}">
                    <a16:creationId xmlns:a16="http://schemas.microsoft.com/office/drawing/2014/main" id="{635C450C-A7F4-2A02-21C3-2E3D45D9F170}"/>
                  </a:ext>
                </a:extLst>
              </p:cNvPr>
              <p:cNvSpPr/>
              <p:nvPr/>
            </p:nvSpPr>
            <p:spPr>
              <a:xfrm>
                <a:off x="5833492" y="3002373"/>
                <a:ext cx="48524" cy="48078"/>
              </a:xfrm>
              <a:custGeom>
                <a:avLst/>
                <a:gdLst>
                  <a:gd name="connsiteX0" fmla="*/ 0 w 48524"/>
                  <a:gd name="connsiteY0" fmla="*/ 0 h 48078"/>
                  <a:gd name="connsiteX1" fmla="*/ 0 w 48524"/>
                  <a:gd name="connsiteY1" fmla="*/ 13728 h 48078"/>
                  <a:gd name="connsiteX2" fmla="*/ 34634 w 48524"/>
                  <a:gd name="connsiteY2" fmla="*/ 48078 h 48078"/>
                  <a:gd name="connsiteX3" fmla="*/ 48525 w 48524"/>
                  <a:gd name="connsiteY3" fmla="*/ 48078 h 48078"/>
                  <a:gd name="connsiteX4" fmla="*/ 0 w 48524"/>
                  <a:gd name="connsiteY4" fmla="*/ 0 h 48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24" h="48078">
                    <a:moveTo>
                      <a:pt x="0" y="0"/>
                    </a:moveTo>
                    <a:lnTo>
                      <a:pt x="0" y="13728"/>
                    </a:lnTo>
                    <a:cubicBezTo>
                      <a:pt x="19143" y="13808"/>
                      <a:pt x="34622" y="29160"/>
                      <a:pt x="34634" y="48078"/>
                    </a:cubicBezTo>
                    <a:lnTo>
                      <a:pt x="48525" y="48078"/>
                    </a:lnTo>
                    <a:cubicBezTo>
                      <a:pt x="48513" y="21579"/>
                      <a:pt x="26815" y="80"/>
                      <a:pt x="0" y="0"/>
                    </a:cubicBezTo>
                    <a:close/>
                  </a:path>
                </a:pathLst>
              </a:custGeom>
              <a:solidFill>
                <a:srgbClr val="1F6896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</p:grp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3B146527-9B0E-0ADE-AAFB-03740C777F11}"/>
              </a:ext>
            </a:extLst>
          </p:cNvPr>
          <p:cNvGrpSpPr/>
          <p:nvPr/>
        </p:nvGrpSpPr>
        <p:grpSpPr>
          <a:xfrm>
            <a:off x="2383953" y="1099802"/>
            <a:ext cx="1109662" cy="841468"/>
            <a:chOff x="6759891" y="4312978"/>
            <a:chExt cx="1109662" cy="841468"/>
          </a:xfrm>
        </p:grpSpPr>
        <p:sp>
          <p:nvSpPr>
            <p:cNvPr id="255" name="TextBox 10">
              <a:extLst>
                <a:ext uri="{FF2B5EF4-FFF2-40B4-BE49-F238E27FC236}">
                  <a16:creationId xmlns:a16="http://schemas.microsoft.com/office/drawing/2014/main" id="{08159BE5-7627-FF1B-6331-676A7D2FCB2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59891" y="4815892"/>
              <a:ext cx="110966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800" b="1" dirty="0">
                  <a:solidFill>
                    <a:srgbClr val="3B3838"/>
                  </a:solidFill>
                  <a:latin typeface="+mj-lt"/>
                </a:rPr>
                <a:t>Field Services &amp; Consulting</a:t>
              </a:r>
            </a:p>
          </p:txBody>
        </p:sp>
        <p:grpSp>
          <p:nvGrpSpPr>
            <p:cNvPr id="256" name="Graphic 329">
              <a:extLst>
                <a:ext uri="{FF2B5EF4-FFF2-40B4-BE49-F238E27FC236}">
                  <a16:creationId xmlns:a16="http://schemas.microsoft.com/office/drawing/2014/main" id="{705CF9BC-CCBB-563A-57FC-167D61146049}"/>
                </a:ext>
              </a:extLst>
            </p:cNvPr>
            <p:cNvGrpSpPr/>
            <p:nvPr userDrawn="1"/>
          </p:nvGrpSpPr>
          <p:grpSpPr>
            <a:xfrm>
              <a:off x="7062582" y="4312978"/>
              <a:ext cx="562748" cy="468065"/>
              <a:chOff x="6412938" y="4679128"/>
              <a:chExt cx="376570" cy="313211"/>
            </a:xfrm>
          </p:grpSpPr>
          <p:sp>
            <p:nvSpPr>
              <p:cNvPr id="257" name="Freeform 256">
                <a:extLst>
                  <a:ext uri="{FF2B5EF4-FFF2-40B4-BE49-F238E27FC236}">
                    <a16:creationId xmlns:a16="http://schemas.microsoft.com/office/drawing/2014/main" id="{53DAB811-ADE1-95AB-A009-0BF46DE444F4}"/>
                  </a:ext>
                </a:extLst>
              </p:cNvPr>
              <p:cNvSpPr/>
              <p:nvPr/>
            </p:nvSpPr>
            <p:spPr>
              <a:xfrm>
                <a:off x="6443238" y="4878101"/>
                <a:ext cx="300972" cy="114184"/>
              </a:xfrm>
              <a:custGeom>
                <a:avLst/>
                <a:gdLst>
                  <a:gd name="connsiteX0" fmla="*/ 192657 w 300972"/>
                  <a:gd name="connsiteY0" fmla="*/ 97336 h 114184"/>
                  <a:gd name="connsiteX1" fmla="*/ 153740 w 300972"/>
                  <a:gd name="connsiteY1" fmla="*/ 101718 h 114184"/>
                  <a:gd name="connsiteX2" fmla="*/ 85053 w 300972"/>
                  <a:gd name="connsiteY2" fmla="*/ 82276 h 114184"/>
                  <a:gd name="connsiteX3" fmla="*/ 62057 w 300972"/>
                  <a:gd name="connsiteY3" fmla="*/ 84834 h 114184"/>
                  <a:gd name="connsiteX4" fmla="*/ 56148 w 300972"/>
                  <a:gd name="connsiteY4" fmla="*/ 88018 h 114184"/>
                  <a:gd name="connsiteX5" fmla="*/ 57758 w 300972"/>
                  <a:gd name="connsiteY5" fmla="*/ 29978 h 114184"/>
                  <a:gd name="connsiteX6" fmla="*/ 120308 w 300972"/>
                  <a:gd name="connsiteY6" fmla="*/ 26597 h 114184"/>
                  <a:gd name="connsiteX7" fmla="*/ 124341 w 300972"/>
                  <a:gd name="connsiteY7" fmla="*/ 28618 h 114184"/>
                  <a:gd name="connsiteX8" fmla="*/ 147602 w 300972"/>
                  <a:gd name="connsiteY8" fmla="*/ 34700 h 114184"/>
                  <a:gd name="connsiteX9" fmla="*/ 188128 w 300972"/>
                  <a:gd name="connsiteY9" fmla="*/ 35844 h 114184"/>
                  <a:gd name="connsiteX10" fmla="*/ 211461 w 300972"/>
                  <a:gd name="connsiteY10" fmla="*/ 55519 h 114184"/>
                  <a:gd name="connsiteX11" fmla="*/ 151069 w 300972"/>
                  <a:gd name="connsiteY11" fmla="*/ 53855 h 114184"/>
                  <a:gd name="connsiteX12" fmla="*/ 145329 w 300972"/>
                  <a:gd name="connsiteY12" fmla="*/ 59355 h 114184"/>
                  <a:gd name="connsiteX13" fmla="*/ 150769 w 300972"/>
                  <a:gd name="connsiteY13" fmla="*/ 65159 h 114184"/>
                  <a:gd name="connsiteX14" fmla="*/ 217351 w 300972"/>
                  <a:gd name="connsiteY14" fmla="*/ 66948 h 114184"/>
                  <a:gd name="connsiteX15" fmla="*/ 217510 w 300972"/>
                  <a:gd name="connsiteY15" fmla="*/ 66948 h 114184"/>
                  <a:gd name="connsiteX16" fmla="*/ 223029 w 300972"/>
                  <a:gd name="connsiteY16" fmla="*/ 61439 h 114184"/>
                  <a:gd name="connsiteX17" fmla="*/ 223030 w 300972"/>
                  <a:gd name="connsiteY17" fmla="*/ 61421 h 114184"/>
                  <a:gd name="connsiteX18" fmla="*/ 222463 w 300972"/>
                  <a:gd name="connsiteY18" fmla="*/ 53981 h 114184"/>
                  <a:gd name="connsiteX19" fmla="*/ 267483 w 300972"/>
                  <a:gd name="connsiteY19" fmla="*/ 32518 h 114184"/>
                  <a:gd name="connsiteX20" fmla="*/ 267695 w 300972"/>
                  <a:gd name="connsiteY20" fmla="*/ 32518 h 114184"/>
                  <a:gd name="connsiteX21" fmla="*/ 287153 w 300972"/>
                  <a:gd name="connsiteY21" fmla="*/ 35254 h 114184"/>
                  <a:gd name="connsiteX22" fmla="*/ 11341 w 300972"/>
                  <a:gd name="connsiteY22" fmla="*/ 98821 h 114184"/>
                  <a:gd name="connsiteX23" fmla="*/ 13729 w 300972"/>
                  <a:gd name="connsiteY23" fmla="*/ 11681 h 114184"/>
                  <a:gd name="connsiteX24" fmla="*/ 46968 w 300972"/>
                  <a:gd name="connsiteY24" fmla="*/ 12575 h 114184"/>
                  <a:gd name="connsiteX25" fmla="*/ 44562 w 300972"/>
                  <a:gd name="connsiteY25" fmla="*/ 99840 h 114184"/>
                  <a:gd name="connsiteX26" fmla="*/ 262795 w 300972"/>
                  <a:gd name="connsiteY26" fmla="*/ 22662 h 114184"/>
                  <a:gd name="connsiteX27" fmla="*/ 218926 w 300972"/>
                  <a:gd name="connsiteY27" fmla="*/ 43607 h 114184"/>
                  <a:gd name="connsiteX28" fmla="*/ 188447 w 300972"/>
                  <a:gd name="connsiteY28" fmla="*/ 24612 h 114184"/>
                  <a:gd name="connsiteX29" fmla="*/ 147938 w 300972"/>
                  <a:gd name="connsiteY29" fmla="*/ 23485 h 114184"/>
                  <a:gd name="connsiteX30" fmla="*/ 129647 w 300972"/>
                  <a:gd name="connsiteY30" fmla="*/ 18674 h 114184"/>
                  <a:gd name="connsiteX31" fmla="*/ 125544 w 300972"/>
                  <a:gd name="connsiteY31" fmla="*/ 16510 h 114184"/>
                  <a:gd name="connsiteX32" fmla="*/ 58183 w 300972"/>
                  <a:gd name="connsiteY32" fmla="*/ 16510 h 114184"/>
                  <a:gd name="connsiteX33" fmla="*/ 58448 w 300972"/>
                  <a:gd name="connsiteY33" fmla="*/ 7066 h 114184"/>
                  <a:gd name="connsiteX34" fmla="*/ 52949 w 300972"/>
                  <a:gd name="connsiteY34" fmla="*/ 1253 h 114184"/>
                  <a:gd name="connsiteX35" fmla="*/ 52947 w 300972"/>
                  <a:gd name="connsiteY35" fmla="*/ 1253 h 114184"/>
                  <a:gd name="connsiteX36" fmla="*/ 8458 w 300972"/>
                  <a:gd name="connsiteY36" fmla="*/ 1 h 114184"/>
                  <a:gd name="connsiteX37" fmla="*/ 2709 w 300972"/>
                  <a:gd name="connsiteY37" fmla="*/ 5564 h 114184"/>
                  <a:gd name="connsiteX38" fmla="*/ 2 w 300972"/>
                  <a:gd name="connsiteY38" fmla="*/ 104061 h 114184"/>
                  <a:gd name="connsiteX39" fmla="*/ 5446 w 300972"/>
                  <a:gd name="connsiteY39" fmla="*/ 109892 h 114184"/>
                  <a:gd name="connsiteX40" fmla="*/ 5451 w 300972"/>
                  <a:gd name="connsiteY40" fmla="*/ 109892 h 114184"/>
                  <a:gd name="connsiteX41" fmla="*/ 5451 w 300972"/>
                  <a:gd name="connsiteY41" fmla="*/ 109892 h 114184"/>
                  <a:gd name="connsiteX42" fmla="*/ 49886 w 300972"/>
                  <a:gd name="connsiteY42" fmla="*/ 111126 h 114184"/>
                  <a:gd name="connsiteX43" fmla="*/ 50045 w 300972"/>
                  <a:gd name="connsiteY43" fmla="*/ 111126 h 114184"/>
                  <a:gd name="connsiteX44" fmla="*/ 55671 w 300972"/>
                  <a:gd name="connsiteY44" fmla="*/ 105564 h 114184"/>
                  <a:gd name="connsiteX45" fmla="*/ 55795 w 300972"/>
                  <a:gd name="connsiteY45" fmla="*/ 100842 h 114184"/>
                  <a:gd name="connsiteX46" fmla="*/ 67328 w 300972"/>
                  <a:gd name="connsiteY46" fmla="*/ 94600 h 114184"/>
                  <a:gd name="connsiteX47" fmla="*/ 82099 w 300972"/>
                  <a:gd name="connsiteY47" fmla="*/ 92954 h 114184"/>
                  <a:gd name="connsiteX48" fmla="*/ 151087 w 300972"/>
                  <a:gd name="connsiteY48" fmla="*/ 112629 h 114184"/>
                  <a:gd name="connsiteX49" fmla="*/ 151423 w 300972"/>
                  <a:gd name="connsiteY49" fmla="*/ 112629 h 114184"/>
                  <a:gd name="connsiteX50" fmla="*/ 197805 w 300972"/>
                  <a:gd name="connsiteY50" fmla="*/ 107263 h 114184"/>
                  <a:gd name="connsiteX51" fmla="*/ 198494 w 300972"/>
                  <a:gd name="connsiteY51" fmla="*/ 106869 h 114184"/>
                  <a:gd name="connsiteX52" fmla="*/ 298421 w 300972"/>
                  <a:gd name="connsiteY52" fmla="*/ 41532 h 114184"/>
                  <a:gd name="connsiteX53" fmla="*/ 300190 w 300972"/>
                  <a:gd name="connsiteY53" fmla="*/ 33966 h 114184"/>
                  <a:gd name="connsiteX54" fmla="*/ 262813 w 300972"/>
                  <a:gd name="connsiteY54" fmla="*/ 22484 h 114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00972" h="114184">
                    <a:moveTo>
                      <a:pt x="192657" y="97336"/>
                    </a:moveTo>
                    <a:cubicBezTo>
                      <a:pt x="180465" y="102904"/>
                      <a:pt x="166845" y="104437"/>
                      <a:pt x="153740" y="101718"/>
                    </a:cubicBezTo>
                    <a:lnTo>
                      <a:pt x="85053" y="82276"/>
                    </a:lnTo>
                    <a:cubicBezTo>
                      <a:pt x="77349" y="80084"/>
                      <a:pt x="69105" y="81001"/>
                      <a:pt x="62057" y="84834"/>
                    </a:cubicBezTo>
                    <a:lnTo>
                      <a:pt x="56148" y="88018"/>
                    </a:lnTo>
                    <a:lnTo>
                      <a:pt x="57758" y="29978"/>
                    </a:lnTo>
                    <a:cubicBezTo>
                      <a:pt x="76440" y="17408"/>
                      <a:pt x="100407" y="16113"/>
                      <a:pt x="120308" y="26597"/>
                    </a:cubicBezTo>
                    <a:lnTo>
                      <a:pt x="124341" y="28618"/>
                    </a:lnTo>
                    <a:cubicBezTo>
                      <a:pt x="131546" y="32382"/>
                      <a:pt x="139496" y="34460"/>
                      <a:pt x="147602" y="34700"/>
                    </a:cubicBezTo>
                    <a:lnTo>
                      <a:pt x="188128" y="35844"/>
                    </a:lnTo>
                    <a:cubicBezTo>
                      <a:pt x="199474" y="36147"/>
                      <a:pt x="209129" y="44288"/>
                      <a:pt x="211461" y="55519"/>
                    </a:cubicBezTo>
                    <a:lnTo>
                      <a:pt x="151069" y="53855"/>
                    </a:lnTo>
                    <a:cubicBezTo>
                      <a:pt x="147982" y="53772"/>
                      <a:pt x="145412" y="56234"/>
                      <a:pt x="145329" y="59355"/>
                    </a:cubicBezTo>
                    <a:cubicBezTo>
                      <a:pt x="145246" y="62477"/>
                      <a:pt x="147681" y="65075"/>
                      <a:pt x="150769" y="65159"/>
                    </a:cubicBezTo>
                    <a:lnTo>
                      <a:pt x="217351" y="66948"/>
                    </a:lnTo>
                    <a:lnTo>
                      <a:pt x="217510" y="66948"/>
                    </a:lnTo>
                    <a:cubicBezTo>
                      <a:pt x="220539" y="66968"/>
                      <a:pt x="223010" y="64501"/>
                      <a:pt x="223029" y="61439"/>
                    </a:cubicBezTo>
                    <a:cubicBezTo>
                      <a:pt x="223029" y="61433"/>
                      <a:pt x="223029" y="61427"/>
                      <a:pt x="223030" y="61421"/>
                    </a:cubicBezTo>
                    <a:cubicBezTo>
                      <a:pt x="223098" y="58928"/>
                      <a:pt x="222908" y="56434"/>
                      <a:pt x="222463" y="53981"/>
                    </a:cubicBezTo>
                    <a:lnTo>
                      <a:pt x="267483" y="32518"/>
                    </a:lnTo>
                    <a:lnTo>
                      <a:pt x="267695" y="32518"/>
                    </a:lnTo>
                    <a:cubicBezTo>
                      <a:pt x="274106" y="29208"/>
                      <a:pt x="281879" y="30301"/>
                      <a:pt x="287153" y="35254"/>
                    </a:cubicBezTo>
                    <a:close/>
                    <a:moveTo>
                      <a:pt x="11341" y="98821"/>
                    </a:moveTo>
                    <a:lnTo>
                      <a:pt x="13729" y="11681"/>
                    </a:lnTo>
                    <a:lnTo>
                      <a:pt x="46968" y="12575"/>
                    </a:lnTo>
                    <a:lnTo>
                      <a:pt x="44562" y="99840"/>
                    </a:lnTo>
                    <a:close/>
                    <a:moveTo>
                      <a:pt x="262795" y="22662"/>
                    </a:moveTo>
                    <a:lnTo>
                      <a:pt x="218926" y="43607"/>
                    </a:lnTo>
                    <a:cubicBezTo>
                      <a:pt x="212857" y="32220"/>
                      <a:pt x="201235" y="24977"/>
                      <a:pt x="188447" y="24612"/>
                    </a:cubicBezTo>
                    <a:lnTo>
                      <a:pt x="147938" y="23485"/>
                    </a:lnTo>
                    <a:cubicBezTo>
                      <a:pt x="141565" y="23266"/>
                      <a:pt x="135318" y="21623"/>
                      <a:pt x="129647" y="18674"/>
                    </a:cubicBezTo>
                    <a:lnTo>
                      <a:pt x="125544" y="16510"/>
                    </a:lnTo>
                    <a:cubicBezTo>
                      <a:pt x="104442" y="5367"/>
                      <a:pt x="79284" y="5367"/>
                      <a:pt x="58183" y="16510"/>
                    </a:cubicBezTo>
                    <a:lnTo>
                      <a:pt x="58448" y="7066"/>
                    </a:lnTo>
                    <a:cubicBezTo>
                      <a:pt x="58517" y="3926"/>
                      <a:pt x="56055" y="1323"/>
                      <a:pt x="52949" y="1253"/>
                    </a:cubicBezTo>
                    <a:cubicBezTo>
                      <a:pt x="52948" y="1253"/>
                      <a:pt x="52947" y="1253"/>
                      <a:pt x="52947" y="1253"/>
                    </a:cubicBezTo>
                    <a:lnTo>
                      <a:pt x="8458" y="1"/>
                    </a:lnTo>
                    <a:cubicBezTo>
                      <a:pt x="5355" y="-59"/>
                      <a:pt x="2786" y="2426"/>
                      <a:pt x="2709" y="5564"/>
                    </a:cubicBezTo>
                    <a:lnTo>
                      <a:pt x="2" y="104061"/>
                    </a:lnTo>
                    <a:cubicBezTo>
                      <a:pt x="-87" y="107191"/>
                      <a:pt x="2351" y="109802"/>
                      <a:pt x="5446" y="109892"/>
                    </a:cubicBezTo>
                    <a:cubicBezTo>
                      <a:pt x="5448" y="109892"/>
                      <a:pt x="5449" y="109892"/>
                      <a:pt x="5451" y="109892"/>
                    </a:cubicBezTo>
                    <a:lnTo>
                      <a:pt x="5451" y="109892"/>
                    </a:lnTo>
                    <a:lnTo>
                      <a:pt x="49886" y="111126"/>
                    </a:lnTo>
                    <a:lnTo>
                      <a:pt x="50045" y="111126"/>
                    </a:lnTo>
                    <a:cubicBezTo>
                      <a:pt x="53108" y="111136"/>
                      <a:pt x="55613" y="108660"/>
                      <a:pt x="55671" y="105564"/>
                    </a:cubicBezTo>
                    <a:lnTo>
                      <a:pt x="55795" y="100842"/>
                    </a:lnTo>
                    <a:lnTo>
                      <a:pt x="67328" y="94600"/>
                    </a:lnTo>
                    <a:cubicBezTo>
                      <a:pt x="71856" y="92141"/>
                      <a:pt x="77150" y="91552"/>
                      <a:pt x="82099" y="92954"/>
                    </a:cubicBezTo>
                    <a:lnTo>
                      <a:pt x="151087" y="112629"/>
                    </a:lnTo>
                    <a:lnTo>
                      <a:pt x="151423" y="112629"/>
                    </a:lnTo>
                    <a:cubicBezTo>
                      <a:pt x="167054" y="115883"/>
                      <a:pt x="183305" y="114003"/>
                      <a:pt x="197805" y="107263"/>
                    </a:cubicBezTo>
                    <a:cubicBezTo>
                      <a:pt x="198053" y="107167"/>
                      <a:pt x="198285" y="107035"/>
                      <a:pt x="198494" y="106869"/>
                    </a:cubicBezTo>
                    <a:lnTo>
                      <a:pt x="298421" y="41532"/>
                    </a:lnTo>
                    <a:cubicBezTo>
                      <a:pt x="300937" y="39909"/>
                      <a:pt x="301721" y="36557"/>
                      <a:pt x="300190" y="33966"/>
                    </a:cubicBezTo>
                    <a:cubicBezTo>
                      <a:pt x="292760" y="20665"/>
                      <a:pt x="276306" y="15610"/>
                      <a:pt x="262813" y="22484"/>
                    </a:cubicBezTo>
                    <a:close/>
                  </a:path>
                </a:pathLst>
              </a:custGeom>
              <a:solidFill>
                <a:srgbClr val="1F6999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58" name="Freeform 257">
                <a:extLst>
                  <a:ext uri="{FF2B5EF4-FFF2-40B4-BE49-F238E27FC236}">
                    <a16:creationId xmlns:a16="http://schemas.microsoft.com/office/drawing/2014/main" id="{FED1D961-FC43-AE9C-5DA3-BC5052E2AA4B}"/>
                  </a:ext>
                </a:extLst>
              </p:cNvPr>
              <p:cNvSpPr/>
              <p:nvPr/>
            </p:nvSpPr>
            <p:spPr>
              <a:xfrm>
                <a:off x="6442445" y="4710051"/>
                <a:ext cx="136849" cy="100961"/>
              </a:xfrm>
              <a:custGeom>
                <a:avLst/>
                <a:gdLst>
                  <a:gd name="connsiteX0" fmla="*/ 41180 w 136849"/>
                  <a:gd name="connsiteY0" fmla="*/ 100961 h 100961"/>
                  <a:gd name="connsiteX1" fmla="*/ 40968 w 136849"/>
                  <a:gd name="connsiteY1" fmla="*/ 100961 h 100961"/>
                  <a:gd name="connsiteX2" fmla="*/ 35891 w 136849"/>
                  <a:gd name="connsiteY2" fmla="*/ 98618 h 100961"/>
                  <a:gd name="connsiteX3" fmla="*/ 1892 w 136849"/>
                  <a:gd name="connsiteY3" fmla="*/ 61290 h 100961"/>
                  <a:gd name="connsiteX4" fmla="*/ 2335 w 136849"/>
                  <a:gd name="connsiteY4" fmla="*/ 51006 h 100961"/>
                  <a:gd name="connsiteX5" fmla="*/ 12506 w 136849"/>
                  <a:gd name="connsiteY5" fmla="*/ 51453 h 100961"/>
                  <a:gd name="connsiteX6" fmla="*/ 41516 w 136849"/>
                  <a:gd name="connsiteY6" fmla="*/ 83308 h 100961"/>
                  <a:gd name="connsiteX7" fmla="*/ 124869 w 136849"/>
                  <a:gd name="connsiteY7" fmla="*/ 1838 h 100961"/>
                  <a:gd name="connsiteX8" fmla="*/ 135033 w 136849"/>
                  <a:gd name="connsiteY8" fmla="*/ 2445 h 100961"/>
                  <a:gd name="connsiteX9" fmla="*/ 134863 w 136849"/>
                  <a:gd name="connsiteY9" fmla="*/ 12301 h 100961"/>
                  <a:gd name="connsiteX10" fmla="*/ 46133 w 136849"/>
                  <a:gd name="connsiteY10" fmla="*/ 98922 h 100961"/>
                  <a:gd name="connsiteX11" fmla="*/ 41180 w 136849"/>
                  <a:gd name="connsiteY11" fmla="*/ 100961 h 100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6849" h="100961">
                    <a:moveTo>
                      <a:pt x="41180" y="100961"/>
                    </a:moveTo>
                    <a:lnTo>
                      <a:pt x="40968" y="100961"/>
                    </a:lnTo>
                    <a:cubicBezTo>
                      <a:pt x="39033" y="100904"/>
                      <a:pt x="37202" y="100059"/>
                      <a:pt x="35891" y="98618"/>
                    </a:cubicBezTo>
                    <a:lnTo>
                      <a:pt x="1892" y="61290"/>
                    </a:lnTo>
                    <a:cubicBezTo>
                      <a:pt x="-794" y="58327"/>
                      <a:pt x="-596" y="53722"/>
                      <a:pt x="2335" y="51006"/>
                    </a:cubicBezTo>
                    <a:cubicBezTo>
                      <a:pt x="5265" y="48290"/>
                      <a:pt x="9819" y="48490"/>
                      <a:pt x="12506" y="51453"/>
                    </a:cubicBezTo>
                    <a:lnTo>
                      <a:pt x="41516" y="83308"/>
                    </a:lnTo>
                    <a:lnTo>
                      <a:pt x="124869" y="1838"/>
                    </a:lnTo>
                    <a:cubicBezTo>
                      <a:pt x="127841" y="-833"/>
                      <a:pt x="132392" y="-561"/>
                      <a:pt x="135033" y="2445"/>
                    </a:cubicBezTo>
                    <a:cubicBezTo>
                      <a:pt x="137519" y="5275"/>
                      <a:pt x="137446" y="9560"/>
                      <a:pt x="134863" y="12301"/>
                    </a:cubicBezTo>
                    <a:lnTo>
                      <a:pt x="46133" y="98922"/>
                    </a:lnTo>
                    <a:cubicBezTo>
                      <a:pt x="44804" y="100223"/>
                      <a:pt x="43030" y="100954"/>
                      <a:pt x="41180" y="100961"/>
                    </a:cubicBezTo>
                  </a:path>
                </a:pathLst>
              </a:custGeom>
              <a:solidFill>
                <a:srgbClr val="BA5C7A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59" name="Freeform 258">
                <a:extLst>
                  <a:ext uri="{FF2B5EF4-FFF2-40B4-BE49-F238E27FC236}">
                    <a16:creationId xmlns:a16="http://schemas.microsoft.com/office/drawing/2014/main" id="{F2F4929C-28B1-97E8-3987-49C9F5B32F68}"/>
                  </a:ext>
                </a:extLst>
              </p:cNvPr>
              <p:cNvSpPr/>
              <p:nvPr/>
            </p:nvSpPr>
            <p:spPr>
              <a:xfrm>
                <a:off x="6412941" y="4694241"/>
                <a:ext cx="160364" cy="162147"/>
              </a:xfrm>
              <a:custGeom>
                <a:avLst/>
                <a:gdLst>
                  <a:gd name="connsiteX0" fmla="*/ 80024 w 160364"/>
                  <a:gd name="connsiteY0" fmla="*/ 162147 h 162147"/>
                  <a:gd name="connsiteX1" fmla="*/ 2031 w 160364"/>
                  <a:gd name="connsiteY1" fmla="*/ 99153 h 162147"/>
                  <a:gd name="connsiteX2" fmla="*/ 62361 w 160364"/>
                  <a:gd name="connsiteY2" fmla="*/ 2037 h 162147"/>
                  <a:gd name="connsiteX3" fmla="*/ 128386 w 160364"/>
                  <a:gd name="connsiteY3" fmla="*/ 16252 h 162147"/>
                  <a:gd name="connsiteX4" fmla="*/ 129235 w 160364"/>
                  <a:gd name="connsiteY4" fmla="*/ 22369 h 162147"/>
                  <a:gd name="connsiteX5" fmla="*/ 123186 w 160364"/>
                  <a:gd name="connsiteY5" fmla="*/ 23228 h 162147"/>
                  <a:gd name="connsiteX6" fmla="*/ 22964 w 160364"/>
                  <a:gd name="connsiteY6" fmla="*/ 37540 h 162147"/>
                  <a:gd name="connsiteX7" fmla="*/ 37119 w 160364"/>
                  <a:gd name="connsiteY7" fmla="*/ 138876 h 162147"/>
                  <a:gd name="connsiteX8" fmla="*/ 137341 w 160364"/>
                  <a:gd name="connsiteY8" fmla="*/ 124563 h 162147"/>
                  <a:gd name="connsiteX9" fmla="*/ 149914 w 160364"/>
                  <a:gd name="connsiteY9" fmla="*/ 64884 h 162147"/>
                  <a:gd name="connsiteX10" fmla="*/ 153160 w 160364"/>
                  <a:gd name="connsiteY10" fmla="*/ 59652 h 162147"/>
                  <a:gd name="connsiteX11" fmla="*/ 158334 w 160364"/>
                  <a:gd name="connsiteY11" fmla="*/ 62934 h 162147"/>
                  <a:gd name="connsiteX12" fmla="*/ 98031 w 160364"/>
                  <a:gd name="connsiteY12" fmla="*/ 160073 h 162147"/>
                  <a:gd name="connsiteX13" fmla="*/ 79953 w 160364"/>
                  <a:gd name="connsiteY13" fmla="*/ 162147 h 162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0364" h="162147">
                    <a:moveTo>
                      <a:pt x="80024" y="162147"/>
                    </a:moveTo>
                    <a:cubicBezTo>
                      <a:pt x="42703" y="162039"/>
                      <a:pt x="10381" y="135933"/>
                      <a:pt x="2031" y="99153"/>
                    </a:cubicBezTo>
                    <a:cubicBezTo>
                      <a:pt x="-7832" y="55491"/>
                      <a:pt x="19178" y="12010"/>
                      <a:pt x="62361" y="2037"/>
                    </a:cubicBezTo>
                    <a:cubicBezTo>
                      <a:pt x="85366" y="-3276"/>
                      <a:pt x="109518" y="1924"/>
                      <a:pt x="128386" y="16252"/>
                    </a:cubicBezTo>
                    <a:cubicBezTo>
                      <a:pt x="130291" y="17704"/>
                      <a:pt x="130672" y="20443"/>
                      <a:pt x="129235" y="22369"/>
                    </a:cubicBezTo>
                    <a:cubicBezTo>
                      <a:pt x="127799" y="24295"/>
                      <a:pt x="125091" y="24680"/>
                      <a:pt x="123186" y="23228"/>
                    </a:cubicBezTo>
                    <a:cubicBezTo>
                      <a:pt x="91601" y="-803"/>
                      <a:pt x="46730" y="5605"/>
                      <a:pt x="22964" y="37540"/>
                    </a:cubicBezTo>
                    <a:cubicBezTo>
                      <a:pt x="-803" y="69476"/>
                      <a:pt x="5535" y="114845"/>
                      <a:pt x="37119" y="138876"/>
                    </a:cubicBezTo>
                    <a:cubicBezTo>
                      <a:pt x="68703" y="162907"/>
                      <a:pt x="113574" y="156499"/>
                      <a:pt x="137341" y="124563"/>
                    </a:cubicBezTo>
                    <a:cubicBezTo>
                      <a:pt x="150027" y="107517"/>
                      <a:pt x="154628" y="85679"/>
                      <a:pt x="149914" y="64884"/>
                    </a:cubicBezTo>
                    <a:cubicBezTo>
                      <a:pt x="149382" y="62533"/>
                      <a:pt x="150835" y="60191"/>
                      <a:pt x="153160" y="59652"/>
                    </a:cubicBezTo>
                    <a:cubicBezTo>
                      <a:pt x="155485" y="59114"/>
                      <a:pt x="157802" y="60583"/>
                      <a:pt x="158334" y="62934"/>
                    </a:cubicBezTo>
                    <a:cubicBezTo>
                      <a:pt x="168192" y="106592"/>
                      <a:pt x="141202" y="150070"/>
                      <a:pt x="98031" y="160073"/>
                    </a:cubicBezTo>
                    <a:cubicBezTo>
                      <a:pt x="92102" y="161451"/>
                      <a:pt x="86037" y="162147"/>
                      <a:pt x="79953" y="162147"/>
                    </a:cubicBezTo>
                  </a:path>
                </a:pathLst>
              </a:custGeom>
              <a:solidFill>
                <a:srgbClr val="1F6994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60" name="Freeform 259">
                <a:extLst>
                  <a:ext uri="{FF2B5EF4-FFF2-40B4-BE49-F238E27FC236}">
                    <a16:creationId xmlns:a16="http://schemas.microsoft.com/office/drawing/2014/main" id="{DDA057F3-E7EF-47F0-8490-49FFCE4C8071}"/>
                  </a:ext>
                </a:extLst>
              </p:cNvPr>
              <p:cNvSpPr/>
              <p:nvPr/>
            </p:nvSpPr>
            <p:spPr>
              <a:xfrm>
                <a:off x="6672176" y="4752132"/>
                <a:ext cx="45500" cy="46002"/>
              </a:xfrm>
              <a:custGeom>
                <a:avLst/>
                <a:gdLst>
                  <a:gd name="connsiteX0" fmla="*/ 22766 w 45500"/>
                  <a:gd name="connsiteY0" fmla="*/ 7619 h 46002"/>
                  <a:gd name="connsiteX1" fmla="*/ 7571 w 45500"/>
                  <a:gd name="connsiteY1" fmla="*/ 22948 h 46002"/>
                  <a:gd name="connsiteX2" fmla="*/ 22731 w 45500"/>
                  <a:gd name="connsiteY2" fmla="*/ 38312 h 46002"/>
                  <a:gd name="connsiteX3" fmla="*/ 37926 w 45500"/>
                  <a:gd name="connsiteY3" fmla="*/ 22983 h 46002"/>
                  <a:gd name="connsiteX4" fmla="*/ 22766 w 45500"/>
                  <a:gd name="connsiteY4" fmla="*/ 7619 h 46002"/>
                  <a:gd name="connsiteX5" fmla="*/ 22766 w 45500"/>
                  <a:gd name="connsiteY5" fmla="*/ 46002 h 46002"/>
                  <a:gd name="connsiteX6" fmla="*/ 0 w 45500"/>
                  <a:gd name="connsiteY6" fmla="*/ 23019 h 46002"/>
                  <a:gd name="connsiteX7" fmla="*/ 22731 w 45500"/>
                  <a:gd name="connsiteY7" fmla="*/ 0 h 46002"/>
                  <a:gd name="connsiteX8" fmla="*/ 45497 w 45500"/>
                  <a:gd name="connsiteY8" fmla="*/ 22983 h 46002"/>
                  <a:gd name="connsiteX9" fmla="*/ 23580 w 45500"/>
                  <a:gd name="connsiteY9" fmla="*/ 46003 h 46002"/>
                  <a:gd name="connsiteX10" fmla="*/ 22766 w 45500"/>
                  <a:gd name="connsiteY10" fmla="*/ 46002 h 4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500" h="46002">
                    <a:moveTo>
                      <a:pt x="22766" y="7619"/>
                    </a:moveTo>
                    <a:cubicBezTo>
                      <a:pt x="14384" y="7610"/>
                      <a:pt x="7581" y="14472"/>
                      <a:pt x="7571" y="22948"/>
                    </a:cubicBezTo>
                    <a:cubicBezTo>
                      <a:pt x="7561" y="31423"/>
                      <a:pt x="14349" y="38302"/>
                      <a:pt x="22731" y="38312"/>
                    </a:cubicBezTo>
                    <a:cubicBezTo>
                      <a:pt x="31113" y="38321"/>
                      <a:pt x="37916" y="31459"/>
                      <a:pt x="37926" y="22983"/>
                    </a:cubicBezTo>
                    <a:cubicBezTo>
                      <a:pt x="37936" y="14508"/>
                      <a:pt x="31148" y="7629"/>
                      <a:pt x="22766" y="7619"/>
                    </a:cubicBezTo>
                    <a:moveTo>
                      <a:pt x="22766" y="46002"/>
                    </a:moveTo>
                    <a:cubicBezTo>
                      <a:pt x="10203" y="46012"/>
                      <a:pt x="10" y="35722"/>
                      <a:pt x="0" y="23019"/>
                    </a:cubicBezTo>
                    <a:cubicBezTo>
                      <a:pt x="-10" y="10316"/>
                      <a:pt x="10167" y="10"/>
                      <a:pt x="22731" y="0"/>
                    </a:cubicBezTo>
                    <a:cubicBezTo>
                      <a:pt x="35294" y="-10"/>
                      <a:pt x="45487" y="10280"/>
                      <a:pt x="45497" y="22983"/>
                    </a:cubicBezTo>
                    <a:cubicBezTo>
                      <a:pt x="45724" y="35456"/>
                      <a:pt x="35916" y="45758"/>
                      <a:pt x="23580" y="46003"/>
                    </a:cubicBezTo>
                    <a:lnTo>
                      <a:pt x="22766" y="46002"/>
                    </a:lnTo>
                    <a:close/>
                  </a:path>
                </a:pathLst>
              </a:custGeom>
              <a:solidFill>
                <a:srgbClr val="BD5C7A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61" name="Freeform 260">
                <a:extLst>
                  <a:ext uri="{FF2B5EF4-FFF2-40B4-BE49-F238E27FC236}">
                    <a16:creationId xmlns:a16="http://schemas.microsoft.com/office/drawing/2014/main" id="{034B7938-FBB4-72F3-4F30-AABE65099063}"/>
                  </a:ext>
                </a:extLst>
              </p:cNvPr>
              <p:cNvSpPr/>
              <p:nvPr/>
            </p:nvSpPr>
            <p:spPr>
              <a:xfrm>
                <a:off x="6600198" y="4679128"/>
                <a:ext cx="189275" cy="191486"/>
              </a:xfrm>
              <a:custGeom>
                <a:avLst/>
                <a:gdLst>
                  <a:gd name="connsiteX0" fmla="*/ 98990 w 189275"/>
                  <a:gd name="connsiteY0" fmla="*/ 168175 h 191486"/>
                  <a:gd name="connsiteX1" fmla="*/ 98990 w 189275"/>
                  <a:gd name="connsiteY1" fmla="*/ 158194 h 191486"/>
                  <a:gd name="connsiteX2" fmla="*/ 94388 w 189275"/>
                  <a:gd name="connsiteY2" fmla="*/ 154101 h 191486"/>
                  <a:gd name="connsiteX3" fmla="*/ 90339 w 189275"/>
                  <a:gd name="connsiteY3" fmla="*/ 158194 h 191486"/>
                  <a:gd name="connsiteX4" fmla="*/ 90339 w 189275"/>
                  <a:gd name="connsiteY4" fmla="*/ 168175 h 191486"/>
                  <a:gd name="connsiteX5" fmla="*/ 23279 w 189275"/>
                  <a:gd name="connsiteY5" fmla="*/ 100352 h 191486"/>
                  <a:gd name="connsiteX6" fmla="*/ 33150 w 189275"/>
                  <a:gd name="connsiteY6" fmla="*/ 100352 h 191486"/>
                  <a:gd name="connsiteX7" fmla="*/ 37466 w 189275"/>
                  <a:gd name="connsiteY7" fmla="*/ 95987 h 191486"/>
                  <a:gd name="connsiteX8" fmla="*/ 33150 w 189275"/>
                  <a:gd name="connsiteY8" fmla="*/ 91623 h 191486"/>
                  <a:gd name="connsiteX9" fmla="*/ 23279 w 189275"/>
                  <a:gd name="connsiteY9" fmla="*/ 91623 h 191486"/>
                  <a:gd name="connsiteX10" fmla="*/ 90339 w 189275"/>
                  <a:gd name="connsiteY10" fmla="*/ 23836 h 191486"/>
                  <a:gd name="connsiteX11" fmla="*/ 90339 w 189275"/>
                  <a:gd name="connsiteY11" fmla="*/ 33816 h 191486"/>
                  <a:gd name="connsiteX12" fmla="*/ 94388 w 189275"/>
                  <a:gd name="connsiteY12" fmla="*/ 38469 h 191486"/>
                  <a:gd name="connsiteX13" fmla="*/ 98990 w 189275"/>
                  <a:gd name="connsiteY13" fmla="*/ 34376 h 191486"/>
                  <a:gd name="connsiteX14" fmla="*/ 98990 w 189275"/>
                  <a:gd name="connsiteY14" fmla="*/ 33816 h 191486"/>
                  <a:gd name="connsiteX15" fmla="*/ 98990 w 189275"/>
                  <a:gd name="connsiteY15" fmla="*/ 23836 h 191486"/>
                  <a:gd name="connsiteX16" fmla="*/ 166032 w 189275"/>
                  <a:gd name="connsiteY16" fmla="*/ 91659 h 191486"/>
                  <a:gd name="connsiteX17" fmla="*/ 156161 w 189275"/>
                  <a:gd name="connsiteY17" fmla="*/ 91659 h 191486"/>
                  <a:gd name="connsiteX18" fmla="*/ 151845 w 189275"/>
                  <a:gd name="connsiteY18" fmla="*/ 96023 h 191486"/>
                  <a:gd name="connsiteX19" fmla="*/ 156161 w 189275"/>
                  <a:gd name="connsiteY19" fmla="*/ 100387 h 191486"/>
                  <a:gd name="connsiteX20" fmla="*/ 166032 w 189275"/>
                  <a:gd name="connsiteY20" fmla="*/ 100387 h 191486"/>
                  <a:gd name="connsiteX21" fmla="*/ 98990 w 189275"/>
                  <a:gd name="connsiteY21" fmla="*/ 168211 h 191486"/>
                  <a:gd name="connsiteX22" fmla="*/ 184960 w 189275"/>
                  <a:gd name="connsiteY22" fmla="*/ 91659 h 191486"/>
                  <a:gd name="connsiteX23" fmla="*/ 174611 w 189275"/>
                  <a:gd name="connsiteY23" fmla="*/ 91659 h 191486"/>
                  <a:gd name="connsiteX24" fmla="*/ 98936 w 189275"/>
                  <a:gd name="connsiteY24" fmla="*/ 15107 h 191486"/>
                  <a:gd name="connsiteX25" fmla="*/ 98936 w 189275"/>
                  <a:gd name="connsiteY25" fmla="*/ 4662 h 191486"/>
                  <a:gd name="connsiteX26" fmla="*/ 94888 w 189275"/>
                  <a:gd name="connsiteY26" fmla="*/ 9 h 191486"/>
                  <a:gd name="connsiteX27" fmla="*/ 90286 w 189275"/>
                  <a:gd name="connsiteY27" fmla="*/ 4102 h 191486"/>
                  <a:gd name="connsiteX28" fmla="*/ 90286 w 189275"/>
                  <a:gd name="connsiteY28" fmla="*/ 4662 h 191486"/>
                  <a:gd name="connsiteX29" fmla="*/ 90286 w 189275"/>
                  <a:gd name="connsiteY29" fmla="*/ 15072 h 191486"/>
                  <a:gd name="connsiteX30" fmla="*/ 14647 w 189275"/>
                  <a:gd name="connsiteY30" fmla="*/ 91659 h 191486"/>
                  <a:gd name="connsiteX31" fmla="*/ 4316 w 189275"/>
                  <a:gd name="connsiteY31" fmla="*/ 91659 h 191486"/>
                  <a:gd name="connsiteX32" fmla="*/ 0 w 189275"/>
                  <a:gd name="connsiteY32" fmla="*/ 96023 h 191486"/>
                  <a:gd name="connsiteX33" fmla="*/ 4316 w 189275"/>
                  <a:gd name="connsiteY33" fmla="*/ 100387 h 191486"/>
                  <a:gd name="connsiteX34" fmla="*/ 14647 w 189275"/>
                  <a:gd name="connsiteY34" fmla="*/ 100387 h 191486"/>
                  <a:gd name="connsiteX35" fmla="*/ 90339 w 189275"/>
                  <a:gd name="connsiteY35" fmla="*/ 176939 h 191486"/>
                  <a:gd name="connsiteX36" fmla="*/ 90339 w 189275"/>
                  <a:gd name="connsiteY36" fmla="*/ 187384 h 191486"/>
                  <a:gd name="connsiteX37" fmla="*/ 94941 w 189275"/>
                  <a:gd name="connsiteY37" fmla="*/ 191478 h 191486"/>
                  <a:gd name="connsiteX38" fmla="*/ 98990 w 189275"/>
                  <a:gd name="connsiteY38" fmla="*/ 187384 h 191486"/>
                  <a:gd name="connsiteX39" fmla="*/ 98990 w 189275"/>
                  <a:gd name="connsiteY39" fmla="*/ 176939 h 191486"/>
                  <a:gd name="connsiteX40" fmla="*/ 174664 w 189275"/>
                  <a:gd name="connsiteY40" fmla="*/ 100387 h 191486"/>
                  <a:gd name="connsiteX41" fmla="*/ 184960 w 189275"/>
                  <a:gd name="connsiteY41" fmla="*/ 100387 h 191486"/>
                  <a:gd name="connsiteX42" fmla="*/ 189276 w 189275"/>
                  <a:gd name="connsiteY42" fmla="*/ 96023 h 191486"/>
                  <a:gd name="connsiteX43" fmla="*/ 184960 w 189275"/>
                  <a:gd name="connsiteY43" fmla="*/ 91659 h 191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89275" h="191486">
                    <a:moveTo>
                      <a:pt x="98990" y="168175"/>
                    </a:moveTo>
                    <a:lnTo>
                      <a:pt x="98990" y="158194"/>
                    </a:lnTo>
                    <a:cubicBezTo>
                      <a:pt x="98837" y="155779"/>
                      <a:pt x="96776" y="153947"/>
                      <a:pt x="94388" y="154101"/>
                    </a:cubicBezTo>
                    <a:cubicBezTo>
                      <a:pt x="92212" y="154242"/>
                      <a:pt x="90479" y="155995"/>
                      <a:pt x="90339" y="158194"/>
                    </a:cubicBezTo>
                    <a:lnTo>
                      <a:pt x="90339" y="168175"/>
                    </a:lnTo>
                    <a:cubicBezTo>
                      <a:pt x="54252" y="165939"/>
                      <a:pt x="25481" y="136840"/>
                      <a:pt x="23279" y="100352"/>
                    </a:cubicBezTo>
                    <a:lnTo>
                      <a:pt x="33150" y="100352"/>
                    </a:lnTo>
                    <a:cubicBezTo>
                      <a:pt x="35534" y="100352"/>
                      <a:pt x="37466" y="98398"/>
                      <a:pt x="37466" y="95987"/>
                    </a:cubicBezTo>
                    <a:cubicBezTo>
                      <a:pt x="37466" y="93577"/>
                      <a:pt x="35534" y="91623"/>
                      <a:pt x="33150" y="91623"/>
                    </a:cubicBezTo>
                    <a:lnTo>
                      <a:pt x="23279" y="91623"/>
                    </a:lnTo>
                    <a:cubicBezTo>
                      <a:pt x="25491" y="55145"/>
                      <a:pt x="54261" y="26062"/>
                      <a:pt x="90339" y="23836"/>
                    </a:cubicBezTo>
                    <a:lnTo>
                      <a:pt x="90339" y="33816"/>
                    </a:lnTo>
                    <a:cubicBezTo>
                      <a:pt x="90187" y="36231"/>
                      <a:pt x="91999" y="38314"/>
                      <a:pt x="94388" y="38469"/>
                    </a:cubicBezTo>
                    <a:cubicBezTo>
                      <a:pt x="96776" y="38623"/>
                      <a:pt x="98837" y="36791"/>
                      <a:pt x="98990" y="34376"/>
                    </a:cubicBezTo>
                    <a:cubicBezTo>
                      <a:pt x="99001" y="34189"/>
                      <a:pt x="99001" y="34002"/>
                      <a:pt x="98990" y="33816"/>
                    </a:cubicBezTo>
                    <a:lnTo>
                      <a:pt x="98990" y="23836"/>
                    </a:lnTo>
                    <a:cubicBezTo>
                      <a:pt x="135073" y="26073"/>
                      <a:pt x="163839" y="55173"/>
                      <a:pt x="166032" y="91659"/>
                    </a:cubicBezTo>
                    <a:lnTo>
                      <a:pt x="156161" y="91659"/>
                    </a:lnTo>
                    <a:cubicBezTo>
                      <a:pt x="153778" y="91659"/>
                      <a:pt x="151845" y="93613"/>
                      <a:pt x="151845" y="96023"/>
                    </a:cubicBezTo>
                    <a:cubicBezTo>
                      <a:pt x="151845" y="98433"/>
                      <a:pt x="153778" y="100387"/>
                      <a:pt x="156161" y="100387"/>
                    </a:cubicBezTo>
                    <a:lnTo>
                      <a:pt x="166032" y="100387"/>
                    </a:lnTo>
                    <a:cubicBezTo>
                      <a:pt x="163831" y="136870"/>
                      <a:pt x="135070" y="165966"/>
                      <a:pt x="98990" y="168211"/>
                    </a:cubicBezTo>
                    <a:moveTo>
                      <a:pt x="184960" y="91659"/>
                    </a:moveTo>
                    <a:lnTo>
                      <a:pt x="174611" y="91659"/>
                    </a:lnTo>
                    <a:cubicBezTo>
                      <a:pt x="172374" y="50368"/>
                      <a:pt x="139773" y="17389"/>
                      <a:pt x="98936" y="15107"/>
                    </a:cubicBezTo>
                    <a:lnTo>
                      <a:pt x="98936" y="4662"/>
                    </a:lnTo>
                    <a:cubicBezTo>
                      <a:pt x="99089" y="2247"/>
                      <a:pt x="97277" y="164"/>
                      <a:pt x="94888" y="9"/>
                    </a:cubicBezTo>
                    <a:cubicBezTo>
                      <a:pt x="92500" y="-145"/>
                      <a:pt x="90439" y="1687"/>
                      <a:pt x="90286" y="4102"/>
                    </a:cubicBezTo>
                    <a:cubicBezTo>
                      <a:pt x="90275" y="4289"/>
                      <a:pt x="90275" y="4476"/>
                      <a:pt x="90286" y="4662"/>
                    </a:cubicBezTo>
                    <a:lnTo>
                      <a:pt x="90286" y="15072"/>
                    </a:lnTo>
                    <a:cubicBezTo>
                      <a:pt x="49454" y="17380"/>
                      <a:pt x="16873" y="50370"/>
                      <a:pt x="14647" y="91659"/>
                    </a:cubicBezTo>
                    <a:lnTo>
                      <a:pt x="4316" y="91659"/>
                    </a:lnTo>
                    <a:cubicBezTo>
                      <a:pt x="1932" y="91659"/>
                      <a:pt x="0" y="93613"/>
                      <a:pt x="0" y="96023"/>
                    </a:cubicBezTo>
                    <a:cubicBezTo>
                      <a:pt x="0" y="98433"/>
                      <a:pt x="1932" y="100387"/>
                      <a:pt x="4316" y="100387"/>
                    </a:cubicBezTo>
                    <a:lnTo>
                      <a:pt x="14647" y="100387"/>
                    </a:lnTo>
                    <a:cubicBezTo>
                      <a:pt x="16877" y="141689"/>
                      <a:pt x="49493" y="174674"/>
                      <a:pt x="90339" y="176939"/>
                    </a:cubicBezTo>
                    <a:lnTo>
                      <a:pt x="90339" y="187384"/>
                    </a:lnTo>
                    <a:cubicBezTo>
                      <a:pt x="90492" y="189799"/>
                      <a:pt x="92553" y="191632"/>
                      <a:pt x="94941" y="191478"/>
                    </a:cubicBezTo>
                    <a:cubicBezTo>
                      <a:pt x="97117" y="191337"/>
                      <a:pt x="98850" y="189584"/>
                      <a:pt x="98990" y="187384"/>
                    </a:cubicBezTo>
                    <a:lnTo>
                      <a:pt x="98990" y="176939"/>
                    </a:lnTo>
                    <a:cubicBezTo>
                      <a:pt x="139830" y="174665"/>
                      <a:pt x="172435" y="141682"/>
                      <a:pt x="174664" y="100387"/>
                    </a:cubicBezTo>
                    <a:lnTo>
                      <a:pt x="184960" y="100387"/>
                    </a:lnTo>
                    <a:cubicBezTo>
                      <a:pt x="187343" y="100387"/>
                      <a:pt x="189276" y="98433"/>
                      <a:pt x="189276" y="96023"/>
                    </a:cubicBezTo>
                    <a:cubicBezTo>
                      <a:pt x="189276" y="93613"/>
                      <a:pt x="187343" y="91659"/>
                      <a:pt x="184960" y="91659"/>
                    </a:cubicBezTo>
                  </a:path>
                </a:pathLst>
              </a:custGeom>
              <a:solidFill>
                <a:srgbClr val="1F6996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62" name="Freeform 261">
                <a:extLst>
                  <a:ext uri="{FF2B5EF4-FFF2-40B4-BE49-F238E27FC236}">
                    <a16:creationId xmlns:a16="http://schemas.microsoft.com/office/drawing/2014/main" id="{EF798D3E-C50B-9F20-5586-19ABC8018F82}"/>
                  </a:ext>
                </a:extLst>
              </p:cNvPr>
              <p:cNvSpPr/>
              <p:nvPr/>
            </p:nvSpPr>
            <p:spPr>
              <a:xfrm>
                <a:off x="6412938" y="4679408"/>
                <a:ext cx="376570" cy="312931"/>
              </a:xfrm>
              <a:custGeom>
                <a:avLst/>
                <a:gdLst>
                  <a:gd name="connsiteX0" fmla="*/ 0 w 376570"/>
                  <a:gd name="connsiteY0" fmla="*/ 0 h 312931"/>
                  <a:gd name="connsiteX1" fmla="*/ 376571 w 376570"/>
                  <a:gd name="connsiteY1" fmla="*/ 0 h 312931"/>
                  <a:gd name="connsiteX2" fmla="*/ 376571 w 376570"/>
                  <a:gd name="connsiteY2" fmla="*/ 312932 h 312931"/>
                  <a:gd name="connsiteX3" fmla="*/ 0 w 376570"/>
                  <a:gd name="connsiteY3" fmla="*/ 312932 h 312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6570" h="312931">
                    <a:moveTo>
                      <a:pt x="0" y="0"/>
                    </a:moveTo>
                    <a:lnTo>
                      <a:pt x="376571" y="0"/>
                    </a:lnTo>
                    <a:lnTo>
                      <a:pt x="376571" y="312932"/>
                    </a:lnTo>
                    <a:lnTo>
                      <a:pt x="0" y="312932"/>
                    </a:lnTo>
                    <a:close/>
                  </a:path>
                </a:pathLst>
              </a:custGeom>
              <a:noFill/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</p:grpSp>
      </p:grpSp>
      <p:sp>
        <p:nvSpPr>
          <p:cNvPr id="263" name="Rectangle 262">
            <a:extLst>
              <a:ext uri="{FF2B5EF4-FFF2-40B4-BE49-F238E27FC236}">
                <a16:creationId xmlns:a16="http://schemas.microsoft.com/office/drawing/2014/main" id="{1311FFEB-6961-16A7-1893-766D0F2DFD52}"/>
              </a:ext>
            </a:extLst>
          </p:cNvPr>
          <p:cNvSpPr/>
          <p:nvPr/>
        </p:nvSpPr>
        <p:spPr>
          <a:xfrm>
            <a:off x="0" y="0"/>
            <a:ext cx="9144000" cy="830652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66FABC-59E8-6CE4-85AA-64DA7565EE83}"/>
              </a:ext>
            </a:extLst>
          </p:cNvPr>
          <p:cNvSpPr txBox="1"/>
          <p:nvPr/>
        </p:nvSpPr>
        <p:spPr>
          <a:xfrm>
            <a:off x="411476" y="143864"/>
            <a:ext cx="1889272" cy="272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 dirty="0">
                <a:solidFill>
                  <a:schemeClr val="bg2"/>
                </a:solidFill>
                <a:latin typeface="+mj-lt"/>
              </a:rPr>
              <a:t>Ellab Slide Assets </a:t>
            </a:r>
            <a:r>
              <a:rPr lang="en-US" sz="800" dirty="0">
                <a:solidFill>
                  <a:schemeClr val="bg2"/>
                </a:solidFill>
                <a:latin typeface="+mj-lt"/>
              </a:rPr>
              <a:t>V1</a:t>
            </a:r>
            <a:endParaRPr lang="en-US" sz="1170" dirty="0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264" name="Group 263">
            <a:extLst>
              <a:ext uri="{FF2B5EF4-FFF2-40B4-BE49-F238E27FC236}">
                <a16:creationId xmlns:a16="http://schemas.microsoft.com/office/drawing/2014/main" id="{FB6EEA76-A6F2-7EAE-0041-7446AFE386CE}"/>
              </a:ext>
            </a:extLst>
          </p:cNvPr>
          <p:cNvGrpSpPr/>
          <p:nvPr/>
        </p:nvGrpSpPr>
        <p:grpSpPr>
          <a:xfrm>
            <a:off x="308560" y="1118234"/>
            <a:ext cx="1109662" cy="774277"/>
            <a:chOff x="4496980" y="4354878"/>
            <a:chExt cx="1109662" cy="774277"/>
          </a:xfrm>
        </p:grpSpPr>
        <p:sp>
          <p:nvSpPr>
            <p:cNvPr id="265" name="TextBox 18">
              <a:extLst>
                <a:ext uri="{FF2B5EF4-FFF2-40B4-BE49-F238E27FC236}">
                  <a16:creationId xmlns:a16="http://schemas.microsoft.com/office/drawing/2014/main" id="{CD520687-5DF9-ED32-A6A5-342E581F982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96980" y="4790601"/>
              <a:ext cx="110966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800" b="1" dirty="0">
                  <a:solidFill>
                    <a:srgbClr val="3B3838"/>
                  </a:solidFill>
                  <a:latin typeface="+mj-lt"/>
                </a:rPr>
                <a:t>Validation Solutions</a:t>
              </a:r>
            </a:p>
          </p:txBody>
        </p:sp>
        <p:pic>
          <p:nvPicPr>
            <p:cNvPr id="266" name="Graphic 265">
              <a:extLst>
                <a:ext uri="{FF2B5EF4-FFF2-40B4-BE49-F238E27FC236}">
                  <a16:creationId xmlns:a16="http://schemas.microsoft.com/office/drawing/2014/main" id="{F5E21496-30EA-59D4-DC02-C98819C654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735677" y="4354878"/>
              <a:ext cx="653336" cy="392001"/>
            </a:xfrm>
            <a:prstGeom prst="rect">
              <a:avLst/>
            </a:prstGeom>
          </p:spPr>
        </p:pic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BFE42C5A-F256-2726-C36B-C5E7FC7A46D9}"/>
              </a:ext>
            </a:extLst>
          </p:cNvPr>
          <p:cNvSpPr txBox="1"/>
          <p:nvPr/>
        </p:nvSpPr>
        <p:spPr>
          <a:xfrm>
            <a:off x="418260" y="472311"/>
            <a:ext cx="1438648" cy="271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dirty="0">
                <a:solidFill>
                  <a:schemeClr val="bg2"/>
                </a:solidFill>
                <a:latin typeface="+mn-lt"/>
              </a:rPr>
              <a:t>Ellab Icons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067071B2-6840-967D-A7FA-9588617A682A}"/>
              </a:ext>
            </a:extLst>
          </p:cNvPr>
          <p:cNvSpPr txBox="1"/>
          <p:nvPr/>
        </p:nvSpPr>
        <p:spPr>
          <a:xfrm>
            <a:off x="3898095" y="176287"/>
            <a:ext cx="27235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i="1" u="sng" dirty="0">
                <a:solidFill>
                  <a:schemeClr val="bg2"/>
                </a:solidFill>
                <a:latin typeface="+mn-lt"/>
              </a:rPr>
              <a:t>Copy as needed then delete this slide!</a:t>
            </a:r>
          </a:p>
        </p:txBody>
      </p:sp>
    </p:spTree>
    <p:extLst>
      <p:ext uri="{BB962C8B-B14F-4D97-AF65-F5344CB8AC3E}">
        <p14:creationId xmlns:p14="http://schemas.microsoft.com/office/powerpoint/2010/main" val="12781314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Rectangle 262">
            <a:extLst>
              <a:ext uri="{FF2B5EF4-FFF2-40B4-BE49-F238E27FC236}">
                <a16:creationId xmlns:a16="http://schemas.microsoft.com/office/drawing/2014/main" id="{1D5AC234-94C9-AE59-99FC-C02F27973187}"/>
              </a:ext>
            </a:extLst>
          </p:cNvPr>
          <p:cNvSpPr/>
          <p:nvPr/>
        </p:nvSpPr>
        <p:spPr>
          <a:xfrm>
            <a:off x="0" y="0"/>
            <a:ext cx="9144000" cy="830652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39BE441A-0C0B-8146-89F9-D9BCB00915AD}"/>
              </a:ext>
            </a:extLst>
          </p:cNvPr>
          <p:cNvSpPr txBox="1"/>
          <p:nvPr/>
        </p:nvSpPr>
        <p:spPr>
          <a:xfrm>
            <a:off x="418260" y="472311"/>
            <a:ext cx="1438648" cy="271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dirty="0">
                <a:solidFill>
                  <a:schemeClr val="bg2"/>
                </a:solidFill>
                <a:latin typeface="+mn-lt"/>
              </a:rPr>
              <a:t>Ellab Icons - White</a:t>
            </a:r>
          </a:p>
        </p:txBody>
      </p:sp>
      <p:sp>
        <p:nvSpPr>
          <p:cNvPr id="267" name="Google Shape;199;p25">
            <a:extLst>
              <a:ext uri="{FF2B5EF4-FFF2-40B4-BE49-F238E27FC236}">
                <a16:creationId xmlns:a16="http://schemas.microsoft.com/office/drawing/2014/main" id="{22F080ED-E381-D358-F85A-6495FE82E424}"/>
              </a:ext>
            </a:extLst>
          </p:cNvPr>
          <p:cNvSpPr/>
          <p:nvPr/>
        </p:nvSpPr>
        <p:spPr>
          <a:xfrm flipH="1">
            <a:off x="4253" y="830652"/>
            <a:ext cx="9144000" cy="4890777"/>
          </a:xfrm>
          <a:prstGeom prst="rect">
            <a:avLst/>
          </a:prstGeom>
          <a:gradFill flip="none" rotWithShape="1">
            <a:gsLst>
              <a:gs pos="56000">
                <a:srgbClr val="5C97BA"/>
              </a:gs>
              <a:gs pos="0">
                <a:srgbClr val="9EC9DF"/>
              </a:gs>
              <a:gs pos="100000">
                <a:srgbClr val="1F6898"/>
              </a:gs>
            </a:gsLst>
            <a:lin ang="6600000" scaled="0"/>
            <a:tileRect/>
          </a:gradFill>
          <a:ln>
            <a:noFill/>
          </a:ln>
        </p:spPr>
        <p:txBody>
          <a:bodyPr spcFirstLastPara="1" lIns="76188" tIns="76188" rIns="76188" bIns="76188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170" dirty="0">
              <a:solidFill>
                <a:schemeClr val="lt1"/>
              </a:solidFill>
              <a:latin typeface="Avenir Next" panose="020B0503020202020204" pitchFamily="34" charset="0"/>
            </a:endParaRPr>
          </a:p>
        </p:txBody>
      </p:sp>
      <p:grpSp>
        <p:nvGrpSpPr>
          <p:cNvPr id="268" name="Graphic 3">
            <a:extLst>
              <a:ext uri="{FF2B5EF4-FFF2-40B4-BE49-F238E27FC236}">
                <a16:creationId xmlns:a16="http://schemas.microsoft.com/office/drawing/2014/main" id="{AC14C2B6-12A8-D580-8604-FB6B0E0D2B8A}"/>
              </a:ext>
            </a:extLst>
          </p:cNvPr>
          <p:cNvGrpSpPr/>
          <p:nvPr/>
        </p:nvGrpSpPr>
        <p:grpSpPr>
          <a:xfrm>
            <a:off x="4030002" y="1115103"/>
            <a:ext cx="311374" cy="304732"/>
            <a:chOff x="5211823" y="350131"/>
            <a:chExt cx="434711" cy="434711"/>
          </a:xfrm>
          <a:solidFill>
            <a:schemeClr val="bg1"/>
          </a:solidFill>
        </p:grpSpPr>
        <p:sp>
          <p:nvSpPr>
            <p:cNvPr id="269" name="Freeform 268">
              <a:extLst>
                <a:ext uri="{FF2B5EF4-FFF2-40B4-BE49-F238E27FC236}">
                  <a16:creationId xmlns:a16="http://schemas.microsoft.com/office/drawing/2014/main" id="{59429A06-C327-1611-87A5-B17FA097B2E6}"/>
                </a:ext>
              </a:extLst>
            </p:cNvPr>
            <p:cNvSpPr/>
            <p:nvPr/>
          </p:nvSpPr>
          <p:spPr>
            <a:xfrm>
              <a:off x="5429383" y="558894"/>
              <a:ext cx="223799" cy="223748"/>
            </a:xfrm>
            <a:custGeom>
              <a:avLst/>
              <a:gdLst>
                <a:gd name="connsiteX0" fmla="*/ 223748 w 223799"/>
                <a:gd name="connsiteY0" fmla="*/ 111874 h 223748"/>
                <a:gd name="connsiteX1" fmla="*/ 111874 w 223799"/>
                <a:gd name="connsiteY1" fmla="*/ 223748 h 223748"/>
                <a:gd name="connsiteX2" fmla="*/ 0 w 223799"/>
                <a:gd name="connsiteY2" fmla="*/ 111874 h 223748"/>
                <a:gd name="connsiteX3" fmla="*/ 8745 w 223799"/>
                <a:gd name="connsiteY3" fmla="*/ 103129 h 223748"/>
                <a:gd name="connsiteX4" fmla="*/ 17491 w 223799"/>
                <a:gd name="connsiteY4" fmla="*/ 111874 h 223748"/>
                <a:gd name="connsiteX5" fmla="*/ 111874 w 223799"/>
                <a:gd name="connsiteY5" fmla="*/ 206309 h 223748"/>
                <a:gd name="connsiteX6" fmla="*/ 206309 w 223799"/>
                <a:gd name="connsiteY6" fmla="*/ 111925 h 223748"/>
                <a:gd name="connsiteX7" fmla="*/ 111925 w 223799"/>
                <a:gd name="connsiteY7" fmla="*/ 17491 h 223748"/>
                <a:gd name="connsiteX8" fmla="*/ 111925 w 223799"/>
                <a:gd name="connsiteY8" fmla="*/ 17491 h 223748"/>
                <a:gd name="connsiteX9" fmla="*/ 103180 w 223799"/>
                <a:gd name="connsiteY9" fmla="*/ 8745 h 223748"/>
                <a:gd name="connsiteX10" fmla="*/ 111925 w 223799"/>
                <a:gd name="connsiteY10" fmla="*/ 0 h 223748"/>
                <a:gd name="connsiteX11" fmla="*/ 111925 w 223799"/>
                <a:gd name="connsiteY11" fmla="*/ 0 h 223748"/>
                <a:gd name="connsiteX12" fmla="*/ 223799 w 223799"/>
                <a:gd name="connsiteY12" fmla="*/ 111670 h 223748"/>
                <a:gd name="connsiteX13" fmla="*/ 223799 w 223799"/>
                <a:gd name="connsiteY13" fmla="*/ 111721 h 223748"/>
                <a:gd name="connsiteX14" fmla="*/ 70116 w 223799"/>
                <a:gd name="connsiteY14" fmla="*/ 27003 h 223748"/>
                <a:gd name="connsiteX15" fmla="*/ 81419 w 223799"/>
                <a:gd name="connsiteY15" fmla="*/ 22324 h 223748"/>
                <a:gd name="connsiteX16" fmla="*/ 87070 w 223799"/>
                <a:gd name="connsiteY16" fmla="*/ 11322 h 223748"/>
                <a:gd name="connsiteX17" fmla="*/ 76067 w 223799"/>
                <a:gd name="connsiteY17" fmla="*/ 5672 h 223748"/>
                <a:gd name="connsiteX18" fmla="*/ 75486 w 223799"/>
                <a:gd name="connsiteY18" fmla="*/ 5881 h 223748"/>
                <a:gd name="connsiteX19" fmla="*/ 74719 w 223799"/>
                <a:gd name="connsiteY19" fmla="*/ 6188 h 223748"/>
                <a:gd name="connsiteX20" fmla="*/ 63417 w 223799"/>
                <a:gd name="connsiteY20" fmla="*/ 10868 h 223748"/>
                <a:gd name="connsiteX21" fmla="*/ 57765 w 223799"/>
                <a:gd name="connsiteY21" fmla="*/ 21870 h 223748"/>
                <a:gd name="connsiteX22" fmla="*/ 68769 w 223799"/>
                <a:gd name="connsiteY22" fmla="*/ 27520 h 223748"/>
                <a:gd name="connsiteX23" fmla="*/ 69349 w 223799"/>
                <a:gd name="connsiteY23" fmla="*/ 27310 h 223748"/>
                <a:gd name="connsiteX24" fmla="*/ 40709 w 223799"/>
                <a:gd name="connsiteY24" fmla="*/ 49506 h 223748"/>
                <a:gd name="connsiteX25" fmla="*/ 49352 w 223799"/>
                <a:gd name="connsiteY25" fmla="*/ 40863 h 223748"/>
                <a:gd name="connsiteX26" fmla="*/ 49723 w 223799"/>
                <a:gd name="connsiteY26" fmla="*/ 28448 h 223748"/>
                <a:gd name="connsiteX27" fmla="*/ 37308 w 223799"/>
                <a:gd name="connsiteY27" fmla="*/ 28077 h 223748"/>
                <a:gd name="connsiteX28" fmla="*/ 37002 w 223799"/>
                <a:gd name="connsiteY28" fmla="*/ 28384 h 223748"/>
                <a:gd name="connsiteX29" fmla="*/ 28358 w 223799"/>
                <a:gd name="connsiteY29" fmla="*/ 37053 h 223748"/>
                <a:gd name="connsiteX30" fmla="*/ 27624 w 223799"/>
                <a:gd name="connsiteY30" fmla="*/ 49399 h 223748"/>
                <a:gd name="connsiteX31" fmla="*/ 39970 w 223799"/>
                <a:gd name="connsiteY31" fmla="*/ 50132 h 223748"/>
                <a:gd name="connsiteX32" fmla="*/ 40070 w 223799"/>
                <a:gd name="connsiteY32" fmla="*/ 50043 h 223748"/>
                <a:gd name="connsiteX33" fmla="*/ 10919 w 223799"/>
                <a:gd name="connsiteY33" fmla="*/ 86150 h 223748"/>
                <a:gd name="connsiteX34" fmla="*/ 22324 w 223799"/>
                <a:gd name="connsiteY34" fmla="*/ 81419 h 223748"/>
                <a:gd name="connsiteX35" fmla="*/ 27003 w 223799"/>
                <a:gd name="connsiteY35" fmla="*/ 70091 h 223748"/>
                <a:gd name="connsiteX36" fmla="*/ 22273 w 223799"/>
                <a:gd name="connsiteY36" fmla="*/ 58686 h 223748"/>
                <a:gd name="connsiteX37" fmla="*/ 10868 w 223799"/>
                <a:gd name="connsiteY37" fmla="*/ 63417 h 223748"/>
                <a:gd name="connsiteX38" fmla="*/ 6188 w 223799"/>
                <a:gd name="connsiteY38" fmla="*/ 74719 h 223748"/>
                <a:gd name="connsiteX39" fmla="*/ 10915 w 223799"/>
                <a:gd name="connsiteY39" fmla="*/ 86147 h 223748"/>
                <a:gd name="connsiteX40" fmla="*/ 10919 w 223799"/>
                <a:gd name="connsiteY40" fmla="*/ 86150 h 223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23799" h="223748">
                  <a:moveTo>
                    <a:pt x="223748" y="111874"/>
                  </a:moveTo>
                  <a:cubicBezTo>
                    <a:pt x="223748" y="173659"/>
                    <a:pt x="173659" y="223748"/>
                    <a:pt x="111874" y="223748"/>
                  </a:cubicBezTo>
                  <a:cubicBezTo>
                    <a:pt x="50089" y="223748"/>
                    <a:pt x="0" y="173659"/>
                    <a:pt x="0" y="111874"/>
                  </a:cubicBezTo>
                  <a:cubicBezTo>
                    <a:pt x="0" y="107044"/>
                    <a:pt x="3915" y="103129"/>
                    <a:pt x="8745" y="103129"/>
                  </a:cubicBezTo>
                  <a:cubicBezTo>
                    <a:pt x="13575" y="103129"/>
                    <a:pt x="17491" y="107044"/>
                    <a:pt x="17491" y="111874"/>
                  </a:cubicBezTo>
                  <a:cubicBezTo>
                    <a:pt x="17477" y="164014"/>
                    <a:pt x="59734" y="206293"/>
                    <a:pt x="111874" y="206309"/>
                  </a:cubicBezTo>
                  <a:cubicBezTo>
                    <a:pt x="164014" y="206324"/>
                    <a:pt x="206293" y="164065"/>
                    <a:pt x="206309" y="111925"/>
                  </a:cubicBezTo>
                  <a:cubicBezTo>
                    <a:pt x="206324" y="59786"/>
                    <a:pt x="164065" y="17505"/>
                    <a:pt x="111925" y="17491"/>
                  </a:cubicBezTo>
                  <a:lnTo>
                    <a:pt x="111925" y="17491"/>
                  </a:lnTo>
                  <a:cubicBezTo>
                    <a:pt x="107095" y="17491"/>
                    <a:pt x="103180" y="13575"/>
                    <a:pt x="103180" y="8745"/>
                  </a:cubicBezTo>
                  <a:cubicBezTo>
                    <a:pt x="103180" y="3916"/>
                    <a:pt x="107095" y="0"/>
                    <a:pt x="111925" y="0"/>
                  </a:cubicBezTo>
                  <a:lnTo>
                    <a:pt x="111925" y="0"/>
                  </a:lnTo>
                  <a:cubicBezTo>
                    <a:pt x="173654" y="-56"/>
                    <a:pt x="223743" y="49941"/>
                    <a:pt x="223799" y="111670"/>
                  </a:cubicBezTo>
                  <a:cubicBezTo>
                    <a:pt x="223799" y="111688"/>
                    <a:pt x="223799" y="111703"/>
                    <a:pt x="223799" y="111721"/>
                  </a:cubicBezTo>
                  <a:close/>
                  <a:moveTo>
                    <a:pt x="70116" y="27003"/>
                  </a:moveTo>
                  <a:lnTo>
                    <a:pt x="81419" y="22324"/>
                  </a:lnTo>
                  <a:cubicBezTo>
                    <a:pt x="86017" y="20846"/>
                    <a:pt x="88546" y="15920"/>
                    <a:pt x="87070" y="11322"/>
                  </a:cubicBezTo>
                  <a:cubicBezTo>
                    <a:pt x="85592" y="6724"/>
                    <a:pt x="80664" y="4194"/>
                    <a:pt x="76067" y="5672"/>
                  </a:cubicBezTo>
                  <a:cubicBezTo>
                    <a:pt x="75870" y="5735"/>
                    <a:pt x="75678" y="5805"/>
                    <a:pt x="75486" y="5881"/>
                  </a:cubicBezTo>
                  <a:lnTo>
                    <a:pt x="74719" y="6188"/>
                  </a:lnTo>
                  <a:lnTo>
                    <a:pt x="63417" y="10868"/>
                  </a:lnTo>
                  <a:cubicBezTo>
                    <a:pt x="58819" y="12346"/>
                    <a:pt x="56290" y="17271"/>
                    <a:pt x="57765" y="21870"/>
                  </a:cubicBezTo>
                  <a:cubicBezTo>
                    <a:pt x="59243" y="26468"/>
                    <a:pt x="64171" y="28998"/>
                    <a:pt x="68769" y="27520"/>
                  </a:cubicBezTo>
                  <a:cubicBezTo>
                    <a:pt x="68966" y="27457"/>
                    <a:pt x="69157" y="27387"/>
                    <a:pt x="69349" y="27310"/>
                  </a:cubicBezTo>
                  <a:close/>
                  <a:moveTo>
                    <a:pt x="40709" y="49506"/>
                  </a:moveTo>
                  <a:lnTo>
                    <a:pt x="49352" y="40863"/>
                  </a:lnTo>
                  <a:cubicBezTo>
                    <a:pt x="52884" y="37537"/>
                    <a:pt x="53050" y="31979"/>
                    <a:pt x="49723" y="28448"/>
                  </a:cubicBezTo>
                  <a:cubicBezTo>
                    <a:pt x="46396" y="24917"/>
                    <a:pt x="40840" y="24751"/>
                    <a:pt x="37308" y="28077"/>
                  </a:cubicBezTo>
                  <a:lnTo>
                    <a:pt x="37002" y="28384"/>
                  </a:lnTo>
                  <a:lnTo>
                    <a:pt x="28358" y="37053"/>
                  </a:lnTo>
                  <a:cubicBezTo>
                    <a:pt x="24746" y="40259"/>
                    <a:pt x="24417" y="45787"/>
                    <a:pt x="27624" y="49399"/>
                  </a:cubicBezTo>
                  <a:cubicBezTo>
                    <a:pt x="30830" y="53012"/>
                    <a:pt x="36357" y="53339"/>
                    <a:pt x="39970" y="50132"/>
                  </a:cubicBezTo>
                  <a:cubicBezTo>
                    <a:pt x="40004" y="50104"/>
                    <a:pt x="40037" y="50074"/>
                    <a:pt x="40070" y="50043"/>
                  </a:cubicBezTo>
                  <a:close/>
                  <a:moveTo>
                    <a:pt x="10919" y="86150"/>
                  </a:moveTo>
                  <a:cubicBezTo>
                    <a:pt x="15375" y="87983"/>
                    <a:pt x="20474" y="85868"/>
                    <a:pt x="22324" y="81419"/>
                  </a:cubicBezTo>
                  <a:lnTo>
                    <a:pt x="27003" y="70091"/>
                  </a:lnTo>
                  <a:cubicBezTo>
                    <a:pt x="28846" y="65636"/>
                    <a:pt x="26728" y="60530"/>
                    <a:pt x="22273" y="58686"/>
                  </a:cubicBezTo>
                  <a:cubicBezTo>
                    <a:pt x="17817" y="56842"/>
                    <a:pt x="12711" y="58962"/>
                    <a:pt x="10868" y="63417"/>
                  </a:cubicBezTo>
                  <a:lnTo>
                    <a:pt x="6188" y="74719"/>
                  </a:lnTo>
                  <a:cubicBezTo>
                    <a:pt x="4338" y="79181"/>
                    <a:pt x="6454" y="84298"/>
                    <a:pt x="10915" y="86147"/>
                  </a:cubicBezTo>
                  <a:cubicBezTo>
                    <a:pt x="10916" y="86150"/>
                    <a:pt x="10918" y="86150"/>
                    <a:pt x="10919" y="86150"/>
                  </a:cubicBezTo>
                  <a:close/>
                </a:path>
              </a:pathLst>
            </a:custGeom>
            <a:grpFill/>
            <a:ln w="2521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0" name="Freeform 269">
              <a:extLst>
                <a:ext uri="{FF2B5EF4-FFF2-40B4-BE49-F238E27FC236}">
                  <a16:creationId xmlns:a16="http://schemas.microsoft.com/office/drawing/2014/main" id="{49753F23-7C90-C6F2-0BAF-0A7775459FE0}"/>
                </a:ext>
              </a:extLst>
            </p:cNvPr>
            <p:cNvSpPr/>
            <p:nvPr/>
          </p:nvSpPr>
          <p:spPr>
            <a:xfrm>
              <a:off x="5425470" y="350130"/>
              <a:ext cx="186184" cy="186209"/>
            </a:xfrm>
            <a:custGeom>
              <a:avLst/>
              <a:gdLst>
                <a:gd name="connsiteX0" fmla="*/ 175419 w 186184"/>
                <a:gd name="connsiteY0" fmla="*/ 186210 h 186209"/>
                <a:gd name="connsiteX1" fmla="*/ 10766 w 186184"/>
                <a:gd name="connsiteY1" fmla="*/ 186210 h 186209"/>
                <a:gd name="connsiteX2" fmla="*/ 0 w 186184"/>
                <a:gd name="connsiteY2" fmla="*/ 175495 h 186209"/>
                <a:gd name="connsiteX3" fmla="*/ 0 w 186184"/>
                <a:gd name="connsiteY3" fmla="*/ 175444 h 186209"/>
                <a:gd name="connsiteX4" fmla="*/ 0 w 186184"/>
                <a:gd name="connsiteY4" fmla="*/ 175444 h 186209"/>
                <a:gd name="connsiteX5" fmla="*/ 0 w 186184"/>
                <a:gd name="connsiteY5" fmla="*/ 10766 h 186209"/>
                <a:gd name="connsiteX6" fmla="*/ 10714 w 186184"/>
                <a:gd name="connsiteY6" fmla="*/ 0 h 186209"/>
                <a:gd name="connsiteX7" fmla="*/ 175419 w 186184"/>
                <a:gd name="connsiteY7" fmla="*/ 0 h 186209"/>
                <a:gd name="connsiteX8" fmla="*/ 186184 w 186184"/>
                <a:gd name="connsiteY8" fmla="*/ 10714 h 186209"/>
                <a:gd name="connsiteX9" fmla="*/ 186184 w 186184"/>
                <a:gd name="connsiteY9" fmla="*/ 10766 h 186209"/>
                <a:gd name="connsiteX10" fmla="*/ 186184 w 186184"/>
                <a:gd name="connsiteY10" fmla="*/ 175342 h 186209"/>
                <a:gd name="connsiteX11" fmla="*/ 175419 w 186184"/>
                <a:gd name="connsiteY11" fmla="*/ 186133 h 186209"/>
                <a:gd name="connsiteX12" fmla="*/ 21608 w 186184"/>
                <a:gd name="connsiteY12" fmla="*/ 164653 h 186209"/>
                <a:gd name="connsiteX13" fmla="*/ 164807 w 186184"/>
                <a:gd name="connsiteY13" fmla="*/ 164653 h 186209"/>
                <a:gd name="connsiteX14" fmla="*/ 164807 w 186184"/>
                <a:gd name="connsiteY14" fmla="*/ 21454 h 186209"/>
                <a:gd name="connsiteX15" fmla="*/ 21608 w 186184"/>
                <a:gd name="connsiteY15" fmla="*/ 21454 h 18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6184" h="186209">
                  <a:moveTo>
                    <a:pt x="175419" y="186210"/>
                  </a:moveTo>
                  <a:lnTo>
                    <a:pt x="10766" y="186210"/>
                  </a:lnTo>
                  <a:cubicBezTo>
                    <a:pt x="4834" y="186224"/>
                    <a:pt x="14" y="181427"/>
                    <a:pt x="0" y="175495"/>
                  </a:cubicBezTo>
                  <a:cubicBezTo>
                    <a:pt x="0" y="175478"/>
                    <a:pt x="0" y="175461"/>
                    <a:pt x="0" y="175444"/>
                  </a:cubicBezTo>
                  <a:lnTo>
                    <a:pt x="0" y="175444"/>
                  </a:lnTo>
                  <a:lnTo>
                    <a:pt x="0" y="10766"/>
                  </a:lnTo>
                  <a:cubicBezTo>
                    <a:pt x="-14" y="4834"/>
                    <a:pt x="4783" y="14"/>
                    <a:pt x="10714" y="0"/>
                  </a:cubicBezTo>
                  <a:lnTo>
                    <a:pt x="175419" y="0"/>
                  </a:lnTo>
                  <a:cubicBezTo>
                    <a:pt x="181351" y="-14"/>
                    <a:pt x="186169" y="4783"/>
                    <a:pt x="186184" y="10714"/>
                  </a:cubicBezTo>
                  <a:cubicBezTo>
                    <a:pt x="186184" y="10731"/>
                    <a:pt x="186184" y="10748"/>
                    <a:pt x="186184" y="10766"/>
                  </a:cubicBezTo>
                  <a:lnTo>
                    <a:pt x="186184" y="175342"/>
                  </a:lnTo>
                  <a:cubicBezTo>
                    <a:pt x="186184" y="181292"/>
                    <a:pt x="181369" y="186119"/>
                    <a:pt x="175419" y="186133"/>
                  </a:cubicBezTo>
                  <a:close/>
                  <a:moveTo>
                    <a:pt x="21608" y="164653"/>
                  </a:moveTo>
                  <a:lnTo>
                    <a:pt x="164807" y="164653"/>
                  </a:lnTo>
                  <a:lnTo>
                    <a:pt x="164807" y="21454"/>
                  </a:lnTo>
                  <a:lnTo>
                    <a:pt x="21608" y="21454"/>
                  </a:lnTo>
                  <a:close/>
                </a:path>
              </a:pathLst>
            </a:custGeom>
            <a:grpFill/>
            <a:ln w="2521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1" name="Freeform 270">
              <a:extLst>
                <a:ext uri="{FF2B5EF4-FFF2-40B4-BE49-F238E27FC236}">
                  <a16:creationId xmlns:a16="http://schemas.microsoft.com/office/drawing/2014/main" id="{22380A06-07D8-24BE-94C0-12CB7F3257F1}"/>
                </a:ext>
              </a:extLst>
            </p:cNvPr>
            <p:cNvSpPr/>
            <p:nvPr/>
          </p:nvSpPr>
          <p:spPr>
            <a:xfrm>
              <a:off x="5211822" y="350130"/>
              <a:ext cx="186184" cy="186209"/>
            </a:xfrm>
            <a:custGeom>
              <a:avLst/>
              <a:gdLst>
                <a:gd name="connsiteX0" fmla="*/ 175419 w 186184"/>
                <a:gd name="connsiteY0" fmla="*/ 186210 h 186209"/>
                <a:gd name="connsiteX1" fmla="*/ 10766 w 186184"/>
                <a:gd name="connsiteY1" fmla="*/ 186210 h 186209"/>
                <a:gd name="connsiteX2" fmla="*/ 0 w 186184"/>
                <a:gd name="connsiteY2" fmla="*/ 175495 h 186209"/>
                <a:gd name="connsiteX3" fmla="*/ 0 w 186184"/>
                <a:gd name="connsiteY3" fmla="*/ 175444 h 186209"/>
                <a:gd name="connsiteX4" fmla="*/ 0 w 186184"/>
                <a:gd name="connsiteY4" fmla="*/ 175444 h 186209"/>
                <a:gd name="connsiteX5" fmla="*/ 0 w 186184"/>
                <a:gd name="connsiteY5" fmla="*/ 10766 h 186209"/>
                <a:gd name="connsiteX6" fmla="*/ 10714 w 186184"/>
                <a:gd name="connsiteY6" fmla="*/ 0 h 186209"/>
                <a:gd name="connsiteX7" fmla="*/ 175419 w 186184"/>
                <a:gd name="connsiteY7" fmla="*/ 0 h 186209"/>
                <a:gd name="connsiteX8" fmla="*/ 186184 w 186184"/>
                <a:gd name="connsiteY8" fmla="*/ 10714 h 186209"/>
                <a:gd name="connsiteX9" fmla="*/ 186184 w 186184"/>
                <a:gd name="connsiteY9" fmla="*/ 10766 h 186209"/>
                <a:gd name="connsiteX10" fmla="*/ 186184 w 186184"/>
                <a:gd name="connsiteY10" fmla="*/ 10766 h 186209"/>
                <a:gd name="connsiteX11" fmla="*/ 186184 w 186184"/>
                <a:gd name="connsiteY11" fmla="*/ 175342 h 186209"/>
                <a:gd name="connsiteX12" fmla="*/ 175419 w 186184"/>
                <a:gd name="connsiteY12" fmla="*/ 186133 h 186209"/>
                <a:gd name="connsiteX13" fmla="*/ 21557 w 186184"/>
                <a:gd name="connsiteY13" fmla="*/ 164653 h 186209"/>
                <a:gd name="connsiteX14" fmla="*/ 164756 w 186184"/>
                <a:gd name="connsiteY14" fmla="*/ 164653 h 186209"/>
                <a:gd name="connsiteX15" fmla="*/ 164756 w 186184"/>
                <a:gd name="connsiteY15" fmla="*/ 21454 h 186209"/>
                <a:gd name="connsiteX16" fmla="*/ 21557 w 186184"/>
                <a:gd name="connsiteY16" fmla="*/ 21454 h 18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6184" h="186209">
                  <a:moveTo>
                    <a:pt x="175419" y="186210"/>
                  </a:moveTo>
                  <a:lnTo>
                    <a:pt x="10766" y="186210"/>
                  </a:lnTo>
                  <a:cubicBezTo>
                    <a:pt x="4834" y="186224"/>
                    <a:pt x="14" y="181427"/>
                    <a:pt x="0" y="175495"/>
                  </a:cubicBezTo>
                  <a:cubicBezTo>
                    <a:pt x="0" y="175478"/>
                    <a:pt x="0" y="175461"/>
                    <a:pt x="0" y="175444"/>
                  </a:cubicBezTo>
                  <a:lnTo>
                    <a:pt x="0" y="175444"/>
                  </a:lnTo>
                  <a:lnTo>
                    <a:pt x="0" y="10766"/>
                  </a:lnTo>
                  <a:cubicBezTo>
                    <a:pt x="-14" y="4834"/>
                    <a:pt x="4783" y="14"/>
                    <a:pt x="10714" y="0"/>
                  </a:cubicBezTo>
                  <a:lnTo>
                    <a:pt x="175419" y="0"/>
                  </a:lnTo>
                  <a:cubicBezTo>
                    <a:pt x="181350" y="-14"/>
                    <a:pt x="186170" y="4783"/>
                    <a:pt x="186184" y="10714"/>
                  </a:cubicBezTo>
                  <a:cubicBezTo>
                    <a:pt x="186184" y="10731"/>
                    <a:pt x="186184" y="10748"/>
                    <a:pt x="186184" y="10766"/>
                  </a:cubicBezTo>
                  <a:lnTo>
                    <a:pt x="186184" y="10766"/>
                  </a:lnTo>
                  <a:lnTo>
                    <a:pt x="186184" y="175342"/>
                  </a:lnTo>
                  <a:cubicBezTo>
                    <a:pt x="186184" y="181292"/>
                    <a:pt x="181368" y="186119"/>
                    <a:pt x="175419" y="186133"/>
                  </a:cubicBezTo>
                  <a:close/>
                  <a:moveTo>
                    <a:pt x="21557" y="164653"/>
                  </a:moveTo>
                  <a:lnTo>
                    <a:pt x="164756" y="164653"/>
                  </a:lnTo>
                  <a:lnTo>
                    <a:pt x="164756" y="21454"/>
                  </a:lnTo>
                  <a:lnTo>
                    <a:pt x="21557" y="21454"/>
                  </a:lnTo>
                  <a:close/>
                </a:path>
              </a:pathLst>
            </a:custGeom>
            <a:grpFill/>
            <a:ln w="2521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2" name="Freeform 271">
              <a:extLst>
                <a:ext uri="{FF2B5EF4-FFF2-40B4-BE49-F238E27FC236}">
                  <a16:creationId xmlns:a16="http://schemas.microsoft.com/office/drawing/2014/main" id="{EE037299-1BB5-0E03-46A9-E7A12FC137FD}"/>
                </a:ext>
              </a:extLst>
            </p:cNvPr>
            <p:cNvSpPr/>
            <p:nvPr/>
          </p:nvSpPr>
          <p:spPr>
            <a:xfrm>
              <a:off x="5211822" y="557897"/>
              <a:ext cx="186209" cy="186209"/>
            </a:xfrm>
            <a:custGeom>
              <a:avLst/>
              <a:gdLst>
                <a:gd name="connsiteX0" fmla="*/ 175419 w 186209"/>
                <a:gd name="connsiteY0" fmla="*/ 186210 h 186209"/>
                <a:gd name="connsiteX1" fmla="*/ 10766 w 186209"/>
                <a:gd name="connsiteY1" fmla="*/ 186210 h 186209"/>
                <a:gd name="connsiteX2" fmla="*/ 0 w 186209"/>
                <a:gd name="connsiteY2" fmla="*/ 175495 h 186209"/>
                <a:gd name="connsiteX3" fmla="*/ 0 w 186209"/>
                <a:gd name="connsiteY3" fmla="*/ 175444 h 186209"/>
                <a:gd name="connsiteX4" fmla="*/ 0 w 186209"/>
                <a:gd name="connsiteY4" fmla="*/ 175444 h 186209"/>
                <a:gd name="connsiteX5" fmla="*/ 0 w 186209"/>
                <a:gd name="connsiteY5" fmla="*/ 10765 h 186209"/>
                <a:gd name="connsiteX6" fmla="*/ 10714 w 186209"/>
                <a:gd name="connsiteY6" fmla="*/ 0 h 186209"/>
                <a:gd name="connsiteX7" fmla="*/ 175419 w 186209"/>
                <a:gd name="connsiteY7" fmla="*/ 0 h 186209"/>
                <a:gd name="connsiteX8" fmla="*/ 186210 w 186209"/>
                <a:gd name="connsiteY8" fmla="*/ 10791 h 186209"/>
                <a:gd name="connsiteX9" fmla="*/ 186210 w 186209"/>
                <a:gd name="connsiteY9" fmla="*/ 175419 h 186209"/>
                <a:gd name="connsiteX10" fmla="*/ 175419 w 186209"/>
                <a:gd name="connsiteY10" fmla="*/ 186210 h 186209"/>
                <a:gd name="connsiteX11" fmla="*/ 21557 w 186209"/>
                <a:gd name="connsiteY11" fmla="*/ 164653 h 186209"/>
                <a:gd name="connsiteX12" fmla="*/ 164756 w 186209"/>
                <a:gd name="connsiteY12" fmla="*/ 164653 h 186209"/>
                <a:gd name="connsiteX13" fmla="*/ 164756 w 186209"/>
                <a:gd name="connsiteY13" fmla="*/ 21454 h 186209"/>
                <a:gd name="connsiteX14" fmla="*/ 21557 w 186209"/>
                <a:gd name="connsiteY14" fmla="*/ 21454 h 18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6209" h="186209">
                  <a:moveTo>
                    <a:pt x="175419" y="186210"/>
                  </a:moveTo>
                  <a:lnTo>
                    <a:pt x="10766" y="186210"/>
                  </a:lnTo>
                  <a:cubicBezTo>
                    <a:pt x="4834" y="186225"/>
                    <a:pt x="14" y="181428"/>
                    <a:pt x="0" y="175495"/>
                  </a:cubicBezTo>
                  <a:cubicBezTo>
                    <a:pt x="0" y="175477"/>
                    <a:pt x="0" y="175462"/>
                    <a:pt x="0" y="175444"/>
                  </a:cubicBezTo>
                  <a:lnTo>
                    <a:pt x="0" y="175444"/>
                  </a:lnTo>
                  <a:lnTo>
                    <a:pt x="0" y="10765"/>
                  </a:lnTo>
                  <a:cubicBezTo>
                    <a:pt x="-14" y="4834"/>
                    <a:pt x="4783" y="14"/>
                    <a:pt x="10714" y="0"/>
                  </a:cubicBezTo>
                  <a:lnTo>
                    <a:pt x="175419" y="0"/>
                  </a:lnTo>
                  <a:cubicBezTo>
                    <a:pt x="181378" y="0"/>
                    <a:pt x="186210" y="4831"/>
                    <a:pt x="186210" y="10791"/>
                  </a:cubicBezTo>
                  <a:lnTo>
                    <a:pt x="186210" y="175419"/>
                  </a:lnTo>
                  <a:cubicBezTo>
                    <a:pt x="186196" y="181372"/>
                    <a:pt x="181373" y="186197"/>
                    <a:pt x="175419" y="186210"/>
                  </a:cubicBezTo>
                  <a:close/>
                  <a:moveTo>
                    <a:pt x="21557" y="164653"/>
                  </a:moveTo>
                  <a:lnTo>
                    <a:pt x="164756" y="164653"/>
                  </a:lnTo>
                  <a:lnTo>
                    <a:pt x="164756" y="21454"/>
                  </a:lnTo>
                  <a:lnTo>
                    <a:pt x="21557" y="21454"/>
                  </a:lnTo>
                  <a:close/>
                </a:path>
              </a:pathLst>
            </a:custGeom>
            <a:grpFill/>
            <a:ln w="2521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3" name="Freeform 272">
              <a:extLst>
                <a:ext uri="{FF2B5EF4-FFF2-40B4-BE49-F238E27FC236}">
                  <a16:creationId xmlns:a16="http://schemas.microsoft.com/office/drawing/2014/main" id="{6AEBE601-BE7F-FFBB-33A6-AF40F9558977}"/>
                </a:ext>
              </a:extLst>
            </p:cNvPr>
            <p:cNvSpPr/>
            <p:nvPr/>
          </p:nvSpPr>
          <p:spPr>
            <a:xfrm>
              <a:off x="5497555" y="627067"/>
              <a:ext cx="87428" cy="87952"/>
            </a:xfrm>
            <a:custGeom>
              <a:avLst/>
              <a:gdLst>
                <a:gd name="connsiteX0" fmla="*/ 43701 w 87428"/>
                <a:gd name="connsiteY0" fmla="*/ 0 h 87952"/>
                <a:gd name="connsiteX1" fmla="*/ 34981 w 87428"/>
                <a:gd name="connsiteY1" fmla="*/ 8745 h 87952"/>
                <a:gd name="connsiteX2" fmla="*/ 34981 w 87428"/>
                <a:gd name="connsiteY2" fmla="*/ 35033 h 87952"/>
                <a:gd name="connsiteX3" fmla="*/ 8745 w 87428"/>
                <a:gd name="connsiteY3" fmla="*/ 35033 h 87952"/>
                <a:gd name="connsiteX4" fmla="*/ 0 w 87428"/>
                <a:gd name="connsiteY4" fmla="*/ 43778 h 87952"/>
                <a:gd name="connsiteX5" fmla="*/ 8745 w 87428"/>
                <a:gd name="connsiteY5" fmla="*/ 52523 h 87952"/>
                <a:gd name="connsiteX6" fmla="*/ 34981 w 87428"/>
                <a:gd name="connsiteY6" fmla="*/ 52523 h 87952"/>
                <a:gd name="connsiteX7" fmla="*/ 34981 w 87428"/>
                <a:gd name="connsiteY7" fmla="*/ 78734 h 87952"/>
                <a:gd name="connsiteX8" fmla="*/ 43241 w 87428"/>
                <a:gd name="connsiteY8" fmla="*/ 87939 h 87952"/>
                <a:gd name="connsiteX9" fmla="*/ 52447 w 87428"/>
                <a:gd name="connsiteY9" fmla="*/ 79680 h 87952"/>
                <a:gd name="connsiteX10" fmla="*/ 52447 w 87428"/>
                <a:gd name="connsiteY10" fmla="*/ 78734 h 87952"/>
                <a:gd name="connsiteX11" fmla="*/ 52447 w 87428"/>
                <a:gd name="connsiteY11" fmla="*/ 52447 h 87952"/>
                <a:gd name="connsiteX12" fmla="*/ 78683 w 87428"/>
                <a:gd name="connsiteY12" fmla="*/ 52447 h 87952"/>
                <a:gd name="connsiteX13" fmla="*/ 87428 w 87428"/>
                <a:gd name="connsiteY13" fmla="*/ 43701 h 87952"/>
                <a:gd name="connsiteX14" fmla="*/ 78683 w 87428"/>
                <a:gd name="connsiteY14" fmla="*/ 34956 h 87952"/>
                <a:gd name="connsiteX15" fmla="*/ 52549 w 87428"/>
                <a:gd name="connsiteY15" fmla="*/ 34956 h 87952"/>
                <a:gd name="connsiteX16" fmla="*/ 52549 w 87428"/>
                <a:gd name="connsiteY16" fmla="*/ 8745 h 87952"/>
                <a:gd name="connsiteX17" fmla="*/ 43804 w 87428"/>
                <a:gd name="connsiteY17" fmla="*/ 0 h 8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7428" h="87952">
                  <a:moveTo>
                    <a:pt x="43701" y="0"/>
                  </a:moveTo>
                  <a:cubicBezTo>
                    <a:pt x="38886" y="28"/>
                    <a:pt x="34994" y="3930"/>
                    <a:pt x="34981" y="8745"/>
                  </a:cubicBezTo>
                  <a:lnTo>
                    <a:pt x="34981" y="35033"/>
                  </a:lnTo>
                  <a:lnTo>
                    <a:pt x="8745" y="35033"/>
                  </a:lnTo>
                  <a:cubicBezTo>
                    <a:pt x="3915" y="35033"/>
                    <a:pt x="0" y="38948"/>
                    <a:pt x="0" y="43778"/>
                  </a:cubicBezTo>
                  <a:cubicBezTo>
                    <a:pt x="0" y="48608"/>
                    <a:pt x="3915" y="52523"/>
                    <a:pt x="8745" y="52523"/>
                  </a:cubicBezTo>
                  <a:lnTo>
                    <a:pt x="34981" y="52523"/>
                  </a:lnTo>
                  <a:lnTo>
                    <a:pt x="34981" y="78734"/>
                  </a:lnTo>
                  <a:cubicBezTo>
                    <a:pt x="34721" y="83557"/>
                    <a:pt x="38418" y="87679"/>
                    <a:pt x="43241" y="87939"/>
                  </a:cubicBezTo>
                  <a:cubicBezTo>
                    <a:pt x="48064" y="88200"/>
                    <a:pt x="52186" y="84503"/>
                    <a:pt x="52447" y="79680"/>
                  </a:cubicBezTo>
                  <a:cubicBezTo>
                    <a:pt x="52472" y="79365"/>
                    <a:pt x="52472" y="79048"/>
                    <a:pt x="52447" y="78734"/>
                  </a:cubicBezTo>
                  <a:lnTo>
                    <a:pt x="52447" y="52447"/>
                  </a:lnTo>
                  <a:lnTo>
                    <a:pt x="78683" y="52447"/>
                  </a:lnTo>
                  <a:cubicBezTo>
                    <a:pt x="83513" y="52447"/>
                    <a:pt x="87428" y="48532"/>
                    <a:pt x="87428" y="43701"/>
                  </a:cubicBezTo>
                  <a:cubicBezTo>
                    <a:pt x="87428" y="38871"/>
                    <a:pt x="83513" y="34956"/>
                    <a:pt x="78683" y="34956"/>
                  </a:cubicBezTo>
                  <a:lnTo>
                    <a:pt x="52549" y="34956"/>
                  </a:lnTo>
                  <a:lnTo>
                    <a:pt x="52549" y="8745"/>
                  </a:lnTo>
                  <a:cubicBezTo>
                    <a:pt x="52549" y="3915"/>
                    <a:pt x="48634" y="0"/>
                    <a:pt x="43804" y="0"/>
                  </a:cubicBezTo>
                  <a:close/>
                </a:path>
              </a:pathLst>
            </a:custGeom>
            <a:grpFill/>
            <a:ln w="2521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74" name="Graphic 5">
            <a:extLst>
              <a:ext uri="{FF2B5EF4-FFF2-40B4-BE49-F238E27FC236}">
                <a16:creationId xmlns:a16="http://schemas.microsoft.com/office/drawing/2014/main" id="{762141EE-599A-4425-F4AA-342605209F52}"/>
              </a:ext>
            </a:extLst>
          </p:cNvPr>
          <p:cNvGrpSpPr/>
          <p:nvPr/>
        </p:nvGrpSpPr>
        <p:grpSpPr>
          <a:xfrm>
            <a:off x="5645486" y="5046109"/>
            <a:ext cx="373977" cy="366000"/>
            <a:chOff x="7467207" y="5957845"/>
            <a:chExt cx="522111" cy="522111"/>
          </a:xfrm>
          <a:solidFill>
            <a:schemeClr val="bg1"/>
          </a:solidFill>
        </p:grpSpPr>
        <p:sp>
          <p:nvSpPr>
            <p:cNvPr id="275" name="Freeform 274">
              <a:extLst>
                <a:ext uri="{FF2B5EF4-FFF2-40B4-BE49-F238E27FC236}">
                  <a16:creationId xmlns:a16="http://schemas.microsoft.com/office/drawing/2014/main" id="{7045312B-5A51-D488-746D-1F40ED173B41}"/>
                </a:ext>
              </a:extLst>
            </p:cNvPr>
            <p:cNvSpPr/>
            <p:nvPr/>
          </p:nvSpPr>
          <p:spPr>
            <a:xfrm>
              <a:off x="7683453" y="6423893"/>
              <a:ext cx="95201" cy="46919"/>
            </a:xfrm>
            <a:custGeom>
              <a:avLst/>
              <a:gdLst>
                <a:gd name="connsiteX0" fmla="*/ 85110 w 95201"/>
                <a:gd name="connsiteY0" fmla="*/ 1 h 46919"/>
                <a:gd name="connsiteX1" fmla="*/ 10056 w 95201"/>
                <a:gd name="connsiteY1" fmla="*/ 1 h 46919"/>
                <a:gd name="connsiteX2" fmla="*/ 1 w 95201"/>
                <a:gd name="connsiteY2" fmla="*/ 9849 h 46919"/>
                <a:gd name="connsiteX3" fmla="*/ 495 w 95201"/>
                <a:gd name="connsiteY3" fmla="*/ 13054 h 46919"/>
                <a:gd name="connsiteX4" fmla="*/ 63446 w 95201"/>
                <a:gd name="connsiteY4" fmla="*/ 44312 h 46919"/>
                <a:gd name="connsiteX5" fmla="*/ 94704 w 95201"/>
                <a:gd name="connsiteY5" fmla="*/ 13054 h 46919"/>
                <a:gd name="connsiteX6" fmla="*/ 88347 w 95201"/>
                <a:gd name="connsiteY6" fmla="*/ 497 h 46919"/>
                <a:gd name="connsiteX7" fmla="*/ 85110 w 95201"/>
                <a:gd name="connsiteY7" fmla="*/ 1 h 4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01" h="46919">
                  <a:moveTo>
                    <a:pt x="85110" y="1"/>
                  </a:moveTo>
                  <a:lnTo>
                    <a:pt x="10056" y="1"/>
                  </a:lnTo>
                  <a:cubicBezTo>
                    <a:pt x="4560" y="-58"/>
                    <a:pt x="58" y="4354"/>
                    <a:pt x="1" y="9849"/>
                  </a:cubicBezTo>
                  <a:cubicBezTo>
                    <a:pt x="-11" y="10936"/>
                    <a:pt x="156" y="12019"/>
                    <a:pt x="495" y="13054"/>
                  </a:cubicBezTo>
                  <a:cubicBezTo>
                    <a:pt x="9247" y="39068"/>
                    <a:pt x="37432" y="53064"/>
                    <a:pt x="63446" y="44312"/>
                  </a:cubicBezTo>
                  <a:cubicBezTo>
                    <a:pt x="78181" y="39355"/>
                    <a:pt x="89747" y="27787"/>
                    <a:pt x="94704" y="13054"/>
                  </a:cubicBezTo>
                  <a:cubicBezTo>
                    <a:pt x="96416" y="7829"/>
                    <a:pt x="93570" y="2207"/>
                    <a:pt x="88347" y="497"/>
                  </a:cubicBezTo>
                  <a:cubicBezTo>
                    <a:pt x="87303" y="154"/>
                    <a:pt x="86209" y="-15"/>
                    <a:pt x="85110" y="1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6" name="Freeform 275">
              <a:extLst>
                <a:ext uri="{FF2B5EF4-FFF2-40B4-BE49-F238E27FC236}">
                  <a16:creationId xmlns:a16="http://schemas.microsoft.com/office/drawing/2014/main" id="{EE41563C-7287-2CE4-A940-727DB27AC792}"/>
                </a:ext>
              </a:extLst>
            </p:cNvPr>
            <p:cNvSpPr/>
            <p:nvPr/>
          </p:nvSpPr>
          <p:spPr>
            <a:xfrm>
              <a:off x="7531074" y="6011981"/>
              <a:ext cx="404139" cy="398966"/>
            </a:xfrm>
            <a:custGeom>
              <a:avLst/>
              <a:gdLst>
                <a:gd name="connsiteX0" fmla="*/ 368962 w 404139"/>
                <a:gd name="connsiteY0" fmla="*/ 398958 h 398966"/>
                <a:gd name="connsiteX1" fmla="*/ 35203 w 404139"/>
                <a:gd name="connsiteY1" fmla="*/ 398958 h 398966"/>
                <a:gd name="connsiteX2" fmla="*/ 3485 w 404139"/>
                <a:gd name="connsiteY2" fmla="*/ 380260 h 398966"/>
                <a:gd name="connsiteX3" fmla="*/ 6128 w 404139"/>
                <a:gd name="connsiteY3" fmla="*/ 347628 h 398966"/>
                <a:gd name="connsiteX4" fmla="*/ 50344 w 404139"/>
                <a:gd name="connsiteY4" fmla="*/ 306218 h 398966"/>
                <a:gd name="connsiteX5" fmla="*/ 50344 w 404139"/>
                <a:gd name="connsiteY5" fmla="*/ 191778 h 398966"/>
                <a:gd name="connsiteX6" fmla="*/ 155517 w 404139"/>
                <a:gd name="connsiteY6" fmla="*/ 49209 h 398966"/>
                <a:gd name="connsiteX7" fmla="*/ 155517 w 404139"/>
                <a:gd name="connsiteY7" fmla="*/ 44151 h 398966"/>
                <a:gd name="connsiteX8" fmla="*/ 199668 w 404139"/>
                <a:gd name="connsiteY8" fmla="*/ 0 h 398966"/>
                <a:gd name="connsiteX9" fmla="*/ 243819 w 404139"/>
                <a:gd name="connsiteY9" fmla="*/ 44151 h 398966"/>
                <a:gd name="connsiteX10" fmla="*/ 243819 w 404139"/>
                <a:gd name="connsiteY10" fmla="*/ 49372 h 398966"/>
                <a:gd name="connsiteX11" fmla="*/ 348633 w 404139"/>
                <a:gd name="connsiteY11" fmla="*/ 191778 h 398966"/>
                <a:gd name="connsiteX12" fmla="*/ 348633 w 404139"/>
                <a:gd name="connsiteY12" fmla="*/ 306381 h 398966"/>
                <a:gd name="connsiteX13" fmla="*/ 395101 w 404139"/>
                <a:gd name="connsiteY13" fmla="*/ 344397 h 398966"/>
                <a:gd name="connsiteX14" fmla="*/ 396830 w 404139"/>
                <a:gd name="connsiteY14" fmla="*/ 346127 h 398966"/>
                <a:gd name="connsiteX15" fmla="*/ 401072 w 404139"/>
                <a:gd name="connsiteY15" fmla="*/ 379412 h 398966"/>
                <a:gd name="connsiteX16" fmla="*/ 368962 w 404139"/>
                <a:gd name="connsiteY16" fmla="*/ 398958 h 398966"/>
                <a:gd name="connsiteX17" fmla="*/ 69205 w 404139"/>
                <a:gd name="connsiteY17" fmla="*/ 321947 h 398966"/>
                <a:gd name="connsiteX18" fmla="*/ 24239 w 404139"/>
                <a:gd name="connsiteY18" fmla="*/ 363813 h 398966"/>
                <a:gd name="connsiteX19" fmla="*/ 25152 w 404139"/>
                <a:gd name="connsiteY19" fmla="*/ 369132 h 398966"/>
                <a:gd name="connsiteX20" fmla="*/ 34942 w 404139"/>
                <a:gd name="connsiteY20" fmla="*/ 374484 h 398966"/>
                <a:gd name="connsiteX21" fmla="*/ 368962 w 404139"/>
                <a:gd name="connsiteY21" fmla="*/ 374484 h 398966"/>
                <a:gd name="connsiteX22" fmla="*/ 378948 w 404139"/>
                <a:gd name="connsiteY22" fmla="*/ 368937 h 398966"/>
                <a:gd name="connsiteX23" fmla="*/ 378491 w 404139"/>
                <a:gd name="connsiteY23" fmla="*/ 362410 h 398966"/>
                <a:gd name="connsiteX24" fmla="*/ 328629 w 404139"/>
                <a:gd name="connsiteY24" fmla="*/ 321653 h 398966"/>
                <a:gd name="connsiteX25" fmla="*/ 324159 w 404139"/>
                <a:gd name="connsiteY25" fmla="*/ 312190 h 398966"/>
                <a:gd name="connsiteX26" fmla="*/ 324159 w 404139"/>
                <a:gd name="connsiteY26" fmla="*/ 191778 h 398966"/>
                <a:gd name="connsiteX27" fmla="*/ 228678 w 404139"/>
                <a:gd name="connsiteY27" fmla="*/ 70550 h 398966"/>
                <a:gd name="connsiteX28" fmla="*/ 219345 w 404139"/>
                <a:gd name="connsiteY28" fmla="*/ 58672 h 398966"/>
                <a:gd name="connsiteX29" fmla="*/ 219345 w 404139"/>
                <a:gd name="connsiteY29" fmla="*/ 44151 h 398966"/>
                <a:gd name="connsiteX30" fmla="*/ 199668 w 404139"/>
                <a:gd name="connsiteY30" fmla="*/ 24474 h 398966"/>
                <a:gd name="connsiteX31" fmla="*/ 179991 w 404139"/>
                <a:gd name="connsiteY31" fmla="*/ 44151 h 398966"/>
                <a:gd name="connsiteX32" fmla="*/ 179991 w 404139"/>
                <a:gd name="connsiteY32" fmla="*/ 58542 h 398966"/>
                <a:gd name="connsiteX33" fmla="*/ 170593 w 404139"/>
                <a:gd name="connsiteY33" fmla="*/ 70452 h 398966"/>
                <a:gd name="connsiteX34" fmla="*/ 74655 w 404139"/>
                <a:gd name="connsiteY34" fmla="*/ 191778 h 398966"/>
                <a:gd name="connsiteX35" fmla="*/ 74655 w 404139"/>
                <a:gd name="connsiteY35" fmla="*/ 311733 h 398966"/>
                <a:gd name="connsiteX36" fmla="*/ 69205 w 404139"/>
                <a:gd name="connsiteY36" fmla="*/ 321947 h 398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04139" h="398966">
                  <a:moveTo>
                    <a:pt x="368962" y="398958"/>
                  </a:moveTo>
                  <a:lnTo>
                    <a:pt x="35203" y="398958"/>
                  </a:lnTo>
                  <a:cubicBezTo>
                    <a:pt x="21952" y="399200"/>
                    <a:pt x="9691" y="391972"/>
                    <a:pt x="3485" y="380260"/>
                  </a:cubicBezTo>
                  <a:cubicBezTo>
                    <a:pt x="-1982" y="369779"/>
                    <a:pt x="-954" y="357091"/>
                    <a:pt x="6128" y="347628"/>
                  </a:cubicBezTo>
                  <a:lnTo>
                    <a:pt x="50344" y="306218"/>
                  </a:lnTo>
                  <a:lnTo>
                    <a:pt x="50344" y="191778"/>
                  </a:lnTo>
                  <a:cubicBezTo>
                    <a:pt x="50198" y="126286"/>
                    <a:pt x="92899" y="68401"/>
                    <a:pt x="155517" y="49209"/>
                  </a:cubicBezTo>
                  <a:lnTo>
                    <a:pt x="155517" y="44151"/>
                  </a:lnTo>
                  <a:cubicBezTo>
                    <a:pt x="155517" y="19767"/>
                    <a:pt x="175284" y="0"/>
                    <a:pt x="199668" y="0"/>
                  </a:cubicBezTo>
                  <a:cubicBezTo>
                    <a:pt x="224052" y="0"/>
                    <a:pt x="243819" y="19767"/>
                    <a:pt x="243819" y="44151"/>
                  </a:cubicBezTo>
                  <a:lnTo>
                    <a:pt x="243819" y="49372"/>
                  </a:lnTo>
                  <a:cubicBezTo>
                    <a:pt x="306211" y="68712"/>
                    <a:pt x="348711" y="126458"/>
                    <a:pt x="348633" y="191778"/>
                  </a:cubicBezTo>
                  <a:lnTo>
                    <a:pt x="348633" y="306381"/>
                  </a:lnTo>
                  <a:lnTo>
                    <a:pt x="395101" y="344397"/>
                  </a:lnTo>
                  <a:cubicBezTo>
                    <a:pt x="395747" y="344900"/>
                    <a:pt x="396327" y="345481"/>
                    <a:pt x="396830" y="346127"/>
                  </a:cubicBezTo>
                  <a:cubicBezTo>
                    <a:pt x="404707" y="355404"/>
                    <a:pt x="406372" y="368454"/>
                    <a:pt x="401072" y="379412"/>
                  </a:cubicBezTo>
                  <a:cubicBezTo>
                    <a:pt x="395094" y="391629"/>
                    <a:pt x="382560" y="399262"/>
                    <a:pt x="368962" y="398958"/>
                  </a:cubicBezTo>
                  <a:close/>
                  <a:moveTo>
                    <a:pt x="69205" y="321947"/>
                  </a:moveTo>
                  <a:lnTo>
                    <a:pt x="24239" y="363813"/>
                  </a:lnTo>
                  <a:cubicBezTo>
                    <a:pt x="24001" y="365638"/>
                    <a:pt x="24319" y="367491"/>
                    <a:pt x="25152" y="369132"/>
                  </a:cubicBezTo>
                  <a:cubicBezTo>
                    <a:pt x="27165" y="372598"/>
                    <a:pt x="30937" y="374660"/>
                    <a:pt x="34942" y="374484"/>
                  </a:cubicBezTo>
                  <a:lnTo>
                    <a:pt x="368962" y="374484"/>
                  </a:lnTo>
                  <a:cubicBezTo>
                    <a:pt x="373090" y="374748"/>
                    <a:pt x="376990" y="372578"/>
                    <a:pt x="378948" y="368937"/>
                  </a:cubicBezTo>
                  <a:cubicBezTo>
                    <a:pt x="380047" y="366852"/>
                    <a:pt x="379871" y="364323"/>
                    <a:pt x="378491" y="362410"/>
                  </a:cubicBezTo>
                  <a:lnTo>
                    <a:pt x="328629" y="321653"/>
                  </a:lnTo>
                  <a:cubicBezTo>
                    <a:pt x="325797" y="319326"/>
                    <a:pt x="324155" y="315854"/>
                    <a:pt x="324159" y="312190"/>
                  </a:cubicBezTo>
                  <a:lnTo>
                    <a:pt x="324159" y="191778"/>
                  </a:lnTo>
                  <a:cubicBezTo>
                    <a:pt x="324211" y="134145"/>
                    <a:pt x="284716" y="84003"/>
                    <a:pt x="228678" y="70550"/>
                  </a:cubicBezTo>
                  <a:cubicBezTo>
                    <a:pt x="223196" y="69223"/>
                    <a:pt x="219337" y="64312"/>
                    <a:pt x="219345" y="58672"/>
                  </a:cubicBezTo>
                  <a:lnTo>
                    <a:pt x="219345" y="44151"/>
                  </a:lnTo>
                  <a:cubicBezTo>
                    <a:pt x="219345" y="33284"/>
                    <a:pt x="210535" y="24474"/>
                    <a:pt x="199668" y="24474"/>
                  </a:cubicBezTo>
                  <a:cubicBezTo>
                    <a:pt x="188800" y="24474"/>
                    <a:pt x="179991" y="33284"/>
                    <a:pt x="179991" y="44151"/>
                  </a:cubicBezTo>
                  <a:lnTo>
                    <a:pt x="179991" y="58542"/>
                  </a:lnTo>
                  <a:cubicBezTo>
                    <a:pt x="179982" y="64205"/>
                    <a:pt x="176099" y="69127"/>
                    <a:pt x="170593" y="70452"/>
                  </a:cubicBezTo>
                  <a:cubicBezTo>
                    <a:pt x="114624" y="84186"/>
                    <a:pt x="75115" y="134151"/>
                    <a:pt x="74655" y="191778"/>
                  </a:cubicBezTo>
                  <a:lnTo>
                    <a:pt x="74655" y="311733"/>
                  </a:lnTo>
                  <a:cubicBezTo>
                    <a:pt x="74642" y="315831"/>
                    <a:pt x="72602" y="319656"/>
                    <a:pt x="69205" y="321947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7" name="Freeform 276">
              <a:extLst>
                <a:ext uri="{FF2B5EF4-FFF2-40B4-BE49-F238E27FC236}">
                  <a16:creationId xmlns:a16="http://schemas.microsoft.com/office/drawing/2014/main" id="{8E9C7F1D-78B4-A8FD-62C9-FBB8A66C9C43}"/>
                </a:ext>
              </a:extLst>
            </p:cNvPr>
            <p:cNvSpPr/>
            <p:nvPr/>
          </p:nvSpPr>
          <p:spPr>
            <a:xfrm>
              <a:off x="7818729" y="5977037"/>
              <a:ext cx="149637" cy="149667"/>
            </a:xfrm>
            <a:custGeom>
              <a:avLst/>
              <a:gdLst>
                <a:gd name="connsiteX0" fmla="*/ 149541 w 149637"/>
                <a:gd name="connsiteY0" fmla="*/ 141944 h 149667"/>
                <a:gd name="connsiteX1" fmla="*/ 17864 w 149637"/>
                <a:gd name="connsiteY1" fmla="*/ 95 h 149667"/>
                <a:gd name="connsiteX2" fmla="*/ 7722 w 149637"/>
                <a:gd name="connsiteY2" fmla="*/ 93 h 149667"/>
                <a:gd name="connsiteX3" fmla="*/ 5 w 149637"/>
                <a:gd name="connsiteY3" fmla="*/ 8366 h 149667"/>
                <a:gd name="connsiteX4" fmla="*/ 8277 w 149637"/>
                <a:gd name="connsiteY4" fmla="*/ 16083 h 149667"/>
                <a:gd name="connsiteX5" fmla="*/ 133551 w 149637"/>
                <a:gd name="connsiteY5" fmla="*/ 132107 h 149667"/>
                <a:gd name="connsiteX6" fmla="*/ 133551 w 149637"/>
                <a:gd name="connsiteY6" fmla="*/ 141390 h 149667"/>
                <a:gd name="connsiteX7" fmla="*/ 135901 w 149637"/>
                <a:gd name="connsiteY7" fmla="*/ 147329 h 149667"/>
                <a:gd name="connsiteX8" fmla="*/ 147208 w 149637"/>
                <a:gd name="connsiteY8" fmla="*/ 147322 h 149667"/>
                <a:gd name="connsiteX9" fmla="*/ 149541 w 149637"/>
                <a:gd name="connsiteY9" fmla="*/ 141944 h 149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637" h="149667">
                  <a:moveTo>
                    <a:pt x="149541" y="141944"/>
                  </a:moveTo>
                  <a:cubicBezTo>
                    <a:pt x="152350" y="66412"/>
                    <a:pt x="93394" y="2904"/>
                    <a:pt x="17864" y="95"/>
                  </a:cubicBezTo>
                  <a:cubicBezTo>
                    <a:pt x="14484" y="-31"/>
                    <a:pt x="11103" y="-32"/>
                    <a:pt x="7722" y="93"/>
                  </a:cubicBezTo>
                  <a:cubicBezTo>
                    <a:pt x="3307" y="247"/>
                    <a:pt x="-148" y="3950"/>
                    <a:pt x="5" y="8366"/>
                  </a:cubicBezTo>
                  <a:cubicBezTo>
                    <a:pt x="158" y="12781"/>
                    <a:pt x="3862" y="16236"/>
                    <a:pt x="8277" y="16083"/>
                  </a:cubicBezTo>
                  <a:cubicBezTo>
                    <a:pt x="74912" y="13528"/>
                    <a:pt x="130996" y="65474"/>
                    <a:pt x="133551" y="132107"/>
                  </a:cubicBezTo>
                  <a:cubicBezTo>
                    <a:pt x="133672" y="135200"/>
                    <a:pt x="133672" y="138296"/>
                    <a:pt x="133551" y="141390"/>
                  </a:cubicBezTo>
                  <a:cubicBezTo>
                    <a:pt x="133496" y="143606"/>
                    <a:pt x="134344" y="145751"/>
                    <a:pt x="135901" y="147329"/>
                  </a:cubicBezTo>
                  <a:cubicBezTo>
                    <a:pt x="139023" y="150449"/>
                    <a:pt x="144088" y="150446"/>
                    <a:pt x="147208" y="147322"/>
                  </a:cubicBezTo>
                  <a:cubicBezTo>
                    <a:pt x="148637" y="145890"/>
                    <a:pt x="149472" y="143968"/>
                    <a:pt x="149541" y="141944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8" name="Freeform 277">
              <a:extLst>
                <a:ext uri="{FF2B5EF4-FFF2-40B4-BE49-F238E27FC236}">
                  <a16:creationId xmlns:a16="http://schemas.microsoft.com/office/drawing/2014/main" id="{1E34D907-9DB0-491B-8C3C-EDCA2D07026A}"/>
                </a:ext>
              </a:extLst>
            </p:cNvPr>
            <p:cNvSpPr/>
            <p:nvPr/>
          </p:nvSpPr>
          <p:spPr>
            <a:xfrm>
              <a:off x="7815879" y="6021254"/>
              <a:ext cx="108207" cy="108234"/>
            </a:xfrm>
            <a:custGeom>
              <a:avLst/>
              <a:gdLst>
                <a:gd name="connsiteX0" fmla="*/ 108175 w 108207"/>
                <a:gd name="connsiteY0" fmla="*/ 100305 h 108234"/>
                <a:gd name="connsiteX1" fmla="*/ 12717 w 108207"/>
                <a:gd name="connsiteY1" fmla="*/ 30 h 108234"/>
                <a:gd name="connsiteX2" fmla="*/ 7995 w 108207"/>
                <a:gd name="connsiteY2" fmla="*/ 27 h 108234"/>
                <a:gd name="connsiteX3" fmla="*/ 0 w 108207"/>
                <a:gd name="connsiteY3" fmla="*/ 8022 h 108234"/>
                <a:gd name="connsiteX4" fmla="*/ 7995 w 108207"/>
                <a:gd name="connsiteY4" fmla="*/ 16017 h 108234"/>
                <a:gd name="connsiteX5" fmla="*/ 92218 w 108207"/>
                <a:gd name="connsiteY5" fmla="*/ 95740 h 108234"/>
                <a:gd name="connsiteX6" fmla="*/ 92218 w 108207"/>
                <a:gd name="connsiteY6" fmla="*/ 100240 h 108234"/>
                <a:gd name="connsiteX7" fmla="*/ 100213 w 108207"/>
                <a:gd name="connsiteY7" fmla="*/ 108235 h 108234"/>
                <a:gd name="connsiteX8" fmla="*/ 108208 w 108207"/>
                <a:gd name="connsiteY8" fmla="*/ 100240 h 10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207" h="108234">
                  <a:moveTo>
                    <a:pt x="108175" y="100305"/>
                  </a:moveTo>
                  <a:cubicBezTo>
                    <a:pt x="109506" y="46255"/>
                    <a:pt x="66768" y="1360"/>
                    <a:pt x="12717" y="30"/>
                  </a:cubicBezTo>
                  <a:cubicBezTo>
                    <a:pt x="11144" y="-9"/>
                    <a:pt x="9568" y="-10"/>
                    <a:pt x="7995" y="27"/>
                  </a:cubicBezTo>
                  <a:cubicBezTo>
                    <a:pt x="3580" y="27"/>
                    <a:pt x="0" y="3607"/>
                    <a:pt x="0" y="8022"/>
                  </a:cubicBezTo>
                  <a:cubicBezTo>
                    <a:pt x="0" y="12438"/>
                    <a:pt x="3580" y="16017"/>
                    <a:pt x="7995" y="16017"/>
                  </a:cubicBezTo>
                  <a:cubicBezTo>
                    <a:pt x="53268" y="14774"/>
                    <a:pt x="90975" y="50468"/>
                    <a:pt x="92218" y="95740"/>
                  </a:cubicBezTo>
                  <a:cubicBezTo>
                    <a:pt x="92260" y="97240"/>
                    <a:pt x="92260" y="98740"/>
                    <a:pt x="92218" y="100240"/>
                  </a:cubicBezTo>
                  <a:cubicBezTo>
                    <a:pt x="92218" y="104655"/>
                    <a:pt x="95798" y="108235"/>
                    <a:pt x="100213" y="108235"/>
                  </a:cubicBezTo>
                  <a:cubicBezTo>
                    <a:pt x="104628" y="108235"/>
                    <a:pt x="108208" y="104655"/>
                    <a:pt x="108208" y="100240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79" name="Freeform 278">
              <a:extLst>
                <a:ext uri="{FF2B5EF4-FFF2-40B4-BE49-F238E27FC236}">
                  <a16:creationId xmlns:a16="http://schemas.microsoft.com/office/drawing/2014/main" id="{7544ECC2-8DCF-4FF5-0C23-2E4A88F67103}"/>
                </a:ext>
              </a:extLst>
            </p:cNvPr>
            <p:cNvSpPr/>
            <p:nvPr/>
          </p:nvSpPr>
          <p:spPr>
            <a:xfrm>
              <a:off x="7501500" y="5975694"/>
              <a:ext cx="149641" cy="149655"/>
            </a:xfrm>
            <a:custGeom>
              <a:avLst/>
              <a:gdLst>
                <a:gd name="connsiteX0" fmla="*/ 8357 w 149641"/>
                <a:gd name="connsiteY0" fmla="*/ 149650 h 149655"/>
                <a:gd name="connsiteX1" fmla="*/ 13741 w 149641"/>
                <a:gd name="connsiteY1" fmla="*/ 147301 h 149655"/>
                <a:gd name="connsiteX2" fmla="*/ 16090 w 149641"/>
                <a:gd name="connsiteY2" fmla="*/ 141362 h 149655"/>
                <a:gd name="connsiteX3" fmla="*/ 132116 w 149641"/>
                <a:gd name="connsiteY3" fmla="*/ 16088 h 149655"/>
                <a:gd name="connsiteX4" fmla="*/ 141365 w 149641"/>
                <a:gd name="connsiteY4" fmla="*/ 16088 h 149655"/>
                <a:gd name="connsiteX5" fmla="*/ 149637 w 149641"/>
                <a:gd name="connsiteY5" fmla="*/ 8370 h 149655"/>
                <a:gd name="connsiteX6" fmla="*/ 141919 w 149641"/>
                <a:gd name="connsiteY6" fmla="*/ 98 h 149655"/>
                <a:gd name="connsiteX7" fmla="*/ 96 w 149641"/>
                <a:gd name="connsiteY7" fmla="*/ 131669 h 149655"/>
                <a:gd name="connsiteX8" fmla="*/ 101 w 149641"/>
                <a:gd name="connsiteY8" fmla="*/ 142047 h 149655"/>
                <a:gd name="connsiteX9" fmla="*/ 8357 w 149641"/>
                <a:gd name="connsiteY9" fmla="*/ 149650 h 1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641" h="149655">
                  <a:moveTo>
                    <a:pt x="8357" y="149650"/>
                  </a:moveTo>
                  <a:cubicBezTo>
                    <a:pt x="10385" y="149582"/>
                    <a:pt x="12311" y="148741"/>
                    <a:pt x="13741" y="147301"/>
                  </a:cubicBezTo>
                  <a:cubicBezTo>
                    <a:pt x="15309" y="145729"/>
                    <a:pt x="16159" y="143580"/>
                    <a:pt x="16090" y="141362"/>
                  </a:cubicBezTo>
                  <a:cubicBezTo>
                    <a:pt x="13536" y="74729"/>
                    <a:pt x="65483" y="18642"/>
                    <a:pt x="132116" y="16088"/>
                  </a:cubicBezTo>
                  <a:cubicBezTo>
                    <a:pt x="135197" y="15969"/>
                    <a:pt x="138283" y="15969"/>
                    <a:pt x="141365" y="16088"/>
                  </a:cubicBezTo>
                  <a:cubicBezTo>
                    <a:pt x="145780" y="16241"/>
                    <a:pt x="149484" y="12786"/>
                    <a:pt x="149637" y="8370"/>
                  </a:cubicBezTo>
                  <a:cubicBezTo>
                    <a:pt x="149790" y="3955"/>
                    <a:pt x="146335" y="251"/>
                    <a:pt x="141919" y="98"/>
                  </a:cubicBezTo>
                  <a:cubicBezTo>
                    <a:pt x="66424" y="-2733"/>
                    <a:pt x="2927" y="56173"/>
                    <a:pt x="96" y="131669"/>
                  </a:cubicBezTo>
                  <a:cubicBezTo>
                    <a:pt x="-34" y="135127"/>
                    <a:pt x="-32" y="138589"/>
                    <a:pt x="101" y="142047"/>
                  </a:cubicBezTo>
                  <a:cubicBezTo>
                    <a:pt x="295" y="146420"/>
                    <a:pt x="3983" y="149816"/>
                    <a:pt x="8357" y="149650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80" name="Freeform 279">
              <a:extLst>
                <a:ext uri="{FF2B5EF4-FFF2-40B4-BE49-F238E27FC236}">
                  <a16:creationId xmlns:a16="http://schemas.microsoft.com/office/drawing/2014/main" id="{F9CDC9B8-787F-9B76-A226-4BB3EF45E036}"/>
                </a:ext>
              </a:extLst>
            </p:cNvPr>
            <p:cNvSpPr/>
            <p:nvPr/>
          </p:nvSpPr>
          <p:spPr>
            <a:xfrm>
              <a:off x="7545722" y="6019879"/>
              <a:ext cx="108879" cy="108303"/>
            </a:xfrm>
            <a:custGeom>
              <a:avLst/>
              <a:gdLst>
                <a:gd name="connsiteX0" fmla="*/ 8057 w 108879"/>
                <a:gd name="connsiteY0" fmla="*/ 108304 h 108303"/>
                <a:gd name="connsiteX1" fmla="*/ 16117 w 108879"/>
                <a:gd name="connsiteY1" fmla="*/ 100309 h 108303"/>
                <a:gd name="connsiteX2" fmla="*/ 16117 w 108879"/>
                <a:gd name="connsiteY2" fmla="*/ 100244 h 108303"/>
                <a:gd name="connsiteX3" fmla="*/ 95874 w 108879"/>
                <a:gd name="connsiteY3" fmla="*/ 16052 h 108303"/>
                <a:gd name="connsiteX4" fmla="*/ 100340 w 108879"/>
                <a:gd name="connsiteY4" fmla="*/ 16053 h 108303"/>
                <a:gd name="connsiteX5" fmla="*/ 108863 w 108879"/>
                <a:gd name="connsiteY5" fmla="*/ 8554 h 108303"/>
                <a:gd name="connsiteX6" fmla="*/ 101363 w 108879"/>
                <a:gd name="connsiteY6" fmla="*/ 31 h 108303"/>
                <a:gd name="connsiteX7" fmla="*/ 100340 w 108879"/>
                <a:gd name="connsiteY7" fmla="*/ 31 h 108303"/>
                <a:gd name="connsiteX8" fmla="*/ 30 w 108879"/>
                <a:gd name="connsiteY8" fmla="*/ 95452 h 108303"/>
                <a:gd name="connsiteX9" fmla="*/ 30 w 108879"/>
                <a:gd name="connsiteY9" fmla="*/ 100309 h 108303"/>
                <a:gd name="connsiteX10" fmla="*/ 8024 w 108879"/>
                <a:gd name="connsiteY10" fmla="*/ 108304 h 108303"/>
                <a:gd name="connsiteX11" fmla="*/ 8057 w 108879"/>
                <a:gd name="connsiteY11" fmla="*/ 108304 h 108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8879" h="108303">
                  <a:moveTo>
                    <a:pt x="8057" y="108304"/>
                  </a:moveTo>
                  <a:cubicBezTo>
                    <a:pt x="12490" y="108322"/>
                    <a:pt x="16099" y="104742"/>
                    <a:pt x="16117" y="100309"/>
                  </a:cubicBezTo>
                  <a:cubicBezTo>
                    <a:pt x="16117" y="100288"/>
                    <a:pt x="16117" y="100266"/>
                    <a:pt x="16117" y="100244"/>
                  </a:cubicBezTo>
                  <a:cubicBezTo>
                    <a:pt x="14893" y="54971"/>
                    <a:pt x="50601" y="17277"/>
                    <a:pt x="95874" y="16052"/>
                  </a:cubicBezTo>
                  <a:cubicBezTo>
                    <a:pt x="97363" y="16012"/>
                    <a:pt x="98852" y="16013"/>
                    <a:pt x="100340" y="16053"/>
                  </a:cubicBezTo>
                  <a:cubicBezTo>
                    <a:pt x="104765" y="16336"/>
                    <a:pt x="108580" y="12978"/>
                    <a:pt x="108863" y="8554"/>
                  </a:cubicBezTo>
                  <a:cubicBezTo>
                    <a:pt x="109145" y="4129"/>
                    <a:pt x="105788" y="314"/>
                    <a:pt x="101363" y="31"/>
                  </a:cubicBezTo>
                  <a:cubicBezTo>
                    <a:pt x="101023" y="9"/>
                    <a:pt x="100681" y="9"/>
                    <a:pt x="100340" y="31"/>
                  </a:cubicBezTo>
                  <a:cubicBezTo>
                    <a:pt x="46291" y="-1319"/>
                    <a:pt x="1381" y="41403"/>
                    <a:pt x="30" y="95452"/>
                  </a:cubicBezTo>
                  <a:cubicBezTo>
                    <a:pt x="-10" y="97071"/>
                    <a:pt x="-10" y="98690"/>
                    <a:pt x="30" y="100309"/>
                  </a:cubicBezTo>
                  <a:cubicBezTo>
                    <a:pt x="30" y="104725"/>
                    <a:pt x="3609" y="108304"/>
                    <a:pt x="8024" y="108304"/>
                  </a:cubicBezTo>
                  <a:cubicBezTo>
                    <a:pt x="8035" y="108304"/>
                    <a:pt x="8046" y="108304"/>
                    <a:pt x="8057" y="108304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81" name="Graphic 7">
            <a:extLst>
              <a:ext uri="{FF2B5EF4-FFF2-40B4-BE49-F238E27FC236}">
                <a16:creationId xmlns:a16="http://schemas.microsoft.com/office/drawing/2014/main" id="{2DCBC898-D54B-F282-6708-371116C1B451}"/>
              </a:ext>
            </a:extLst>
          </p:cNvPr>
          <p:cNvGrpSpPr/>
          <p:nvPr/>
        </p:nvGrpSpPr>
        <p:grpSpPr>
          <a:xfrm>
            <a:off x="6614191" y="1877181"/>
            <a:ext cx="306251" cy="299719"/>
            <a:chOff x="8819621" y="1437261"/>
            <a:chExt cx="427559" cy="427559"/>
          </a:xfrm>
          <a:solidFill>
            <a:schemeClr val="bg1"/>
          </a:solidFill>
        </p:grpSpPr>
        <p:sp>
          <p:nvSpPr>
            <p:cNvPr id="282" name="Freeform 281">
              <a:extLst>
                <a:ext uri="{FF2B5EF4-FFF2-40B4-BE49-F238E27FC236}">
                  <a16:creationId xmlns:a16="http://schemas.microsoft.com/office/drawing/2014/main" id="{E4E8F426-1864-F6D5-0EDA-3A2C352790CC}"/>
                </a:ext>
              </a:extLst>
            </p:cNvPr>
            <p:cNvSpPr/>
            <p:nvPr/>
          </p:nvSpPr>
          <p:spPr>
            <a:xfrm>
              <a:off x="8881670" y="1750500"/>
              <a:ext cx="53909" cy="53900"/>
            </a:xfrm>
            <a:custGeom>
              <a:avLst/>
              <a:gdLst>
                <a:gd name="connsiteX0" fmla="*/ 52082 w 53909"/>
                <a:gd name="connsiteY0" fmla="*/ 1925 h 53900"/>
                <a:gd name="connsiteX1" fmla="*/ 43314 w 53909"/>
                <a:gd name="connsiteY1" fmla="*/ 1900 h 53900"/>
                <a:gd name="connsiteX2" fmla="*/ 43290 w 53909"/>
                <a:gd name="connsiteY2" fmla="*/ 1925 h 53900"/>
                <a:gd name="connsiteX3" fmla="*/ 26990 w 53909"/>
                <a:gd name="connsiteY3" fmla="*/ 18225 h 53900"/>
                <a:gd name="connsiteX4" fmla="*/ 10689 w 53909"/>
                <a:gd name="connsiteY4" fmla="*/ 1925 h 53900"/>
                <a:gd name="connsiteX5" fmla="*/ 1924 w 53909"/>
                <a:gd name="connsiteY5" fmla="*/ 1711 h 53900"/>
                <a:gd name="connsiteX6" fmla="*/ 1710 w 53909"/>
                <a:gd name="connsiteY6" fmla="*/ 10476 h 53900"/>
                <a:gd name="connsiteX7" fmla="*/ 1924 w 53909"/>
                <a:gd name="connsiteY7" fmla="*/ 10689 h 53900"/>
                <a:gd name="connsiteX8" fmla="*/ 18225 w 53909"/>
                <a:gd name="connsiteY8" fmla="*/ 26990 h 53900"/>
                <a:gd name="connsiteX9" fmla="*/ 1924 w 53909"/>
                <a:gd name="connsiteY9" fmla="*/ 43291 h 53900"/>
                <a:gd name="connsiteX10" fmla="*/ 1911 w 53909"/>
                <a:gd name="connsiteY10" fmla="*/ 52069 h 53900"/>
                <a:gd name="connsiteX11" fmla="*/ 10689 w 53909"/>
                <a:gd name="connsiteY11" fmla="*/ 52083 h 53900"/>
                <a:gd name="connsiteX12" fmla="*/ 26990 w 53909"/>
                <a:gd name="connsiteY12" fmla="*/ 35782 h 53900"/>
                <a:gd name="connsiteX13" fmla="*/ 43290 w 53909"/>
                <a:gd name="connsiteY13" fmla="*/ 52083 h 53900"/>
                <a:gd name="connsiteX14" fmla="*/ 52082 w 53909"/>
                <a:gd name="connsiteY14" fmla="*/ 52083 h 53900"/>
                <a:gd name="connsiteX15" fmla="*/ 52106 w 53909"/>
                <a:gd name="connsiteY15" fmla="*/ 43315 h 53900"/>
                <a:gd name="connsiteX16" fmla="*/ 52082 w 53909"/>
                <a:gd name="connsiteY16" fmla="*/ 43291 h 53900"/>
                <a:gd name="connsiteX17" fmla="*/ 35781 w 53909"/>
                <a:gd name="connsiteY17" fmla="*/ 26990 h 53900"/>
                <a:gd name="connsiteX18" fmla="*/ 52082 w 53909"/>
                <a:gd name="connsiteY18" fmla="*/ 10689 h 53900"/>
                <a:gd name="connsiteX19" fmla="*/ 52117 w 53909"/>
                <a:gd name="connsiteY19" fmla="*/ 1959 h 53900"/>
                <a:gd name="connsiteX20" fmla="*/ 52082 w 53909"/>
                <a:gd name="connsiteY20" fmla="*/ 1925 h 5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3909" h="53900">
                  <a:moveTo>
                    <a:pt x="52082" y="1925"/>
                  </a:moveTo>
                  <a:cubicBezTo>
                    <a:pt x="49668" y="-505"/>
                    <a:pt x="45742" y="-515"/>
                    <a:pt x="43314" y="1900"/>
                  </a:cubicBezTo>
                  <a:cubicBezTo>
                    <a:pt x="43306" y="1909"/>
                    <a:pt x="43298" y="1917"/>
                    <a:pt x="43290" y="1925"/>
                  </a:cubicBezTo>
                  <a:lnTo>
                    <a:pt x="26990" y="18225"/>
                  </a:lnTo>
                  <a:lnTo>
                    <a:pt x="10689" y="1925"/>
                  </a:lnTo>
                  <a:cubicBezTo>
                    <a:pt x="8328" y="-555"/>
                    <a:pt x="4403" y="-651"/>
                    <a:pt x="1924" y="1711"/>
                  </a:cubicBezTo>
                  <a:cubicBezTo>
                    <a:pt x="-555" y="4073"/>
                    <a:pt x="-651" y="7996"/>
                    <a:pt x="1710" y="10476"/>
                  </a:cubicBezTo>
                  <a:cubicBezTo>
                    <a:pt x="1780" y="10548"/>
                    <a:pt x="1851" y="10620"/>
                    <a:pt x="1924" y="10689"/>
                  </a:cubicBezTo>
                  <a:lnTo>
                    <a:pt x="18225" y="26990"/>
                  </a:lnTo>
                  <a:lnTo>
                    <a:pt x="1924" y="43291"/>
                  </a:lnTo>
                  <a:cubicBezTo>
                    <a:pt x="-504" y="45712"/>
                    <a:pt x="-510" y="49640"/>
                    <a:pt x="1911" y="52069"/>
                  </a:cubicBezTo>
                  <a:cubicBezTo>
                    <a:pt x="4331" y="54498"/>
                    <a:pt x="8261" y="54504"/>
                    <a:pt x="10689" y="52083"/>
                  </a:cubicBezTo>
                  <a:lnTo>
                    <a:pt x="26990" y="35782"/>
                  </a:lnTo>
                  <a:lnTo>
                    <a:pt x="43290" y="52083"/>
                  </a:lnTo>
                  <a:cubicBezTo>
                    <a:pt x="45720" y="54506"/>
                    <a:pt x="49652" y="54506"/>
                    <a:pt x="52082" y="52083"/>
                  </a:cubicBezTo>
                  <a:cubicBezTo>
                    <a:pt x="54510" y="49667"/>
                    <a:pt x="54521" y="45744"/>
                    <a:pt x="52106" y="43315"/>
                  </a:cubicBezTo>
                  <a:cubicBezTo>
                    <a:pt x="52098" y="43307"/>
                    <a:pt x="52090" y="43299"/>
                    <a:pt x="52082" y="43291"/>
                  </a:cubicBezTo>
                  <a:lnTo>
                    <a:pt x="35781" y="26990"/>
                  </a:lnTo>
                  <a:lnTo>
                    <a:pt x="52082" y="10689"/>
                  </a:lnTo>
                  <a:cubicBezTo>
                    <a:pt x="54502" y="8290"/>
                    <a:pt x="54518" y="4380"/>
                    <a:pt x="52117" y="1959"/>
                  </a:cubicBezTo>
                  <a:cubicBezTo>
                    <a:pt x="52106" y="1949"/>
                    <a:pt x="52094" y="1935"/>
                    <a:pt x="52082" y="1925"/>
                  </a:cubicBez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83" name="Freeform 282">
              <a:extLst>
                <a:ext uri="{FF2B5EF4-FFF2-40B4-BE49-F238E27FC236}">
                  <a16:creationId xmlns:a16="http://schemas.microsoft.com/office/drawing/2014/main" id="{EBEC6334-FB0C-66F8-7D31-9A223C8C9C52}"/>
                </a:ext>
              </a:extLst>
            </p:cNvPr>
            <p:cNvSpPr/>
            <p:nvPr/>
          </p:nvSpPr>
          <p:spPr>
            <a:xfrm>
              <a:off x="8844526" y="1442605"/>
              <a:ext cx="381275" cy="423871"/>
            </a:xfrm>
            <a:custGeom>
              <a:avLst/>
              <a:gdLst>
                <a:gd name="connsiteX0" fmla="*/ 350278 w 381275"/>
                <a:gd name="connsiteY0" fmla="*/ 28460 h 423871"/>
                <a:gd name="connsiteX1" fmla="*/ 323742 w 381275"/>
                <a:gd name="connsiteY1" fmla="*/ 28460 h 423871"/>
                <a:gd name="connsiteX2" fmla="*/ 323742 w 381275"/>
                <a:gd name="connsiteY2" fmla="*/ 18973 h 423871"/>
                <a:gd name="connsiteX3" fmla="*/ 304876 w 381275"/>
                <a:gd name="connsiteY3" fmla="*/ 0 h 423871"/>
                <a:gd name="connsiteX4" fmla="*/ 304850 w 381275"/>
                <a:gd name="connsiteY4" fmla="*/ 0 h 423871"/>
                <a:gd name="connsiteX5" fmla="*/ 302017 w 381275"/>
                <a:gd name="connsiteY5" fmla="*/ 0 h 423871"/>
                <a:gd name="connsiteX6" fmla="*/ 283124 w 381275"/>
                <a:gd name="connsiteY6" fmla="*/ 18893 h 423871"/>
                <a:gd name="connsiteX7" fmla="*/ 283124 w 381275"/>
                <a:gd name="connsiteY7" fmla="*/ 28380 h 423871"/>
                <a:gd name="connsiteX8" fmla="*/ 98232 w 381275"/>
                <a:gd name="connsiteY8" fmla="*/ 28380 h 423871"/>
                <a:gd name="connsiteX9" fmla="*/ 98232 w 381275"/>
                <a:gd name="connsiteY9" fmla="*/ 18973 h 423871"/>
                <a:gd name="connsiteX10" fmla="*/ 79366 w 381275"/>
                <a:gd name="connsiteY10" fmla="*/ 0 h 423871"/>
                <a:gd name="connsiteX11" fmla="*/ 79312 w 381275"/>
                <a:gd name="connsiteY11" fmla="*/ 0 h 423871"/>
                <a:gd name="connsiteX12" fmla="*/ 76640 w 381275"/>
                <a:gd name="connsiteY12" fmla="*/ 0 h 423871"/>
                <a:gd name="connsiteX13" fmla="*/ 57614 w 381275"/>
                <a:gd name="connsiteY13" fmla="*/ 18813 h 423871"/>
                <a:gd name="connsiteX14" fmla="*/ 57614 w 381275"/>
                <a:gd name="connsiteY14" fmla="*/ 18973 h 423871"/>
                <a:gd name="connsiteX15" fmla="*/ 57614 w 381275"/>
                <a:gd name="connsiteY15" fmla="*/ 28460 h 423871"/>
                <a:gd name="connsiteX16" fmla="*/ 31212 w 381275"/>
                <a:gd name="connsiteY16" fmla="*/ 28460 h 423871"/>
                <a:gd name="connsiteX17" fmla="*/ 0 w 381275"/>
                <a:gd name="connsiteY17" fmla="*/ 59511 h 423871"/>
                <a:gd name="connsiteX18" fmla="*/ 0 w 381275"/>
                <a:gd name="connsiteY18" fmla="*/ 59538 h 423871"/>
                <a:gd name="connsiteX19" fmla="*/ 0 w 381275"/>
                <a:gd name="connsiteY19" fmla="*/ 392820 h 423871"/>
                <a:gd name="connsiteX20" fmla="*/ 31025 w 381275"/>
                <a:gd name="connsiteY20" fmla="*/ 423872 h 423871"/>
                <a:gd name="connsiteX21" fmla="*/ 350331 w 381275"/>
                <a:gd name="connsiteY21" fmla="*/ 423872 h 423871"/>
                <a:gd name="connsiteX22" fmla="*/ 381276 w 381275"/>
                <a:gd name="connsiteY22" fmla="*/ 392820 h 423871"/>
                <a:gd name="connsiteX23" fmla="*/ 381276 w 381275"/>
                <a:gd name="connsiteY23" fmla="*/ 59538 h 423871"/>
                <a:gd name="connsiteX24" fmla="*/ 350278 w 381275"/>
                <a:gd name="connsiteY24" fmla="*/ 28460 h 423871"/>
                <a:gd name="connsiteX25" fmla="*/ 295550 w 381275"/>
                <a:gd name="connsiteY25" fmla="*/ 18973 h 423871"/>
                <a:gd name="connsiteX26" fmla="*/ 302017 w 381275"/>
                <a:gd name="connsiteY26" fmla="*/ 12506 h 423871"/>
                <a:gd name="connsiteX27" fmla="*/ 304850 w 381275"/>
                <a:gd name="connsiteY27" fmla="*/ 12506 h 423871"/>
                <a:gd name="connsiteX28" fmla="*/ 311316 w 381275"/>
                <a:gd name="connsiteY28" fmla="*/ 18973 h 423871"/>
                <a:gd name="connsiteX29" fmla="*/ 311316 w 381275"/>
                <a:gd name="connsiteY29" fmla="*/ 28460 h 423871"/>
                <a:gd name="connsiteX30" fmla="*/ 295550 w 381275"/>
                <a:gd name="connsiteY30" fmla="*/ 28460 h 423871"/>
                <a:gd name="connsiteX31" fmla="*/ 76640 w 381275"/>
                <a:gd name="connsiteY31" fmla="*/ 12506 h 423871"/>
                <a:gd name="connsiteX32" fmla="*/ 79312 w 381275"/>
                <a:gd name="connsiteY32" fmla="*/ 12506 h 423871"/>
                <a:gd name="connsiteX33" fmla="*/ 85806 w 381275"/>
                <a:gd name="connsiteY33" fmla="*/ 18946 h 423871"/>
                <a:gd name="connsiteX34" fmla="*/ 85806 w 381275"/>
                <a:gd name="connsiteY34" fmla="*/ 18973 h 423871"/>
                <a:gd name="connsiteX35" fmla="*/ 85806 w 381275"/>
                <a:gd name="connsiteY35" fmla="*/ 28460 h 423871"/>
                <a:gd name="connsiteX36" fmla="*/ 70040 w 381275"/>
                <a:gd name="connsiteY36" fmla="*/ 28460 h 423871"/>
                <a:gd name="connsiteX37" fmla="*/ 70040 w 381275"/>
                <a:gd name="connsiteY37" fmla="*/ 18973 h 423871"/>
                <a:gd name="connsiteX38" fmla="*/ 70040 w 381275"/>
                <a:gd name="connsiteY38" fmla="*/ 18973 h 423871"/>
                <a:gd name="connsiteX39" fmla="*/ 76505 w 381275"/>
                <a:gd name="connsiteY39" fmla="*/ 12505 h 423871"/>
                <a:gd name="connsiteX40" fmla="*/ 76640 w 381275"/>
                <a:gd name="connsiteY40" fmla="*/ 12506 h 423871"/>
                <a:gd name="connsiteX41" fmla="*/ 368930 w 381275"/>
                <a:gd name="connsiteY41" fmla="*/ 392820 h 423871"/>
                <a:gd name="connsiteX42" fmla="*/ 350224 w 381275"/>
                <a:gd name="connsiteY42" fmla="*/ 411526 h 423871"/>
                <a:gd name="connsiteX43" fmla="*/ 31025 w 381275"/>
                <a:gd name="connsiteY43" fmla="*/ 411526 h 423871"/>
                <a:gd name="connsiteX44" fmla="*/ 12319 w 381275"/>
                <a:gd name="connsiteY44" fmla="*/ 392820 h 423871"/>
                <a:gd name="connsiteX45" fmla="*/ 12319 w 381275"/>
                <a:gd name="connsiteY45" fmla="*/ 392820 h 423871"/>
                <a:gd name="connsiteX46" fmla="*/ 31025 w 381275"/>
                <a:gd name="connsiteY46" fmla="*/ 399073 h 423871"/>
                <a:gd name="connsiteX47" fmla="*/ 282723 w 381275"/>
                <a:gd name="connsiteY47" fmla="*/ 399073 h 423871"/>
                <a:gd name="connsiteX48" fmla="*/ 304689 w 381275"/>
                <a:gd name="connsiteY48" fmla="*/ 389961 h 423871"/>
                <a:gd name="connsiteX49" fmla="*/ 368823 w 381275"/>
                <a:gd name="connsiteY49" fmla="*/ 325827 h 423871"/>
                <a:gd name="connsiteX50" fmla="*/ 298436 w 381275"/>
                <a:gd name="connsiteY50" fmla="*/ 378711 h 423871"/>
                <a:gd name="connsiteX51" fmla="*/ 299184 w 381275"/>
                <a:gd name="connsiteY51" fmla="*/ 372458 h 423871"/>
                <a:gd name="connsiteX52" fmla="*/ 299184 w 381275"/>
                <a:gd name="connsiteY52" fmla="*/ 331011 h 423871"/>
                <a:gd name="connsiteX53" fmla="*/ 313347 w 381275"/>
                <a:gd name="connsiteY53" fmla="*/ 316848 h 423871"/>
                <a:gd name="connsiteX54" fmla="*/ 354794 w 381275"/>
                <a:gd name="connsiteY54" fmla="*/ 316848 h 423871"/>
                <a:gd name="connsiteX55" fmla="*/ 361047 w 381275"/>
                <a:gd name="connsiteY55" fmla="*/ 316100 h 423871"/>
                <a:gd name="connsiteX56" fmla="*/ 368957 w 381275"/>
                <a:gd name="connsiteY56" fmla="*/ 117178 h 423871"/>
                <a:gd name="connsiteX57" fmla="*/ 315859 w 381275"/>
                <a:gd name="connsiteY57" fmla="*/ 117178 h 423871"/>
                <a:gd name="connsiteX58" fmla="*/ 309660 w 381275"/>
                <a:gd name="connsiteY58" fmla="*/ 123378 h 423871"/>
                <a:gd name="connsiteX59" fmla="*/ 315859 w 381275"/>
                <a:gd name="connsiteY59" fmla="*/ 129577 h 423871"/>
                <a:gd name="connsiteX60" fmla="*/ 368930 w 381275"/>
                <a:gd name="connsiteY60" fmla="*/ 129577 h 423871"/>
                <a:gd name="connsiteX61" fmla="*/ 368930 w 381275"/>
                <a:gd name="connsiteY61" fmla="*/ 290259 h 423871"/>
                <a:gd name="connsiteX62" fmla="*/ 354767 w 381275"/>
                <a:gd name="connsiteY62" fmla="*/ 304422 h 423871"/>
                <a:gd name="connsiteX63" fmla="*/ 313321 w 381275"/>
                <a:gd name="connsiteY63" fmla="*/ 304422 h 423871"/>
                <a:gd name="connsiteX64" fmla="*/ 286758 w 381275"/>
                <a:gd name="connsiteY64" fmla="*/ 331011 h 423871"/>
                <a:gd name="connsiteX65" fmla="*/ 286758 w 381275"/>
                <a:gd name="connsiteY65" fmla="*/ 372458 h 423871"/>
                <a:gd name="connsiteX66" fmla="*/ 272569 w 381275"/>
                <a:gd name="connsiteY66" fmla="*/ 386621 h 423871"/>
                <a:gd name="connsiteX67" fmla="*/ 31212 w 381275"/>
                <a:gd name="connsiteY67" fmla="*/ 386621 h 423871"/>
                <a:gd name="connsiteX68" fmla="*/ 12506 w 381275"/>
                <a:gd name="connsiteY68" fmla="*/ 367915 h 423871"/>
                <a:gd name="connsiteX69" fmla="*/ 12506 w 381275"/>
                <a:gd name="connsiteY69" fmla="*/ 129577 h 423871"/>
                <a:gd name="connsiteX70" fmla="*/ 291007 w 381275"/>
                <a:gd name="connsiteY70" fmla="*/ 129577 h 423871"/>
                <a:gd name="connsiteX71" fmla="*/ 297207 w 381275"/>
                <a:gd name="connsiteY71" fmla="*/ 123378 h 423871"/>
                <a:gd name="connsiteX72" fmla="*/ 291007 w 381275"/>
                <a:gd name="connsiteY72" fmla="*/ 117178 h 423871"/>
                <a:gd name="connsiteX73" fmla="*/ 12506 w 381275"/>
                <a:gd name="connsiteY73" fmla="*/ 117178 h 423871"/>
                <a:gd name="connsiteX74" fmla="*/ 12506 w 381275"/>
                <a:gd name="connsiteY74" fmla="*/ 59538 h 423871"/>
                <a:gd name="connsiteX75" fmla="*/ 31212 w 381275"/>
                <a:gd name="connsiteY75" fmla="*/ 40832 h 423871"/>
                <a:gd name="connsiteX76" fmla="*/ 57747 w 381275"/>
                <a:gd name="connsiteY76" fmla="*/ 40832 h 423871"/>
                <a:gd name="connsiteX77" fmla="*/ 57747 w 381275"/>
                <a:gd name="connsiteY77" fmla="*/ 59084 h 423871"/>
                <a:gd name="connsiteX78" fmla="*/ 76640 w 381275"/>
                <a:gd name="connsiteY78" fmla="*/ 77976 h 423871"/>
                <a:gd name="connsiteX79" fmla="*/ 82445 w 381275"/>
                <a:gd name="connsiteY79" fmla="*/ 71356 h 423871"/>
                <a:gd name="connsiteX80" fmla="*/ 76640 w 381275"/>
                <a:gd name="connsiteY80" fmla="*/ 65550 h 423871"/>
                <a:gd name="connsiteX81" fmla="*/ 70173 w 381275"/>
                <a:gd name="connsiteY81" fmla="*/ 59084 h 423871"/>
                <a:gd name="connsiteX82" fmla="*/ 70173 w 381275"/>
                <a:gd name="connsiteY82" fmla="*/ 40859 h 423871"/>
                <a:gd name="connsiteX83" fmla="*/ 283258 w 381275"/>
                <a:gd name="connsiteY83" fmla="*/ 40859 h 423871"/>
                <a:gd name="connsiteX84" fmla="*/ 283258 w 381275"/>
                <a:gd name="connsiteY84" fmla="*/ 59110 h 423871"/>
                <a:gd name="connsiteX85" fmla="*/ 302151 w 381275"/>
                <a:gd name="connsiteY85" fmla="*/ 78003 h 423871"/>
                <a:gd name="connsiteX86" fmla="*/ 307955 w 381275"/>
                <a:gd name="connsiteY86" fmla="*/ 71382 h 423871"/>
                <a:gd name="connsiteX87" fmla="*/ 302151 w 381275"/>
                <a:gd name="connsiteY87" fmla="*/ 65577 h 423871"/>
                <a:gd name="connsiteX88" fmla="*/ 295684 w 381275"/>
                <a:gd name="connsiteY88" fmla="*/ 59110 h 423871"/>
                <a:gd name="connsiteX89" fmla="*/ 295684 w 381275"/>
                <a:gd name="connsiteY89" fmla="*/ 40859 h 423871"/>
                <a:gd name="connsiteX90" fmla="*/ 350278 w 381275"/>
                <a:gd name="connsiteY90" fmla="*/ 40859 h 423871"/>
                <a:gd name="connsiteX91" fmla="*/ 368983 w 381275"/>
                <a:gd name="connsiteY91" fmla="*/ 59565 h 42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81275" h="423871">
                  <a:moveTo>
                    <a:pt x="350278" y="28460"/>
                  </a:moveTo>
                  <a:lnTo>
                    <a:pt x="323742" y="28460"/>
                  </a:lnTo>
                  <a:lnTo>
                    <a:pt x="323742" y="18973"/>
                  </a:lnTo>
                  <a:cubicBezTo>
                    <a:pt x="323772" y="8524"/>
                    <a:pt x="315325" y="30"/>
                    <a:pt x="304876" y="0"/>
                  </a:cubicBezTo>
                  <a:cubicBezTo>
                    <a:pt x="304868" y="0"/>
                    <a:pt x="304858" y="0"/>
                    <a:pt x="304850" y="0"/>
                  </a:cubicBezTo>
                  <a:lnTo>
                    <a:pt x="302017" y="0"/>
                  </a:lnTo>
                  <a:cubicBezTo>
                    <a:pt x="291590" y="15"/>
                    <a:pt x="283140" y="8465"/>
                    <a:pt x="283124" y="18893"/>
                  </a:cubicBezTo>
                  <a:lnTo>
                    <a:pt x="283124" y="28380"/>
                  </a:lnTo>
                  <a:lnTo>
                    <a:pt x="98232" y="28380"/>
                  </a:lnTo>
                  <a:lnTo>
                    <a:pt x="98232" y="18973"/>
                  </a:lnTo>
                  <a:cubicBezTo>
                    <a:pt x="98261" y="8524"/>
                    <a:pt x="89815" y="30"/>
                    <a:pt x="79366" y="0"/>
                  </a:cubicBezTo>
                  <a:cubicBezTo>
                    <a:pt x="79348" y="0"/>
                    <a:pt x="79330" y="0"/>
                    <a:pt x="79312" y="0"/>
                  </a:cubicBezTo>
                  <a:lnTo>
                    <a:pt x="76640" y="0"/>
                  </a:lnTo>
                  <a:cubicBezTo>
                    <a:pt x="66191" y="-59"/>
                    <a:pt x="57673" y="8364"/>
                    <a:pt x="57614" y="18813"/>
                  </a:cubicBezTo>
                  <a:cubicBezTo>
                    <a:pt x="57614" y="18866"/>
                    <a:pt x="57613" y="18920"/>
                    <a:pt x="57614" y="18973"/>
                  </a:cubicBezTo>
                  <a:lnTo>
                    <a:pt x="57614" y="28460"/>
                  </a:lnTo>
                  <a:lnTo>
                    <a:pt x="31212" y="28460"/>
                  </a:lnTo>
                  <a:cubicBezTo>
                    <a:pt x="14018" y="28415"/>
                    <a:pt x="44" y="42317"/>
                    <a:pt x="0" y="59511"/>
                  </a:cubicBezTo>
                  <a:cubicBezTo>
                    <a:pt x="0" y="59520"/>
                    <a:pt x="0" y="59529"/>
                    <a:pt x="0" y="59538"/>
                  </a:cubicBezTo>
                  <a:lnTo>
                    <a:pt x="0" y="392820"/>
                  </a:lnTo>
                  <a:cubicBezTo>
                    <a:pt x="15" y="409952"/>
                    <a:pt x="13892" y="423842"/>
                    <a:pt x="31025" y="423872"/>
                  </a:cubicBezTo>
                  <a:lnTo>
                    <a:pt x="350331" y="423872"/>
                  </a:lnTo>
                  <a:cubicBezTo>
                    <a:pt x="367434" y="423797"/>
                    <a:pt x="381262" y="409923"/>
                    <a:pt x="381276" y="392820"/>
                  </a:cubicBezTo>
                  <a:lnTo>
                    <a:pt x="381276" y="59538"/>
                  </a:lnTo>
                  <a:cubicBezTo>
                    <a:pt x="381246" y="42417"/>
                    <a:pt x="367399" y="28533"/>
                    <a:pt x="350278" y="28460"/>
                  </a:cubicBezTo>
                  <a:close/>
                  <a:moveTo>
                    <a:pt x="295550" y="18973"/>
                  </a:moveTo>
                  <a:cubicBezTo>
                    <a:pt x="295550" y="15402"/>
                    <a:pt x="298444" y="12506"/>
                    <a:pt x="302017" y="12506"/>
                  </a:cubicBezTo>
                  <a:lnTo>
                    <a:pt x="304850" y="12506"/>
                  </a:lnTo>
                  <a:cubicBezTo>
                    <a:pt x="308422" y="12506"/>
                    <a:pt x="311316" y="15402"/>
                    <a:pt x="311316" y="18973"/>
                  </a:cubicBezTo>
                  <a:lnTo>
                    <a:pt x="311316" y="28460"/>
                  </a:lnTo>
                  <a:lnTo>
                    <a:pt x="295550" y="28460"/>
                  </a:lnTo>
                  <a:close/>
                  <a:moveTo>
                    <a:pt x="76640" y="12506"/>
                  </a:moveTo>
                  <a:lnTo>
                    <a:pt x="79312" y="12506"/>
                  </a:lnTo>
                  <a:cubicBezTo>
                    <a:pt x="82884" y="12492"/>
                    <a:pt x="85791" y="15375"/>
                    <a:pt x="85806" y="18946"/>
                  </a:cubicBezTo>
                  <a:cubicBezTo>
                    <a:pt x="85806" y="18955"/>
                    <a:pt x="85806" y="18964"/>
                    <a:pt x="85806" y="18973"/>
                  </a:cubicBezTo>
                  <a:lnTo>
                    <a:pt x="85806" y="28460"/>
                  </a:lnTo>
                  <a:lnTo>
                    <a:pt x="70040" y="28460"/>
                  </a:lnTo>
                  <a:lnTo>
                    <a:pt x="70040" y="18973"/>
                  </a:lnTo>
                  <a:lnTo>
                    <a:pt x="70040" y="18973"/>
                  </a:lnTo>
                  <a:cubicBezTo>
                    <a:pt x="70039" y="15402"/>
                    <a:pt x="72934" y="12506"/>
                    <a:pt x="76505" y="12505"/>
                  </a:cubicBezTo>
                  <a:cubicBezTo>
                    <a:pt x="76550" y="12505"/>
                    <a:pt x="76595" y="12505"/>
                    <a:pt x="76640" y="12506"/>
                  </a:cubicBezTo>
                  <a:close/>
                  <a:moveTo>
                    <a:pt x="368930" y="392820"/>
                  </a:moveTo>
                  <a:cubicBezTo>
                    <a:pt x="368930" y="403151"/>
                    <a:pt x="360555" y="411526"/>
                    <a:pt x="350224" y="411526"/>
                  </a:cubicBezTo>
                  <a:lnTo>
                    <a:pt x="31025" y="411526"/>
                  </a:lnTo>
                  <a:cubicBezTo>
                    <a:pt x="20694" y="411526"/>
                    <a:pt x="12319" y="403151"/>
                    <a:pt x="12319" y="392820"/>
                  </a:cubicBezTo>
                  <a:lnTo>
                    <a:pt x="12319" y="392820"/>
                  </a:lnTo>
                  <a:cubicBezTo>
                    <a:pt x="17704" y="396890"/>
                    <a:pt x="24274" y="399087"/>
                    <a:pt x="31025" y="399073"/>
                  </a:cubicBezTo>
                  <a:lnTo>
                    <a:pt x="282723" y="399073"/>
                  </a:lnTo>
                  <a:cubicBezTo>
                    <a:pt x="290967" y="399092"/>
                    <a:pt x="298877" y="395810"/>
                    <a:pt x="304689" y="389961"/>
                  </a:cubicBezTo>
                  <a:lnTo>
                    <a:pt x="368823" y="325827"/>
                  </a:lnTo>
                  <a:close/>
                  <a:moveTo>
                    <a:pt x="298436" y="378711"/>
                  </a:moveTo>
                  <a:cubicBezTo>
                    <a:pt x="298931" y="376664"/>
                    <a:pt x="299182" y="374563"/>
                    <a:pt x="299184" y="372458"/>
                  </a:cubicBezTo>
                  <a:lnTo>
                    <a:pt x="299184" y="331011"/>
                  </a:lnTo>
                  <a:cubicBezTo>
                    <a:pt x="299200" y="323195"/>
                    <a:pt x="305531" y="316864"/>
                    <a:pt x="313347" y="316848"/>
                  </a:cubicBezTo>
                  <a:lnTo>
                    <a:pt x="354794" y="316848"/>
                  </a:lnTo>
                  <a:cubicBezTo>
                    <a:pt x="356900" y="316846"/>
                    <a:pt x="359000" y="316594"/>
                    <a:pt x="361047" y="316100"/>
                  </a:cubicBezTo>
                  <a:close/>
                  <a:moveTo>
                    <a:pt x="368957" y="117178"/>
                  </a:moveTo>
                  <a:lnTo>
                    <a:pt x="315859" y="117178"/>
                  </a:lnTo>
                  <a:cubicBezTo>
                    <a:pt x="312436" y="117178"/>
                    <a:pt x="309660" y="119954"/>
                    <a:pt x="309660" y="123378"/>
                  </a:cubicBezTo>
                  <a:cubicBezTo>
                    <a:pt x="309660" y="126802"/>
                    <a:pt x="312436" y="129577"/>
                    <a:pt x="315859" y="129577"/>
                  </a:cubicBezTo>
                  <a:lnTo>
                    <a:pt x="368930" y="129577"/>
                  </a:lnTo>
                  <a:lnTo>
                    <a:pt x="368930" y="290259"/>
                  </a:lnTo>
                  <a:cubicBezTo>
                    <a:pt x="368930" y="298081"/>
                    <a:pt x="362589" y="304422"/>
                    <a:pt x="354767" y="304422"/>
                  </a:cubicBezTo>
                  <a:lnTo>
                    <a:pt x="313321" y="304422"/>
                  </a:lnTo>
                  <a:cubicBezTo>
                    <a:pt x="298677" y="304511"/>
                    <a:pt x="286831" y="316367"/>
                    <a:pt x="286758" y="331011"/>
                  </a:cubicBezTo>
                  <a:lnTo>
                    <a:pt x="286758" y="372458"/>
                  </a:lnTo>
                  <a:cubicBezTo>
                    <a:pt x="286742" y="380285"/>
                    <a:pt x="280396" y="386621"/>
                    <a:pt x="272569" y="386621"/>
                  </a:cubicBezTo>
                  <a:lnTo>
                    <a:pt x="31212" y="386621"/>
                  </a:lnTo>
                  <a:cubicBezTo>
                    <a:pt x="20881" y="386621"/>
                    <a:pt x="12506" y="378246"/>
                    <a:pt x="12506" y="367915"/>
                  </a:cubicBezTo>
                  <a:lnTo>
                    <a:pt x="12506" y="129577"/>
                  </a:lnTo>
                  <a:lnTo>
                    <a:pt x="291007" y="129577"/>
                  </a:lnTo>
                  <a:cubicBezTo>
                    <a:pt x="294431" y="129577"/>
                    <a:pt x="297207" y="126802"/>
                    <a:pt x="297207" y="123378"/>
                  </a:cubicBezTo>
                  <a:cubicBezTo>
                    <a:pt x="297207" y="119954"/>
                    <a:pt x="294431" y="117178"/>
                    <a:pt x="291007" y="117178"/>
                  </a:cubicBezTo>
                  <a:lnTo>
                    <a:pt x="12506" y="117178"/>
                  </a:lnTo>
                  <a:lnTo>
                    <a:pt x="12506" y="59538"/>
                  </a:lnTo>
                  <a:cubicBezTo>
                    <a:pt x="12506" y="49207"/>
                    <a:pt x="20881" y="40832"/>
                    <a:pt x="31212" y="40832"/>
                  </a:cubicBezTo>
                  <a:lnTo>
                    <a:pt x="57747" y="40832"/>
                  </a:lnTo>
                  <a:lnTo>
                    <a:pt x="57747" y="59084"/>
                  </a:lnTo>
                  <a:cubicBezTo>
                    <a:pt x="57762" y="69512"/>
                    <a:pt x="66212" y="77962"/>
                    <a:pt x="76640" y="77976"/>
                  </a:cubicBezTo>
                  <a:cubicBezTo>
                    <a:pt x="80071" y="77751"/>
                    <a:pt x="82670" y="74787"/>
                    <a:pt x="82445" y="71356"/>
                  </a:cubicBezTo>
                  <a:cubicBezTo>
                    <a:pt x="82241" y="68238"/>
                    <a:pt x="79757" y="65755"/>
                    <a:pt x="76640" y="65550"/>
                  </a:cubicBezTo>
                  <a:cubicBezTo>
                    <a:pt x="73068" y="65550"/>
                    <a:pt x="70173" y="62655"/>
                    <a:pt x="70173" y="59084"/>
                  </a:cubicBezTo>
                  <a:lnTo>
                    <a:pt x="70173" y="40859"/>
                  </a:lnTo>
                  <a:lnTo>
                    <a:pt x="283258" y="40859"/>
                  </a:lnTo>
                  <a:lnTo>
                    <a:pt x="283258" y="59110"/>
                  </a:lnTo>
                  <a:cubicBezTo>
                    <a:pt x="283274" y="69539"/>
                    <a:pt x="291724" y="77988"/>
                    <a:pt x="302151" y="78003"/>
                  </a:cubicBezTo>
                  <a:cubicBezTo>
                    <a:pt x="305582" y="77778"/>
                    <a:pt x="308182" y="74814"/>
                    <a:pt x="307955" y="71382"/>
                  </a:cubicBezTo>
                  <a:cubicBezTo>
                    <a:pt x="307752" y="68265"/>
                    <a:pt x="305269" y="65782"/>
                    <a:pt x="302151" y="65577"/>
                  </a:cubicBezTo>
                  <a:cubicBezTo>
                    <a:pt x="298578" y="65577"/>
                    <a:pt x="295684" y="62682"/>
                    <a:pt x="295684" y="59110"/>
                  </a:cubicBezTo>
                  <a:lnTo>
                    <a:pt x="295684" y="40859"/>
                  </a:lnTo>
                  <a:lnTo>
                    <a:pt x="350278" y="40859"/>
                  </a:lnTo>
                  <a:cubicBezTo>
                    <a:pt x="360609" y="40859"/>
                    <a:pt x="368983" y="49234"/>
                    <a:pt x="368983" y="59565"/>
                  </a:cubicBez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84" name="Freeform 283">
              <a:extLst>
                <a:ext uri="{FF2B5EF4-FFF2-40B4-BE49-F238E27FC236}">
                  <a16:creationId xmlns:a16="http://schemas.microsoft.com/office/drawing/2014/main" id="{C433B7D1-FD68-5A01-7208-F667599EBBCC}"/>
                </a:ext>
              </a:extLst>
            </p:cNvPr>
            <p:cNvSpPr/>
            <p:nvPr/>
          </p:nvSpPr>
          <p:spPr>
            <a:xfrm>
              <a:off x="9134945" y="1597007"/>
              <a:ext cx="53792" cy="53818"/>
            </a:xfrm>
            <a:custGeom>
              <a:avLst/>
              <a:gdLst>
                <a:gd name="connsiteX0" fmla="*/ 0 w 53792"/>
                <a:gd name="connsiteY0" fmla="*/ 12132 h 53818"/>
                <a:gd name="connsiteX1" fmla="*/ 0 w 53792"/>
                <a:gd name="connsiteY1" fmla="*/ 41687 h 53818"/>
                <a:gd name="connsiteX2" fmla="*/ 12105 w 53792"/>
                <a:gd name="connsiteY2" fmla="*/ 53819 h 53818"/>
                <a:gd name="connsiteX3" fmla="*/ 41687 w 53792"/>
                <a:gd name="connsiteY3" fmla="*/ 53819 h 53818"/>
                <a:gd name="connsiteX4" fmla="*/ 53792 w 53792"/>
                <a:gd name="connsiteY4" fmla="*/ 41687 h 53818"/>
                <a:gd name="connsiteX5" fmla="*/ 53792 w 53792"/>
                <a:gd name="connsiteY5" fmla="*/ 12132 h 53818"/>
                <a:gd name="connsiteX6" fmla="*/ 41687 w 53792"/>
                <a:gd name="connsiteY6" fmla="*/ 0 h 53818"/>
                <a:gd name="connsiteX7" fmla="*/ 11998 w 53792"/>
                <a:gd name="connsiteY7" fmla="*/ 0 h 53818"/>
                <a:gd name="connsiteX8" fmla="*/ 0 w 53792"/>
                <a:gd name="connsiteY8" fmla="*/ 12132 h 53818"/>
                <a:gd name="connsiteX9" fmla="*/ 12426 w 53792"/>
                <a:gd name="connsiteY9" fmla="*/ 12426 h 53818"/>
                <a:gd name="connsiteX10" fmla="*/ 41393 w 53792"/>
                <a:gd name="connsiteY10" fmla="*/ 12426 h 53818"/>
                <a:gd name="connsiteX11" fmla="*/ 41393 w 53792"/>
                <a:gd name="connsiteY11" fmla="*/ 41393 h 53818"/>
                <a:gd name="connsiteX12" fmla="*/ 12319 w 53792"/>
                <a:gd name="connsiteY12" fmla="*/ 41393 h 5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792" h="53818">
                  <a:moveTo>
                    <a:pt x="0" y="12132"/>
                  </a:moveTo>
                  <a:lnTo>
                    <a:pt x="0" y="41687"/>
                  </a:lnTo>
                  <a:cubicBezTo>
                    <a:pt x="0" y="48377"/>
                    <a:pt x="5417" y="53804"/>
                    <a:pt x="12105" y="53819"/>
                  </a:cubicBezTo>
                  <a:lnTo>
                    <a:pt x="41687" y="53819"/>
                  </a:lnTo>
                  <a:cubicBezTo>
                    <a:pt x="48376" y="53804"/>
                    <a:pt x="53792" y="48377"/>
                    <a:pt x="53792" y="41687"/>
                  </a:cubicBezTo>
                  <a:lnTo>
                    <a:pt x="53792" y="12132"/>
                  </a:lnTo>
                  <a:cubicBezTo>
                    <a:pt x="53792" y="5442"/>
                    <a:pt x="48376" y="15"/>
                    <a:pt x="41687" y="0"/>
                  </a:cubicBezTo>
                  <a:lnTo>
                    <a:pt x="11998" y="0"/>
                  </a:lnTo>
                  <a:cubicBezTo>
                    <a:pt x="5350" y="73"/>
                    <a:pt x="0" y="5483"/>
                    <a:pt x="0" y="12132"/>
                  </a:cubicBezTo>
                  <a:close/>
                  <a:moveTo>
                    <a:pt x="12426" y="12426"/>
                  </a:moveTo>
                  <a:lnTo>
                    <a:pt x="41393" y="12426"/>
                  </a:lnTo>
                  <a:lnTo>
                    <a:pt x="41393" y="41393"/>
                  </a:lnTo>
                  <a:lnTo>
                    <a:pt x="12319" y="41393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85" name="Freeform 284">
              <a:extLst>
                <a:ext uri="{FF2B5EF4-FFF2-40B4-BE49-F238E27FC236}">
                  <a16:creationId xmlns:a16="http://schemas.microsoft.com/office/drawing/2014/main" id="{4CF17466-D78D-5AAD-5D36-89EAC15D2B6A}"/>
                </a:ext>
              </a:extLst>
            </p:cNvPr>
            <p:cNvSpPr/>
            <p:nvPr/>
          </p:nvSpPr>
          <p:spPr>
            <a:xfrm>
              <a:off x="8881777" y="1673808"/>
              <a:ext cx="53792" cy="53792"/>
            </a:xfrm>
            <a:custGeom>
              <a:avLst/>
              <a:gdLst>
                <a:gd name="connsiteX0" fmla="*/ 41660 w 53792"/>
                <a:gd name="connsiteY0" fmla="*/ 0 h 53792"/>
                <a:gd name="connsiteX1" fmla="*/ 12105 w 53792"/>
                <a:gd name="connsiteY1" fmla="*/ 0 h 53792"/>
                <a:gd name="connsiteX2" fmla="*/ 0 w 53792"/>
                <a:gd name="connsiteY2" fmla="*/ 12105 h 53792"/>
                <a:gd name="connsiteX3" fmla="*/ 0 w 53792"/>
                <a:gd name="connsiteY3" fmla="*/ 12132 h 53792"/>
                <a:gd name="connsiteX4" fmla="*/ 0 w 53792"/>
                <a:gd name="connsiteY4" fmla="*/ 41687 h 53792"/>
                <a:gd name="connsiteX5" fmla="*/ 12105 w 53792"/>
                <a:gd name="connsiteY5" fmla="*/ 53792 h 53792"/>
                <a:gd name="connsiteX6" fmla="*/ 41660 w 53792"/>
                <a:gd name="connsiteY6" fmla="*/ 53792 h 53792"/>
                <a:gd name="connsiteX7" fmla="*/ 53792 w 53792"/>
                <a:gd name="connsiteY7" fmla="*/ 41687 h 53792"/>
                <a:gd name="connsiteX8" fmla="*/ 53792 w 53792"/>
                <a:gd name="connsiteY8" fmla="*/ 12132 h 53792"/>
                <a:gd name="connsiteX9" fmla="*/ 41660 w 53792"/>
                <a:gd name="connsiteY9" fmla="*/ 0 h 53792"/>
                <a:gd name="connsiteX10" fmla="*/ 41366 w 53792"/>
                <a:gd name="connsiteY10" fmla="*/ 41366 h 53792"/>
                <a:gd name="connsiteX11" fmla="*/ 12399 w 53792"/>
                <a:gd name="connsiteY11" fmla="*/ 41366 h 53792"/>
                <a:gd name="connsiteX12" fmla="*/ 12399 w 53792"/>
                <a:gd name="connsiteY12" fmla="*/ 12426 h 53792"/>
                <a:gd name="connsiteX13" fmla="*/ 41366 w 53792"/>
                <a:gd name="connsiteY13" fmla="*/ 12426 h 53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3792" h="53792">
                  <a:moveTo>
                    <a:pt x="41660" y="0"/>
                  </a:moveTo>
                  <a:lnTo>
                    <a:pt x="12105" y="0"/>
                  </a:lnTo>
                  <a:cubicBezTo>
                    <a:pt x="5420" y="0"/>
                    <a:pt x="0" y="5420"/>
                    <a:pt x="0" y="12105"/>
                  </a:cubicBezTo>
                  <a:cubicBezTo>
                    <a:pt x="0" y="12114"/>
                    <a:pt x="0" y="12123"/>
                    <a:pt x="0" y="12132"/>
                  </a:cubicBezTo>
                  <a:lnTo>
                    <a:pt x="0" y="41687"/>
                  </a:lnTo>
                  <a:cubicBezTo>
                    <a:pt x="0" y="48373"/>
                    <a:pt x="5420" y="53792"/>
                    <a:pt x="12105" y="53792"/>
                  </a:cubicBezTo>
                  <a:lnTo>
                    <a:pt x="41660" y="53792"/>
                  </a:lnTo>
                  <a:cubicBezTo>
                    <a:pt x="48350" y="53792"/>
                    <a:pt x="53778" y="48376"/>
                    <a:pt x="53792" y="41687"/>
                  </a:cubicBezTo>
                  <a:lnTo>
                    <a:pt x="53792" y="12132"/>
                  </a:lnTo>
                  <a:cubicBezTo>
                    <a:pt x="53792" y="5432"/>
                    <a:pt x="48361" y="0"/>
                    <a:pt x="41660" y="0"/>
                  </a:cubicBezTo>
                  <a:close/>
                  <a:moveTo>
                    <a:pt x="41366" y="41366"/>
                  </a:moveTo>
                  <a:lnTo>
                    <a:pt x="12399" y="41366"/>
                  </a:lnTo>
                  <a:lnTo>
                    <a:pt x="12399" y="12426"/>
                  </a:lnTo>
                  <a:lnTo>
                    <a:pt x="41366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86" name="Freeform 285">
              <a:extLst>
                <a:ext uri="{FF2B5EF4-FFF2-40B4-BE49-F238E27FC236}">
                  <a16:creationId xmlns:a16="http://schemas.microsoft.com/office/drawing/2014/main" id="{26E21521-C7E3-7E3C-6AB7-C610850C090A}"/>
                </a:ext>
              </a:extLst>
            </p:cNvPr>
            <p:cNvSpPr/>
            <p:nvPr/>
          </p:nvSpPr>
          <p:spPr>
            <a:xfrm>
              <a:off x="9134838" y="1675651"/>
              <a:ext cx="53792" cy="53792"/>
            </a:xfrm>
            <a:custGeom>
              <a:avLst/>
              <a:gdLst>
                <a:gd name="connsiteX0" fmla="*/ 41687 w 53792"/>
                <a:gd name="connsiteY0" fmla="*/ 0 h 53792"/>
                <a:gd name="connsiteX1" fmla="*/ 12105 w 53792"/>
                <a:gd name="connsiteY1" fmla="*/ 0 h 53792"/>
                <a:gd name="connsiteX2" fmla="*/ 0 w 53792"/>
                <a:gd name="connsiteY2" fmla="*/ 12105 h 53792"/>
                <a:gd name="connsiteX3" fmla="*/ 0 w 53792"/>
                <a:gd name="connsiteY3" fmla="*/ 41687 h 53792"/>
                <a:gd name="connsiteX4" fmla="*/ 12105 w 53792"/>
                <a:gd name="connsiteY4" fmla="*/ 53792 h 53792"/>
                <a:gd name="connsiteX5" fmla="*/ 41687 w 53792"/>
                <a:gd name="connsiteY5" fmla="*/ 53792 h 53792"/>
                <a:gd name="connsiteX6" fmla="*/ 53792 w 53792"/>
                <a:gd name="connsiteY6" fmla="*/ 41687 h 53792"/>
                <a:gd name="connsiteX7" fmla="*/ 53792 w 53792"/>
                <a:gd name="connsiteY7" fmla="*/ 12105 h 53792"/>
                <a:gd name="connsiteX8" fmla="*/ 41687 w 53792"/>
                <a:gd name="connsiteY8" fmla="*/ 0 h 53792"/>
                <a:gd name="connsiteX9" fmla="*/ 41393 w 53792"/>
                <a:gd name="connsiteY9" fmla="*/ 41393 h 53792"/>
                <a:gd name="connsiteX10" fmla="*/ 12426 w 53792"/>
                <a:gd name="connsiteY10" fmla="*/ 41393 h 53792"/>
                <a:gd name="connsiteX11" fmla="*/ 12426 w 53792"/>
                <a:gd name="connsiteY11" fmla="*/ 12426 h 53792"/>
                <a:gd name="connsiteX12" fmla="*/ 41393 w 53792"/>
                <a:gd name="connsiteY12" fmla="*/ 12426 h 53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792" h="53792">
                  <a:moveTo>
                    <a:pt x="41687" y="0"/>
                  </a:moveTo>
                  <a:lnTo>
                    <a:pt x="12105" y="0"/>
                  </a:lnTo>
                  <a:cubicBezTo>
                    <a:pt x="5419" y="0"/>
                    <a:pt x="0" y="5420"/>
                    <a:pt x="0" y="12105"/>
                  </a:cubicBezTo>
                  <a:lnTo>
                    <a:pt x="0" y="41687"/>
                  </a:lnTo>
                  <a:cubicBezTo>
                    <a:pt x="0" y="48373"/>
                    <a:pt x="5419" y="53792"/>
                    <a:pt x="12105" y="53792"/>
                  </a:cubicBezTo>
                  <a:lnTo>
                    <a:pt x="41687" y="53792"/>
                  </a:lnTo>
                  <a:cubicBezTo>
                    <a:pt x="48373" y="53792"/>
                    <a:pt x="53792" y="48373"/>
                    <a:pt x="53792" y="41687"/>
                  </a:cubicBezTo>
                  <a:lnTo>
                    <a:pt x="53792" y="12105"/>
                  </a:lnTo>
                  <a:cubicBezTo>
                    <a:pt x="53792" y="5420"/>
                    <a:pt x="48373" y="0"/>
                    <a:pt x="41687" y="0"/>
                  </a:cubicBezTo>
                  <a:close/>
                  <a:moveTo>
                    <a:pt x="41393" y="41393"/>
                  </a:moveTo>
                  <a:lnTo>
                    <a:pt x="12426" y="41393"/>
                  </a:lnTo>
                  <a:lnTo>
                    <a:pt x="12426" y="12426"/>
                  </a:lnTo>
                  <a:lnTo>
                    <a:pt x="41393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87" name="Freeform 286">
              <a:extLst>
                <a:ext uri="{FF2B5EF4-FFF2-40B4-BE49-F238E27FC236}">
                  <a16:creationId xmlns:a16="http://schemas.microsoft.com/office/drawing/2014/main" id="{63D345B6-0E2F-0853-BE6A-85BF54426A83}"/>
                </a:ext>
              </a:extLst>
            </p:cNvPr>
            <p:cNvSpPr/>
            <p:nvPr/>
          </p:nvSpPr>
          <p:spPr>
            <a:xfrm>
              <a:off x="8966113" y="1597007"/>
              <a:ext cx="53925" cy="53819"/>
            </a:xfrm>
            <a:custGeom>
              <a:avLst/>
              <a:gdLst>
                <a:gd name="connsiteX0" fmla="*/ 41687 w 53925"/>
                <a:gd name="connsiteY0" fmla="*/ 0 h 53819"/>
                <a:gd name="connsiteX1" fmla="*/ 12132 w 53925"/>
                <a:gd name="connsiteY1" fmla="*/ 0 h 53819"/>
                <a:gd name="connsiteX2" fmla="*/ 0 w 53925"/>
                <a:gd name="connsiteY2" fmla="*/ 12132 h 53819"/>
                <a:gd name="connsiteX3" fmla="*/ 0 w 53925"/>
                <a:gd name="connsiteY3" fmla="*/ 41687 h 53819"/>
                <a:gd name="connsiteX4" fmla="*/ 12132 w 53925"/>
                <a:gd name="connsiteY4" fmla="*/ 53819 h 53819"/>
                <a:gd name="connsiteX5" fmla="*/ 41687 w 53925"/>
                <a:gd name="connsiteY5" fmla="*/ 53819 h 53819"/>
                <a:gd name="connsiteX6" fmla="*/ 53926 w 53925"/>
                <a:gd name="connsiteY6" fmla="*/ 41741 h 53819"/>
                <a:gd name="connsiteX7" fmla="*/ 53926 w 53925"/>
                <a:gd name="connsiteY7" fmla="*/ 41687 h 53819"/>
                <a:gd name="connsiteX8" fmla="*/ 53926 w 53925"/>
                <a:gd name="connsiteY8" fmla="*/ 12132 h 53819"/>
                <a:gd name="connsiteX9" fmla="*/ 41741 w 53925"/>
                <a:gd name="connsiteY9" fmla="*/ 0 h 53819"/>
                <a:gd name="connsiteX10" fmla="*/ 41687 w 53925"/>
                <a:gd name="connsiteY10" fmla="*/ 0 h 53819"/>
                <a:gd name="connsiteX11" fmla="*/ 41393 w 53925"/>
                <a:gd name="connsiteY11" fmla="*/ 41393 h 53819"/>
                <a:gd name="connsiteX12" fmla="*/ 12426 w 53925"/>
                <a:gd name="connsiteY12" fmla="*/ 41393 h 53819"/>
                <a:gd name="connsiteX13" fmla="*/ 12426 w 53925"/>
                <a:gd name="connsiteY13" fmla="*/ 12426 h 53819"/>
                <a:gd name="connsiteX14" fmla="*/ 41393 w 53925"/>
                <a:gd name="connsiteY14" fmla="*/ 12426 h 53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3925" h="53819">
                  <a:moveTo>
                    <a:pt x="41687" y="0"/>
                  </a:moveTo>
                  <a:lnTo>
                    <a:pt x="12132" y="0"/>
                  </a:lnTo>
                  <a:cubicBezTo>
                    <a:pt x="5438" y="15"/>
                    <a:pt x="15" y="5438"/>
                    <a:pt x="0" y="12132"/>
                  </a:cubicBezTo>
                  <a:lnTo>
                    <a:pt x="0" y="41687"/>
                  </a:lnTo>
                  <a:cubicBezTo>
                    <a:pt x="15" y="48382"/>
                    <a:pt x="5438" y="53805"/>
                    <a:pt x="12132" y="53819"/>
                  </a:cubicBezTo>
                  <a:lnTo>
                    <a:pt x="41687" y="53819"/>
                  </a:lnTo>
                  <a:cubicBezTo>
                    <a:pt x="48402" y="53864"/>
                    <a:pt x="53881" y="48456"/>
                    <a:pt x="53926" y="41741"/>
                  </a:cubicBezTo>
                  <a:cubicBezTo>
                    <a:pt x="53926" y="41723"/>
                    <a:pt x="53926" y="41705"/>
                    <a:pt x="53926" y="41687"/>
                  </a:cubicBezTo>
                  <a:lnTo>
                    <a:pt x="53926" y="12132"/>
                  </a:lnTo>
                  <a:cubicBezTo>
                    <a:pt x="53911" y="5417"/>
                    <a:pt x="48456" y="-15"/>
                    <a:pt x="41741" y="0"/>
                  </a:cubicBezTo>
                  <a:cubicBezTo>
                    <a:pt x="41723" y="0"/>
                    <a:pt x="41705" y="0"/>
                    <a:pt x="41687" y="0"/>
                  </a:cubicBezTo>
                  <a:close/>
                  <a:moveTo>
                    <a:pt x="41393" y="41393"/>
                  </a:moveTo>
                  <a:lnTo>
                    <a:pt x="12426" y="41393"/>
                  </a:lnTo>
                  <a:lnTo>
                    <a:pt x="12426" y="12426"/>
                  </a:lnTo>
                  <a:lnTo>
                    <a:pt x="41393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88" name="Freeform 287">
              <a:extLst>
                <a:ext uri="{FF2B5EF4-FFF2-40B4-BE49-F238E27FC236}">
                  <a16:creationId xmlns:a16="http://schemas.microsoft.com/office/drawing/2014/main" id="{8DCEB773-E054-717E-F467-3C3D8FDF4716}"/>
                </a:ext>
              </a:extLst>
            </p:cNvPr>
            <p:cNvSpPr/>
            <p:nvPr/>
          </p:nvSpPr>
          <p:spPr>
            <a:xfrm>
              <a:off x="9050476" y="1597007"/>
              <a:ext cx="53818" cy="53818"/>
            </a:xfrm>
            <a:custGeom>
              <a:avLst/>
              <a:gdLst>
                <a:gd name="connsiteX0" fmla="*/ 41714 w 53818"/>
                <a:gd name="connsiteY0" fmla="*/ 0 h 53818"/>
                <a:gd name="connsiteX1" fmla="*/ 12132 w 53818"/>
                <a:gd name="connsiteY1" fmla="*/ 0 h 53818"/>
                <a:gd name="connsiteX2" fmla="*/ 0 w 53818"/>
                <a:gd name="connsiteY2" fmla="*/ 12132 h 53818"/>
                <a:gd name="connsiteX3" fmla="*/ 0 w 53818"/>
                <a:gd name="connsiteY3" fmla="*/ 41687 h 53818"/>
                <a:gd name="connsiteX4" fmla="*/ 12132 w 53818"/>
                <a:gd name="connsiteY4" fmla="*/ 53819 h 53818"/>
                <a:gd name="connsiteX5" fmla="*/ 41714 w 53818"/>
                <a:gd name="connsiteY5" fmla="*/ 53819 h 53818"/>
                <a:gd name="connsiteX6" fmla="*/ 53819 w 53818"/>
                <a:gd name="connsiteY6" fmla="*/ 41687 h 53818"/>
                <a:gd name="connsiteX7" fmla="*/ 53819 w 53818"/>
                <a:gd name="connsiteY7" fmla="*/ 12132 h 53818"/>
                <a:gd name="connsiteX8" fmla="*/ 41714 w 53818"/>
                <a:gd name="connsiteY8" fmla="*/ 0 h 53818"/>
                <a:gd name="connsiteX9" fmla="*/ 41420 w 53818"/>
                <a:gd name="connsiteY9" fmla="*/ 41393 h 53818"/>
                <a:gd name="connsiteX10" fmla="*/ 12319 w 53818"/>
                <a:gd name="connsiteY10" fmla="*/ 41393 h 53818"/>
                <a:gd name="connsiteX11" fmla="*/ 12319 w 53818"/>
                <a:gd name="connsiteY11" fmla="*/ 12426 h 53818"/>
                <a:gd name="connsiteX12" fmla="*/ 41286 w 53818"/>
                <a:gd name="connsiteY12" fmla="*/ 12426 h 5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" h="53818">
                  <a:moveTo>
                    <a:pt x="41714" y="0"/>
                  </a:moveTo>
                  <a:lnTo>
                    <a:pt x="12132" y="0"/>
                  </a:lnTo>
                  <a:cubicBezTo>
                    <a:pt x="5438" y="15"/>
                    <a:pt x="15" y="5438"/>
                    <a:pt x="0" y="12132"/>
                  </a:cubicBezTo>
                  <a:lnTo>
                    <a:pt x="0" y="41687"/>
                  </a:lnTo>
                  <a:cubicBezTo>
                    <a:pt x="15" y="48381"/>
                    <a:pt x="5438" y="53804"/>
                    <a:pt x="12132" y="53819"/>
                  </a:cubicBezTo>
                  <a:lnTo>
                    <a:pt x="41714" y="53819"/>
                  </a:lnTo>
                  <a:cubicBezTo>
                    <a:pt x="48402" y="53804"/>
                    <a:pt x="53819" y="48377"/>
                    <a:pt x="53819" y="41687"/>
                  </a:cubicBezTo>
                  <a:lnTo>
                    <a:pt x="53819" y="12132"/>
                  </a:lnTo>
                  <a:cubicBezTo>
                    <a:pt x="53819" y="5442"/>
                    <a:pt x="48402" y="15"/>
                    <a:pt x="41714" y="0"/>
                  </a:cubicBezTo>
                  <a:close/>
                  <a:moveTo>
                    <a:pt x="41420" y="41393"/>
                  </a:moveTo>
                  <a:lnTo>
                    <a:pt x="12319" y="41393"/>
                  </a:lnTo>
                  <a:lnTo>
                    <a:pt x="12319" y="12426"/>
                  </a:lnTo>
                  <a:lnTo>
                    <a:pt x="41286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89" name="Freeform 288">
              <a:extLst>
                <a:ext uri="{FF2B5EF4-FFF2-40B4-BE49-F238E27FC236}">
                  <a16:creationId xmlns:a16="http://schemas.microsoft.com/office/drawing/2014/main" id="{F5F1F9EC-1A15-3407-935D-8968B47AA4A3}"/>
                </a:ext>
              </a:extLst>
            </p:cNvPr>
            <p:cNvSpPr/>
            <p:nvPr/>
          </p:nvSpPr>
          <p:spPr>
            <a:xfrm>
              <a:off x="9048196" y="1680985"/>
              <a:ext cx="56083" cy="46855"/>
            </a:xfrm>
            <a:custGeom>
              <a:avLst/>
              <a:gdLst>
                <a:gd name="connsiteX0" fmla="*/ 20157 w 56083"/>
                <a:gd name="connsiteY0" fmla="*/ 46855 h 46855"/>
                <a:gd name="connsiteX1" fmla="*/ 20638 w 56083"/>
                <a:gd name="connsiteY1" fmla="*/ 46855 h 46855"/>
                <a:gd name="connsiteX2" fmla="*/ 27533 w 56083"/>
                <a:gd name="connsiteY2" fmla="*/ 43381 h 46855"/>
                <a:gd name="connsiteX3" fmla="*/ 54683 w 56083"/>
                <a:gd name="connsiteY3" fmla="*/ 10139 h 46855"/>
                <a:gd name="connsiteX4" fmla="*/ 53801 w 56083"/>
                <a:gd name="connsiteY4" fmla="*/ 1400 h 46855"/>
                <a:gd name="connsiteX5" fmla="*/ 45063 w 56083"/>
                <a:gd name="connsiteY5" fmla="*/ 2282 h 46855"/>
                <a:gd name="connsiteX6" fmla="*/ 19943 w 56083"/>
                <a:gd name="connsiteY6" fmla="*/ 33013 h 46855"/>
                <a:gd name="connsiteX7" fmla="*/ 10377 w 56083"/>
                <a:gd name="connsiteY7" fmla="*/ 23500 h 46855"/>
                <a:gd name="connsiteX8" fmla="*/ 1585 w 56083"/>
                <a:gd name="connsiteY8" fmla="*/ 23992 h 46855"/>
                <a:gd name="connsiteX9" fmla="*/ 1585 w 56083"/>
                <a:gd name="connsiteY9" fmla="*/ 32292 h 46855"/>
                <a:gd name="connsiteX10" fmla="*/ 13423 w 56083"/>
                <a:gd name="connsiteY10" fmla="*/ 44103 h 46855"/>
                <a:gd name="connsiteX11" fmla="*/ 20157 w 56083"/>
                <a:gd name="connsiteY11" fmla="*/ 46855 h 46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083" h="46855">
                  <a:moveTo>
                    <a:pt x="20157" y="46855"/>
                  </a:moveTo>
                  <a:lnTo>
                    <a:pt x="20638" y="46855"/>
                  </a:lnTo>
                  <a:cubicBezTo>
                    <a:pt x="23323" y="46722"/>
                    <a:pt x="25827" y="45458"/>
                    <a:pt x="27533" y="43381"/>
                  </a:cubicBezTo>
                  <a:lnTo>
                    <a:pt x="54683" y="10139"/>
                  </a:lnTo>
                  <a:cubicBezTo>
                    <a:pt x="56852" y="7482"/>
                    <a:pt x="56457" y="3570"/>
                    <a:pt x="53801" y="1400"/>
                  </a:cubicBezTo>
                  <a:cubicBezTo>
                    <a:pt x="51145" y="-769"/>
                    <a:pt x="47232" y="-374"/>
                    <a:pt x="45063" y="2282"/>
                  </a:cubicBezTo>
                  <a:lnTo>
                    <a:pt x="19943" y="33013"/>
                  </a:lnTo>
                  <a:lnTo>
                    <a:pt x="10377" y="23500"/>
                  </a:lnTo>
                  <a:cubicBezTo>
                    <a:pt x="7814" y="21208"/>
                    <a:pt x="3877" y="21427"/>
                    <a:pt x="1585" y="23992"/>
                  </a:cubicBezTo>
                  <a:cubicBezTo>
                    <a:pt x="-528" y="26354"/>
                    <a:pt x="-528" y="29929"/>
                    <a:pt x="1585" y="32292"/>
                  </a:cubicBezTo>
                  <a:lnTo>
                    <a:pt x="13423" y="44103"/>
                  </a:lnTo>
                  <a:cubicBezTo>
                    <a:pt x="15216" y="45875"/>
                    <a:pt x="17637" y="46863"/>
                    <a:pt x="20157" y="46855"/>
                  </a:cubicBez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90" name="Freeform 289">
              <a:extLst>
                <a:ext uri="{FF2B5EF4-FFF2-40B4-BE49-F238E27FC236}">
                  <a16:creationId xmlns:a16="http://schemas.microsoft.com/office/drawing/2014/main" id="{51E5F586-8E9D-11A1-92B5-5D9FDF8BBF4C}"/>
                </a:ext>
              </a:extLst>
            </p:cNvPr>
            <p:cNvSpPr/>
            <p:nvPr/>
          </p:nvSpPr>
          <p:spPr>
            <a:xfrm>
              <a:off x="8881777" y="1597007"/>
              <a:ext cx="53792" cy="53818"/>
            </a:xfrm>
            <a:custGeom>
              <a:avLst/>
              <a:gdLst>
                <a:gd name="connsiteX0" fmla="*/ 41660 w 53792"/>
                <a:gd name="connsiteY0" fmla="*/ 0 h 53818"/>
                <a:gd name="connsiteX1" fmla="*/ 12105 w 53792"/>
                <a:gd name="connsiteY1" fmla="*/ 0 h 53818"/>
                <a:gd name="connsiteX2" fmla="*/ 0 w 53792"/>
                <a:gd name="connsiteY2" fmla="*/ 12132 h 53818"/>
                <a:gd name="connsiteX3" fmla="*/ 0 w 53792"/>
                <a:gd name="connsiteY3" fmla="*/ 41687 h 53818"/>
                <a:gd name="connsiteX4" fmla="*/ 12105 w 53792"/>
                <a:gd name="connsiteY4" fmla="*/ 53819 h 53818"/>
                <a:gd name="connsiteX5" fmla="*/ 41660 w 53792"/>
                <a:gd name="connsiteY5" fmla="*/ 53819 h 53818"/>
                <a:gd name="connsiteX6" fmla="*/ 53792 w 53792"/>
                <a:gd name="connsiteY6" fmla="*/ 41687 h 53818"/>
                <a:gd name="connsiteX7" fmla="*/ 53792 w 53792"/>
                <a:gd name="connsiteY7" fmla="*/ 12132 h 53818"/>
                <a:gd name="connsiteX8" fmla="*/ 41660 w 53792"/>
                <a:gd name="connsiteY8" fmla="*/ 0 h 53818"/>
                <a:gd name="connsiteX9" fmla="*/ 41366 w 53792"/>
                <a:gd name="connsiteY9" fmla="*/ 41393 h 53818"/>
                <a:gd name="connsiteX10" fmla="*/ 12399 w 53792"/>
                <a:gd name="connsiteY10" fmla="*/ 41393 h 53818"/>
                <a:gd name="connsiteX11" fmla="*/ 12399 w 53792"/>
                <a:gd name="connsiteY11" fmla="*/ 12426 h 53818"/>
                <a:gd name="connsiteX12" fmla="*/ 41366 w 53792"/>
                <a:gd name="connsiteY12" fmla="*/ 12426 h 5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792" h="53818">
                  <a:moveTo>
                    <a:pt x="41660" y="0"/>
                  </a:moveTo>
                  <a:lnTo>
                    <a:pt x="12105" y="0"/>
                  </a:lnTo>
                  <a:cubicBezTo>
                    <a:pt x="5415" y="15"/>
                    <a:pt x="0" y="5442"/>
                    <a:pt x="0" y="12132"/>
                  </a:cubicBezTo>
                  <a:lnTo>
                    <a:pt x="0" y="41687"/>
                  </a:lnTo>
                  <a:cubicBezTo>
                    <a:pt x="0" y="48377"/>
                    <a:pt x="5415" y="53804"/>
                    <a:pt x="12105" y="53819"/>
                  </a:cubicBezTo>
                  <a:lnTo>
                    <a:pt x="41660" y="53819"/>
                  </a:lnTo>
                  <a:cubicBezTo>
                    <a:pt x="48355" y="53804"/>
                    <a:pt x="53778" y="48381"/>
                    <a:pt x="53792" y="41687"/>
                  </a:cubicBezTo>
                  <a:lnTo>
                    <a:pt x="53792" y="12132"/>
                  </a:lnTo>
                  <a:cubicBezTo>
                    <a:pt x="53778" y="5438"/>
                    <a:pt x="48355" y="15"/>
                    <a:pt x="41660" y="0"/>
                  </a:cubicBezTo>
                  <a:close/>
                  <a:moveTo>
                    <a:pt x="41366" y="41393"/>
                  </a:moveTo>
                  <a:lnTo>
                    <a:pt x="12399" y="41393"/>
                  </a:lnTo>
                  <a:lnTo>
                    <a:pt x="12399" y="12426"/>
                  </a:lnTo>
                  <a:lnTo>
                    <a:pt x="41366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91" name="Freeform 290">
              <a:extLst>
                <a:ext uri="{FF2B5EF4-FFF2-40B4-BE49-F238E27FC236}">
                  <a16:creationId xmlns:a16="http://schemas.microsoft.com/office/drawing/2014/main" id="{030408B5-EA57-F83A-1186-B80F5DB28CDF}"/>
                </a:ext>
              </a:extLst>
            </p:cNvPr>
            <p:cNvSpPr/>
            <p:nvPr/>
          </p:nvSpPr>
          <p:spPr>
            <a:xfrm>
              <a:off x="8966113" y="1673808"/>
              <a:ext cx="53818" cy="53792"/>
            </a:xfrm>
            <a:custGeom>
              <a:avLst/>
              <a:gdLst>
                <a:gd name="connsiteX0" fmla="*/ 41687 w 53818"/>
                <a:gd name="connsiteY0" fmla="*/ 0 h 53792"/>
                <a:gd name="connsiteX1" fmla="*/ 12132 w 53818"/>
                <a:gd name="connsiteY1" fmla="*/ 0 h 53792"/>
                <a:gd name="connsiteX2" fmla="*/ 0 w 53818"/>
                <a:gd name="connsiteY2" fmla="*/ 12132 h 53792"/>
                <a:gd name="connsiteX3" fmla="*/ 0 w 53818"/>
                <a:gd name="connsiteY3" fmla="*/ 41687 h 53792"/>
                <a:gd name="connsiteX4" fmla="*/ 12132 w 53818"/>
                <a:gd name="connsiteY4" fmla="*/ 53792 h 53792"/>
                <a:gd name="connsiteX5" fmla="*/ 41687 w 53818"/>
                <a:gd name="connsiteY5" fmla="*/ 53792 h 53792"/>
                <a:gd name="connsiteX6" fmla="*/ 53819 w 53818"/>
                <a:gd name="connsiteY6" fmla="*/ 41687 h 53792"/>
                <a:gd name="connsiteX7" fmla="*/ 53819 w 53818"/>
                <a:gd name="connsiteY7" fmla="*/ 12132 h 53792"/>
                <a:gd name="connsiteX8" fmla="*/ 41687 w 53818"/>
                <a:gd name="connsiteY8" fmla="*/ 0 h 53792"/>
                <a:gd name="connsiteX9" fmla="*/ 41393 w 53818"/>
                <a:gd name="connsiteY9" fmla="*/ 41366 h 53792"/>
                <a:gd name="connsiteX10" fmla="*/ 12426 w 53818"/>
                <a:gd name="connsiteY10" fmla="*/ 41366 h 53792"/>
                <a:gd name="connsiteX11" fmla="*/ 12426 w 53818"/>
                <a:gd name="connsiteY11" fmla="*/ 12426 h 53792"/>
                <a:gd name="connsiteX12" fmla="*/ 41393 w 53818"/>
                <a:gd name="connsiteY12" fmla="*/ 12426 h 53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" h="53792">
                  <a:moveTo>
                    <a:pt x="41687" y="0"/>
                  </a:moveTo>
                  <a:lnTo>
                    <a:pt x="12132" y="0"/>
                  </a:lnTo>
                  <a:cubicBezTo>
                    <a:pt x="5432" y="0"/>
                    <a:pt x="0" y="5432"/>
                    <a:pt x="0" y="12132"/>
                  </a:cubicBezTo>
                  <a:lnTo>
                    <a:pt x="0" y="41687"/>
                  </a:lnTo>
                  <a:cubicBezTo>
                    <a:pt x="15" y="48376"/>
                    <a:pt x="5442" y="53792"/>
                    <a:pt x="12132" y="53792"/>
                  </a:cubicBezTo>
                  <a:lnTo>
                    <a:pt x="41687" y="53792"/>
                  </a:lnTo>
                  <a:cubicBezTo>
                    <a:pt x="48377" y="53792"/>
                    <a:pt x="53804" y="48376"/>
                    <a:pt x="53819" y="41687"/>
                  </a:cubicBezTo>
                  <a:lnTo>
                    <a:pt x="53819" y="12132"/>
                  </a:lnTo>
                  <a:cubicBezTo>
                    <a:pt x="53819" y="5432"/>
                    <a:pt x="48387" y="0"/>
                    <a:pt x="41687" y="0"/>
                  </a:cubicBezTo>
                  <a:close/>
                  <a:moveTo>
                    <a:pt x="41393" y="41366"/>
                  </a:moveTo>
                  <a:lnTo>
                    <a:pt x="12426" y="41366"/>
                  </a:lnTo>
                  <a:lnTo>
                    <a:pt x="12426" y="12426"/>
                  </a:lnTo>
                  <a:lnTo>
                    <a:pt x="41393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92" name="Freeform 291">
              <a:extLst>
                <a:ext uri="{FF2B5EF4-FFF2-40B4-BE49-F238E27FC236}">
                  <a16:creationId xmlns:a16="http://schemas.microsoft.com/office/drawing/2014/main" id="{7CB789EB-22A0-9887-48F7-9A72298D00AF}"/>
                </a:ext>
              </a:extLst>
            </p:cNvPr>
            <p:cNvSpPr/>
            <p:nvPr/>
          </p:nvSpPr>
          <p:spPr>
            <a:xfrm>
              <a:off x="8966113" y="1750581"/>
              <a:ext cx="53818" cy="53818"/>
            </a:xfrm>
            <a:custGeom>
              <a:avLst/>
              <a:gdLst>
                <a:gd name="connsiteX0" fmla="*/ 41687 w 53818"/>
                <a:gd name="connsiteY0" fmla="*/ 0 h 53818"/>
                <a:gd name="connsiteX1" fmla="*/ 12132 w 53818"/>
                <a:gd name="connsiteY1" fmla="*/ 0 h 53818"/>
                <a:gd name="connsiteX2" fmla="*/ 0 w 53818"/>
                <a:gd name="connsiteY2" fmla="*/ 12132 h 53818"/>
                <a:gd name="connsiteX3" fmla="*/ 0 w 53818"/>
                <a:gd name="connsiteY3" fmla="*/ 41687 h 53818"/>
                <a:gd name="connsiteX4" fmla="*/ 12132 w 53818"/>
                <a:gd name="connsiteY4" fmla="*/ 53819 h 53818"/>
                <a:gd name="connsiteX5" fmla="*/ 41687 w 53818"/>
                <a:gd name="connsiteY5" fmla="*/ 53819 h 53818"/>
                <a:gd name="connsiteX6" fmla="*/ 53819 w 53818"/>
                <a:gd name="connsiteY6" fmla="*/ 41687 h 53818"/>
                <a:gd name="connsiteX7" fmla="*/ 53819 w 53818"/>
                <a:gd name="connsiteY7" fmla="*/ 12132 h 53818"/>
                <a:gd name="connsiteX8" fmla="*/ 41687 w 53818"/>
                <a:gd name="connsiteY8" fmla="*/ 0 h 53818"/>
                <a:gd name="connsiteX9" fmla="*/ 41393 w 53818"/>
                <a:gd name="connsiteY9" fmla="*/ 41393 h 53818"/>
                <a:gd name="connsiteX10" fmla="*/ 12426 w 53818"/>
                <a:gd name="connsiteY10" fmla="*/ 41393 h 53818"/>
                <a:gd name="connsiteX11" fmla="*/ 12426 w 53818"/>
                <a:gd name="connsiteY11" fmla="*/ 12426 h 53818"/>
                <a:gd name="connsiteX12" fmla="*/ 41393 w 53818"/>
                <a:gd name="connsiteY12" fmla="*/ 12426 h 5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" h="53818">
                  <a:moveTo>
                    <a:pt x="41687" y="0"/>
                  </a:moveTo>
                  <a:lnTo>
                    <a:pt x="12132" y="0"/>
                  </a:lnTo>
                  <a:cubicBezTo>
                    <a:pt x="5438" y="16"/>
                    <a:pt x="15" y="5438"/>
                    <a:pt x="0" y="12132"/>
                  </a:cubicBezTo>
                  <a:lnTo>
                    <a:pt x="0" y="41687"/>
                  </a:lnTo>
                  <a:cubicBezTo>
                    <a:pt x="15" y="48381"/>
                    <a:pt x="5438" y="53806"/>
                    <a:pt x="12132" y="53819"/>
                  </a:cubicBezTo>
                  <a:lnTo>
                    <a:pt x="41687" y="53819"/>
                  </a:lnTo>
                  <a:cubicBezTo>
                    <a:pt x="48381" y="53806"/>
                    <a:pt x="53804" y="48381"/>
                    <a:pt x="53819" y="41687"/>
                  </a:cubicBezTo>
                  <a:lnTo>
                    <a:pt x="53819" y="12132"/>
                  </a:lnTo>
                  <a:cubicBezTo>
                    <a:pt x="53804" y="5438"/>
                    <a:pt x="48381" y="13"/>
                    <a:pt x="41687" y="0"/>
                  </a:cubicBezTo>
                  <a:close/>
                  <a:moveTo>
                    <a:pt x="41393" y="41393"/>
                  </a:moveTo>
                  <a:lnTo>
                    <a:pt x="12426" y="41393"/>
                  </a:lnTo>
                  <a:lnTo>
                    <a:pt x="12426" y="12426"/>
                  </a:lnTo>
                  <a:lnTo>
                    <a:pt x="41393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FAF6FE54-B12B-3C29-0504-6CC07B52F0CE}"/>
                </a:ext>
              </a:extLst>
            </p:cNvPr>
            <p:cNvSpPr/>
            <p:nvPr/>
          </p:nvSpPr>
          <p:spPr>
            <a:xfrm>
              <a:off x="9050476" y="1750581"/>
              <a:ext cx="53818" cy="53818"/>
            </a:xfrm>
            <a:custGeom>
              <a:avLst/>
              <a:gdLst>
                <a:gd name="connsiteX0" fmla="*/ 41714 w 53818"/>
                <a:gd name="connsiteY0" fmla="*/ 0 h 53818"/>
                <a:gd name="connsiteX1" fmla="*/ 12132 w 53818"/>
                <a:gd name="connsiteY1" fmla="*/ 0 h 53818"/>
                <a:gd name="connsiteX2" fmla="*/ 0 w 53818"/>
                <a:gd name="connsiteY2" fmla="*/ 12132 h 53818"/>
                <a:gd name="connsiteX3" fmla="*/ 0 w 53818"/>
                <a:gd name="connsiteY3" fmla="*/ 41687 h 53818"/>
                <a:gd name="connsiteX4" fmla="*/ 12132 w 53818"/>
                <a:gd name="connsiteY4" fmla="*/ 53819 h 53818"/>
                <a:gd name="connsiteX5" fmla="*/ 41714 w 53818"/>
                <a:gd name="connsiteY5" fmla="*/ 53819 h 53818"/>
                <a:gd name="connsiteX6" fmla="*/ 53819 w 53818"/>
                <a:gd name="connsiteY6" fmla="*/ 41687 h 53818"/>
                <a:gd name="connsiteX7" fmla="*/ 53819 w 53818"/>
                <a:gd name="connsiteY7" fmla="*/ 12132 h 53818"/>
                <a:gd name="connsiteX8" fmla="*/ 41714 w 53818"/>
                <a:gd name="connsiteY8" fmla="*/ 0 h 53818"/>
                <a:gd name="connsiteX9" fmla="*/ 41420 w 53818"/>
                <a:gd name="connsiteY9" fmla="*/ 41393 h 53818"/>
                <a:gd name="connsiteX10" fmla="*/ 12319 w 53818"/>
                <a:gd name="connsiteY10" fmla="*/ 41393 h 53818"/>
                <a:gd name="connsiteX11" fmla="*/ 12319 w 53818"/>
                <a:gd name="connsiteY11" fmla="*/ 12426 h 53818"/>
                <a:gd name="connsiteX12" fmla="*/ 41286 w 53818"/>
                <a:gd name="connsiteY12" fmla="*/ 12426 h 5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" h="53818">
                  <a:moveTo>
                    <a:pt x="41714" y="0"/>
                  </a:moveTo>
                  <a:lnTo>
                    <a:pt x="12132" y="0"/>
                  </a:lnTo>
                  <a:cubicBezTo>
                    <a:pt x="5438" y="16"/>
                    <a:pt x="15" y="5438"/>
                    <a:pt x="0" y="12132"/>
                  </a:cubicBezTo>
                  <a:lnTo>
                    <a:pt x="0" y="41687"/>
                  </a:lnTo>
                  <a:cubicBezTo>
                    <a:pt x="15" y="48381"/>
                    <a:pt x="5438" y="53806"/>
                    <a:pt x="12132" y="53819"/>
                  </a:cubicBezTo>
                  <a:lnTo>
                    <a:pt x="41714" y="53819"/>
                  </a:lnTo>
                  <a:cubicBezTo>
                    <a:pt x="48402" y="53803"/>
                    <a:pt x="53819" y="48376"/>
                    <a:pt x="53819" y="41687"/>
                  </a:cubicBezTo>
                  <a:lnTo>
                    <a:pt x="53819" y="12132"/>
                  </a:lnTo>
                  <a:cubicBezTo>
                    <a:pt x="53819" y="5443"/>
                    <a:pt x="48402" y="16"/>
                    <a:pt x="41714" y="0"/>
                  </a:cubicBezTo>
                  <a:close/>
                  <a:moveTo>
                    <a:pt x="41420" y="41393"/>
                  </a:moveTo>
                  <a:lnTo>
                    <a:pt x="12319" y="41393"/>
                  </a:lnTo>
                  <a:lnTo>
                    <a:pt x="12319" y="12426"/>
                  </a:lnTo>
                  <a:lnTo>
                    <a:pt x="41286" y="12426"/>
                  </a:ln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94" name="Graphic 9">
            <a:extLst>
              <a:ext uri="{FF2B5EF4-FFF2-40B4-BE49-F238E27FC236}">
                <a16:creationId xmlns:a16="http://schemas.microsoft.com/office/drawing/2014/main" id="{1246B4EB-2E9F-43A0-418E-DB1BC7C512D4}"/>
              </a:ext>
            </a:extLst>
          </p:cNvPr>
          <p:cNvGrpSpPr/>
          <p:nvPr/>
        </p:nvGrpSpPr>
        <p:grpSpPr>
          <a:xfrm>
            <a:off x="7386876" y="4343049"/>
            <a:ext cx="499804" cy="489143"/>
            <a:chOff x="9898371" y="4954906"/>
            <a:chExt cx="697779" cy="697779"/>
          </a:xfrm>
          <a:solidFill>
            <a:schemeClr val="bg1"/>
          </a:solidFill>
        </p:grpSpPr>
        <p:sp>
          <p:nvSpPr>
            <p:cNvPr id="295" name="Freeform 294">
              <a:extLst>
                <a:ext uri="{FF2B5EF4-FFF2-40B4-BE49-F238E27FC236}">
                  <a16:creationId xmlns:a16="http://schemas.microsoft.com/office/drawing/2014/main" id="{32F172EB-6C47-B10B-320B-5CAA2BB99E90}"/>
                </a:ext>
              </a:extLst>
            </p:cNvPr>
            <p:cNvSpPr/>
            <p:nvPr/>
          </p:nvSpPr>
          <p:spPr>
            <a:xfrm>
              <a:off x="9902980" y="5085715"/>
              <a:ext cx="683936" cy="420349"/>
            </a:xfrm>
            <a:custGeom>
              <a:avLst/>
              <a:gdLst>
                <a:gd name="connsiteX0" fmla="*/ 579780 w 683936"/>
                <a:gd name="connsiteY0" fmla="*/ 420348 h 420349"/>
                <a:gd name="connsiteX1" fmla="*/ 104418 w 683936"/>
                <a:gd name="connsiteY1" fmla="*/ 420348 h 420349"/>
                <a:gd name="connsiteX2" fmla="*/ 1 w 683936"/>
                <a:gd name="connsiteY2" fmla="*/ 316829 h 420349"/>
                <a:gd name="connsiteX3" fmla="*/ 94955 w 683936"/>
                <a:gd name="connsiteY3" fmla="*/ 212803 h 420349"/>
                <a:gd name="connsiteX4" fmla="*/ 243754 w 683936"/>
                <a:gd name="connsiteY4" fmla="*/ 83148 h 420349"/>
                <a:gd name="connsiteX5" fmla="*/ 279256 w 683936"/>
                <a:gd name="connsiteY5" fmla="*/ 90299 h 420349"/>
                <a:gd name="connsiteX6" fmla="*/ 506888 w 683936"/>
                <a:gd name="connsiteY6" fmla="*/ 19338 h 420349"/>
                <a:gd name="connsiteX7" fmla="*/ 591206 w 683936"/>
                <a:gd name="connsiteY7" fmla="*/ 213021 h 420349"/>
                <a:gd name="connsiteX8" fmla="*/ 683318 w 683936"/>
                <a:gd name="connsiteY8" fmla="*/ 327631 h 420349"/>
                <a:gd name="connsiteX9" fmla="*/ 579780 w 683936"/>
                <a:gd name="connsiteY9" fmla="*/ 420348 h 420349"/>
                <a:gd name="connsiteX10" fmla="*/ 234031 w 683936"/>
                <a:gd name="connsiteY10" fmla="*/ 102336 h 420349"/>
                <a:gd name="connsiteX11" fmla="*/ 114231 w 683936"/>
                <a:gd name="connsiteY11" fmla="*/ 222136 h 420349"/>
                <a:gd name="connsiteX12" fmla="*/ 104462 w 683936"/>
                <a:gd name="connsiteY12" fmla="*/ 231905 h 420349"/>
                <a:gd name="connsiteX13" fmla="*/ 18090 w 683936"/>
                <a:gd name="connsiteY13" fmla="*/ 314439 h 420349"/>
                <a:gd name="connsiteX14" fmla="*/ 100623 w 683936"/>
                <a:gd name="connsiteY14" fmla="*/ 400811 h 420349"/>
                <a:gd name="connsiteX15" fmla="*/ 104462 w 683936"/>
                <a:gd name="connsiteY15" fmla="*/ 400811 h 420349"/>
                <a:gd name="connsiteX16" fmla="*/ 579780 w 683936"/>
                <a:gd name="connsiteY16" fmla="*/ 400811 h 420349"/>
                <a:gd name="connsiteX17" fmla="*/ 666152 w 683936"/>
                <a:gd name="connsiteY17" fmla="*/ 318276 h 420349"/>
                <a:gd name="connsiteX18" fmla="*/ 583618 w 683936"/>
                <a:gd name="connsiteY18" fmla="*/ 231905 h 420349"/>
                <a:gd name="connsiteX19" fmla="*/ 579780 w 683936"/>
                <a:gd name="connsiteY19" fmla="*/ 231905 h 420349"/>
                <a:gd name="connsiteX20" fmla="*/ 578167 w 683936"/>
                <a:gd name="connsiteY20" fmla="*/ 231905 h 420349"/>
                <a:gd name="connsiteX21" fmla="*/ 568402 w 683936"/>
                <a:gd name="connsiteY21" fmla="*/ 222043 h 420349"/>
                <a:gd name="connsiteX22" fmla="*/ 568965 w 683936"/>
                <a:gd name="connsiteY22" fmla="*/ 218821 h 420349"/>
                <a:gd name="connsiteX23" fmla="*/ 577687 w 683936"/>
                <a:gd name="connsiteY23" fmla="*/ 169017 h 420349"/>
                <a:gd name="connsiteX24" fmla="*/ 428713 w 683936"/>
                <a:gd name="connsiteY24" fmla="*/ 19691 h 420349"/>
                <a:gd name="connsiteX25" fmla="*/ 292949 w 683936"/>
                <a:gd name="connsiteY25" fmla="*/ 106697 h 420349"/>
                <a:gd name="connsiteX26" fmla="*/ 280302 w 683936"/>
                <a:gd name="connsiteY26" fmla="*/ 111581 h 420349"/>
                <a:gd name="connsiteX27" fmla="*/ 234031 w 683936"/>
                <a:gd name="connsiteY27" fmla="*/ 102336 h 420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683936" h="420349">
                  <a:moveTo>
                    <a:pt x="579780" y="420348"/>
                  </a:moveTo>
                  <a:lnTo>
                    <a:pt x="104418" y="420348"/>
                  </a:lnTo>
                  <a:cubicBezTo>
                    <a:pt x="46998" y="420597"/>
                    <a:pt x="249" y="374251"/>
                    <a:pt x="1" y="316829"/>
                  </a:cubicBezTo>
                  <a:cubicBezTo>
                    <a:pt x="-233" y="262731"/>
                    <a:pt x="41059" y="217493"/>
                    <a:pt x="94955" y="212803"/>
                  </a:cubicBezTo>
                  <a:cubicBezTo>
                    <a:pt x="100242" y="135910"/>
                    <a:pt x="166861" y="77862"/>
                    <a:pt x="243754" y="83148"/>
                  </a:cubicBezTo>
                  <a:cubicBezTo>
                    <a:pt x="255849" y="83980"/>
                    <a:pt x="267783" y="86384"/>
                    <a:pt x="279256" y="90299"/>
                  </a:cubicBezTo>
                  <a:cubicBezTo>
                    <a:pt x="322520" y="7844"/>
                    <a:pt x="424434" y="-23926"/>
                    <a:pt x="506888" y="19338"/>
                  </a:cubicBezTo>
                  <a:cubicBezTo>
                    <a:pt x="576967" y="56108"/>
                    <a:pt x="612039" y="136672"/>
                    <a:pt x="591206" y="213021"/>
                  </a:cubicBezTo>
                  <a:cubicBezTo>
                    <a:pt x="648289" y="219234"/>
                    <a:pt x="689528" y="270546"/>
                    <a:pt x="683318" y="327631"/>
                  </a:cubicBezTo>
                  <a:cubicBezTo>
                    <a:pt x="677565" y="380453"/>
                    <a:pt x="632916" y="420440"/>
                    <a:pt x="579780" y="420348"/>
                  </a:cubicBezTo>
                  <a:close/>
                  <a:moveTo>
                    <a:pt x="234031" y="102336"/>
                  </a:moveTo>
                  <a:cubicBezTo>
                    <a:pt x="167897" y="102408"/>
                    <a:pt x="114303" y="156002"/>
                    <a:pt x="114231" y="222136"/>
                  </a:cubicBezTo>
                  <a:cubicBezTo>
                    <a:pt x="114231" y="227531"/>
                    <a:pt x="109857" y="231905"/>
                    <a:pt x="104462" y="231905"/>
                  </a:cubicBezTo>
                  <a:cubicBezTo>
                    <a:pt x="57820" y="230845"/>
                    <a:pt x="19150" y="267796"/>
                    <a:pt x="18090" y="314439"/>
                  </a:cubicBezTo>
                  <a:cubicBezTo>
                    <a:pt x="17030" y="361081"/>
                    <a:pt x="53981" y="399751"/>
                    <a:pt x="100623" y="400811"/>
                  </a:cubicBezTo>
                  <a:cubicBezTo>
                    <a:pt x="101903" y="400841"/>
                    <a:pt x="103182" y="400841"/>
                    <a:pt x="104462" y="400811"/>
                  </a:cubicBezTo>
                  <a:lnTo>
                    <a:pt x="579780" y="400811"/>
                  </a:lnTo>
                  <a:cubicBezTo>
                    <a:pt x="626422" y="401870"/>
                    <a:pt x="665092" y="364919"/>
                    <a:pt x="666152" y="318276"/>
                  </a:cubicBezTo>
                  <a:cubicBezTo>
                    <a:pt x="667212" y="271635"/>
                    <a:pt x="630260" y="232964"/>
                    <a:pt x="583618" y="231905"/>
                  </a:cubicBezTo>
                  <a:cubicBezTo>
                    <a:pt x="582340" y="231875"/>
                    <a:pt x="581058" y="231875"/>
                    <a:pt x="579780" y="231905"/>
                  </a:cubicBezTo>
                  <a:lnTo>
                    <a:pt x="578167" y="231905"/>
                  </a:lnTo>
                  <a:cubicBezTo>
                    <a:pt x="572746" y="231877"/>
                    <a:pt x="568376" y="227462"/>
                    <a:pt x="568402" y="222043"/>
                  </a:cubicBezTo>
                  <a:cubicBezTo>
                    <a:pt x="568411" y="220945"/>
                    <a:pt x="568598" y="219856"/>
                    <a:pt x="568965" y="218821"/>
                  </a:cubicBezTo>
                  <a:cubicBezTo>
                    <a:pt x="574621" y="202820"/>
                    <a:pt x="577569" y="185988"/>
                    <a:pt x="577687" y="169017"/>
                  </a:cubicBezTo>
                  <a:cubicBezTo>
                    <a:pt x="577783" y="86644"/>
                    <a:pt x="511088" y="19788"/>
                    <a:pt x="428713" y="19691"/>
                  </a:cubicBezTo>
                  <a:cubicBezTo>
                    <a:pt x="370330" y="19622"/>
                    <a:pt x="317275" y="53623"/>
                    <a:pt x="292949" y="106697"/>
                  </a:cubicBezTo>
                  <a:cubicBezTo>
                    <a:pt x="290717" y="111444"/>
                    <a:pt x="285146" y="113595"/>
                    <a:pt x="280302" y="111581"/>
                  </a:cubicBezTo>
                  <a:cubicBezTo>
                    <a:pt x="265652" y="105435"/>
                    <a:pt x="249918" y="102291"/>
                    <a:pt x="234031" y="102336"/>
                  </a:cubicBezTo>
                  <a:close/>
                </a:path>
              </a:pathLst>
            </a:custGeom>
            <a:grpFill/>
            <a:ln w="4345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96" name="Freeform 295">
              <a:extLst>
                <a:ext uri="{FF2B5EF4-FFF2-40B4-BE49-F238E27FC236}">
                  <a16:creationId xmlns:a16="http://schemas.microsoft.com/office/drawing/2014/main" id="{8B0508A3-2650-CC81-E605-5C8832764BB1}"/>
                </a:ext>
              </a:extLst>
            </p:cNvPr>
            <p:cNvSpPr/>
            <p:nvPr/>
          </p:nvSpPr>
          <p:spPr>
            <a:xfrm>
              <a:off x="10093182" y="5284428"/>
              <a:ext cx="112211" cy="129636"/>
            </a:xfrm>
            <a:custGeom>
              <a:avLst/>
              <a:gdLst>
                <a:gd name="connsiteX0" fmla="*/ 112212 w 112211"/>
                <a:gd name="connsiteY0" fmla="*/ 107287 h 129636"/>
                <a:gd name="connsiteX1" fmla="*/ 93197 w 112211"/>
                <a:gd name="connsiteY1" fmla="*/ 123423 h 129636"/>
                <a:gd name="connsiteX2" fmla="*/ 65155 w 112211"/>
                <a:gd name="connsiteY2" fmla="*/ 129616 h 129636"/>
                <a:gd name="connsiteX3" fmla="*/ 38989 w 112211"/>
                <a:gd name="connsiteY3" fmla="*/ 124819 h 129636"/>
                <a:gd name="connsiteX4" fmla="*/ 18448 w 112211"/>
                <a:gd name="connsiteY4" fmla="*/ 111386 h 129636"/>
                <a:gd name="connsiteX5" fmla="*/ 4928 w 112211"/>
                <a:gd name="connsiteY5" fmla="*/ 90846 h 129636"/>
                <a:gd name="connsiteX6" fmla="*/ 4928 w 112211"/>
                <a:gd name="connsiteY6" fmla="*/ 38207 h 129636"/>
                <a:gd name="connsiteX7" fmla="*/ 18884 w 112211"/>
                <a:gd name="connsiteY7" fmla="*/ 17797 h 129636"/>
                <a:gd name="connsiteX8" fmla="*/ 39686 w 112211"/>
                <a:gd name="connsiteY8" fmla="*/ 4713 h 129636"/>
                <a:gd name="connsiteX9" fmla="*/ 65853 w 112211"/>
                <a:gd name="connsiteY9" fmla="*/ 3 h 129636"/>
                <a:gd name="connsiteX10" fmla="*/ 78544 w 112211"/>
                <a:gd name="connsiteY10" fmla="*/ 1225 h 129636"/>
                <a:gd name="connsiteX11" fmla="*/ 90929 w 112211"/>
                <a:gd name="connsiteY11" fmla="*/ 4888 h 129636"/>
                <a:gd name="connsiteX12" fmla="*/ 101745 w 112211"/>
                <a:gd name="connsiteY12" fmla="*/ 10906 h 129636"/>
                <a:gd name="connsiteX13" fmla="*/ 110118 w 112211"/>
                <a:gd name="connsiteY13" fmla="*/ 19149 h 129636"/>
                <a:gd name="connsiteX14" fmla="*/ 96512 w 112211"/>
                <a:gd name="connsiteY14" fmla="*/ 29615 h 129636"/>
                <a:gd name="connsiteX15" fmla="*/ 83690 w 112211"/>
                <a:gd name="connsiteY15" fmla="*/ 19367 h 129636"/>
                <a:gd name="connsiteX16" fmla="*/ 65853 w 112211"/>
                <a:gd name="connsiteY16" fmla="*/ 15006 h 129636"/>
                <a:gd name="connsiteX17" fmla="*/ 46402 w 112211"/>
                <a:gd name="connsiteY17" fmla="*/ 18931 h 129636"/>
                <a:gd name="connsiteX18" fmla="*/ 31662 w 112211"/>
                <a:gd name="connsiteY18" fmla="*/ 29659 h 129636"/>
                <a:gd name="connsiteX19" fmla="*/ 22285 w 112211"/>
                <a:gd name="connsiteY19" fmla="*/ 45446 h 129636"/>
                <a:gd name="connsiteX20" fmla="*/ 18971 w 112211"/>
                <a:gd name="connsiteY20" fmla="*/ 64504 h 129636"/>
                <a:gd name="connsiteX21" fmla="*/ 22198 w 112211"/>
                <a:gd name="connsiteY21" fmla="*/ 84042 h 129636"/>
                <a:gd name="connsiteX22" fmla="*/ 31400 w 112211"/>
                <a:gd name="connsiteY22" fmla="*/ 99786 h 129636"/>
                <a:gd name="connsiteX23" fmla="*/ 46054 w 112211"/>
                <a:gd name="connsiteY23" fmla="*/ 110340 h 129636"/>
                <a:gd name="connsiteX24" fmla="*/ 65330 w 112211"/>
                <a:gd name="connsiteY24" fmla="*/ 114177 h 129636"/>
                <a:gd name="connsiteX25" fmla="*/ 84301 w 112211"/>
                <a:gd name="connsiteY25" fmla="*/ 109816 h 129636"/>
                <a:gd name="connsiteX26" fmla="*/ 98431 w 112211"/>
                <a:gd name="connsiteY26" fmla="*/ 97605 h 129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2211" h="129636">
                  <a:moveTo>
                    <a:pt x="112212" y="107287"/>
                  </a:moveTo>
                  <a:cubicBezTo>
                    <a:pt x="107170" y="114029"/>
                    <a:pt x="100670" y="119546"/>
                    <a:pt x="93197" y="123423"/>
                  </a:cubicBezTo>
                  <a:cubicBezTo>
                    <a:pt x="84495" y="127745"/>
                    <a:pt x="74868" y="129869"/>
                    <a:pt x="65155" y="129616"/>
                  </a:cubicBezTo>
                  <a:cubicBezTo>
                    <a:pt x="56206" y="129712"/>
                    <a:pt x="47322" y="128081"/>
                    <a:pt x="38989" y="124819"/>
                  </a:cubicBezTo>
                  <a:cubicBezTo>
                    <a:pt x="31297" y="121788"/>
                    <a:pt x="24307" y="117217"/>
                    <a:pt x="18448" y="111386"/>
                  </a:cubicBezTo>
                  <a:cubicBezTo>
                    <a:pt x="12618" y="105508"/>
                    <a:pt x="8022" y="98525"/>
                    <a:pt x="4928" y="90846"/>
                  </a:cubicBezTo>
                  <a:cubicBezTo>
                    <a:pt x="-1643" y="73914"/>
                    <a:pt x="-1643" y="55138"/>
                    <a:pt x="4928" y="38207"/>
                  </a:cubicBezTo>
                  <a:cubicBezTo>
                    <a:pt x="8104" y="30504"/>
                    <a:pt x="12858" y="23551"/>
                    <a:pt x="18884" y="17797"/>
                  </a:cubicBezTo>
                  <a:cubicBezTo>
                    <a:pt x="24882" y="12099"/>
                    <a:pt x="31953" y="7652"/>
                    <a:pt x="39686" y="4713"/>
                  </a:cubicBezTo>
                  <a:cubicBezTo>
                    <a:pt x="48035" y="1514"/>
                    <a:pt x="56912" y="-84"/>
                    <a:pt x="65853" y="3"/>
                  </a:cubicBezTo>
                  <a:cubicBezTo>
                    <a:pt x="70113" y="3"/>
                    <a:pt x="74362" y="412"/>
                    <a:pt x="78544" y="1225"/>
                  </a:cubicBezTo>
                  <a:cubicBezTo>
                    <a:pt x="82793" y="1993"/>
                    <a:pt x="86946" y="3222"/>
                    <a:pt x="90929" y="4888"/>
                  </a:cubicBezTo>
                  <a:cubicBezTo>
                    <a:pt x="94770" y="6438"/>
                    <a:pt x="98403" y="8460"/>
                    <a:pt x="101745" y="10906"/>
                  </a:cubicBezTo>
                  <a:cubicBezTo>
                    <a:pt x="104931" y="13221"/>
                    <a:pt x="107754" y="15999"/>
                    <a:pt x="110118" y="19149"/>
                  </a:cubicBezTo>
                  <a:lnTo>
                    <a:pt x="96512" y="29615"/>
                  </a:lnTo>
                  <a:cubicBezTo>
                    <a:pt x="93142" y="25200"/>
                    <a:pt x="88739" y="21680"/>
                    <a:pt x="83690" y="19367"/>
                  </a:cubicBezTo>
                  <a:cubicBezTo>
                    <a:pt x="78163" y="16549"/>
                    <a:pt x="72056" y="15056"/>
                    <a:pt x="65853" y="15006"/>
                  </a:cubicBezTo>
                  <a:cubicBezTo>
                    <a:pt x="59162" y="14896"/>
                    <a:pt x="52527" y="16235"/>
                    <a:pt x="46402" y="18931"/>
                  </a:cubicBezTo>
                  <a:cubicBezTo>
                    <a:pt x="40798" y="21446"/>
                    <a:pt x="35779" y="25100"/>
                    <a:pt x="31662" y="29659"/>
                  </a:cubicBezTo>
                  <a:cubicBezTo>
                    <a:pt x="27556" y="34274"/>
                    <a:pt x="24373" y="39633"/>
                    <a:pt x="22285" y="45446"/>
                  </a:cubicBezTo>
                  <a:cubicBezTo>
                    <a:pt x="20047" y="51549"/>
                    <a:pt x="18924" y="58005"/>
                    <a:pt x="18971" y="64504"/>
                  </a:cubicBezTo>
                  <a:cubicBezTo>
                    <a:pt x="18903" y="71155"/>
                    <a:pt x="19995" y="77767"/>
                    <a:pt x="22198" y="84042"/>
                  </a:cubicBezTo>
                  <a:cubicBezTo>
                    <a:pt x="24212" y="89839"/>
                    <a:pt x="27337" y="95187"/>
                    <a:pt x="31400" y="99786"/>
                  </a:cubicBezTo>
                  <a:cubicBezTo>
                    <a:pt x="35463" y="104323"/>
                    <a:pt x="40463" y="107924"/>
                    <a:pt x="46054" y="110340"/>
                  </a:cubicBezTo>
                  <a:cubicBezTo>
                    <a:pt x="52133" y="112974"/>
                    <a:pt x="58705" y="114282"/>
                    <a:pt x="65330" y="114177"/>
                  </a:cubicBezTo>
                  <a:cubicBezTo>
                    <a:pt x="71905" y="114212"/>
                    <a:pt x="78399" y="112717"/>
                    <a:pt x="84301" y="109816"/>
                  </a:cubicBezTo>
                  <a:cubicBezTo>
                    <a:pt x="89995" y="107047"/>
                    <a:pt x="94867" y="102839"/>
                    <a:pt x="98431" y="97605"/>
                  </a:cubicBezTo>
                  <a:close/>
                </a:path>
              </a:pathLst>
            </a:custGeom>
            <a:grpFill/>
            <a:ln w="4345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C3C155A5-57B3-397A-A655-81A3361E039D}"/>
                </a:ext>
              </a:extLst>
            </p:cNvPr>
            <p:cNvSpPr/>
            <p:nvPr/>
          </p:nvSpPr>
          <p:spPr>
            <a:xfrm>
              <a:off x="10223187" y="5284319"/>
              <a:ext cx="130840" cy="129661"/>
            </a:xfrm>
            <a:custGeom>
              <a:avLst/>
              <a:gdLst>
                <a:gd name="connsiteX0" fmla="*/ 130833 w 130840"/>
                <a:gd name="connsiteY0" fmla="*/ 64701 h 129661"/>
                <a:gd name="connsiteX1" fmla="*/ 125862 w 130840"/>
                <a:gd name="connsiteY1" fmla="*/ 90868 h 129661"/>
                <a:gd name="connsiteX2" fmla="*/ 112168 w 130840"/>
                <a:gd name="connsiteY2" fmla="*/ 111408 h 129661"/>
                <a:gd name="connsiteX3" fmla="*/ 91453 w 130840"/>
                <a:gd name="connsiteY3" fmla="*/ 124841 h 129661"/>
                <a:gd name="connsiteX4" fmla="*/ 39119 w 130840"/>
                <a:gd name="connsiteY4" fmla="*/ 124841 h 129661"/>
                <a:gd name="connsiteX5" fmla="*/ 4884 w 130840"/>
                <a:gd name="connsiteY5" fmla="*/ 90868 h 129661"/>
                <a:gd name="connsiteX6" fmla="*/ 4884 w 130840"/>
                <a:gd name="connsiteY6" fmla="*/ 38229 h 129661"/>
                <a:gd name="connsiteX7" fmla="*/ 18491 w 130840"/>
                <a:gd name="connsiteY7" fmla="*/ 17819 h 129661"/>
                <a:gd name="connsiteX8" fmla="*/ 39119 w 130840"/>
                <a:gd name="connsiteY8" fmla="*/ 4736 h 129661"/>
                <a:gd name="connsiteX9" fmla="*/ 91453 w 130840"/>
                <a:gd name="connsiteY9" fmla="*/ 4736 h 129661"/>
                <a:gd name="connsiteX10" fmla="*/ 112168 w 130840"/>
                <a:gd name="connsiteY10" fmla="*/ 17819 h 129661"/>
                <a:gd name="connsiteX11" fmla="*/ 125862 w 130840"/>
                <a:gd name="connsiteY11" fmla="*/ 38229 h 129661"/>
                <a:gd name="connsiteX12" fmla="*/ 130833 w 130840"/>
                <a:gd name="connsiteY12" fmla="*/ 64701 h 129661"/>
                <a:gd name="connsiteX13" fmla="*/ 112168 w 130840"/>
                <a:gd name="connsiteY13" fmla="*/ 64701 h 129661"/>
                <a:gd name="connsiteX14" fmla="*/ 108897 w 130840"/>
                <a:gd name="connsiteY14" fmla="*/ 45643 h 129661"/>
                <a:gd name="connsiteX15" fmla="*/ 99477 w 130840"/>
                <a:gd name="connsiteY15" fmla="*/ 29856 h 129661"/>
                <a:gd name="connsiteX16" fmla="*/ 84736 w 130840"/>
                <a:gd name="connsiteY16" fmla="*/ 19127 h 129661"/>
                <a:gd name="connsiteX17" fmla="*/ 46053 w 130840"/>
                <a:gd name="connsiteY17" fmla="*/ 19127 h 129661"/>
                <a:gd name="connsiteX18" fmla="*/ 31400 w 130840"/>
                <a:gd name="connsiteY18" fmla="*/ 29856 h 129661"/>
                <a:gd name="connsiteX19" fmla="*/ 22111 w 130840"/>
                <a:gd name="connsiteY19" fmla="*/ 45643 h 129661"/>
                <a:gd name="connsiteX20" fmla="*/ 18796 w 130840"/>
                <a:gd name="connsiteY20" fmla="*/ 64701 h 129661"/>
                <a:gd name="connsiteX21" fmla="*/ 22111 w 130840"/>
                <a:gd name="connsiteY21" fmla="*/ 84064 h 129661"/>
                <a:gd name="connsiteX22" fmla="*/ 31487 w 130840"/>
                <a:gd name="connsiteY22" fmla="*/ 99808 h 129661"/>
                <a:gd name="connsiteX23" fmla="*/ 46141 w 130840"/>
                <a:gd name="connsiteY23" fmla="*/ 110362 h 129661"/>
                <a:gd name="connsiteX24" fmla="*/ 65329 w 130840"/>
                <a:gd name="connsiteY24" fmla="*/ 114200 h 129661"/>
                <a:gd name="connsiteX25" fmla="*/ 84649 w 130840"/>
                <a:gd name="connsiteY25" fmla="*/ 110362 h 129661"/>
                <a:gd name="connsiteX26" fmla="*/ 99477 w 130840"/>
                <a:gd name="connsiteY26" fmla="*/ 99808 h 129661"/>
                <a:gd name="connsiteX27" fmla="*/ 108897 w 130840"/>
                <a:gd name="connsiteY27" fmla="*/ 84064 h 129661"/>
                <a:gd name="connsiteX28" fmla="*/ 112168 w 130840"/>
                <a:gd name="connsiteY28" fmla="*/ 64701 h 12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0840" h="129661">
                  <a:moveTo>
                    <a:pt x="130833" y="64701"/>
                  </a:moveTo>
                  <a:cubicBezTo>
                    <a:pt x="130925" y="73667"/>
                    <a:pt x="129237" y="82561"/>
                    <a:pt x="125862" y="90868"/>
                  </a:cubicBezTo>
                  <a:cubicBezTo>
                    <a:pt x="122722" y="98564"/>
                    <a:pt x="118064" y="105550"/>
                    <a:pt x="112168" y="111408"/>
                  </a:cubicBezTo>
                  <a:cubicBezTo>
                    <a:pt x="106249" y="117248"/>
                    <a:pt x="99201" y="121823"/>
                    <a:pt x="91453" y="124841"/>
                  </a:cubicBezTo>
                  <a:cubicBezTo>
                    <a:pt x="74601" y="131269"/>
                    <a:pt x="55971" y="131269"/>
                    <a:pt x="39119" y="124841"/>
                  </a:cubicBezTo>
                  <a:cubicBezTo>
                    <a:pt x="23505" y="118731"/>
                    <a:pt x="11115" y="106434"/>
                    <a:pt x="4884" y="90868"/>
                  </a:cubicBezTo>
                  <a:cubicBezTo>
                    <a:pt x="-1628" y="73926"/>
                    <a:pt x="-1628" y="55171"/>
                    <a:pt x="4884" y="38229"/>
                  </a:cubicBezTo>
                  <a:cubicBezTo>
                    <a:pt x="7946" y="30550"/>
                    <a:pt x="12581" y="23598"/>
                    <a:pt x="18491" y="17819"/>
                  </a:cubicBezTo>
                  <a:cubicBezTo>
                    <a:pt x="24432" y="12133"/>
                    <a:pt x="31444" y="7686"/>
                    <a:pt x="39119" y="4736"/>
                  </a:cubicBezTo>
                  <a:cubicBezTo>
                    <a:pt x="55992" y="-1579"/>
                    <a:pt x="74579" y="-1579"/>
                    <a:pt x="91453" y="4736"/>
                  </a:cubicBezTo>
                  <a:cubicBezTo>
                    <a:pt x="99165" y="7664"/>
                    <a:pt x="106210" y="12113"/>
                    <a:pt x="112168" y="17819"/>
                  </a:cubicBezTo>
                  <a:cubicBezTo>
                    <a:pt x="118090" y="23605"/>
                    <a:pt x="122752" y="30554"/>
                    <a:pt x="125862" y="38229"/>
                  </a:cubicBezTo>
                  <a:cubicBezTo>
                    <a:pt x="129272" y="46632"/>
                    <a:pt x="130960" y="55633"/>
                    <a:pt x="130833" y="64701"/>
                  </a:cubicBezTo>
                  <a:close/>
                  <a:moveTo>
                    <a:pt x="112168" y="64701"/>
                  </a:moveTo>
                  <a:cubicBezTo>
                    <a:pt x="112207" y="58205"/>
                    <a:pt x="111100" y="51754"/>
                    <a:pt x="108897" y="45643"/>
                  </a:cubicBezTo>
                  <a:cubicBezTo>
                    <a:pt x="106777" y="39835"/>
                    <a:pt x="103581" y="34479"/>
                    <a:pt x="99477" y="29856"/>
                  </a:cubicBezTo>
                  <a:cubicBezTo>
                    <a:pt x="95369" y="25287"/>
                    <a:pt x="90347" y="21632"/>
                    <a:pt x="84736" y="19127"/>
                  </a:cubicBezTo>
                  <a:cubicBezTo>
                    <a:pt x="72373" y="13895"/>
                    <a:pt x="58417" y="13895"/>
                    <a:pt x="46053" y="19127"/>
                  </a:cubicBezTo>
                  <a:cubicBezTo>
                    <a:pt x="40463" y="21623"/>
                    <a:pt x="35468" y="25280"/>
                    <a:pt x="31400" y="29856"/>
                  </a:cubicBezTo>
                  <a:cubicBezTo>
                    <a:pt x="27337" y="34486"/>
                    <a:pt x="24185" y="39842"/>
                    <a:pt x="22111" y="45643"/>
                  </a:cubicBezTo>
                  <a:cubicBezTo>
                    <a:pt x="19872" y="51745"/>
                    <a:pt x="18750" y="58201"/>
                    <a:pt x="18796" y="64701"/>
                  </a:cubicBezTo>
                  <a:cubicBezTo>
                    <a:pt x="18747" y="71301"/>
                    <a:pt x="19869" y="77857"/>
                    <a:pt x="22111" y="84064"/>
                  </a:cubicBezTo>
                  <a:cubicBezTo>
                    <a:pt x="24168" y="89879"/>
                    <a:pt x="27355" y="95229"/>
                    <a:pt x="31487" y="99808"/>
                  </a:cubicBezTo>
                  <a:cubicBezTo>
                    <a:pt x="35577" y="104316"/>
                    <a:pt x="40569" y="107911"/>
                    <a:pt x="46141" y="110362"/>
                  </a:cubicBezTo>
                  <a:cubicBezTo>
                    <a:pt x="52189" y="113000"/>
                    <a:pt x="58732" y="114309"/>
                    <a:pt x="65329" y="114200"/>
                  </a:cubicBezTo>
                  <a:cubicBezTo>
                    <a:pt x="71968" y="114296"/>
                    <a:pt x="78551" y="112987"/>
                    <a:pt x="84649" y="110362"/>
                  </a:cubicBezTo>
                  <a:cubicBezTo>
                    <a:pt x="90292" y="107950"/>
                    <a:pt x="95349" y="104349"/>
                    <a:pt x="99477" y="99808"/>
                  </a:cubicBezTo>
                  <a:cubicBezTo>
                    <a:pt x="103608" y="95220"/>
                    <a:pt x="106807" y="89873"/>
                    <a:pt x="108897" y="84064"/>
                  </a:cubicBezTo>
                  <a:cubicBezTo>
                    <a:pt x="111105" y="77849"/>
                    <a:pt x="112211" y="71297"/>
                    <a:pt x="112168" y="64701"/>
                  </a:cubicBezTo>
                  <a:close/>
                </a:path>
              </a:pathLst>
            </a:custGeom>
            <a:grpFill/>
            <a:ln w="4345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298" name="Freeform 297">
              <a:extLst>
                <a:ext uri="{FF2B5EF4-FFF2-40B4-BE49-F238E27FC236}">
                  <a16:creationId xmlns:a16="http://schemas.microsoft.com/office/drawing/2014/main" id="{9A24681D-3C7E-5A5C-9B96-DCE7B1C99F64}"/>
                </a:ext>
              </a:extLst>
            </p:cNvPr>
            <p:cNvSpPr/>
            <p:nvPr/>
          </p:nvSpPr>
          <p:spPr>
            <a:xfrm>
              <a:off x="10378573" y="5348802"/>
              <a:ext cx="56214" cy="88225"/>
            </a:xfrm>
            <a:custGeom>
              <a:avLst/>
              <a:gdLst>
                <a:gd name="connsiteX0" fmla="*/ 56215 w 56214"/>
                <a:gd name="connsiteY0" fmla="*/ 88226 h 88225"/>
                <a:gd name="connsiteX1" fmla="*/ 0 w 56214"/>
                <a:gd name="connsiteY1" fmla="*/ 88226 h 88225"/>
                <a:gd name="connsiteX2" fmla="*/ 0 w 56214"/>
                <a:gd name="connsiteY2" fmla="*/ 77105 h 88225"/>
                <a:gd name="connsiteX3" fmla="*/ 34409 w 56214"/>
                <a:gd name="connsiteY3" fmla="*/ 42957 h 88225"/>
                <a:gd name="connsiteX4" fmla="*/ 41125 w 56214"/>
                <a:gd name="connsiteY4" fmla="*/ 34540 h 88225"/>
                <a:gd name="connsiteX5" fmla="*/ 43916 w 56214"/>
                <a:gd name="connsiteY5" fmla="*/ 24640 h 88225"/>
                <a:gd name="connsiteX6" fmla="*/ 42695 w 56214"/>
                <a:gd name="connsiteY6" fmla="*/ 18491 h 88225"/>
                <a:gd name="connsiteX7" fmla="*/ 39425 w 56214"/>
                <a:gd name="connsiteY7" fmla="*/ 13781 h 88225"/>
                <a:gd name="connsiteX8" fmla="*/ 34540 w 56214"/>
                <a:gd name="connsiteY8" fmla="*/ 10816 h 88225"/>
                <a:gd name="connsiteX9" fmla="*/ 28565 w 56214"/>
                <a:gd name="connsiteY9" fmla="*/ 9769 h 88225"/>
                <a:gd name="connsiteX10" fmla="*/ 17706 w 56214"/>
                <a:gd name="connsiteY10" fmla="*/ 14130 h 88225"/>
                <a:gd name="connsiteX11" fmla="*/ 12342 w 56214"/>
                <a:gd name="connsiteY11" fmla="*/ 24902 h 88225"/>
                <a:gd name="connsiteX12" fmla="*/ 741 w 56214"/>
                <a:gd name="connsiteY12" fmla="*/ 22940 h 88225"/>
                <a:gd name="connsiteX13" fmla="*/ 3881 w 56214"/>
                <a:gd name="connsiteY13" fmla="*/ 13869 h 88225"/>
                <a:gd name="connsiteX14" fmla="*/ 9900 w 56214"/>
                <a:gd name="connsiteY14" fmla="*/ 6542 h 88225"/>
                <a:gd name="connsiteX15" fmla="*/ 18360 w 56214"/>
                <a:gd name="connsiteY15" fmla="*/ 1745 h 88225"/>
                <a:gd name="connsiteX16" fmla="*/ 28696 w 56214"/>
                <a:gd name="connsiteY16" fmla="*/ 0 h 88225"/>
                <a:gd name="connsiteX17" fmla="*/ 38988 w 56214"/>
                <a:gd name="connsiteY17" fmla="*/ 1614 h 88225"/>
                <a:gd name="connsiteX18" fmla="*/ 47711 w 56214"/>
                <a:gd name="connsiteY18" fmla="*/ 6237 h 88225"/>
                <a:gd name="connsiteX19" fmla="*/ 53773 w 56214"/>
                <a:gd name="connsiteY19" fmla="*/ 13912 h 88225"/>
                <a:gd name="connsiteX20" fmla="*/ 55997 w 56214"/>
                <a:gd name="connsiteY20" fmla="*/ 24553 h 88225"/>
                <a:gd name="connsiteX21" fmla="*/ 54907 w 56214"/>
                <a:gd name="connsiteY21" fmla="*/ 32229 h 88225"/>
                <a:gd name="connsiteX22" fmla="*/ 51941 w 56214"/>
                <a:gd name="connsiteY22" fmla="*/ 38945 h 88225"/>
                <a:gd name="connsiteX23" fmla="*/ 47580 w 56214"/>
                <a:gd name="connsiteY23" fmla="*/ 44963 h 88225"/>
                <a:gd name="connsiteX24" fmla="*/ 42172 w 56214"/>
                <a:gd name="connsiteY24" fmla="*/ 50633 h 88225"/>
                <a:gd name="connsiteX25" fmla="*/ 14130 w 56214"/>
                <a:gd name="connsiteY25" fmla="*/ 77977 h 88225"/>
                <a:gd name="connsiteX26" fmla="*/ 56215 w 56214"/>
                <a:gd name="connsiteY26" fmla="*/ 77977 h 88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6214" h="88225">
                  <a:moveTo>
                    <a:pt x="56215" y="88226"/>
                  </a:moveTo>
                  <a:lnTo>
                    <a:pt x="0" y="88226"/>
                  </a:lnTo>
                  <a:lnTo>
                    <a:pt x="0" y="77105"/>
                  </a:lnTo>
                  <a:lnTo>
                    <a:pt x="34409" y="42957"/>
                  </a:lnTo>
                  <a:cubicBezTo>
                    <a:pt x="36921" y="40382"/>
                    <a:pt x="39172" y="37562"/>
                    <a:pt x="41125" y="34540"/>
                  </a:cubicBezTo>
                  <a:cubicBezTo>
                    <a:pt x="43001" y="31583"/>
                    <a:pt x="43969" y="28142"/>
                    <a:pt x="43916" y="24640"/>
                  </a:cubicBezTo>
                  <a:cubicBezTo>
                    <a:pt x="43956" y="22527"/>
                    <a:pt x="43537" y="20430"/>
                    <a:pt x="42695" y="18491"/>
                  </a:cubicBezTo>
                  <a:cubicBezTo>
                    <a:pt x="41945" y="16711"/>
                    <a:pt x="40833" y="15106"/>
                    <a:pt x="39425" y="13781"/>
                  </a:cubicBezTo>
                  <a:cubicBezTo>
                    <a:pt x="38003" y="12488"/>
                    <a:pt x="36346" y="11481"/>
                    <a:pt x="34540" y="10816"/>
                  </a:cubicBezTo>
                  <a:cubicBezTo>
                    <a:pt x="32626" y="10113"/>
                    <a:pt x="30602" y="9758"/>
                    <a:pt x="28565" y="9769"/>
                  </a:cubicBezTo>
                  <a:cubicBezTo>
                    <a:pt x="24496" y="9657"/>
                    <a:pt x="20567" y="11236"/>
                    <a:pt x="17706" y="14130"/>
                  </a:cubicBezTo>
                  <a:cubicBezTo>
                    <a:pt x="14806" y="17049"/>
                    <a:pt x="12922" y="20828"/>
                    <a:pt x="12342" y="24902"/>
                  </a:cubicBezTo>
                  <a:lnTo>
                    <a:pt x="741" y="22940"/>
                  </a:lnTo>
                  <a:cubicBezTo>
                    <a:pt x="1204" y="19745"/>
                    <a:pt x="2272" y="16666"/>
                    <a:pt x="3881" y="13869"/>
                  </a:cubicBezTo>
                  <a:cubicBezTo>
                    <a:pt x="5438" y="11091"/>
                    <a:pt x="7479" y="8610"/>
                    <a:pt x="9900" y="6542"/>
                  </a:cubicBezTo>
                  <a:cubicBezTo>
                    <a:pt x="12412" y="4450"/>
                    <a:pt x="15277" y="2825"/>
                    <a:pt x="18360" y="1745"/>
                  </a:cubicBezTo>
                  <a:cubicBezTo>
                    <a:pt x="21683" y="580"/>
                    <a:pt x="25177" y="-10"/>
                    <a:pt x="28696" y="0"/>
                  </a:cubicBezTo>
                  <a:cubicBezTo>
                    <a:pt x="32189" y="1"/>
                    <a:pt x="35661" y="545"/>
                    <a:pt x="38988" y="1614"/>
                  </a:cubicBezTo>
                  <a:cubicBezTo>
                    <a:pt x="42155" y="2605"/>
                    <a:pt x="45111" y="4172"/>
                    <a:pt x="47711" y="6237"/>
                  </a:cubicBezTo>
                  <a:cubicBezTo>
                    <a:pt x="50271" y="8319"/>
                    <a:pt x="52342" y="10939"/>
                    <a:pt x="53773" y="13912"/>
                  </a:cubicBezTo>
                  <a:cubicBezTo>
                    <a:pt x="55308" y="17245"/>
                    <a:pt x="56071" y="20884"/>
                    <a:pt x="55997" y="24553"/>
                  </a:cubicBezTo>
                  <a:cubicBezTo>
                    <a:pt x="56027" y="27152"/>
                    <a:pt x="55657" y="29741"/>
                    <a:pt x="54907" y="32229"/>
                  </a:cubicBezTo>
                  <a:cubicBezTo>
                    <a:pt x="54183" y="34575"/>
                    <a:pt x="53184" y="36828"/>
                    <a:pt x="51941" y="38945"/>
                  </a:cubicBezTo>
                  <a:cubicBezTo>
                    <a:pt x="50672" y="41078"/>
                    <a:pt x="49211" y="43092"/>
                    <a:pt x="47580" y="44963"/>
                  </a:cubicBezTo>
                  <a:cubicBezTo>
                    <a:pt x="45835" y="46882"/>
                    <a:pt x="44047" y="48757"/>
                    <a:pt x="42172" y="50633"/>
                  </a:cubicBezTo>
                  <a:lnTo>
                    <a:pt x="14130" y="77977"/>
                  </a:lnTo>
                  <a:lnTo>
                    <a:pt x="56215" y="77977"/>
                  </a:lnTo>
                  <a:close/>
                </a:path>
              </a:pathLst>
            </a:custGeom>
            <a:grpFill/>
            <a:ln w="4345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299" name="Graphic 11">
            <a:extLst>
              <a:ext uri="{FF2B5EF4-FFF2-40B4-BE49-F238E27FC236}">
                <a16:creationId xmlns:a16="http://schemas.microsoft.com/office/drawing/2014/main" id="{5E0FDA4E-8A7A-2A54-0105-971FD96F350A}"/>
              </a:ext>
            </a:extLst>
          </p:cNvPr>
          <p:cNvGrpSpPr/>
          <p:nvPr/>
        </p:nvGrpSpPr>
        <p:grpSpPr>
          <a:xfrm>
            <a:off x="6579825" y="2508510"/>
            <a:ext cx="343910" cy="336574"/>
            <a:chOff x="8771643" y="2337874"/>
            <a:chExt cx="480134" cy="480134"/>
          </a:xfrm>
          <a:solidFill>
            <a:schemeClr val="bg1"/>
          </a:solidFill>
        </p:grpSpPr>
        <p:sp>
          <p:nvSpPr>
            <p:cNvPr id="300" name="Freeform 299">
              <a:extLst>
                <a:ext uri="{FF2B5EF4-FFF2-40B4-BE49-F238E27FC236}">
                  <a16:creationId xmlns:a16="http://schemas.microsoft.com/office/drawing/2014/main" id="{558F671A-F194-911C-3B8B-2FC2E0B81219}"/>
                </a:ext>
              </a:extLst>
            </p:cNvPr>
            <p:cNvSpPr/>
            <p:nvPr/>
          </p:nvSpPr>
          <p:spPr>
            <a:xfrm>
              <a:off x="8914482" y="2652031"/>
              <a:ext cx="90085" cy="6781"/>
            </a:xfrm>
            <a:custGeom>
              <a:avLst/>
              <a:gdLst>
                <a:gd name="connsiteX0" fmla="*/ 0 w 90085"/>
                <a:gd name="connsiteY0" fmla="*/ 0 h 6781"/>
                <a:gd name="connsiteX1" fmla="*/ 90085 w 90085"/>
                <a:gd name="connsiteY1" fmla="*/ 0 h 6781"/>
                <a:gd name="connsiteX2" fmla="*/ 90085 w 90085"/>
                <a:gd name="connsiteY2" fmla="*/ 6782 h 6781"/>
                <a:gd name="connsiteX3" fmla="*/ 0 w 90085"/>
                <a:gd name="connsiteY3" fmla="*/ 6782 h 6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85" h="6781">
                  <a:moveTo>
                    <a:pt x="0" y="0"/>
                  </a:moveTo>
                  <a:lnTo>
                    <a:pt x="90085" y="0"/>
                  </a:lnTo>
                  <a:lnTo>
                    <a:pt x="90085" y="6782"/>
                  </a:lnTo>
                  <a:lnTo>
                    <a:pt x="0" y="678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01" name="Freeform 300">
              <a:extLst>
                <a:ext uri="{FF2B5EF4-FFF2-40B4-BE49-F238E27FC236}">
                  <a16:creationId xmlns:a16="http://schemas.microsoft.com/office/drawing/2014/main" id="{2C51167A-DA44-A327-F381-90FF7A7314A3}"/>
                </a:ext>
              </a:extLst>
            </p:cNvPr>
            <p:cNvSpPr/>
            <p:nvPr/>
          </p:nvSpPr>
          <p:spPr>
            <a:xfrm>
              <a:off x="8910971" y="2622803"/>
              <a:ext cx="100258" cy="185781"/>
            </a:xfrm>
            <a:custGeom>
              <a:avLst/>
              <a:gdLst>
                <a:gd name="connsiteX0" fmla="*/ 85254 w 100258"/>
                <a:gd name="connsiteY0" fmla="*/ 185782 h 185781"/>
                <a:gd name="connsiteX1" fmla="*/ 15004 w 100258"/>
                <a:gd name="connsiteY1" fmla="*/ 185782 h 185781"/>
                <a:gd name="connsiteX2" fmla="*/ 0 w 100258"/>
                <a:gd name="connsiteY2" fmla="*/ 170778 h 185781"/>
                <a:gd name="connsiteX3" fmla="*/ 0 w 100258"/>
                <a:gd name="connsiteY3" fmla="*/ 15004 h 185781"/>
                <a:gd name="connsiteX4" fmla="*/ 15004 w 100258"/>
                <a:gd name="connsiteY4" fmla="*/ 0 h 185781"/>
                <a:gd name="connsiteX5" fmla="*/ 85254 w 100258"/>
                <a:gd name="connsiteY5" fmla="*/ 0 h 185781"/>
                <a:gd name="connsiteX6" fmla="*/ 100258 w 100258"/>
                <a:gd name="connsiteY6" fmla="*/ 15004 h 185781"/>
                <a:gd name="connsiteX7" fmla="*/ 100258 w 100258"/>
                <a:gd name="connsiteY7" fmla="*/ 170748 h 185781"/>
                <a:gd name="connsiteX8" fmla="*/ 85284 w 100258"/>
                <a:gd name="connsiteY8" fmla="*/ 185782 h 185781"/>
                <a:gd name="connsiteX9" fmla="*/ 85254 w 100258"/>
                <a:gd name="connsiteY9" fmla="*/ 185782 h 185781"/>
                <a:gd name="connsiteX10" fmla="*/ 15004 w 100258"/>
                <a:gd name="connsiteY10" fmla="*/ 7052 h 185781"/>
                <a:gd name="connsiteX11" fmla="*/ 7052 w 100258"/>
                <a:gd name="connsiteY11" fmla="*/ 15004 h 185781"/>
                <a:gd name="connsiteX12" fmla="*/ 7052 w 100258"/>
                <a:gd name="connsiteY12" fmla="*/ 170748 h 185781"/>
                <a:gd name="connsiteX13" fmla="*/ 15004 w 100258"/>
                <a:gd name="connsiteY13" fmla="*/ 178670 h 185781"/>
                <a:gd name="connsiteX14" fmla="*/ 85254 w 100258"/>
                <a:gd name="connsiteY14" fmla="*/ 178670 h 185781"/>
                <a:gd name="connsiteX15" fmla="*/ 93206 w 100258"/>
                <a:gd name="connsiteY15" fmla="*/ 170748 h 185781"/>
                <a:gd name="connsiteX16" fmla="*/ 93206 w 100258"/>
                <a:gd name="connsiteY16" fmla="*/ 15004 h 185781"/>
                <a:gd name="connsiteX17" fmla="*/ 85254 w 100258"/>
                <a:gd name="connsiteY17" fmla="*/ 7052 h 185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0258" h="185781">
                  <a:moveTo>
                    <a:pt x="85254" y="185782"/>
                  </a:moveTo>
                  <a:lnTo>
                    <a:pt x="15004" y="185782"/>
                  </a:lnTo>
                  <a:cubicBezTo>
                    <a:pt x="6718" y="185782"/>
                    <a:pt x="0" y="179063"/>
                    <a:pt x="0" y="170778"/>
                  </a:cubicBezTo>
                  <a:lnTo>
                    <a:pt x="0" y="15004"/>
                  </a:lnTo>
                  <a:cubicBezTo>
                    <a:pt x="0" y="6718"/>
                    <a:pt x="6718" y="0"/>
                    <a:pt x="15004" y="0"/>
                  </a:cubicBezTo>
                  <a:lnTo>
                    <a:pt x="85254" y="0"/>
                  </a:lnTo>
                  <a:cubicBezTo>
                    <a:pt x="93540" y="0"/>
                    <a:pt x="100258" y="6718"/>
                    <a:pt x="100258" y="15004"/>
                  </a:cubicBezTo>
                  <a:lnTo>
                    <a:pt x="100258" y="170748"/>
                  </a:lnTo>
                  <a:cubicBezTo>
                    <a:pt x="100274" y="179033"/>
                    <a:pt x="93570" y="185764"/>
                    <a:pt x="85284" y="185782"/>
                  </a:cubicBezTo>
                  <a:cubicBezTo>
                    <a:pt x="85274" y="185782"/>
                    <a:pt x="85264" y="185782"/>
                    <a:pt x="85254" y="185782"/>
                  </a:cubicBezTo>
                  <a:close/>
                  <a:moveTo>
                    <a:pt x="15004" y="7052"/>
                  </a:moveTo>
                  <a:cubicBezTo>
                    <a:pt x="10612" y="7052"/>
                    <a:pt x="7052" y="10612"/>
                    <a:pt x="7052" y="15004"/>
                  </a:cubicBezTo>
                  <a:lnTo>
                    <a:pt x="7052" y="170748"/>
                  </a:lnTo>
                  <a:cubicBezTo>
                    <a:pt x="7068" y="175129"/>
                    <a:pt x="10624" y="178670"/>
                    <a:pt x="15004" y="178670"/>
                  </a:cubicBezTo>
                  <a:lnTo>
                    <a:pt x="85254" y="178670"/>
                  </a:lnTo>
                  <a:cubicBezTo>
                    <a:pt x="89634" y="178670"/>
                    <a:pt x="93190" y="175129"/>
                    <a:pt x="93206" y="170748"/>
                  </a:cubicBezTo>
                  <a:lnTo>
                    <a:pt x="93206" y="15004"/>
                  </a:lnTo>
                  <a:cubicBezTo>
                    <a:pt x="93206" y="10612"/>
                    <a:pt x="89646" y="7052"/>
                    <a:pt x="85254" y="705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02" name="Freeform 301">
              <a:extLst>
                <a:ext uri="{FF2B5EF4-FFF2-40B4-BE49-F238E27FC236}">
                  <a16:creationId xmlns:a16="http://schemas.microsoft.com/office/drawing/2014/main" id="{A0014B98-AD31-F221-7861-DE94D39713E1}"/>
                </a:ext>
              </a:extLst>
            </p:cNvPr>
            <p:cNvSpPr/>
            <p:nvPr/>
          </p:nvSpPr>
          <p:spPr>
            <a:xfrm>
              <a:off x="9043368" y="2652031"/>
              <a:ext cx="90085" cy="6781"/>
            </a:xfrm>
            <a:custGeom>
              <a:avLst/>
              <a:gdLst>
                <a:gd name="connsiteX0" fmla="*/ 0 w 90085"/>
                <a:gd name="connsiteY0" fmla="*/ 0 h 6781"/>
                <a:gd name="connsiteX1" fmla="*/ 90085 w 90085"/>
                <a:gd name="connsiteY1" fmla="*/ 0 h 6781"/>
                <a:gd name="connsiteX2" fmla="*/ 90085 w 90085"/>
                <a:gd name="connsiteY2" fmla="*/ 6782 h 6781"/>
                <a:gd name="connsiteX3" fmla="*/ 0 w 90085"/>
                <a:gd name="connsiteY3" fmla="*/ 6782 h 6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85" h="6781">
                  <a:moveTo>
                    <a:pt x="0" y="0"/>
                  </a:moveTo>
                  <a:lnTo>
                    <a:pt x="90085" y="0"/>
                  </a:lnTo>
                  <a:lnTo>
                    <a:pt x="90085" y="6782"/>
                  </a:lnTo>
                  <a:lnTo>
                    <a:pt x="0" y="678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03" name="Freeform 302">
              <a:extLst>
                <a:ext uri="{FF2B5EF4-FFF2-40B4-BE49-F238E27FC236}">
                  <a16:creationId xmlns:a16="http://schemas.microsoft.com/office/drawing/2014/main" id="{28094C84-851D-16CF-C242-4A6C16E2274D}"/>
                </a:ext>
              </a:extLst>
            </p:cNvPr>
            <p:cNvSpPr/>
            <p:nvPr/>
          </p:nvSpPr>
          <p:spPr>
            <a:xfrm>
              <a:off x="9039857" y="2622803"/>
              <a:ext cx="100258" cy="185781"/>
            </a:xfrm>
            <a:custGeom>
              <a:avLst/>
              <a:gdLst>
                <a:gd name="connsiteX0" fmla="*/ 85254 w 100258"/>
                <a:gd name="connsiteY0" fmla="*/ 185782 h 185781"/>
                <a:gd name="connsiteX1" fmla="*/ 15004 w 100258"/>
                <a:gd name="connsiteY1" fmla="*/ 185782 h 185781"/>
                <a:gd name="connsiteX2" fmla="*/ 0 w 100258"/>
                <a:gd name="connsiteY2" fmla="*/ 170778 h 185781"/>
                <a:gd name="connsiteX3" fmla="*/ 0 w 100258"/>
                <a:gd name="connsiteY3" fmla="*/ 15004 h 185781"/>
                <a:gd name="connsiteX4" fmla="*/ 15004 w 100258"/>
                <a:gd name="connsiteY4" fmla="*/ 0 h 185781"/>
                <a:gd name="connsiteX5" fmla="*/ 85254 w 100258"/>
                <a:gd name="connsiteY5" fmla="*/ 0 h 185781"/>
                <a:gd name="connsiteX6" fmla="*/ 100258 w 100258"/>
                <a:gd name="connsiteY6" fmla="*/ 15004 h 185781"/>
                <a:gd name="connsiteX7" fmla="*/ 100258 w 100258"/>
                <a:gd name="connsiteY7" fmla="*/ 170748 h 185781"/>
                <a:gd name="connsiteX8" fmla="*/ 85284 w 100258"/>
                <a:gd name="connsiteY8" fmla="*/ 185782 h 185781"/>
                <a:gd name="connsiteX9" fmla="*/ 85254 w 100258"/>
                <a:gd name="connsiteY9" fmla="*/ 185782 h 185781"/>
                <a:gd name="connsiteX10" fmla="*/ 15004 w 100258"/>
                <a:gd name="connsiteY10" fmla="*/ 7052 h 185781"/>
                <a:gd name="connsiteX11" fmla="*/ 7052 w 100258"/>
                <a:gd name="connsiteY11" fmla="*/ 15004 h 185781"/>
                <a:gd name="connsiteX12" fmla="*/ 7052 w 100258"/>
                <a:gd name="connsiteY12" fmla="*/ 170748 h 185781"/>
                <a:gd name="connsiteX13" fmla="*/ 15004 w 100258"/>
                <a:gd name="connsiteY13" fmla="*/ 178670 h 185781"/>
                <a:gd name="connsiteX14" fmla="*/ 85254 w 100258"/>
                <a:gd name="connsiteY14" fmla="*/ 178670 h 185781"/>
                <a:gd name="connsiteX15" fmla="*/ 93206 w 100258"/>
                <a:gd name="connsiteY15" fmla="*/ 170748 h 185781"/>
                <a:gd name="connsiteX16" fmla="*/ 93206 w 100258"/>
                <a:gd name="connsiteY16" fmla="*/ 15004 h 185781"/>
                <a:gd name="connsiteX17" fmla="*/ 85254 w 100258"/>
                <a:gd name="connsiteY17" fmla="*/ 7052 h 185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0258" h="185781">
                  <a:moveTo>
                    <a:pt x="85254" y="185782"/>
                  </a:moveTo>
                  <a:lnTo>
                    <a:pt x="15004" y="185782"/>
                  </a:lnTo>
                  <a:cubicBezTo>
                    <a:pt x="6718" y="185782"/>
                    <a:pt x="0" y="179063"/>
                    <a:pt x="0" y="170778"/>
                  </a:cubicBezTo>
                  <a:lnTo>
                    <a:pt x="0" y="15004"/>
                  </a:lnTo>
                  <a:cubicBezTo>
                    <a:pt x="0" y="6718"/>
                    <a:pt x="6718" y="0"/>
                    <a:pt x="15004" y="0"/>
                  </a:cubicBezTo>
                  <a:lnTo>
                    <a:pt x="85254" y="0"/>
                  </a:lnTo>
                  <a:cubicBezTo>
                    <a:pt x="93539" y="0"/>
                    <a:pt x="100258" y="6718"/>
                    <a:pt x="100258" y="15004"/>
                  </a:cubicBezTo>
                  <a:lnTo>
                    <a:pt x="100258" y="170748"/>
                  </a:lnTo>
                  <a:cubicBezTo>
                    <a:pt x="100276" y="179033"/>
                    <a:pt x="93569" y="185764"/>
                    <a:pt x="85284" y="185782"/>
                  </a:cubicBezTo>
                  <a:cubicBezTo>
                    <a:pt x="85275" y="185782"/>
                    <a:pt x="85263" y="185782"/>
                    <a:pt x="85254" y="185782"/>
                  </a:cubicBezTo>
                  <a:close/>
                  <a:moveTo>
                    <a:pt x="15004" y="7052"/>
                  </a:moveTo>
                  <a:cubicBezTo>
                    <a:pt x="10612" y="7052"/>
                    <a:pt x="7052" y="10612"/>
                    <a:pt x="7052" y="15004"/>
                  </a:cubicBezTo>
                  <a:lnTo>
                    <a:pt x="7052" y="170748"/>
                  </a:lnTo>
                  <a:cubicBezTo>
                    <a:pt x="7068" y="175129"/>
                    <a:pt x="10624" y="178670"/>
                    <a:pt x="15004" y="178670"/>
                  </a:cubicBezTo>
                  <a:lnTo>
                    <a:pt x="85254" y="178670"/>
                  </a:lnTo>
                  <a:cubicBezTo>
                    <a:pt x="89635" y="178670"/>
                    <a:pt x="93188" y="175129"/>
                    <a:pt x="93206" y="170748"/>
                  </a:cubicBezTo>
                  <a:lnTo>
                    <a:pt x="93206" y="15004"/>
                  </a:lnTo>
                  <a:cubicBezTo>
                    <a:pt x="93206" y="10612"/>
                    <a:pt x="89647" y="7052"/>
                    <a:pt x="85254" y="705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04" name="Freeform 303">
              <a:extLst>
                <a:ext uri="{FF2B5EF4-FFF2-40B4-BE49-F238E27FC236}">
                  <a16:creationId xmlns:a16="http://schemas.microsoft.com/office/drawing/2014/main" id="{39F405C8-3753-1B4D-6A6D-F430DF082C7D}"/>
                </a:ext>
              </a:extLst>
            </p:cNvPr>
            <p:cNvSpPr/>
            <p:nvPr/>
          </p:nvSpPr>
          <p:spPr>
            <a:xfrm>
              <a:off x="8937379" y="2607409"/>
              <a:ext cx="47323" cy="20915"/>
            </a:xfrm>
            <a:custGeom>
              <a:avLst/>
              <a:gdLst>
                <a:gd name="connsiteX0" fmla="*/ 43902 w 47323"/>
                <a:gd name="connsiteY0" fmla="*/ 20916 h 20915"/>
                <a:gd name="connsiteX1" fmla="*/ 3541 w 47323"/>
                <a:gd name="connsiteY1" fmla="*/ 20916 h 20915"/>
                <a:gd name="connsiteX2" fmla="*/ 0 w 47323"/>
                <a:gd name="connsiteY2" fmla="*/ 17375 h 20915"/>
                <a:gd name="connsiteX3" fmla="*/ 0 w 47323"/>
                <a:gd name="connsiteY3" fmla="*/ 3541 h 20915"/>
                <a:gd name="connsiteX4" fmla="*/ 3541 w 47323"/>
                <a:gd name="connsiteY4" fmla="*/ 0 h 20915"/>
                <a:gd name="connsiteX5" fmla="*/ 43902 w 47323"/>
                <a:gd name="connsiteY5" fmla="*/ 0 h 20915"/>
                <a:gd name="connsiteX6" fmla="*/ 47323 w 47323"/>
                <a:gd name="connsiteY6" fmla="*/ 3541 h 20915"/>
                <a:gd name="connsiteX7" fmla="*/ 47323 w 47323"/>
                <a:gd name="connsiteY7" fmla="*/ 17495 h 20915"/>
                <a:gd name="connsiteX8" fmla="*/ 43902 w 47323"/>
                <a:gd name="connsiteY8" fmla="*/ 20916 h 20915"/>
                <a:gd name="connsiteX9" fmla="*/ 7082 w 47323"/>
                <a:gd name="connsiteY9" fmla="*/ 13834 h 20915"/>
                <a:gd name="connsiteX10" fmla="*/ 40361 w 47323"/>
                <a:gd name="connsiteY10" fmla="*/ 13834 h 20915"/>
                <a:gd name="connsiteX11" fmla="*/ 40361 w 47323"/>
                <a:gd name="connsiteY11" fmla="*/ 6962 h 20915"/>
                <a:gd name="connsiteX12" fmla="*/ 7082 w 47323"/>
                <a:gd name="connsiteY12" fmla="*/ 6962 h 20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323" h="20915">
                  <a:moveTo>
                    <a:pt x="43902" y="20916"/>
                  </a:moveTo>
                  <a:lnTo>
                    <a:pt x="3541" y="20916"/>
                  </a:lnTo>
                  <a:cubicBezTo>
                    <a:pt x="1585" y="20916"/>
                    <a:pt x="0" y="19330"/>
                    <a:pt x="0" y="17375"/>
                  </a:cubicBezTo>
                  <a:lnTo>
                    <a:pt x="0" y="3541"/>
                  </a:lnTo>
                  <a:cubicBezTo>
                    <a:pt x="0" y="1585"/>
                    <a:pt x="1585" y="0"/>
                    <a:pt x="3541" y="0"/>
                  </a:cubicBezTo>
                  <a:lnTo>
                    <a:pt x="43902" y="0"/>
                  </a:lnTo>
                  <a:cubicBezTo>
                    <a:pt x="45811" y="65"/>
                    <a:pt x="47324" y="1631"/>
                    <a:pt x="47323" y="3541"/>
                  </a:cubicBezTo>
                  <a:lnTo>
                    <a:pt x="47323" y="17495"/>
                  </a:lnTo>
                  <a:cubicBezTo>
                    <a:pt x="47261" y="19358"/>
                    <a:pt x="45765" y="20854"/>
                    <a:pt x="43902" y="20916"/>
                  </a:cubicBezTo>
                  <a:close/>
                  <a:moveTo>
                    <a:pt x="7082" y="13834"/>
                  </a:moveTo>
                  <a:lnTo>
                    <a:pt x="40361" y="13834"/>
                  </a:lnTo>
                  <a:lnTo>
                    <a:pt x="40361" y="6962"/>
                  </a:lnTo>
                  <a:lnTo>
                    <a:pt x="7082" y="696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05" name="Freeform 304">
              <a:extLst>
                <a:ext uri="{FF2B5EF4-FFF2-40B4-BE49-F238E27FC236}">
                  <a16:creationId xmlns:a16="http://schemas.microsoft.com/office/drawing/2014/main" id="{9F6969C6-304A-451F-CFCD-077FBF51A692}"/>
                </a:ext>
              </a:extLst>
            </p:cNvPr>
            <p:cNvSpPr/>
            <p:nvPr/>
          </p:nvSpPr>
          <p:spPr>
            <a:xfrm>
              <a:off x="8952623" y="2464359"/>
              <a:ext cx="16894" cy="148481"/>
            </a:xfrm>
            <a:custGeom>
              <a:avLst/>
              <a:gdLst>
                <a:gd name="connsiteX0" fmla="*/ 13384 w 16894"/>
                <a:gd name="connsiteY0" fmla="*/ 148481 h 148481"/>
                <a:gd name="connsiteX1" fmla="*/ 3541 w 16894"/>
                <a:gd name="connsiteY1" fmla="*/ 148481 h 148481"/>
                <a:gd name="connsiteX2" fmla="*/ 0 w 16894"/>
                <a:gd name="connsiteY2" fmla="*/ 144940 h 148481"/>
                <a:gd name="connsiteX3" fmla="*/ 0 w 16894"/>
                <a:gd name="connsiteY3" fmla="*/ 7862 h 148481"/>
                <a:gd name="connsiteX4" fmla="*/ 7892 w 16894"/>
                <a:gd name="connsiteY4" fmla="*/ 0 h 148481"/>
                <a:gd name="connsiteX5" fmla="*/ 16895 w 16894"/>
                <a:gd name="connsiteY5" fmla="*/ 9003 h 148481"/>
                <a:gd name="connsiteX6" fmla="*/ 16895 w 16894"/>
                <a:gd name="connsiteY6" fmla="*/ 144940 h 148481"/>
                <a:gd name="connsiteX7" fmla="*/ 13384 w 16894"/>
                <a:gd name="connsiteY7" fmla="*/ 148481 h 148481"/>
                <a:gd name="connsiteX8" fmla="*/ 7082 w 16894"/>
                <a:gd name="connsiteY8" fmla="*/ 141399 h 148481"/>
                <a:gd name="connsiteX9" fmla="*/ 9843 w 16894"/>
                <a:gd name="connsiteY9" fmla="*/ 141399 h 148481"/>
                <a:gd name="connsiteX10" fmla="*/ 9843 w 16894"/>
                <a:gd name="connsiteY10" fmla="*/ 9063 h 148481"/>
                <a:gd name="connsiteX11" fmla="*/ 7892 w 16894"/>
                <a:gd name="connsiteY11" fmla="*/ 7082 h 148481"/>
                <a:gd name="connsiteX12" fmla="*/ 7082 w 16894"/>
                <a:gd name="connsiteY12" fmla="*/ 7862 h 148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894" h="148481">
                  <a:moveTo>
                    <a:pt x="13384" y="148481"/>
                  </a:moveTo>
                  <a:lnTo>
                    <a:pt x="3541" y="148481"/>
                  </a:lnTo>
                  <a:cubicBezTo>
                    <a:pt x="1585" y="148481"/>
                    <a:pt x="0" y="146896"/>
                    <a:pt x="0" y="144940"/>
                  </a:cubicBezTo>
                  <a:lnTo>
                    <a:pt x="0" y="7862"/>
                  </a:lnTo>
                  <a:cubicBezTo>
                    <a:pt x="16" y="3515"/>
                    <a:pt x="3545" y="0"/>
                    <a:pt x="7892" y="0"/>
                  </a:cubicBezTo>
                  <a:cubicBezTo>
                    <a:pt x="12864" y="0"/>
                    <a:pt x="16895" y="4030"/>
                    <a:pt x="16895" y="9003"/>
                  </a:cubicBezTo>
                  <a:lnTo>
                    <a:pt x="16895" y="144940"/>
                  </a:lnTo>
                  <a:cubicBezTo>
                    <a:pt x="16895" y="146884"/>
                    <a:pt x="15328" y="148465"/>
                    <a:pt x="13384" y="148481"/>
                  </a:cubicBezTo>
                  <a:close/>
                  <a:moveTo>
                    <a:pt x="7082" y="141399"/>
                  </a:moveTo>
                  <a:lnTo>
                    <a:pt x="9843" y="141399"/>
                  </a:lnTo>
                  <a:lnTo>
                    <a:pt x="9843" y="9063"/>
                  </a:lnTo>
                  <a:cubicBezTo>
                    <a:pt x="9843" y="7980"/>
                    <a:pt x="8974" y="7098"/>
                    <a:pt x="7892" y="7082"/>
                  </a:cubicBezTo>
                  <a:cubicBezTo>
                    <a:pt x="7456" y="7082"/>
                    <a:pt x="7098" y="7426"/>
                    <a:pt x="7082" y="786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06" name="Freeform 305">
              <a:extLst>
                <a:ext uri="{FF2B5EF4-FFF2-40B4-BE49-F238E27FC236}">
                  <a16:creationId xmlns:a16="http://schemas.microsoft.com/office/drawing/2014/main" id="{FDB82287-62DF-85C5-C14B-FAAC0C1B290B}"/>
                </a:ext>
              </a:extLst>
            </p:cNvPr>
            <p:cNvSpPr/>
            <p:nvPr/>
          </p:nvSpPr>
          <p:spPr>
            <a:xfrm>
              <a:off x="8785596" y="2652031"/>
              <a:ext cx="90085" cy="6781"/>
            </a:xfrm>
            <a:custGeom>
              <a:avLst/>
              <a:gdLst>
                <a:gd name="connsiteX0" fmla="*/ 0 w 90085"/>
                <a:gd name="connsiteY0" fmla="*/ 0 h 6781"/>
                <a:gd name="connsiteX1" fmla="*/ 90085 w 90085"/>
                <a:gd name="connsiteY1" fmla="*/ 0 h 6781"/>
                <a:gd name="connsiteX2" fmla="*/ 90085 w 90085"/>
                <a:gd name="connsiteY2" fmla="*/ 6782 h 6781"/>
                <a:gd name="connsiteX3" fmla="*/ 0 w 90085"/>
                <a:gd name="connsiteY3" fmla="*/ 6782 h 6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85" h="6781">
                  <a:moveTo>
                    <a:pt x="0" y="0"/>
                  </a:moveTo>
                  <a:lnTo>
                    <a:pt x="90085" y="0"/>
                  </a:lnTo>
                  <a:lnTo>
                    <a:pt x="90085" y="6782"/>
                  </a:lnTo>
                  <a:lnTo>
                    <a:pt x="0" y="678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07" name="Freeform 306">
              <a:extLst>
                <a:ext uri="{FF2B5EF4-FFF2-40B4-BE49-F238E27FC236}">
                  <a16:creationId xmlns:a16="http://schemas.microsoft.com/office/drawing/2014/main" id="{682DFEAC-4DD1-6FE6-9DD0-77D0E7FF6422}"/>
                </a:ext>
              </a:extLst>
            </p:cNvPr>
            <p:cNvSpPr/>
            <p:nvPr/>
          </p:nvSpPr>
          <p:spPr>
            <a:xfrm>
              <a:off x="8782085" y="2622803"/>
              <a:ext cx="100228" cy="185781"/>
            </a:xfrm>
            <a:custGeom>
              <a:avLst/>
              <a:gdLst>
                <a:gd name="connsiteX0" fmla="*/ 85224 w 100228"/>
                <a:gd name="connsiteY0" fmla="*/ 185782 h 185781"/>
                <a:gd name="connsiteX1" fmla="*/ 15004 w 100228"/>
                <a:gd name="connsiteY1" fmla="*/ 185782 h 185781"/>
                <a:gd name="connsiteX2" fmla="*/ 0 w 100228"/>
                <a:gd name="connsiteY2" fmla="*/ 170778 h 185781"/>
                <a:gd name="connsiteX3" fmla="*/ 0 w 100228"/>
                <a:gd name="connsiteY3" fmla="*/ 15004 h 185781"/>
                <a:gd name="connsiteX4" fmla="*/ 15004 w 100228"/>
                <a:gd name="connsiteY4" fmla="*/ 0 h 185781"/>
                <a:gd name="connsiteX5" fmla="*/ 85224 w 100228"/>
                <a:gd name="connsiteY5" fmla="*/ 0 h 185781"/>
                <a:gd name="connsiteX6" fmla="*/ 100228 w 100228"/>
                <a:gd name="connsiteY6" fmla="*/ 15004 h 185781"/>
                <a:gd name="connsiteX7" fmla="*/ 100228 w 100228"/>
                <a:gd name="connsiteY7" fmla="*/ 170748 h 185781"/>
                <a:gd name="connsiteX8" fmla="*/ 85254 w 100228"/>
                <a:gd name="connsiteY8" fmla="*/ 185782 h 185781"/>
                <a:gd name="connsiteX9" fmla="*/ 85224 w 100228"/>
                <a:gd name="connsiteY9" fmla="*/ 185782 h 185781"/>
                <a:gd name="connsiteX10" fmla="*/ 15004 w 100228"/>
                <a:gd name="connsiteY10" fmla="*/ 7052 h 185781"/>
                <a:gd name="connsiteX11" fmla="*/ 7052 w 100228"/>
                <a:gd name="connsiteY11" fmla="*/ 15004 h 185781"/>
                <a:gd name="connsiteX12" fmla="*/ 7052 w 100228"/>
                <a:gd name="connsiteY12" fmla="*/ 170748 h 185781"/>
                <a:gd name="connsiteX13" fmla="*/ 15004 w 100228"/>
                <a:gd name="connsiteY13" fmla="*/ 178670 h 185781"/>
                <a:gd name="connsiteX14" fmla="*/ 85224 w 100228"/>
                <a:gd name="connsiteY14" fmla="*/ 178670 h 185781"/>
                <a:gd name="connsiteX15" fmla="*/ 93176 w 100228"/>
                <a:gd name="connsiteY15" fmla="*/ 170748 h 185781"/>
                <a:gd name="connsiteX16" fmla="*/ 93176 w 100228"/>
                <a:gd name="connsiteY16" fmla="*/ 15004 h 185781"/>
                <a:gd name="connsiteX17" fmla="*/ 85224 w 100228"/>
                <a:gd name="connsiteY17" fmla="*/ 7052 h 185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0228" h="185781">
                  <a:moveTo>
                    <a:pt x="85224" y="185782"/>
                  </a:moveTo>
                  <a:lnTo>
                    <a:pt x="15004" y="185782"/>
                  </a:lnTo>
                  <a:cubicBezTo>
                    <a:pt x="6718" y="185782"/>
                    <a:pt x="0" y="179063"/>
                    <a:pt x="0" y="170778"/>
                  </a:cubicBezTo>
                  <a:lnTo>
                    <a:pt x="0" y="15004"/>
                  </a:lnTo>
                  <a:cubicBezTo>
                    <a:pt x="0" y="6718"/>
                    <a:pt x="6718" y="0"/>
                    <a:pt x="15004" y="0"/>
                  </a:cubicBezTo>
                  <a:lnTo>
                    <a:pt x="85224" y="0"/>
                  </a:lnTo>
                  <a:cubicBezTo>
                    <a:pt x="93510" y="0"/>
                    <a:pt x="100228" y="6718"/>
                    <a:pt x="100228" y="15004"/>
                  </a:cubicBezTo>
                  <a:lnTo>
                    <a:pt x="100228" y="170748"/>
                  </a:lnTo>
                  <a:cubicBezTo>
                    <a:pt x="100244" y="179033"/>
                    <a:pt x="93540" y="185764"/>
                    <a:pt x="85254" y="185782"/>
                  </a:cubicBezTo>
                  <a:cubicBezTo>
                    <a:pt x="85244" y="185782"/>
                    <a:pt x="85234" y="185782"/>
                    <a:pt x="85224" y="185782"/>
                  </a:cubicBezTo>
                  <a:close/>
                  <a:moveTo>
                    <a:pt x="15004" y="7052"/>
                  </a:moveTo>
                  <a:cubicBezTo>
                    <a:pt x="10612" y="7052"/>
                    <a:pt x="7052" y="10612"/>
                    <a:pt x="7052" y="15004"/>
                  </a:cubicBezTo>
                  <a:lnTo>
                    <a:pt x="7052" y="170748"/>
                  </a:lnTo>
                  <a:cubicBezTo>
                    <a:pt x="7069" y="175129"/>
                    <a:pt x="10624" y="178670"/>
                    <a:pt x="15004" y="178670"/>
                  </a:cubicBezTo>
                  <a:lnTo>
                    <a:pt x="85224" y="178670"/>
                  </a:lnTo>
                  <a:cubicBezTo>
                    <a:pt x="89604" y="178670"/>
                    <a:pt x="93160" y="175129"/>
                    <a:pt x="93176" y="170748"/>
                  </a:cubicBezTo>
                  <a:lnTo>
                    <a:pt x="93176" y="15004"/>
                  </a:lnTo>
                  <a:cubicBezTo>
                    <a:pt x="93176" y="10612"/>
                    <a:pt x="89616" y="7052"/>
                    <a:pt x="85224" y="705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08" name="Freeform 307">
              <a:extLst>
                <a:ext uri="{FF2B5EF4-FFF2-40B4-BE49-F238E27FC236}">
                  <a16:creationId xmlns:a16="http://schemas.microsoft.com/office/drawing/2014/main" id="{A03C0CD6-857C-4A4B-DBBD-0E2EB1EBBEF5}"/>
                </a:ext>
              </a:extLst>
            </p:cNvPr>
            <p:cNvSpPr/>
            <p:nvPr/>
          </p:nvSpPr>
          <p:spPr>
            <a:xfrm>
              <a:off x="8800331" y="2580071"/>
              <a:ext cx="63737" cy="48253"/>
            </a:xfrm>
            <a:custGeom>
              <a:avLst/>
              <a:gdLst>
                <a:gd name="connsiteX0" fmla="*/ 60197 w 63737"/>
                <a:gd name="connsiteY0" fmla="*/ 48253 h 48253"/>
                <a:gd name="connsiteX1" fmla="*/ 3541 w 63737"/>
                <a:gd name="connsiteY1" fmla="*/ 48253 h 48253"/>
                <a:gd name="connsiteX2" fmla="*/ 0 w 63737"/>
                <a:gd name="connsiteY2" fmla="*/ 44712 h 48253"/>
                <a:gd name="connsiteX3" fmla="*/ 0 w 63737"/>
                <a:gd name="connsiteY3" fmla="*/ 3541 h 48253"/>
                <a:gd name="connsiteX4" fmla="*/ 3541 w 63737"/>
                <a:gd name="connsiteY4" fmla="*/ 0 h 48253"/>
                <a:gd name="connsiteX5" fmla="*/ 60197 w 63737"/>
                <a:gd name="connsiteY5" fmla="*/ 0 h 48253"/>
                <a:gd name="connsiteX6" fmla="*/ 63738 w 63737"/>
                <a:gd name="connsiteY6" fmla="*/ 3541 h 48253"/>
                <a:gd name="connsiteX7" fmla="*/ 63738 w 63737"/>
                <a:gd name="connsiteY7" fmla="*/ 44712 h 48253"/>
                <a:gd name="connsiteX8" fmla="*/ 60257 w 63737"/>
                <a:gd name="connsiteY8" fmla="*/ 48253 h 48253"/>
                <a:gd name="connsiteX9" fmla="*/ 60197 w 63737"/>
                <a:gd name="connsiteY9" fmla="*/ 48253 h 48253"/>
                <a:gd name="connsiteX10" fmla="*/ 7082 w 63737"/>
                <a:gd name="connsiteY10" fmla="*/ 41171 h 48253"/>
                <a:gd name="connsiteX11" fmla="*/ 56656 w 63737"/>
                <a:gd name="connsiteY11" fmla="*/ 41171 h 48253"/>
                <a:gd name="connsiteX12" fmla="*/ 56656 w 63737"/>
                <a:gd name="connsiteY12" fmla="*/ 7082 h 48253"/>
                <a:gd name="connsiteX13" fmla="*/ 7082 w 63737"/>
                <a:gd name="connsiteY13" fmla="*/ 7082 h 4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737" h="48253">
                  <a:moveTo>
                    <a:pt x="60197" y="48253"/>
                  </a:moveTo>
                  <a:lnTo>
                    <a:pt x="3541" y="48253"/>
                  </a:lnTo>
                  <a:cubicBezTo>
                    <a:pt x="1585" y="48253"/>
                    <a:pt x="0" y="46668"/>
                    <a:pt x="0" y="44712"/>
                  </a:cubicBezTo>
                  <a:lnTo>
                    <a:pt x="0" y="3541"/>
                  </a:lnTo>
                  <a:cubicBezTo>
                    <a:pt x="0" y="1585"/>
                    <a:pt x="1585" y="0"/>
                    <a:pt x="3541" y="0"/>
                  </a:cubicBezTo>
                  <a:lnTo>
                    <a:pt x="60197" y="0"/>
                  </a:lnTo>
                  <a:cubicBezTo>
                    <a:pt x="62152" y="0"/>
                    <a:pt x="63738" y="1585"/>
                    <a:pt x="63738" y="3541"/>
                  </a:cubicBezTo>
                  <a:lnTo>
                    <a:pt x="63738" y="44712"/>
                  </a:lnTo>
                  <a:cubicBezTo>
                    <a:pt x="63754" y="46652"/>
                    <a:pt x="62196" y="48237"/>
                    <a:pt x="60257" y="48253"/>
                  </a:cubicBezTo>
                  <a:cubicBezTo>
                    <a:pt x="60237" y="48254"/>
                    <a:pt x="60217" y="48254"/>
                    <a:pt x="60197" y="48253"/>
                  </a:cubicBezTo>
                  <a:close/>
                  <a:moveTo>
                    <a:pt x="7082" y="41171"/>
                  </a:moveTo>
                  <a:lnTo>
                    <a:pt x="56656" y="41171"/>
                  </a:lnTo>
                  <a:lnTo>
                    <a:pt x="56656" y="7082"/>
                  </a:lnTo>
                  <a:lnTo>
                    <a:pt x="7082" y="708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09" name="Freeform 308">
              <a:extLst>
                <a:ext uri="{FF2B5EF4-FFF2-40B4-BE49-F238E27FC236}">
                  <a16:creationId xmlns:a16="http://schemas.microsoft.com/office/drawing/2014/main" id="{C0EB445F-2649-62E5-7480-7533BAFA6B9B}"/>
                </a:ext>
              </a:extLst>
            </p:cNvPr>
            <p:cNvSpPr/>
            <p:nvPr/>
          </p:nvSpPr>
          <p:spPr>
            <a:xfrm>
              <a:off x="9053421" y="2602697"/>
              <a:ext cx="72860" cy="27157"/>
            </a:xfrm>
            <a:custGeom>
              <a:avLst/>
              <a:gdLst>
                <a:gd name="connsiteX0" fmla="*/ 69559 w 72860"/>
                <a:gd name="connsiteY0" fmla="*/ 27158 h 27157"/>
                <a:gd name="connsiteX1" fmla="*/ 3541 w 72860"/>
                <a:gd name="connsiteY1" fmla="*/ 27158 h 27157"/>
                <a:gd name="connsiteX2" fmla="*/ 0 w 72860"/>
                <a:gd name="connsiteY2" fmla="*/ 23617 h 27157"/>
                <a:gd name="connsiteX3" fmla="*/ 0 w 72860"/>
                <a:gd name="connsiteY3" fmla="*/ 9003 h 27157"/>
                <a:gd name="connsiteX4" fmla="*/ 9002 w 72860"/>
                <a:gd name="connsiteY4" fmla="*/ 0 h 27157"/>
                <a:gd name="connsiteX5" fmla="*/ 63858 w 72860"/>
                <a:gd name="connsiteY5" fmla="*/ 0 h 27157"/>
                <a:gd name="connsiteX6" fmla="*/ 72860 w 72860"/>
                <a:gd name="connsiteY6" fmla="*/ 9003 h 27157"/>
                <a:gd name="connsiteX7" fmla="*/ 72860 w 72860"/>
                <a:gd name="connsiteY7" fmla="*/ 23617 h 27157"/>
                <a:gd name="connsiteX8" fmla="*/ 69559 w 72860"/>
                <a:gd name="connsiteY8" fmla="*/ 27158 h 27157"/>
                <a:gd name="connsiteX9" fmla="*/ 7082 w 72860"/>
                <a:gd name="connsiteY9" fmla="*/ 20076 h 27157"/>
                <a:gd name="connsiteX10" fmla="*/ 66018 w 72860"/>
                <a:gd name="connsiteY10" fmla="*/ 20076 h 27157"/>
                <a:gd name="connsiteX11" fmla="*/ 66018 w 72860"/>
                <a:gd name="connsiteY11" fmla="*/ 9003 h 27157"/>
                <a:gd name="connsiteX12" fmla="*/ 63978 w 72860"/>
                <a:gd name="connsiteY12" fmla="*/ 6962 h 27157"/>
                <a:gd name="connsiteX13" fmla="*/ 9123 w 72860"/>
                <a:gd name="connsiteY13" fmla="*/ 6962 h 27157"/>
                <a:gd name="connsiteX14" fmla="*/ 7082 w 72860"/>
                <a:gd name="connsiteY14" fmla="*/ 8942 h 27157"/>
                <a:gd name="connsiteX15" fmla="*/ 7082 w 72860"/>
                <a:gd name="connsiteY15" fmla="*/ 9003 h 27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2860" h="27157">
                  <a:moveTo>
                    <a:pt x="69559" y="27158"/>
                  </a:moveTo>
                  <a:lnTo>
                    <a:pt x="3541" y="27158"/>
                  </a:lnTo>
                  <a:cubicBezTo>
                    <a:pt x="1585" y="27158"/>
                    <a:pt x="0" y="25572"/>
                    <a:pt x="0" y="23617"/>
                  </a:cubicBezTo>
                  <a:lnTo>
                    <a:pt x="0" y="9003"/>
                  </a:lnTo>
                  <a:cubicBezTo>
                    <a:pt x="0" y="4030"/>
                    <a:pt x="4030" y="0"/>
                    <a:pt x="9002" y="0"/>
                  </a:cubicBezTo>
                  <a:lnTo>
                    <a:pt x="63858" y="0"/>
                  </a:lnTo>
                  <a:cubicBezTo>
                    <a:pt x="68830" y="0"/>
                    <a:pt x="72860" y="4030"/>
                    <a:pt x="72860" y="9003"/>
                  </a:cubicBezTo>
                  <a:lnTo>
                    <a:pt x="72860" y="23617"/>
                  </a:lnTo>
                  <a:cubicBezTo>
                    <a:pt x="72863" y="25482"/>
                    <a:pt x="71420" y="27031"/>
                    <a:pt x="69559" y="27158"/>
                  </a:cubicBezTo>
                  <a:close/>
                  <a:moveTo>
                    <a:pt x="7082" y="20076"/>
                  </a:moveTo>
                  <a:lnTo>
                    <a:pt x="66018" y="20076"/>
                  </a:lnTo>
                  <a:lnTo>
                    <a:pt x="66018" y="9003"/>
                  </a:lnTo>
                  <a:cubicBezTo>
                    <a:pt x="66018" y="7875"/>
                    <a:pt x="65106" y="6962"/>
                    <a:pt x="63978" y="6962"/>
                  </a:cubicBezTo>
                  <a:lnTo>
                    <a:pt x="9123" y="6962"/>
                  </a:lnTo>
                  <a:cubicBezTo>
                    <a:pt x="8012" y="6945"/>
                    <a:pt x="7099" y="7832"/>
                    <a:pt x="7082" y="8942"/>
                  </a:cubicBezTo>
                  <a:cubicBezTo>
                    <a:pt x="7082" y="8962"/>
                    <a:pt x="7082" y="8982"/>
                    <a:pt x="7082" y="9003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10" name="Freeform 309">
              <a:extLst>
                <a:ext uri="{FF2B5EF4-FFF2-40B4-BE49-F238E27FC236}">
                  <a16:creationId xmlns:a16="http://schemas.microsoft.com/office/drawing/2014/main" id="{A9DA7BBE-937A-600B-2670-C2B92D151CBA}"/>
                </a:ext>
              </a:extLst>
            </p:cNvPr>
            <p:cNvSpPr/>
            <p:nvPr/>
          </p:nvSpPr>
          <p:spPr>
            <a:xfrm>
              <a:off x="9064307" y="2528217"/>
              <a:ext cx="51225" cy="36430"/>
            </a:xfrm>
            <a:custGeom>
              <a:avLst/>
              <a:gdLst>
                <a:gd name="connsiteX0" fmla="*/ 47690 w 51225"/>
                <a:gd name="connsiteY0" fmla="*/ 36430 h 36430"/>
                <a:gd name="connsiteX1" fmla="*/ 3578 w 51225"/>
                <a:gd name="connsiteY1" fmla="*/ 36430 h 36430"/>
                <a:gd name="connsiteX2" fmla="*/ 0 w 51225"/>
                <a:gd name="connsiteY2" fmla="*/ 32866 h 36430"/>
                <a:gd name="connsiteX3" fmla="*/ 187 w 51225"/>
                <a:gd name="connsiteY3" fmla="*/ 31719 h 36430"/>
                <a:gd name="connsiteX4" fmla="*/ 9520 w 51225"/>
                <a:gd name="connsiteY4" fmla="*/ 2461 h 36430"/>
                <a:gd name="connsiteX5" fmla="*/ 12910 w 51225"/>
                <a:gd name="connsiteY5" fmla="*/ 0 h 36430"/>
                <a:gd name="connsiteX6" fmla="*/ 37247 w 51225"/>
                <a:gd name="connsiteY6" fmla="*/ 0 h 36430"/>
                <a:gd name="connsiteX7" fmla="*/ 40578 w 51225"/>
                <a:gd name="connsiteY7" fmla="*/ 2341 h 36430"/>
                <a:gd name="connsiteX8" fmla="*/ 51021 w 51225"/>
                <a:gd name="connsiteY8" fmla="*/ 31599 h 36430"/>
                <a:gd name="connsiteX9" fmla="*/ 50571 w 51225"/>
                <a:gd name="connsiteY9" fmla="*/ 34840 h 36430"/>
                <a:gd name="connsiteX10" fmla="*/ 47690 w 51225"/>
                <a:gd name="connsiteY10" fmla="*/ 36430 h 36430"/>
                <a:gd name="connsiteX11" fmla="*/ 8409 w 51225"/>
                <a:gd name="connsiteY11" fmla="*/ 29348 h 36430"/>
                <a:gd name="connsiteX12" fmla="*/ 42649 w 51225"/>
                <a:gd name="connsiteY12" fmla="*/ 29348 h 36430"/>
                <a:gd name="connsiteX13" fmla="*/ 34757 w 51225"/>
                <a:gd name="connsiteY13" fmla="*/ 7172 h 36430"/>
                <a:gd name="connsiteX14" fmla="*/ 15491 w 51225"/>
                <a:gd name="connsiteY14" fmla="*/ 7172 h 3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1225" h="36430">
                  <a:moveTo>
                    <a:pt x="47690" y="36430"/>
                  </a:moveTo>
                  <a:lnTo>
                    <a:pt x="3578" y="36430"/>
                  </a:lnTo>
                  <a:cubicBezTo>
                    <a:pt x="1606" y="36434"/>
                    <a:pt x="4" y="34838"/>
                    <a:pt x="0" y="32866"/>
                  </a:cubicBezTo>
                  <a:cubicBezTo>
                    <a:pt x="-1" y="32476"/>
                    <a:pt x="62" y="32089"/>
                    <a:pt x="187" y="31719"/>
                  </a:cubicBezTo>
                  <a:lnTo>
                    <a:pt x="9520" y="2461"/>
                  </a:lnTo>
                  <a:cubicBezTo>
                    <a:pt x="10000" y="994"/>
                    <a:pt x="11368" y="1"/>
                    <a:pt x="12910" y="0"/>
                  </a:cubicBezTo>
                  <a:lnTo>
                    <a:pt x="37247" y="0"/>
                  </a:lnTo>
                  <a:cubicBezTo>
                    <a:pt x="38739" y="0"/>
                    <a:pt x="40071" y="936"/>
                    <a:pt x="40578" y="2341"/>
                  </a:cubicBezTo>
                  <a:lnTo>
                    <a:pt x="51021" y="31599"/>
                  </a:lnTo>
                  <a:cubicBezTo>
                    <a:pt x="51408" y="32688"/>
                    <a:pt x="51240" y="33898"/>
                    <a:pt x="50571" y="34840"/>
                  </a:cubicBezTo>
                  <a:cubicBezTo>
                    <a:pt x="49938" y="35819"/>
                    <a:pt x="48858" y="36416"/>
                    <a:pt x="47690" y="36430"/>
                  </a:cubicBezTo>
                  <a:close/>
                  <a:moveTo>
                    <a:pt x="8409" y="29348"/>
                  </a:moveTo>
                  <a:lnTo>
                    <a:pt x="42649" y="29348"/>
                  </a:lnTo>
                  <a:lnTo>
                    <a:pt x="34757" y="7172"/>
                  </a:lnTo>
                  <a:lnTo>
                    <a:pt x="15491" y="717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11" name="Freeform 310">
              <a:extLst>
                <a:ext uri="{FF2B5EF4-FFF2-40B4-BE49-F238E27FC236}">
                  <a16:creationId xmlns:a16="http://schemas.microsoft.com/office/drawing/2014/main" id="{6D05C7A4-9065-3410-9E6D-D23F78ED90BA}"/>
                </a:ext>
              </a:extLst>
            </p:cNvPr>
            <p:cNvSpPr/>
            <p:nvPr/>
          </p:nvSpPr>
          <p:spPr>
            <a:xfrm>
              <a:off x="9063924" y="2557565"/>
              <a:ext cx="52094" cy="52094"/>
            </a:xfrm>
            <a:custGeom>
              <a:avLst/>
              <a:gdLst>
                <a:gd name="connsiteX0" fmla="*/ 48554 w 52094"/>
                <a:gd name="connsiteY0" fmla="*/ 52095 h 52094"/>
                <a:gd name="connsiteX1" fmla="*/ 3541 w 52094"/>
                <a:gd name="connsiteY1" fmla="*/ 52095 h 52094"/>
                <a:gd name="connsiteX2" fmla="*/ 0 w 52094"/>
                <a:gd name="connsiteY2" fmla="*/ 48554 h 52094"/>
                <a:gd name="connsiteX3" fmla="*/ 0 w 52094"/>
                <a:gd name="connsiteY3" fmla="*/ 3541 h 52094"/>
                <a:gd name="connsiteX4" fmla="*/ 3541 w 52094"/>
                <a:gd name="connsiteY4" fmla="*/ 0 h 52094"/>
                <a:gd name="connsiteX5" fmla="*/ 48554 w 52094"/>
                <a:gd name="connsiteY5" fmla="*/ 0 h 52094"/>
                <a:gd name="connsiteX6" fmla="*/ 52095 w 52094"/>
                <a:gd name="connsiteY6" fmla="*/ 3541 h 52094"/>
                <a:gd name="connsiteX7" fmla="*/ 52095 w 52094"/>
                <a:gd name="connsiteY7" fmla="*/ 48554 h 52094"/>
                <a:gd name="connsiteX8" fmla="*/ 48554 w 52094"/>
                <a:gd name="connsiteY8" fmla="*/ 52095 h 52094"/>
                <a:gd name="connsiteX9" fmla="*/ 7082 w 52094"/>
                <a:gd name="connsiteY9" fmla="*/ 45013 h 52094"/>
                <a:gd name="connsiteX10" fmla="*/ 45013 w 52094"/>
                <a:gd name="connsiteY10" fmla="*/ 45013 h 52094"/>
                <a:gd name="connsiteX11" fmla="*/ 45013 w 52094"/>
                <a:gd name="connsiteY11" fmla="*/ 7082 h 52094"/>
                <a:gd name="connsiteX12" fmla="*/ 7082 w 52094"/>
                <a:gd name="connsiteY12" fmla="*/ 7082 h 52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094" h="52094">
                  <a:moveTo>
                    <a:pt x="48554" y="52095"/>
                  </a:moveTo>
                  <a:lnTo>
                    <a:pt x="3541" y="52095"/>
                  </a:lnTo>
                  <a:cubicBezTo>
                    <a:pt x="1585" y="52095"/>
                    <a:pt x="0" y="50509"/>
                    <a:pt x="0" y="48554"/>
                  </a:cubicBezTo>
                  <a:lnTo>
                    <a:pt x="0" y="3541"/>
                  </a:lnTo>
                  <a:cubicBezTo>
                    <a:pt x="0" y="1585"/>
                    <a:pt x="1585" y="0"/>
                    <a:pt x="3541" y="0"/>
                  </a:cubicBezTo>
                  <a:lnTo>
                    <a:pt x="48554" y="0"/>
                  </a:lnTo>
                  <a:cubicBezTo>
                    <a:pt x="50510" y="0"/>
                    <a:pt x="52095" y="1585"/>
                    <a:pt x="52095" y="3541"/>
                  </a:cubicBezTo>
                  <a:lnTo>
                    <a:pt x="52095" y="48554"/>
                  </a:lnTo>
                  <a:cubicBezTo>
                    <a:pt x="52095" y="50509"/>
                    <a:pt x="50510" y="52095"/>
                    <a:pt x="48554" y="52095"/>
                  </a:cubicBezTo>
                  <a:close/>
                  <a:moveTo>
                    <a:pt x="7082" y="45013"/>
                  </a:moveTo>
                  <a:lnTo>
                    <a:pt x="45013" y="45013"/>
                  </a:lnTo>
                  <a:lnTo>
                    <a:pt x="45013" y="7082"/>
                  </a:lnTo>
                  <a:lnTo>
                    <a:pt x="7082" y="708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12" name="Freeform 311">
              <a:extLst>
                <a:ext uri="{FF2B5EF4-FFF2-40B4-BE49-F238E27FC236}">
                  <a16:creationId xmlns:a16="http://schemas.microsoft.com/office/drawing/2014/main" id="{15BDA9F3-E0AA-715F-1CF5-64D1C6240F48}"/>
                </a:ext>
              </a:extLst>
            </p:cNvPr>
            <p:cNvSpPr/>
            <p:nvPr/>
          </p:nvSpPr>
          <p:spPr>
            <a:xfrm>
              <a:off x="9073107" y="2516873"/>
              <a:ext cx="32379" cy="18515"/>
            </a:xfrm>
            <a:custGeom>
              <a:avLst/>
              <a:gdLst>
                <a:gd name="connsiteX0" fmla="*/ 28838 w 32379"/>
                <a:gd name="connsiteY0" fmla="*/ 18515 h 18515"/>
                <a:gd name="connsiteX1" fmla="*/ 3571 w 32379"/>
                <a:gd name="connsiteY1" fmla="*/ 18515 h 18515"/>
                <a:gd name="connsiteX2" fmla="*/ 0 w 32379"/>
                <a:gd name="connsiteY2" fmla="*/ 15004 h 18515"/>
                <a:gd name="connsiteX3" fmla="*/ 0 w 32379"/>
                <a:gd name="connsiteY3" fmla="*/ 14974 h 18515"/>
                <a:gd name="connsiteX4" fmla="*/ 0 w 32379"/>
                <a:gd name="connsiteY4" fmla="*/ 3541 h 18515"/>
                <a:gd name="connsiteX5" fmla="*/ 3541 w 32379"/>
                <a:gd name="connsiteY5" fmla="*/ 0 h 18515"/>
                <a:gd name="connsiteX6" fmla="*/ 3571 w 32379"/>
                <a:gd name="connsiteY6" fmla="*/ 0 h 18515"/>
                <a:gd name="connsiteX7" fmla="*/ 28838 w 32379"/>
                <a:gd name="connsiteY7" fmla="*/ 0 h 18515"/>
                <a:gd name="connsiteX8" fmla="*/ 32379 w 32379"/>
                <a:gd name="connsiteY8" fmla="*/ 3541 h 18515"/>
                <a:gd name="connsiteX9" fmla="*/ 32379 w 32379"/>
                <a:gd name="connsiteY9" fmla="*/ 14974 h 18515"/>
                <a:gd name="connsiteX10" fmla="*/ 28838 w 32379"/>
                <a:gd name="connsiteY10" fmla="*/ 18515 h 18515"/>
                <a:gd name="connsiteX11" fmla="*/ 7112 w 32379"/>
                <a:gd name="connsiteY11" fmla="*/ 11433 h 18515"/>
                <a:gd name="connsiteX12" fmla="*/ 25297 w 32379"/>
                <a:gd name="connsiteY12" fmla="*/ 11433 h 18515"/>
                <a:gd name="connsiteX13" fmla="*/ 25297 w 32379"/>
                <a:gd name="connsiteY13" fmla="*/ 7052 h 18515"/>
                <a:gd name="connsiteX14" fmla="*/ 7112 w 32379"/>
                <a:gd name="connsiteY14" fmla="*/ 7052 h 18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379" h="18515">
                  <a:moveTo>
                    <a:pt x="28838" y="18515"/>
                  </a:moveTo>
                  <a:lnTo>
                    <a:pt x="3571" y="18515"/>
                  </a:lnTo>
                  <a:cubicBezTo>
                    <a:pt x="1614" y="18532"/>
                    <a:pt x="18" y="16960"/>
                    <a:pt x="0" y="15004"/>
                  </a:cubicBezTo>
                  <a:cubicBezTo>
                    <a:pt x="0" y="14994"/>
                    <a:pt x="0" y="14984"/>
                    <a:pt x="0" y="14974"/>
                  </a:cubicBezTo>
                  <a:lnTo>
                    <a:pt x="0" y="3541"/>
                  </a:lnTo>
                  <a:cubicBezTo>
                    <a:pt x="0" y="1585"/>
                    <a:pt x="1584" y="0"/>
                    <a:pt x="3541" y="0"/>
                  </a:cubicBezTo>
                  <a:cubicBezTo>
                    <a:pt x="3550" y="0"/>
                    <a:pt x="3562" y="0"/>
                    <a:pt x="3571" y="0"/>
                  </a:cubicBezTo>
                  <a:lnTo>
                    <a:pt x="28838" y="0"/>
                  </a:lnTo>
                  <a:cubicBezTo>
                    <a:pt x="30795" y="0"/>
                    <a:pt x="32379" y="1585"/>
                    <a:pt x="32379" y="3541"/>
                  </a:cubicBezTo>
                  <a:lnTo>
                    <a:pt x="32379" y="14974"/>
                  </a:lnTo>
                  <a:cubicBezTo>
                    <a:pt x="32379" y="16930"/>
                    <a:pt x="30795" y="18515"/>
                    <a:pt x="28838" y="18515"/>
                  </a:cubicBezTo>
                  <a:close/>
                  <a:moveTo>
                    <a:pt x="7112" y="11433"/>
                  </a:moveTo>
                  <a:lnTo>
                    <a:pt x="25297" y="11433"/>
                  </a:lnTo>
                  <a:lnTo>
                    <a:pt x="25297" y="7052"/>
                  </a:lnTo>
                  <a:lnTo>
                    <a:pt x="7112" y="705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13" name="Freeform 312">
              <a:extLst>
                <a:ext uri="{FF2B5EF4-FFF2-40B4-BE49-F238E27FC236}">
                  <a16:creationId xmlns:a16="http://schemas.microsoft.com/office/drawing/2014/main" id="{5E1BBD48-63F4-78A4-F888-6A4360F482B2}"/>
                </a:ext>
              </a:extLst>
            </p:cNvPr>
            <p:cNvSpPr/>
            <p:nvPr/>
          </p:nvSpPr>
          <p:spPr>
            <a:xfrm>
              <a:off x="9085360" y="2368718"/>
              <a:ext cx="159904" cy="171681"/>
            </a:xfrm>
            <a:custGeom>
              <a:avLst/>
              <a:gdLst>
                <a:gd name="connsiteX0" fmla="*/ 159845 w 159904"/>
                <a:gd name="connsiteY0" fmla="*/ 168921 h 171681"/>
                <a:gd name="connsiteX1" fmla="*/ 159275 w 159904"/>
                <a:gd name="connsiteY1" fmla="*/ 153917 h 171681"/>
                <a:gd name="connsiteX2" fmla="*/ 159275 w 159904"/>
                <a:gd name="connsiteY2" fmla="*/ 105243 h 171681"/>
                <a:gd name="connsiteX3" fmla="*/ 157564 w 159904"/>
                <a:gd name="connsiteY3" fmla="*/ 61911 h 171681"/>
                <a:gd name="connsiteX4" fmla="*/ 76983 w 159904"/>
                <a:gd name="connsiteY4" fmla="*/ 664 h 171681"/>
                <a:gd name="connsiteX5" fmla="*/ 47163 w 159904"/>
                <a:gd name="connsiteY5" fmla="*/ 11887 h 171681"/>
                <a:gd name="connsiteX6" fmla="*/ 43653 w 159904"/>
                <a:gd name="connsiteY6" fmla="*/ 13778 h 171681"/>
                <a:gd name="connsiteX7" fmla="*/ 320 w 159904"/>
                <a:gd name="connsiteY7" fmla="*/ 86488 h 171681"/>
                <a:gd name="connsiteX8" fmla="*/ 1491 w 159904"/>
                <a:gd name="connsiteY8" fmla="*/ 111695 h 171681"/>
                <a:gd name="connsiteX9" fmla="*/ 1161 w 159904"/>
                <a:gd name="connsiteY9" fmla="*/ 153197 h 171681"/>
                <a:gd name="connsiteX10" fmla="*/ 6082 w 159904"/>
                <a:gd name="connsiteY10" fmla="*/ 153467 h 171681"/>
                <a:gd name="connsiteX11" fmla="*/ 6082 w 159904"/>
                <a:gd name="connsiteY11" fmla="*/ 123608 h 171681"/>
                <a:gd name="connsiteX12" fmla="*/ 7372 w 159904"/>
                <a:gd name="connsiteY12" fmla="*/ 125199 h 171681"/>
                <a:gd name="connsiteX13" fmla="*/ 101986 w 159904"/>
                <a:gd name="connsiteY13" fmla="*/ 160917 h 171681"/>
                <a:gd name="connsiteX14" fmla="*/ 120474 w 159904"/>
                <a:gd name="connsiteY14" fmla="*/ 148815 h 171681"/>
                <a:gd name="connsiteX15" fmla="*/ 123475 w 159904"/>
                <a:gd name="connsiteY15" fmla="*/ 146655 h 171681"/>
                <a:gd name="connsiteX16" fmla="*/ 152253 w 159904"/>
                <a:gd name="connsiteY16" fmla="*/ 114846 h 171681"/>
                <a:gd name="connsiteX17" fmla="*/ 153903 w 159904"/>
                <a:gd name="connsiteY17" fmla="*/ 112385 h 171681"/>
                <a:gd name="connsiteX18" fmla="*/ 153903 w 159904"/>
                <a:gd name="connsiteY18" fmla="*/ 171682 h 171681"/>
                <a:gd name="connsiteX19" fmla="*/ 159905 w 159904"/>
                <a:gd name="connsiteY19" fmla="*/ 171682 h 171681"/>
                <a:gd name="connsiteX20" fmla="*/ 159845 w 159904"/>
                <a:gd name="connsiteY20" fmla="*/ 168921 h 171681"/>
                <a:gd name="connsiteX21" fmla="*/ 147391 w 159904"/>
                <a:gd name="connsiteY21" fmla="*/ 44926 h 171681"/>
                <a:gd name="connsiteX22" fmla="*/ 143220 w 159904"/>
                <a:gd name="connsiteY22" fmla="*/ 39465 h 171681"/>
                <a:gd name="connsiteX23" fmla="*/ 103129 w 159904"/>
                <a:gd name="connsiteY23" fmla="*/ 14828 h 171681"/>
                <a:gd name="connsiteX24" fmla="*/ 89205 w 159904"/>
                <a:gd name="connsiteY24" fmla="*/ 10447 h 171681"/>
                <a:gd name="connsiteX25" fmla="*/ 69040 w 159904"/>
                <a:gd name="connsiteY25" fmla="*/ 7596 h 171681"/>
                <a:gd name="connsiteX26" fmla="*/ 147391 w 159904"/>
                <a:gd name="connsiteY26" fmla="*/ 44926 h 171681"/>
                <a:gd name="connsiteX27" fmla="*/ 88395 w 159904"/>
                <a:gd name="connsiteY27" fmla="*/ 138072 h 171681"/>
                <a:gd name="connsiteX28" fmla="*/ 35970 w 159904"/>
                <a:gd name="connsiteY28" fmla="*/ 114456 h 171681"/>
                <a:gd name="connsiteX29" fmla="*/ 28588 w 159904"/>
                <a:gd name="connsiteY29" fmla="*/ 104433 h 171681"/>
                <a:gd name="connsiteX30" fmla="*/ 24057 w 159904"/>
                <a:gd name="connsiteY30" fmla="*/ 65692 h 171681"/>
                <a:gd name="connsiteX31" fmla="*/ 32819 w 159904"/>
                <a:gd name="connsiteY31" fmla="*/ 47267 h 171681"/>
                <a:gd name="connsiteX32" fmla="*/ 57696 w 159904"/>
                <a:gd name="connsiteY32" fmla="*/ 30853 h 171681"/>
                <a:gd name="connsiteX33" fmla="*/ 137159 w 159904"/>
                <a:gd name="connsiteY33" fmla="*/ 80606 h 171681"/>
                <a:gd name="connsiteX34" fmla="*/ 136648 w 159904"/>
                <a:gd name="connsiteY34" fmla="*/ 92430 h 171681"/>
                <a:gd name="connsiteX35" fmla="*/ 111561 w 159904"/>
                <a:gd name="connsiteY35" fmla="*/ 132401 h 171681"/>
                <a:gd name="connsiteX36" fmla="*/ 100698 w 159904"/>
                <a:gd name="connsiteY36" fmla="*/ 136392 h 171681"/>
                <a:gd name="connsiteX37" fmla="*/ 88395 w 159904"/>
                <a:gd name="connsiteY37" fmla="*/ 138072 h 171681"/>
                <a:gd name="connsiteX38" fmla="*/ 90105 w 159904"/>
                <a:gd name="connsiteY38" fmla="*/ 143204 h 171681"/>
                <a:gd name="connsiteX39" fmla="*/ 66789 w 159904"/>
                <a:gd name="connsiteY39" fmla="*/ 146025 h 171681"/>
                <a:gd name="connsiteX40" fmla="*/ 52415 w 159904"/>
                <a:gd name="connsiteY40" fmla="*/ 141133 h 171681"/>
                <a:gd name="connsiteX41" fmla="*/ 28018 w 159904"/>
                <a:gd name="connsiteY41" fmla="*/ 114126 h 171681"/>
                <a:gd name="connsiteX42" fmla="*/ 27148 w 159904"/>
                <a:gd name="connsiteY42" fmla="*/ 112295 h 171681"/>
                <a:gd name="connsiteX43" fmla="*/ 90226 w 159904"/>
                <a:gd name="connsiteY43" fmla="*/ 143204 h 171681"/>
                <a:gd name="connsiteX44" fmla="*/ 57576 w 159904"/>
                <a:gd name="connsiteY44" fmla="*/ 25511 h 171681"/>
                <a:gd name="connsiteX45" fmla="*/ 83474 w 159904"/>
                <a:gd name="connsiteY45" fmla="*/ 18429 h 171681"/>
                <a:gd name="connsiteX46" fmla="*/ 97007 w 159904"/>
                <a:gd name="connsiteY46" fmla="*/ 18879 h 171681"/>
                <a:gd name="connsiteX47" fmla="*/ 100578 w 159904"/>
                <a:gd name="connsiteY47" fmla="*/ 19869 h 171681"/>
                <a:gd name="connsiteX48" fmla="*/ 134668 w 159904"/>
                <a:gd name="connsiteY48" fmla="*/ 58610 h 171681"/>
                <a:gd name="connsiteX49" fmla="*/ 134668 w 159904"/>
                <a:gd name="connsiteY49" fmla="*/ 59781 h 171681"/>
                <a:gd name="connsiteX50" fmla="*/ 57576 w 159904"/>
                <a:gd name="connsiteY50" fmla="*/ 25511 h 171681"/>
                <a:gd name="connsiteX51" fmla="*/ 30299 w 159904"/>
                <a:gd name="connsiteY51" fmla="*/ 36344 h 171681"/>
                <a:gd name="connsiteX52" fmla="*/ 36601 w 159904"/>
                <a:gd name="connsiteY52" fmla="*/ 27792 h 171681"/>
                <a:gd name="connsiteX53" fmla="*/ 64388 w 159904"/>
                <a:gd name="connsiteY53" fmla="*/ 13568 h 171681"/>
                <a:gd name="connsiteX54" fmla="*/ 77832 w 159904"/>
                <a:gd name="connsiteY54" fmla="*/ 13568 h 171681"/>
                <a:gd name="connsiteX55" fmla="*/ 63668 w 159904"/>
                <a:gd name="connsiteY55" fmla="*/ 17499 h 171681"/>
                <a:gd name="connsiteX56" fmla="*/ 42452 w 159904"/>
                <a:gd name="connsiteY56" fmla="*/ 29502 h 171681"/>
                <a:gd name="connsiteX57" fmla="*/ 29429 w 159904"/>
                <a:gd name="connsiteY57" fmla="*/ 38325 h 171681"/>
                <a:gd name="connsiteX58" fmla="*/ 30299 w 159904"/>
                <a:gd name="connsiteY58" fmla="*/ 36344 h 171681"/>
                <a:gd name="connsiteX59" fmla="*/ 28108 w 159904"/>
                <a:gd name="connsiteY59" fmla="*/ 29172 h 171681"/>
                <a:gd name="connsiteX60" fmla="*/ 19106 w 159904"/>
                <a:gd name="connsiteY60" fmla="*/ 47957 h 171681"/>
                <a:gd name="connsiteX61" fmla="*/ 18836 w 159904"/>
                <a:gd name="connsiteY61" fmla="*/ 48407 h 171681"/>
                <a:gd name="connsiteX62" fmla="*/ 6142 w 159904"/>
                <a:gd name="connsiteY62" fmla="*/ 68543 h 171681"/>
                <a:gd name="connsiteX63" fmla="*/ 28108 w 159904"/>
                <a:gd name="connsiteY63" fmla="*/ 29172 h 171681"/>
                <a:gd name="connsiteX64" fmla="*/ 6502 w 159904"/>
                <a:gd name="connsiteY64" fmla="*/ 92790 h 171681"/>
                <a:gd name="connsiteX65" fmla="*/ 8063 w 159904"/>
                <a:gd name="connsiteY65" fmla="*/ 79916 h 171681"/>
                <a:gd name="connsiteX66" fmla="*/ 15595 w 159904"/>
                <a:gd name="connsiteY66" fmla="*/ 61911 h 171681"/>
                <a:gd name="connsiteX67" fmla="*/ 17395 w 159904"/>
                <a:gd name="connsiteY67" fmla="*/ 96871 h 171681"/>
                <a:gd name="connsiteX68" fmla="*/ 37771 w 159904"/>
                <a:gd name="connsiteY68" fmla="*/ 135882 h 171681"/>
                <a:gd name="connsiteX69" fmla="*/ 39001 w 159904"/>
                <a:gd name="connsiteY69" fmla="*/ 137172 h 171681"/>
                <a:gd name="connsiteX70" fmla="*/ 38761 w 159904"/>
                <a:gd name="connsiteY70" fmla="*/ 137502 h 171681"/>
                <a:gd name="connsiteX71" fmla="*/ 34560 w 159904"/>
                <a:gd name="connsiteY71" fmla="*/ 134922 h 171681"/>
                <a:gd name="connsiteX72" fmla="*/ 17305 w 159904"/>
                <a:gd name="connsiteY72" fmla="*/ 118507 h 171681"/>
                <a:gd name="connsiteX73" fmla="*/ 6502 w 159904"/>
                <a:gd name="connsiteY73" fmla="*/ 92850 h 171681"/>
                <a:gd name="connsiteX74" fmla="*/ 9293 w 159904"/>
                <a:gd name="connsiteY74" fmla="*/ 115266 h 171681"/>
                <a:gd name="connsiteX75" fmla="*/ 15115 w 159904"/>
                <a:gd name="connsiteY75" fmla="*/ 123518 h 171681"/>
                <a:gd name="connsiteX76" fmla="*/ 55866 w 159904"/>
                <a:gd name="connsiteY76" fmla="*/ 149446 h 171681"/>
                <a:gd name="connsiteX77" fmla="*/ 70030 w 159904"/>
                <a:gd name="connsiteY77" fmla="*/ 153947 h 171681"/>
                <a:gd name="connsiteX78" fmla="*/ 102649 w 159904"/>
                <a:gd name="connsiteY78" fmla="*/ 154667 h 171681"/>
                <a:gd name="connsiteX79" fmla="*/ 13725 w 159904"/>
                <a:gd name="connsiteY79" fmla="*/ 126216 h 171681"/>
                <a:gd name="connsiteX80" fmla="*/ 9293 w 159904"/>
                <a:gd name="connsiteY80" fmla="*/ 115326 h 171681"/>
                <a:gd name="connsiteX81" fmla="*/ 113662 w 159904"/>
                <a:gd name="connsiteY81" fmla="*/ 146205 h 171681"/>
                <a:gd name="connsiteX82" fmla="*/ 81913 w 159904"/>
                <a:gd name="connsiteY82" fmla="*/ 150856 h 171681"/>
                <a:gd name="connsiteX83" fmla="*/ 107090 w 159904"/>
                <a:gd name="connsiteY83" fmla="*/ 141854 h 171681"/>
                <a:gd name="connsiteX84" fmla="*/ 130527 w 159904"/>
                <a:gd name="connsiteY84" fmla="*/ 128740 h 171681"/>
                <a:gd name="connsiteX85" fmla="*/ 113662 w 159904"/>
                <a:gd name="connsiteY85" fmla="*/ 146205 h 171681"/>
                <a:gd name="connsiteX86" fmla="*/ 129416 w 159904"/>
                <a:gd name="connsiteY86" fmla="*/ 122198 h 171681"/>
                <a:gd name="connsiteX87" fmla="*/ 137969 w 159904"/>
                <a:gd name="connsiteY87" fmla="*/ 107194 h 171681"/>
                <a:gd name="connsiteX88" fmla="*/ 129416 w 159904"/>
                <a:gd name="connsiteY88" fmla="*/ 122198 h 171681"/>
                <a:gd name="connsiteX89" fmla="*/ 135598 w 159904"/>
                <a:gd name="connsiteY89" fmla="*/ 130900 h 171681"/>
                <a:gd name="connsiteX90" fmla="*/ 151803 w 159904"/>
                <a:gd name="connsiteY90" fmla="*/ 102032 h 171681"/>
                <a:gd name="connsiteX91" fmla="*/ 135598 w 159904"/>
                <a:gd name="connsiteY91" fmla="*/ 130810 h 171681"/>
                <a:gd name="connsiteX92" fmla="*/ 151413 w 159904"/>
                <a:gd name="connsiteY92" fmla="*/ 86788 h 171681"/>
                <a:gd name="connsiteX93" fmla="*/ 144331 w 159904"/>
                <a:gd name="connsiteY93" fmla="*/ 104643 h 171681"/>
                <a:gd name="connsiteX94" fmla="*/ 143070 w 159904"/>
                <a:gd name="connsiteY94" fmla="*/ 83277 h 171681"/>
                <a:gd name="connsiteX95" fmla="*/ 141480 w 159904"/>
                <a:gd name="connsiteY95" fmla="*/ 65032 h 171681"/>
                <a:gd name="connsiteX96" fmla="*/ 121734 w 159904"/>
                <a:gd name="connsiteY96" fmla="*/ 28632 h 171681"/>
                <a:gd name="connsiteX97" fmla="*/ 120504 w 159904"/>
                <a:gd name="connsiteY97" fmla="*/ 27072 h 171681"/>
                <a:gd name="connsiteX98" fmla="*/ 140159 w 159904"/>
                <a:gd name="connsiteY98" fmla="*/ 43726 h 171681"/>
                <a:gd name="connsiteX99" fmla="*/ 151773 w 159904"/>
                <a:gd name="connsiteY99" fmla="*/ 66322 h 171681"/>
                <a:gd name="connsiteX100" fmla="*/ 151413 w 159904"/>
                <a:gd name="connsiteY100" fmla="*/ 86788 h 17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159904" h="171681">
                  <a:moveTo>
                    <a:pt x="159845" y="168921"/>
                  </a:moveTo>
                  <a:cubicBezTo>
                    <a:pt x="159635" y="163910"/>
                    <a:pt x="159305" y="158898"/>
                    <a:pt x="159275" y="153917"/>
                  </a:cubicBezTo>
                  <a:cubicBezTo>
                    <a:pt x="159275" y="137682"/>
                    <a:pt x="159275" y="121448"/>
                    <a:pt x="159275" y="105243"/>
                  </a:cubicBezTo>
                  <a:cubicBezTo>
                    <a:pt x="159758" y="90777"/>
                    <a:pt x="159185" y="76295"/>
                    <a:pt x="157564" y="61911"/>
                  </a:cubicBezTo>
                  <a:cubicBezTo>
                    <a:pt x="152226" y="22746"/>
                    <a:pt x="116147" y="-4675"/>
                    <a:pt x="76983" y="664"/>
                  </a:cubicBezTo>
                  <a:cubicBezTo>
                    <a:pt x="66327" y="2117"/>
                    <a:pt x="56133" y="5953"/>
                    <a:pt x="47163" y="11887"/>
                  </a:cubicBezTo>
                  <a:cubicBezTo>
                    <a:pt x="46059" y="12634"/>
                    <a:pt x="44883" y="13267"/>
                    <a:pt x="43653" y="13778"/>
                  </a:cubicBezTo>
                  <a:cubicBezTo>
                    <a:pt x="14907" y="25984"/>
                    <a:pt x="-2620" y="55399"/>
                    <a:pt x="320" y="86488"/>
                  </a:cubicBezTo>
                  <a:cubicBezTo>
                    <a:pt x="1071" y="94860"/>
                    <a:pt x="1461" y="103293"/>
                    <a:pt x="1491" y="111695"/>
                  </a:cubicBezTo>
                  <a:cubicBezTo>
                    <a:pt x="1491" y="126939"/>
                    <a:pt x="1281" y="137952"/>
                    <a:pt x="1161" y="153197"/>
                  </a:cubicBezTo>
                  <a:cubicBezTo>
                    <a:pt x="2736" y="152424"/>
                    <a:pt x="4600" y="152526"/>
                    <a:pt x="6082" y="153467"/>
                  </a:cubicBezTo>
                  <a:lnTo>
                    <a:pt x="6082" y="123608"/>
                  </a:lnTo>
                  <a:cubicBezTo>
                    <a:pt x="6676" y="123980"/>
                    <a:pt x="7132" y="124540"/>
                    <a:pt x="7372" y="125199"/>
                  </a:cubicBezTo>
                  <a:cubicBezTo>
                    <a:pt x="23637" y="161189"/>
                    <a:pt x="65997" y="177180"/>
                    <a:pt x="101986" y="160917"/>
                  </a:cubicBezTo>
                  <a:cubicBezTo>
                    <a:pt x="108738" y="157865"/>
                    <a:pt x="114976" y="153783"/>
                    <a:pt x="120474" y="148815"/>
                  </a:cubicBezTo>
                  <a:cubicBezTo>
                    <a:pt x="121404" y="148003"/>
                    <a:pt x="122409" y="147280"/>
                    <a:pt x="123475" y="146655"/>
                  </a:cubicBezTo>
                  <a:cubicBezTo>
                    <a:pt x="136249" y="139436"/>
                    <a:pt x="146344" y="128277"/>
                    <a:pt x="152253" y="114846"/>
                  </a:cubicBezTo>
                  <a:cubicBezTo>
                    <a:pt x="152739" y="113985"/>
                    <a:pt x="153291" y="113163"/>
                    <a:pt x="153903" y="112385"/>
                  </a:cubicBezTo>
                  <a:lnTo>
                    <a:pt x="153903" y="171682"/>
                  </a:lnTo>
                  <a:lnTo>
                    <a:pt x="159905" y="171682"/>
                  </a:lnTo>
                  <a:cubicBezTo>
                    <a:pt x="159845" y="170662"/>
                    <a:pt x="159875" y="169791"/>
                    <a:pt x="159845" y="168921"/>
                  </a:cubicBezTo>
                  <a:close/>
                  <a:moveTo>
                    <a:pt x="147391" y="44926"/>
                  </a:moveTo>
                  <a:cubicBezTo>
                    <a:pt x="145771" y="42796"/>
                    <a:pt x="144541" y="41085"/>
                    <a:pt x="143220" y="39465"/>
                  </a:cubicBezTo>
                  <a:cubicBezTo>
                    <a:pt x="132993" y="26995"/>
                    <a:pt x="118874" y="18320"/>
                    <a:pt x="103129" y="14828"/>
                  </a:cubicBezTo>
                  <a:cubicBezTo>
                    <a:pt x="98418" y="13718"/>
                    <a:pt x="93947" y="11377"/>
                    <a:pt x="89205" y="10447"/>
                  </a:cubicBezTo>
                  <a:cubicBezTo>
                    <a:pt x="82213" y="9036"/>
                    <a:pt x="75071" y="8406"/>
                    <a:pt x="69040" y="7596"/>
                  </a:cubicBezTo>
                  <a:cubicBezTo>
                    <a:pt x="100842" y="-1600"/>
                    <a:pt x="134497" y="14436"/>
                    <a:pt x="147391" y="44926"/>
                  </a:cubicBezTo>
                  <a:close/>
                  <a:moveTo>
                    <a:pt x="88395" y="138072"/>
                  </a:moveTo>
                  <a:cubicBezTo>
                    <a:pt x="68265" y="138453"/>
                    <a:pt x="49024" y="129785"/>
                    <a:pt x="35970" y="114456"/>
                  </a:cubicBezTo>
                  <a:cubicBezTo>
                    <a:pt x="33195" y="111359"/>
                    <a:pt x="30722" y="108003"/>
                    <a:pt x="28588" y="104433"/>
                  </a:cubicBezTo>
                  <a:cubicBezTo>
                    <a:pt x="21047" y="92959"/>
                    <a:pt x="19367" y="78597"/>
                    <a:pt x="24057" y="65692"/>
                  </a:cubicBezTo>
                  <a:cubicBezTo>
                    <a:pt x="26545" y="59353"/>
                    <a:pt x="29471" y="53196"/>
                    <a:pt x="32819" y="47267"/>
                  </a:cubicBezTo>
                  <a:cubicBezTo>
                    <a:pt x="38176" y="38290"/>
                    <a:pt x="47335" y="32247"/>
                    <a:pt x="57696" y="30853"/>
                  </a:cubicBezTo>
                  <a:cubicBezTo>
                    <a:pt x="93355" y="22786"/>
                    <a:pt x="128840" y="45005"/>
                    <a:pt x="137159" y="80606"/>
                  </a:cubicBezTo>
                  <a:cubicBezTo>
                    <a:pt x="137753" y="84544"/>
                    <a:pt x="137579" y="88558"/>
                    <a:pt x="136648" y="92430"/>
                  </a:cubicBezTo>
                  <a:cubicBezTo>
                    <a:pt x="133810" y="108512"/>
                    <a:pt x="124810" y="122851"/>
                    <a:pt x="111561" y="132401"/>
                  </a:cubicBezTo>
                  <a:cubicBezTo>
                    <a:pt x="108240" y="134435"/>
                    <a:pt x="104549" y="135791"/>
                    <a:pt x="100698" y="136392"/>
                  </a:cubicBezTo>
                  <a:cubicBezTo>
                    <a:pt x="96629" y="137158"/>
                    <a:pt x="92521" y="137719"/>
                    <a:pt x="88395" y="138072"/>
                  </a:cubicBezTo>
                  <a:close/>
                  <a:moveTo>
                    <a:pt x="90105" y="143204"/>
                  </a:moveTo>
                  <a:cubicBezTo>
                    <a:pt x="82567" y="145546"/>
                    <a:pt x="74669" y="146502"/>
                    <a:pt x="66789" y="146025"/>
                  </a:cubicBezTo>
                  <a:cubicBezTo>
                    <a:pt x="61640" y="145751"/>
                    <a:pt x="56664" y="144058"/>
                    <a:pt x="52415" y="141133"/>
                  </a:cubicBezTo>
                  <a:cubicBezTo>
                    <a:pt x="41951" y="134550"/>
                    <a:pt x="33507" y="125204"/>
                    <a:pt x="28018" y="114126"/>
                  </a:cubicBezTo>
                  <a:lnTo>
                    <a:pt x="27148" y="112295"/>
                  </a:lnTo>
                  <a:cubicBezTo>
                    <a:pt x="41597" y="132600"/>
                    <a:pt x="65328" y="144228"/>
                    <a:pt x="90226" y="143204"/>
                  </a:cubicBezTo>
                  <a:close/>
                  <a:moveTo>
                    <a:pt x="57576" y="25511"/>
                  </a:moveTo>
                  <a:cubicBezTo>
                    <a:pt x="65595" y="21301"/>
                    <a:pt x="74429" y="18884"/>
                    <a:pt x="83474" y="18429"/>
                  </a:cubicBezTo>
                  <a:cubicBezTo>
                    <a:pt x="87975" y="18219"/>
                    <a:pt x="92476" y="18639"/>
                    <a:pt x="97007" y="18879"/>
                  </a:cubicBezTo>
                  <a:cubicBezTo>
                    <a:pt x="98250" y="18982"/>
                    <a:pt x="99462" y="19318"/>
                    <a:pt x="100578" y="19869"/>
                  </a:cubicBezTo>
                  <a:cubicBezTo>
                    <a:pt x="116726" y="27623"/>
                    <a:pt x="129032" y="41607"/>
                    <a:pt x="134668" y="58610"/>
                  </a:cubicBezTo>
                  <a:cubicBezTo>
                    <a:pt x="134692" y="59000"/>
                    <a:pt x="134692" y="59391"/>
                    <a:pt x="134668" y="59781"/>
                  </a:cubicBezTo>
                  <a:cubicBezTo>
                    <a:pt x="118850" y="33150"/>
                    <a:pt x="87942" y="19410"/>
                    <a:pt x="57576" y="25511"/>
                  </a:cubicBezTo>
                  <a:close/>
                  <a:moveTo>
                    <a:pt x="30299" y="36344"/>
                  </a:moveTo>
                  <a:cubicBezTo>
                    <a:pt x="32300" y="33463"/>
                    <a:pt x="34401" y="30612"/>
                    <a:pt x="36601" y="27792"/>
                  </a:cubicBezTo>
                  <a:cubicBezTo>
                    <a:pt x="43151" y="18992"/>
                    <a:pt x="53420" y="13736"/>
                    <a:pt x="64388" y="13568"/>
                  </a:cubicBezTo>
                  <a:cubicBezTo>
                    <a:pt x="68770" y="13298"/>
                    <a:pt x="73211" y="13568"/>
                    <a:pt x="77832" y="13568"/>
                  </a:cubicBezTo>
                  <a:cubicBezTo>
                    <a:pt x="73001" y="14888"/>
                    <a:pt x="68259" y="15968"/>
                    <a:pt x="63668" y="17499"/>
                  </a:cubicBezTo>
                  <a:cubicBezTo>
                    <a:pt x="55956" y="20247"/>
                    <a:pt x="48778" y="24308"/>
                    <a:pt x="42452" y="29502"/>
                  </a:cubicBezTo>
                  <a:cubicBezTo>
                    <a:pt x="38344" y="32774"/>
                    <a:pt x="33990" y="35723"/>
                    <a:pt x="29429" y="38325"/>
                  </a:cubicBezTo>
                  <a:cubicBezTo>
                    <a:pt x="29669" y="37644"/>
                    <a:pt x="29960" y="36982"/>
                    <a:pt x="30299" y="36344"/>
                  </a:cubicBezTo>
                  <a:close/>
                  <a:moveTo>
                    <a:pt x="28108" y="29172"/>
                  </a:moveTo>
                  <a:lnTo>
                    <a:pt x="19106" y="47957"/>
                  </a:lnTo>
                  <a:lnTo>
                    <a:pt x="18836" y="48407"/>
                  </a:lnTo>
                  <a:cubicBezTo>
                    <a:pt x="13650" y="54469"/>
                    <a:pt x="9374" y="61252"/>
                    <a:pt x="6142" y="68543"/>
                  </a:cubicBezTo>
                  <a:cubicBezTo>
                    <a:pt x="8534" y="53220"/>
                    <a:pt x="16327" y="39256"/>
                    <a:pt x="28108" y="29172"/>
                  </a:cubicBezTo>
                  <a:close/>
                  <a:moveTo>
                    <a:pt x="6502" y="92790"/>
                  </a:moveTo>
                  <a:cubicBezTo>
                    <a:pt x="6439" y="88448"/>
                    <a:pt x="6964" y="84117"/>
                    <a:pt x="8063" y="79916"/>
                  </a:cubicBezTo>
                  <a:cubicBezTo>
                    <a:pt x="9419" y="73495"/>
                    <a:pt x="11976" y="67387"/>
                    <a:pt x="15595" y="61911"/>
                  </a:cubicBezTo>
                  <a:cubicBezTo>
                    <a:pt x="14763" y="73594"/>
                    <a:pt x="15370" y="85335"/>
                    <a:pt x="17395" y="96871"/>
                  </a:cubicBezTo>
                  <a:cubicBezTo>
                    <a:pt x="19646" y="111783"/>
                    <a:pt x="26818" y="125515"/>
                    <a:pt x="37771" y="135882"/>
                  </a:cubicBezTo>
                  <a:lnTo>
                    <a:pt x="39001" y="137172"/>
                  </a:lnTo>
                  <a:lnTo>
                    <a:pt x="38761" y="137502"/>
                  </a:lnTo>
                  <a:cubicBezTo>
                    <a:pt x="37351" y="136632"/>
                    <a:pt x="35760" y="135852"/>
                    <a:pt x="34560" y="134922"/>
                  </a:cubicBezTo>
                  <a:cubicBezTo>
                    <a:pt x="27802" y="130615"/>
                    <a:pt x="21944" y="125041"/>
                    <a:pt x="17305" y="118507"/>
                  </a:cubicBezTo>
                  <a:cubicBezTo>
                    <a:pt x="11583" y="111012"/>
                    <a:pt x="7862" y="102182"/>
                    <a:pt x="6502" y="92850"/>
                  </a:cubicBezTo>
                  <a:close/>
                  <a:moveTo>
                    <a:pt x="9293" y="115266"/>
                  </a:moveTo>
                  <a:cubicBezTo>
                    <a:pt x="11243" y="118057"/>
                    <a:pt x="13044" y="120908"/>
                    <a:pt x="15115" y="123518"/>
                  </a:cubicBezTo>
                  <a:cubicBezTo>
                    <a:pt x="25293" y="136611"/>
                    <a:pt x="39694" y="145772"/>
                    <a:pt x="55866" y="149446"/>
                  </a:cubicBezTo>
                  <a:cubicBezTo>
                    <a:pt x="60667" y="150586"/>
                    <a:pt x="65259" y="152687"/>
                    <a:pt x="70030" y="153947"/>
                  </a:cubicBezTo>
                  <a:cubicBezTo>
                    <a:pt x="80698" y="156725"/>
                    <a:pt x="91867" y="156971"/>
                    <a:pt x="102649" y="154667"/>
                  </a:cubicBezTo>
                  <a:cubicBezTo>
                    <a:pt x="70237" y="171366"/>
                    <a:pt x="30425" y="158628"/>
                    <a:pt x="13725" y="126216"/>
                  </a:cubicBezTo>
                  <a:cubicBezTo>
                    <a:pt x="11928" y="122725"/>
                    <a:pt x="10442" y="119080"/>
                    <a:pt x="9293" y="115326"/>
                  </a:cubicBezTo>
                  <a:close/>
                  <a:moveTo>
                    <a:pt x="113662" y="146205"/>
                  </a:moveTo>
                  <a:cubicBezTo>
                    <a:pt x="103615" y="150311"/>
                    <a:pt x="92716" y="151907"/>
                    <a:pt x="81913" y="150856"/>
                  </a:cubicBezTo>
                  <a:cubicBezTo>
                    <a:pt x="90748" y="149281"/>
                    <a:pt x="99258" y="146238"/>
                    <a:pt x="107090" y="141854"/>
                  </a:cubicBezTo>
                  <a:cubicBezTo>
                    <a:pt x="114772" y="137502"/>
                    <a:pt x="122485" y="133241"/>
                    <a:pt x="130527" y="128740"/>
                  </a:cubicBezTo>
                  <a:cubicBezTo>
                    <a:pt x="125755" y="135522"/>
                    <a:pt x="121974" y="142784"/>
                    <a:pt x="113662" y="146205"/>
                  </a:cubicBezTo>
                  <a:close/>
                  <a:moveTo>
                    <a:pt x="129416" y="122198"/>
                  </a:moveTo>
                  <a:lnTo>
                    <a:pt x="137969" y="107194"/>
                  </a:lnTo>
                  <a:cubicBezTo>
                    <a:pt x="138071" y="113381"/>
                    <a:pt x="134791" y="119132"/>
                    <a:pt x="129416" y="122198"/>
                  </a:cubicBezTo>
                  <a:close/>
                  <a:moveTo>
                    <a:pt x="135598" y="130900"/>
                  </a:moveTo>
                  <a:cubicBezTo>
                    <a:pt x="139901" y="120701"/>
                    <a:pt x="145336" y="111018"/>
                    <a:pt x="151803" y="102032"/>
                  </a:cubicBezTo>
                  <a:cubicBezTo>
                    <a:pt x="149030" y="112885"/>
                    <a:pt x="143439" y="122812"/>
                    <a:pt x="135598" y="130810"/>
                  </a:cubicBezTo>
                  <a:close/>
                  <a:moveTo>
                    <a:pt x="151413" y="86788"/>
                  </a:moveTo>
                  <a:cubicBezTo>
                    <a:pt x="150026" y="93082"/>
                    <a:pt x="147635" y="99110"/>
                    <a:pt x="144331" y="104643"/>
                  </a:cubicBezTo>
                  <a:cubicBezTo>
                    <a:pt x="143941" y="97741"/>
                    <a:pt x="143550" y="90509"/>
                    <a:pt x="143070" y="83277"/>
                  </a:cubicBezTo>
                  <a:cubicBezTo>
                    <a:pt x="142902" y="77169"/>
                    <a:pt x="142371" y="71077"/>
                    <a:pt x="141480" y="65032"/>
                  </a:cubicBezTo>
                  <a:cubicBezTo>
                    <a:pt x="138794" y="51158"/>
                    <a:pt x="131898" y="38449"/>
                    <a:pt x="121734" y="28632"/>
                  </a:cubicBezTo>
                  <a:cubicBezTo>
                    <a:pt x="121245" y="28181"/>
                    <a:pt x="120828" y="27654"/>
                    <a:pt x="120504" y="27072"/>
                  </a:cubicBezTo>
                  <a:cubicBezTo>
                    <a:pt x="128141" y="31198"/>
                    <a:pt x="134836" y="36870"/>
                    <a:pt x="140159" y="43726"/>
                  </a:cubicBezTo>
                  <a:cubicBezTo>
                    <a:pt x="145360" y="50497"/>
                    <a:pt x="149294" y="58152"/>
                    <a:pt x="151773" y="66322"/>
                  </a:cubicBezTo>
                  <a:cubicBezTo>
                    <a:pt x="153531" y="73048"/>
                    <a:pt x="153408" y="80128"/>
                    <a:pt x="151413" y="86788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14" name="Graphic 13">
            <a:extLst>
              <a:ext uri="{FF2B5EF4-FFF2-40B4-BE49-F238E27FC236}">
                <a16:creationId xmlns:a16="http://schemas.microsoft.com/office/drawing/2014/main" id="{3BAD6205-9988-EC86-039F-F8C1E21F7A5F}"/>
              </a:ext>
            </a:extLst>
          </p:cNvPr>
          <p:cNvGrpSpPr/>
          <p:nvPr/>
        </p:nvGrpSpPr>
        <p:grpSpPr>
          <a:xfrm>
            <a:off x="6615312" y="1115083"/>
            <a:ext cx="283752" cy="297872"/>
            <a:chOff x="8821187" y="350103"/>
            <a:chExt cx="396147" cy="424925"/>
          </a:xfrm>
          <a:solidFill>
            <a:schemeClr val="bg1"/>
          </a:solidFill>
        </p:grpSpPr>
        <p:sp>
          <p:nvSpPr>
            <p:cNvPr id="315" name="Freeform 314">
              <a:extLst>
                <a:ext uri="{FF2B5EF4-FFF2-40B4-BE49-F238E27FC236}">
                  <a16:creationId xmlns:a16="http://schemas.microsoft.com/office/drawing/2014/main" id="{F9962F7A-B69A-996D-C9F7-A255BA99962C}"/>
                </a:ext>
              </a:extLst>
            </p:cNvPr>
            <p:cNvSpPr/>
            <p:nvPr/>
          </p:nvSpPr>
          <p:spPr>
            <a:xfrm>
              <a:off x="8836929" y="468028"/>
              <a:ext cx="348742" cy="307000"/>
            </a:xfrm>
            <a:custGeom>
              <a:avLst/>
              <a:gdLst>
                <a:gd name="connsiteX0" fmla="*/ 331651 w 348742"/>
                <a:gd name="connsiteY0" fmla="*/ 51756 h 307000"/>
                <a:gd name="connsiteX1" fmla="*/ 322986 w 348742"/>
                <a:gd name="connsiteY1" fmla="*/ 56009 h 307000"/>
                <a:gd name="connsiteX2" fmla="*/ 339030 w 348742"/>
                <a:gd name="connsiteY2" fmla="*/ 128673 h 307000"/>
                <a:gd name="connsiteX3" fmla="*/ 339030 w 348742"/>
                <a:gd name="connsiteY3" fmla="*/ 130345 h 307000"/>
                <a:gd name="connsiteX4" fmla="*/ 332024 w 348742"/>
                <a:gd name="connsiteY4" fmla="*/ 131086 h 307000"/>
                <a:gd name="connsiteX5" fmla="*/ 330997 w 348742"/>
                <a:gd name="connsiteY5" fmla="*/ 131086 h 307000"/>
                <a:gd name="connsiteX6" fmla="*/ 327750 w 348742"/>
                <a:gd name="connsiteY6" fmla="*/ 131230 h 307000"/>
                <a:gd name="connsiteX7" fmla="*/ 309791 w 348742"/>
                <a:gd name="connsiteY7" fmla="*/ 143846 h 307000"/>
                <a:gd name="connsiteX8" fmla="*/ 308974 w 348742"/>
                <a:gd name="connsiteY8" fmla="*/ 145757 h 307000"/>
                <a:gd name="connsiteX9" fmla="*/ 290921 w 348742"/>
                <a:gd name="connsiteY9" fmla="*/ 157705 h 307000"/>
                <a:gd name="connsiteX10" fmla="*/ 277119 w 348742"/>
                <a:gd name="connsiteY10" fmla="*/ 157705 h 307000"/>
                <a:gd name="connsiteX11" fmla="*/ 268781 w 348742"/>
                <a:gd name="connsiteY11" fmla="*/ 149987 h 307000"/>
                <a:gd name="connsiteX12" fmla="*/ 268221 w 348742"/>
                <a:gd name="connsiteY12" fmla="*/ 144348 h 307000"/>
                <a:gd name="connsiteX13" fmla="*/ 258879 w 348742"/>
                <a:gd name="connsiteY13" fmla="*/ 128792 h 307000"/>
                <a:gd name="connsiteX14" fmla="*/ 254372 w 348742"/>
                <a:gd name="connsiteY14" fmla="*/ 120286 h 307000"/>
                <a:gd name="connsiteX15" fmla="*/ 254372 w 348742"/>
                <a:gd name="connsiteY15" fmla="*/ 114647 h 307000"/>
                <a:gd name="connsiteX16" fmla="*/ 258693 w 348742"/>
                <a:gd name="connsiteY16" fmla="*/ 104826 h 307000"/>
                <a:gd name="connsiteX17" fmla="*/ 282257 w 348742"/>
                <a:gd name="connsiteY17" fmla="*/ 83536 h 307000"/>
                <a:gd name="connsiteX18" fmla="*/ 288492 w 348742"/>
                <a:gd name="connsiteY18" fmla="*/ 61003 h 307000"/>
                <a:gd name="connsiteX19" fmla="*/ 270416 w 348742"/>
                <a:gd name="connsiteY19" fmla="*/ 45424 h 307000"/>
                <a:gd name="connsiteX20" fmla="*/ 268081 w 348742"/>
                <a:gd name="connsiteY20" fmla="*/ 45137 h 307000"/>
                <a:gd name="connsiteX21" fmla="*/ 259487 w 348742"/>
                <a:gd name="connsiteY21" fmla="*/ 40358 h 307000"/>
                <a:gd name="connsiteX22" fmla="*/ 258482 w 348742"/>
                <a:gd name="connsiteY22" fmla="*/ 30275 h 307000"/>
                <a:gd name="connsiteX23" fmla="*/ 272938 w 348742"/>
                <a:gd name="connsiteY23" fmla="*/ 4970 h 307000"/>
                <a:gd name="connsiteX24" fmla="*/ 264648 w 348742"/>
                <a:gd name="connsiteY24" fmla="*/ 0 h 307000"/>
                <a:gd name="connsiteX25" fmla="*/ 250145 w 348742"/>
                <a:gd name="connsiteY25" fmla="*/ 25472 h 307000"/>
                <a:gd name="connsiteX26" fmla="*/ 252247 w 348742"/>
                <a:gd name="connsiteY26" fmla="*/ 46977 h 307000"/>
                <a:gd name="connsiteX27" fmla="*/ 266890 w 348742"/>
                <a:gd name="connsiteY27" fmla="*/ 54910 h 307000"/>
                <a:gd name="connsiteX28" fmla="*/ 269225 w 348742"/>
                <a:gd name="connsiteY28" fmla="*/ 55221 h 307000"/>
                <a:gd name="connsiteX29" fmla="*/ 279291 w 348742"/>
                <a:gd name="connsiteY29" fmla="*/ 63870 h 307000"/>
                <a:gd name="connsiteX30" fmla="*/ 275881 w 348742"/>
                <a:gd name="connsiteY30" fmla="*/ 76176 h 307000"/>
                <a:gd name="connsiteX31" fmla="*/ 252317 w 348742"/>
                <a:gd name="connsiteY31" fmla="*/ 97466 h 307000"/>
                <a:gd name="connsiteX32" fmla="*/ 244750 w 348742"/>
                <a:gd name="connsiteY32" fmla="*/ 114671 h 307000"/>
                <a:gd name="connsiteX33" fmla="*/ 244750 w 348742"/>
                <a:gd name="connsiteY33" fmla="*/ 120310 h 307000"/>
                <a:gd name="connsiteX34" fmla="*/ 253671 w 348742"/>
                <a:gd name="connsiteY34" fmla="*/ 137036 h 307000"/>
                <a:gd name="connsiteX35" fmla="*/ 258622 w 348742"/>
                <a:gd name="connsiteY35" fmla="*/ 145280 h 307000"/>
                <a:gd name="connsiteX36" fmla="*/ 259160 w 348742"/>
                <a:gd name="connsiteY36" fmla="*/ 150943 h 307000"/>
                <a:gd name="connsiteX37" fmla="*/ 277072 w 348742"/>
                <a:gd name="connsiteY37" fmla="*/ 167526 h 307000"/>
                <a:gd name="connsiteX38" fmla="*/ 290758 w 348742"/>
                <a:gd name="connsiteY38" fmla="*/ 167526 h 307000"/>
                <a:gd name="connsiteX39" fmla="*/ 317615 w 348742"/>
                <a:gd name="connsiteY39" fmla="*/ 149581 h 307000"/>
                <a:gd name="connsiteX40" fmla="*/ 318432 w 348742"/>
                <a:gd name="connsiteY40" fmla="*/ 147645 h 307000"/>
                <a:gd name="connsiteX41" fmla="*/ 328031 w 348742"/>
                <a:gd name="connsiteY41" fmla="*/ 140907 h 307000"/>
                <a:gd name="connsiteX42" fmla="*/ 331277 w 348742"/>
                <a:gd name="connsiteY42" fmla="*/ 140763 h 307000"/>
                <a:gd name="connsiteX43" fmla="*/ 332842 w 348742"/>
                <a:gd name="connsiteY43" fmla="*/ 140763 h 307000"/>
                <a:gd name="connsiteX44" fmla="*/ 338587 w 348742"/>
                <a:gd name="connsiteY44" fmla="*/ 140166 h 307000"/>
                <a:gd name="connsiteX45" fmla="*/ 162775 w 348742"/>
                <a:gd name="connsiteY45" fmla="*/ 296624 h 307000"/>
                <a:gd name="connsiteX46" fmla="*/ 9857 w 348742"/>
                <a:gd name="connsiteY46" fmla="*/ 116742 h 307000"/>
                <a:gd name="connsiteX47" fmla="*/ 13125 w 348742"/>
                <a:gd name="connsiteY47" fmla="*/ 93094 h 307000"/>
                <a:gd name="connsiteX48" fmla="*/ 22116 w 348742"/>
                <a:gd name="connsiteY48" fmla="*/ 91278 h 307000"/>
                <a:gd name="connsiteX49" fmla="*/ 42714 w 348742"/>
                <a:gd name="connsiteY49" fmla="*/ 100836 h 307000"/>
                <a:gd name="connsiteX50" fmla="*/ 49720 w 348742"/>
                <a:gd name="connsiteY50" fmla="*/ 109915 h 307000"/>
                <a:gd name="connsiteX51" fmla="*/ 62799 w 348742"/>
                <a:gd name="connsiteY51" fmla="*/ 122532 h 307000"/>
                <a:gd name="connsiteX52" fmla="*/ 75153 w 348742"/>
                <a:gd name="connsiteY52" fmla="*/ 129700 h 307000"/>
                <a:gd name="connsiteX53" fmla="*/ 76671 w 348742"/>
                <a:gd name="connsiteY53" fmla="*/ 130130 h 307000"/>
                <a:gd name="connsiteX54" fmla="*/ 88511 w 348742"/>
                <a:gd name="connsiteY54" fmla="*/ 142078 h 307000"/>
                <a:gd name="connsiteX55" fmla="*/ 95518 w 348742"/>
                <a:gd name="connsiteY55" fmla="*/ 167980 h 307000"/>
                <a:gd name="connsiteX56" fmla="*/ 101310 w 348742"/>
                <a:gd name="connsiteY56" fmla="*/ 179927 h 307000"/>
                <a:gd name="connsiteX57" fmla="*/ 122562 w 348742"/>
                <a:gd name="connsiteY57" fmla="*/ 208457 h 307000"/>
                <a:gd name="connsiteX58" fmla="*/ 125878 w 348742"/>
                <a:gd name="connsiteY58" fmla="*/ 216247 h 307000"/>
                <a:gd name="connsiteX59" fmla="*/ 131670 w 348742"/>
                <a:gd name="connsiteY59" fmla="*/ 251898 h 307000"/>
                <a:gd name="connsiteX60" fmla="*/ 148332 w 348742"/>
                <a:gd name="connsiteY60" fmla="*/ 264134 h 307000"/>
                <a:gd name="connsiteX61" fmla="*/ 148345 w 348742"/>
                <a:gd name="connsiteY61" fmla="*/ 264132 h 307000"/>
                <a:gd name="connsiteX62" fmla="*/ 151638 w 348742"/>
                <a:gd name="connsiteY62" fmla="*/ 263152 h 307000"/>
                <a:gd name="connsiteX63" fmla="*/ 163315 w 348742"/>
                <a:gd name="connsiteY63" fmla="*/ 246904 h 307000"/>
                <a:gd name="connsiteX64" fmla="*/ 169293 w 348742"/>
                <a:gd name="connsiteY64" fmla="*/ 232376 h 307000"/>
                <a:gd name="connsiteX65" fmla="*/ 175435 w 348742"/>
                <a:gd name="connsiteY65" fmla="*/ 224777 h 307000"/>
                <a:gd name="connsiteX66" fmla="*/ 179662 w 348742"/>
                <a:gd name="connsiteY66" fmla="*/ 216844 h 307000"/>
                <a:gd name="connsiteX67" fmla="*/ 185991 w 348742"/>
                <a:gd name="connsiteY67" fmla="*/ 195817 h 307000"/>
                <a:gd name="connsiteX68" fmla="*/ 193254 w 348742"/>
                <a:gd name="connsiteY68" fmla="*/ 185112 h 307000"/>
                <a:gd name="connsiteX69" fmla="*/ 212265 w 348742"/>
                <a:gd name="connsiteY69" fmla="*/ 170178 h 307000"/>
                <a:gd name="connsiteX70" fmla="*/ 215231 w 348742"/>
                <a:gd name="connsiteY70" fmla="*/ 147167 h 307000"/>
                <a:gd name="connsiteX71" fmla="*/ 214717 w 348742"/>
                <a:gd name="connsiteY71" fmla="*/ 146522 h 307000"/>
                <a:gd name="connsiteX72" fmla="*/ 207547 w 348742"/>
                <a:gd name="connsiteY72" fmla="*/ 138016 h 307000"/>
                <a:gd name="connsiteX73" fmla="*/ 205585 w 348742"/>
                <a:gd name="connsiteY73" fmla="*/ 150847 h 307000"/>
                <a:gd name="connsiteX74" fmla="*/ 207407 w 348742"/>
                <a:gd name="connsiteY74" fmla="*/ 153021 h 307000"/>
                <a:gd name="connsiteX75" fmla="*/ 208902 w 348742"/>
                <a:gd name="connsiteY75" fmla="*/ 157968 h 307000"/>
                <a:gd name="connsiteX76" fmla="*/ 206426 w 348742"/>
                <a:gd name="connsiteY76" fmla="*/ 162508 h 307000"/>
                <a:gd name="connsiteX77" fmla="*/ 187463 w 348742"/>
                <a:gd name="connsiteY77" fmla="*/ 177442 h 307000"/>
                <a:gd name="connsiteX78" fmla="*/ 176837 w 348742"/>
                <a:gd name="connsiteY78" fmla="*/ 193045 h 307000"/>
                <a:gd name="connsiteX79" fmla="*/ 170508 w 348742"/>
                <a:gd name="connsiteY79" fmla="*/ 214072 h 307000"/>
                <a:gd name="connsiteX80" fmla="*/ 168172 w 348742"/>
                <a:gd name="connsiteY80" fmla="*/ 218612 h 307000"/>
                <a:gd name="connsiteX81" fmla="*/ 162007 w 348742"/>
                <a:gd name="connsiteY81" fmla="*/ 226211 h 307000"/>
                <a:gd name="connsiteX82" fmla="*/ 153856 w 348742"/>
                <a:gd name="connsiteY82" fmla="*/ 245996 h 307000"/>
                <a:gd name="connsiteX83" fmla="*/ 147924 w 348742"/>
                <a:gd name="connsiteY83" fmla="*/ 254215 h 307000"/>
                <a:gd name="connsiteX84" fmla="*/ 141457 w 348742"/>
                <a:gd name="connsiteY84" fmla="*/ 251470 h 307000"/>
                <a:gd name="connsiteX85" fmla="*/ 141455 w 348742"/>
                <a:gd name="connsiteY85" fmla="*/ 251467 h 307000"/>
                <a:gd name="connsiteX86" fmla="*/ 141152 w 348742"/>
                <a:gd name="connsiteY86" fmla="*/ 250392 h 307000"/>
                <a:gd name="connsiteX87" fmla="*/ 135360 w 348742"/>
                <a:gd name="connsiteY87" fmla="*/ 214765 h 307000"/>
                <a:gd name="connsiteX88" fmla="*/ 130222 w 348742"/>
                <a:gd name="connsiteY88" fmla="*/ 202627 h 307000"/>
                <a:gd name="connsiteX89" fmla="*/ 109203 w 348742"/>
                <a:gd name="connsiteY89" fmla="*/ 173953 h 307000"/>
                <a:gd name="connsiteX90" fmla="*/ 105046 w 348742"/>
                <a:gd name="connsiteY90" fmla="*/ 165351 h 307000"/>
                <a:gd name="connsiteX91" fmla="*/ 98040 w 348742"/>
                <a:gd name="connsiteY91" fmla="*/ 139449 h 307000"/>
                <a:gd name="connsiteX92" fmla="*/ 79357 w 348742"/>
                <a:gd name="connsiteY92" fmla="*/ 120501 h 307000"/>
                <a:gd name="connsiteX93" fmla="*/ 77699 w 348742"/>
                <a:gd name="connsiteY93" fmla="*/ 120166 h 307000"/>
                <a:gd name="connsiteX94" fmla="*/ 69408 w 348742"/>
                <a:gd name="connsiteY94" fmla="*/ 115387 h 307000"/>
                <a:gd name="connsiteX95" fmla="*/ 56306 w 348742"/>
                <a:gd name="connsiteY95" fmla="*/ 102771 h 307000"/>
                <a:gd name="connsiteX96" fmla="*/ 50982 w 348742"/>
                <a:gd name="connsiteY96" fmla="*/ 95913 h 307000"/>
                <a:gd name="connsiteX97" fmla="*/ 20224 w 348742"/>
                <a:gd name="connsiteY97" fmla="*/ 81576 h 307000"/>
                <a:gd name="connsiteX98" fmla="*/ 15553 w 348742"/>
                <a:gd name="connsiteY98" fmla="*/ 82508 h 307000"/>
                <a:gd name="connsiteX99" fmla="*/ 35685 w 348742"/>
                <a:gd name="connsiteY99" fmla="*/ 37108 h 307000"/>
                <a:gd name="connsiteX100" fmla="*/ 29192 w 348742"/>
                <a:gd name="connsiteY100" fmla="*/ 29797 h 307000"/>
                <a:gd name="connsiteX101" fmla="*/ 77828 w 348742"/>
                <a:gd name="connsiteY101" fmla="*/ 277133 h 307000"/>
                <a:gd name="connsiteX102" fmla="*/ 319567 w 348742"/>
                <a:gd name="connsiteY102" fmla="*/ 227372 h 307000"/>
                <a:gd name="connsiteX103" fmla="*/ 331744 w 348742"/>
                <a:gd name="connsiteY103" fmla="*/ 51756 h 30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348742" h="307000">
                  <a:moveTo>
                    <a:pt x="331651" y="51756"/>
                  </a:moveTo>
                  <a:lnTo>
                    <a:pt x="322986" y="56009"/>
                  </a:lnTo>
                  <a:cubicBezTo>
                    <a:pt x="333612" y="78686"/>
                    <a:pt x="339098" y="103525"/>
                    <a:pt x="339030" y="128673"/>
                  </a:cubicBezTo>
                  <a:lnTo>
                    <a:pt x="339030" y="130345"/>
                  </a:lnTo>
                  <a:lnTo>
                    <a:pt x="332024" y="131086"/>
                  </a:lnTo>
                  <a:lnTo>
                    <a:pt x="330997" y="131086"/>
                  </a:lnTo>
                  <a:lnTo>
                    <a:pt x="327750" y="131230"/>
                  </a:lnTo>
                  <a:cubicBezTo>
                    <a:pt x="319894" y="131564"/>
                    <a:pt x="312918" y="136465"/>
                    <a:pt x="309791" y="143846"/>
                  </a:cubicBezTo>
                  <a:lnTo>
                    <a:pt x="308974" y="145757"/>
                  </a:lnTo>
                  <a:cubicBezTo>
                    <a:pt x="305800" y="153048"/>
                    <a:pt x="298721" y="157733"/>
                    <a:pt x="290921" y="157705"/>
                  </a:cubicBezTo>
                  <a:lnTo>
                    <a:pt x="277119" y="157705"/>
                  </a:lnTo>
                  <a:cubicBezTo>
                    <a:pt x="272808" y="157724"/>
                    <a:pt x="269193" y="154379"/>
                    <a:pt x="268781" y="149987"/>
                  </a:cubicBezTo>
                  <a:lnTo>
                    <a:pt x="268221" y="144348"/>
                  </a:lnTo>
                  <a:cubicBezTo>
                    <a:pt x="267607" y="137970"/>
                    <a:pt x="264164" y="132233"/>
                    <a:pt x="258879" y="128792"/>
                  </a:cubicBezTo>
                  <a:cubicBezTo>
                    <a:pt x="256051" y="126933"/>
                    <a:pt x="254351" y="123724"/>
                    <a:pt x="254372" y="120286"/>
                  </a:cubicBezTo>
                  <a:lnTo>
                    <a:pt x="254372" y="114647"/>
                  </a:lnTo>
                  <a:cubicBezTo>
                    <a:pt x="254370" y="110891"/>
                    <a:pt x="255941" y="107314"/>
                    <a:pt x="258693" y="104826"/>
                  </a:cubicBezTo>
                  <a:lnTo>
                    <a:pt x="282257" y="83536"/>
                  </a:lnTo>
                  <a:cubicBezTo>
                    <a:pt x="288469" y="77923"/>
                    <a:pt x="290907" y="69115"/>
                    <a:pt x="288492" y="61003"/>
                  </a:cubicBezTo>
                  <a:cubicBezTo>
                    <a:pt x="286007" y="52610"/>
                    <a:pt x="278922" y="46503"/>
                    <a:pt x="270416" y="45424"/>
                  </a:cubicBezTo>
                  <a:lnTo>
                    <a:pt x="268081" y="45137"/>
                  </a:lnTo>
                  <a:cubicBezTo>
                    <a:pt x="264739" y="44677"/>
                    <a:pt x="261682" y="42976"/>
                    <a:pt x="259487" y="40358"/>
                  </a:cubicBezTo>
                  <a:cubicBezTo>
                    <a:pt x="257095" y="37555"/>
                    <a:pt x="256693" y="33513"/>
                    <a:pt x="258482" y="30275"/>
                  </a:cubicBezTo>
                  <a:lnTo>
                    <a:pt x="272938" y="4970"/>
                  </a:lnTo>
                  <a:lnTo>
                    <a:pt x="264648" y="0"/>
                  </a:lnTo>
                  <a:lnTo>
                    <a:pt x="250145" y="25472"/>
                  </a:lnTo>
                  <a:cubicBezTo>
                    <a:pt x="246313" y="32370"/>
                    <a:pt x="247153" y="40992"/>
                    <a:pt x="252247" y="46977"/>
                  </a:cubicBezTo>
                  <a:cubicBezTo>
                    <a:pt x="256007" y="51374"/>
                    <a:pt x="261222" y="54199"/>
                    <a:pt x="266890" y="54910"/>
                  </a:cubicBezTo>
                  <a:lnTo>
                    <a:pt x="269225" y="55221"/>
                  </a:lnTo>
                  <a:cubicBezTo>
                    <a:pt x="273957" y="55813"/>
                    <a:pt x="277904" y="59204"/>
                    <a:pt x="279291" y="63870"/>
                  </a:cubicBezTo>
                  <a:cubicBezTo>
                    <a:pt x="280578" y="68302"/>
                    <a:pt x="279249" y="73095"/>
                    <a:pt x="275881" y="76176"/>
                  </a:cubicBezTo>
                  <a:lnTo>
                    <a:pt x="252317" y="97466"/>
                  </a:lnTo>
                  <a:cubicBezTo>
                    <a:pt x="247506" y="101829"/>
                    <a:pt x="244750" y="108092"/>
                    <a:pt x="244750" y="114671"/>
                  </a:cubicBezTo>
                  <a:lnTo>
                    <a:pt x="244750" y="120310"/>
                  </a:lnTo>
                  <a:cubicBezTo>
                    <a:pt x="244748" y="127074"/>
                    <a:pt x="248111" y="133378"/>
                    <a:pt x="253671" y="137036"/>
                  </a:cubicBezTo>
                  <a:cubicBezTo>
                    <a:pt x="256467" y="138866"/>
                    <a:pt x="258288" y="141903"/>
                    <a:pt x="258622" y="145280"/>
                  </a:cubicBezTo>
                  <a:lnTo>
                    <a:pt x="259160" y="150943"/>
                  </a:lnTo>
                  <a:cubicBezTo>
                    <a:pt x="260073" y="160362"/>
                    <a:pt x="267822" y="167535"/>
                    <a:pt x="277072" y="167526"/>
                  </a:cubicBezTo>
                  <a:lnTo>
                    <a:pt x="290758" y="167526"/>
                  </a:lnTo>
                  <a:cubicBezTo>
                    <a:pt x="302393" y="167506"/>
                    <a:pt x="312921" y="160472"/>
                    <a:pt x="317615" y="149581"/>
                  </a:cubicBezTo>
                  <a:lnTo>
                    <a:pt x="318432" y="147645"/>
                  </a:lnTo>
                  <a:cubicBezTo>
                    <a:pt x="320109" y="143705"/>
                    <a:pt x="323834" y="141088"/>
                    <a:pt x="328031" y="140907"/>
                  </a:cubicBezTo>
                  <a:lnTo>
                    <a:pt x="331277" y="140763"/>
                  </a:lnTo>
                  <a:lnTo>
                    <a:pt x="332842" y="140763"/>
                  </a:lnTo>
                  <a:lnTo>
                    <a:pt x="338587" y="140166"/>
                  </a:lnTo>
                  <a:cubicBezTo>
                    <a:pt x="332265" y="233045"/>
                    <a:pt x="253552" y="303092"/>
                    <a:pt x="162775" y="296624"/>
                  </a:cubicBezTo>
                  <a:cubicBezTo>
                    <a:pt x="71999" y="290155"/>
                    <a:pt x="3535" y="209621"/>
                    <a:pt x="9857" y="116742"/>
                  </a:cubicBezTo>
                  <a:cubicBezTo>
                    <a:pt x="10398" y="108790"/>
                    <a:pt x="11490" y="100888"/>
                    <a:pt x="13125" y="93094"/>
                  </a:cubicBezTo>
                  <a:lnTo>
                    <a:pt x="22116" y="91278"/>
                  </a:lnTo>
                  <a:cubicBezTo>
                    <a:pt x="30273" y="89633"/>
                    <a:pt x="38549" y="93474"/>
                    <a:pt x="42714" y="100836"/>
                  </a:cubicBezTo>
                  <a:cubicBezTo>
                    <a:pt x="44600" y="104198"/>
                    <a:pt x="46961" y="107258"/>
                    <a:pt x="49720" y="109915"/>
                  </a:cubicBezTo>
                  <a:lnTo>
                    <a:pt x="62799" y="122532"/>
                  </a:lnTo>
                  <a:cubicBezTo>
                    <a:pt x="66279" y="125923"/>
                    <a:pt x="70522" y="128386"/>
                    <a:pt x="75153" y="129700"/>
                  </a:cubicBezTo>
                  <a:lnTo>
                    <a:pt x="76671" y="130130"/>
                  </a:lnTo>
                  <a:cubicBezTo>
                    <a:pt x="82392" y="131715"/>
                    <a:pt x="86884" y="136247"/>
                    <a:pt x="88511" y="142078"/>
                  </a:cubicBezTo>
                  <a:lnTo>
                    <a:pt x="95518" y="167980"/>
                  </a:lnTo>
                  <a:cubicBezTo>
                    <a:pt x="96682" y="172304"/>
                    <a:pt x="98649" y="176362"/>
                    <a:pt x="101310" y="179927"/>
                  </a:cubicBezTo>
                  <a:lnTo>
                    <a:pt x="122562" y="208457"/>
                  </a:lnTo>
                  <a:cubicBezTo>
                    <a:pt x="124270" y="210739"/>
                    <a:pt x="125408" y="213413"/>
                    <a:pt x="125878" y="216247"/>
                  </a:cubicBezTo>
                  <a:lnTo>
                    <a:pt x="131670" y="251898"/>
                  </a:lnTo>
                  <a:cubicBezTo>
                    <a:pt x="132969" y="259984"/>
                    <a:pt x="140429" y="265463"/>
                    <a:pt x="148332" y="264134"/>
                  </a:cubicBezTo>
                  <a:cubicBezTo>
                    <a:pt x="148336" y="264134"/>
                    <a:pt x="148341" y="264132"/>
                    <a:pt x="148345" y="264132"/>
                  </a:cubicBezTo>
                  <a:cubicBezTo>
                    <a:pt x="149476" y="263936"/>
                    <a:pt x="150581" y="263608"/>
                    <a:pt x="151638" y="263152"/>
                  </a:cubicBezTo>
                  <a:cubicBezTo>
                    <a:pt x="158132" y="260316"/>
                    <a:pt x="162605" y="254091"/>
                    <a:pt x="163315" y="246904"/>
                  </a:cubicBezTo>
                  <a:cubicBezTo>
                    <a:pt x="163849" y="241561"/>
                    <a:pt x="165931" y="236502"/>
                    <a:pt x="169293" y="232376"/>
                  </a:cubicBezTo>
                  <a:lnTo>
                    <a:pt x="175435" y="224777"/>
                  </a:lnTo>
                  <a:cubicBezTo>
                    <a:pt x="177344" y="222445"/>
                    <a:pt x="178781" y="219750"/>
                    <a:pt x="179662" y="216844"/>
                  </a:cubicBezTo>
                  <a:lnTo>
                    <a:pt x="185991" y="195817"/>
                  </a:lnTo>
                  <a:cubicBezTo>
                    <a:pt x="187256" y="191559"/>
                    <a:pt x="189797" y="187814"/>
                    <a:pt x="193254" y="185112"/>
                  </a:cubicBezTo>
                  <a:lnTo>
                    <a:pt x="212265" y="170178"/>
                  </a:lnTo>
                  <a:cubicBezTo>
                    <a:pt x="219292" y="164661"/>
                    <a:pt x="220621" y="154360"/>
                    <a:pt x="215231" y="147167"/>
                  </a:cubicBezTo>
                  <a:lnTo>
                    <a:pt x="214717" y="146522"/>
                  </a:lnTo>
                  <a:lnTo>
                    <a:pt x="207547" y="138016"/>
                  </a:lnTo>
                  <a:cubicBezTo>
                    <a:pt x="208299" y="142398"/>
                    <a:pt x="207609" y="146909"/>
                    <a:pt x="205585" y="150847"/>
                  </a:cubicBezTo>
                  <a:lnTo>
                    <a:pt x="207407" y="153021"/>
                  </a:lnTo>
                  <a:cubicBezTo>
                    <a:pt x="208551" y="154388"/>
                    <a:pt x="209092" y="156178"/>
                    <a:pt x="208902" y="157968"/>
                  </a:cubicBezTo>
                  <a:cubicBezTo>
                    <a:pt x="208708" y="159760"/>
                    <a:pt x="207816" y="161397"/>
                    <a:pt x="206426" y="162508"/>
                  </a:cubicBezTo>
                  <a:lnTo>
                    <a:pt x="187463" y="177442"/>
                  </a:lnTo>
                  <a:cubicBezTo>
                    <a:pt x="182413" y="181377"/>
                    <a:pt x="178697" y="186835"/>
                    <a:pt x="176837" y="193045"/>
                  </a:cubicBezTo>
                  <a:lnTo>
                    <a:pt x="170508" y="214072"/>
                  </a:lnTo>
                  <a:cubicBezTo>
                    <a:pt x="170037" y="215733"/>
                    <a:pt x="169243" y="217277"/>
                    <a:pt x="168172" y="218612"/>
                  </a:cubicBezTo>
                  <a:lnTo>
                    <a:pt x="162007" y="226211"/>
                  </a:lnTo>
                  <a:cubicBezTo>
                    <a:pt x="157435" y="231836"/>
                    <a:pt x="154599" y="238720"/>
                    <a:pt x="153856" y="245996"/>
                  </a:cubicBezTo>
                  <a:cubicBezTo>
                    <a:pt x="153507" y="249644"/>
                    <a:pt x="151229" y="252801"/>
                    <a:pt x="147924" y="254215"/>
                  </a:cubicBezTo>
                  <a:cubicBezTo>
                    <a:pt x="145398" y="255286"/>
                    <a:pt x="142502" y="254055"/>
                    <a:pt x="141457" y="251470"/>
                  </a:cubicBezTo>
                  <a:cubicBezTo>
                    <a:pt x="141456" y="251470"/>
                    <a:pt x="141456" y="251467"/>
                    <a:pt x="141455" y="251467"/>
                  </a:cubicBezTo>
                  <a:cubicBezTo>
                    <a:pt x="141319" y="251121"/>
                    <a:pt x="141217" y="250760"/>
                    <a:pt x="141152" y="250392"/>
                  </a:cubicBezTo>
                  <a:lnTo>
                    <a:pt x="135360" y="214765"/>
                  </a:lnTo>
                  <a:cubicBezTo>
                    <a:pt x="134632" y="210354"/>
                    <a:pt x="132869" y="206189"/>
                    <a:pt x="130222" y="202627"/>
                  </a:cubicBezTo>
                  <a:lnTo>
                    <a:pt x="109203" y="173953"/>
                  </a:lnTo>
                  <a:cubicBezTo>
                    <a:pt x="107292" y="171384"/>
                    <a:pt x="105881" y="168465"/>
                    <a:pt x="105046" y="165351"/>
                  </a:cubicBezTo>
                  <a:lnTo>
                    <a:pt x="98040" y="139449"/>
                  </a:lnTo>
                  <a:cubicBezTo>
                    <a:pt x="95506" y="130209"/>
                    <a:pt x="88410" y="123012"/>
                    <a:pt x="79357" y="120501"/>
                  </a:cubicBezTo>
                  <a:lnTo>
                    <a:pt x="77699" y="120166"/>
                  </a:lnTo>
                  <a:cubicBezTo>
                    <a:pt x="74590" y="119302"/>
                    <a:pt x="71741" y="117660"/>
                    <a:pt x="69408" y="115387"/>
                  </a:cubicBezTo>
                  <a:lnTo>
                    <a:pt x="56306" y="102771"/>
                  </a:lnTo>
                  <a:cubicBezTo>
                    <a:pt x="54222" y="100755"/>
                    <a:pt x="52429" y="98447"/>
                    <a:pt x="50982" y="95913"/>
                  </a:cubicBezTo>
                  <a:cubicBezTo>
                    <a:pt x="44775" y="84902"/>
                    <a:pt x="32417" y="79142"/>
                    <a:pt x="20224" y="81576"/>
                  </a:cubicBezTo>
                  <a:lnTo>
                    <a:pt x="15553" y="82508"/>
                  </a:lnTo>
                  <a:cubicBezTo>
                    <a:pt x="20010" y="66431"/>
                    <a:pt x="26795" y="51128"/>
                    <a:pt x="35685" y="37108"/>
                  </a:cubicBezTo>
                  <a:cubicBezTo>
                    <a:pt x="33739" y="34477"/>
                    <a:pt x="31566" y="32030"/>
                    <a:pt x="29192" y="29797"/>
                  </a:cubicBezTo>
                  <a:cubicBezTo>
                    <a:pt x="-24132" y="111838"/>
                    <a:pt x="-2357" y="222574"/>
                    <a:pt x="77828" y="277133"/>
                  </a:cubicBezTo>
                  <a:cubicBezTo>
                    <a:pt x="158013" y="331691"/>
                    <a:pt x="266243" y="309412"/>
                    <a:pt x="319567" y="227372"/>
                  </a:cubicBezTo>
                  <a:cubicBezTo>
                    <a:pt x="353543" y="175103"/>
                    <a:pt x="358167" y="108409"/>
                    <a:pt x="331744" y="51756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16" name="Freeform 315">
              <a:extLst>
                <a:ext uri="{FF2B5EF4-FFF2-40B4-BE49-F238E27FC236}">
                  <a16:creationId xmlns:a16="http://schemas.microsoft.com/office/drawing/2014/main" id="{8B95CD38-0CA0-3203-9B27-CAA4B41E9E97}"/>
                </a:ext>
              </a:extLst>
            </p:cNvPr>
            <p:cNvSpPr/>
            <p:nvPr/>
          </p:nvSpPr>
          <p:spPr>
            <a:xfrm>
              <a:off x="8974040" y="563702"/>
              <a:ext cx="9038" cy="5495"/>
            </a:xfrm>
            <a:custGeom>
              <a:avLst/>
              <a:gdLst>
                <a:gd name="connsiteX0" fmla="*/ 9038 w 9038"/>
                <a:gd name="connsiteY0" fmla="*/ 5496 h 5495"/>
                <a:gd name="connsiteX1" fmla="*/ 7940 w 9038"/>
                <a:gd name="connsiteY1" fmla="*/ 3990 h 5495"/>
                <a:gd name="connsiteX2" fmla="*/ 0 w 9038"/>
                <a:gd name="connsiteY2" fmla="*/ 0 h 5495"/>
                <a:gd name="connsiteX3" fmla="*/ 1191 w 9038"/>
                <a:gd name="connsiteY3" fmla="*/ 669 h 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38" h="5495">
                  <a:moveTo>
                    <a:pt x="9038" y="5496"/>
                  </a:moveTo>
                  <a:cubicBezTo>
                    <a:pt x="8688" y="4994"/>
                    <a:pt x="8314" y="4468"/>
                    <a:pt x="7940" y="3990"/>
                  </a:cubicBezTo>
                  <a:cubicBezTo>
                    <a:pt x="5796" y="1800"/>
                    <a:pt x="3004" y="398"/>
                    <a:pt x="0" y="0"/>
                  </a:cubicBezTo>
                  <a:lnTo>
                    <a:pt x="1191" y="669"/>
                  </a:ln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17" name="Freeform 316">
              <a:extLst>
                <a:ext uri="{FF2B5EF4-FFF2-40B4-BE49-F238E27FC236}">
                  <a16:creationId xmlns:a16="http://schemas.microsoft.com/office/drawing/2014/main" id="{0124AFB5-7372-5C67-C38B-9B85B83A47EF}"/>
                </a:ext>
              </a:extLst>
            </p:cNvPr>
            <p:cNvSpPr/>
            <p:nvPr/>
          </p:nvSpPr>
          <p:spPr>
            <a:xfrm>
              <a:off x="8906023" y="418261"/>
              <a:ext cx="192214" cy="153684"/>
            </a:xfrm>
            <a:custGeom>
              <a:avLst/>
              <a:gdLst>
                <a:gd name="connsiteX0" fmla="*/ 13463 w 192214"/>
                <a:gd name="connsiteY0" fmla="*/ 144127 h 153684"/>
                <a:gd name="connsiteX1" fmla="*/ 28713 w 192214"/>
                <a:gd name="connsiteY1" fmla="*/ 153685 h 153684"/>
                <a:gd name="connsiteX2" fmla="*/ 26868 w 192214"/>
                <a:gd name="connsiteY2" fmla="*/ 148906 h 153684"/>
                <a:gd name="connsiteX3" fmla="*/ 29203 w 192214"/>
                <a:gd name="connsiteY3" fmla="*/ 143768 h 153684"/>
                <a:gd name="connsiteX4" fmla="*/ 21473 w 192214"/>
                <a:gd name="connsiteY4" fmla="*/ 138798 h 153684"/>
                <a:gd name="connsiteX5" fmla="*/ 11477 w 192214"/>
                <a:gd name="connsiteY5" fmla="*/ 122646 h 153684"/>
                <a:gd name="connsiteX6" fmla="*/ 11688 w 192214"/>
                <a:gd name="connsiteY6" fmla="*/ 109002 h 153684"/>
                <a:gd name="connsiteX7" fmla="*/ 26050 w 192214"/>
                <a:gd name="connsiteY7" fmla="*/ 102359 h 153684"/>
                <a:gd name="connsiteX8" fmla="*/ 41231 w 192214"/>
                <a:gd name="connsiteY8" fmla="*/ 104318 h 153684"/>
                <a:gd name="connsiteX9" fmla="*/ 64071 w 192214"/>
                <a:gd name="connsiteY9" fmla="*/ 92849 h 153684"/>
                <a:gd name="connsiteX10" fmla="*/ 78083 w 192214"/>
                <a:gd name="connsiteY10" fmla="*/ 85824 h 153684"/>
                <a:gd name="connsiteX11" fmla="*/ 84669 w 192214"/>
                <a:gd name="connsiteY11" fmla="*/ 86684 h 153684"/>
                <a:gd name="connsiteX12" fmla="*/ 105688 w 192214"/>
                <a:gd name="connsiteY12" fmla="*/ 77724 h 153684"/>
                <a:gd name="connsiteX13" fmla="*/ 111503 w 192214"/>
                <a:gd name="connsiteY13" fmla="*/ 70030 h 153684"/>
                <a:gd name="connsiteX14" fmla="*/ 112367 w 192214"/>
                <a:gd name="connsiteY14" fmla="*/ 34618 h 153684"/>
                <a:gd name="connsiteX15" fmla="*/ 95716 w 192214"/>
                <a:gd name="connsiteY15" fmla="*/ 10126 h 153684"/>
                <a:gd name="connsiteX16" fmla="*/ 105057 w 192214"/>
                <a:gd name="connsiteY16" fmla="*/ 9839 h 153684"/>
                <a:gd name="connsiteX17" fmla="*/ 187404 w 192214"/>
                <a:gd name="connsiteY17" fmla="*/ 32372 h 153684"/>
                <a:gd name="connsiteX18" fmla="*/ 192215 w 192214"/>
                <a:gd name="connsiteY18" fmla="*/ 23865 h 153684"/>
                <a:gd name="connsiteX19" fmla="*/ 39993 w 192214"/>
                <a:gd name="connsiteY19" fmla="*/ 12897 h 153684"/>
                <a:gd name="connsiteX20" fmla="*/ 36700 w 192214"/>
                <a:gd name="connsiteY20" fmla="*/ 24988 h 153684"/>
                <a:gd name="connsiteX21" fmla="*/ 84692 w 192214"/>
                <a:gd name="connsiteY21" fmla="*/ 11129 h 153684"/>
                <a:gd name="connsiteX22" fmla="*/ 104473 w 192214"/>
                <a:gd name="connsiteY22" fmla="*/ 40305 h 153684"/>
                <a:gd name="connsiteX23" fmla="*/ 103866 w 192214"/>
                <a:gd name="connsiteY23" fmla="*/ 64032 h 153684"/>
                <a:gd name="connsiteX24" fmla="*/ 98074 w 192214"/>
                <a:gd name="connsiteY24" fmla="*/ 71726 h 153684"/>
                <a:gd name="connsiteX25" fmla="*/ 85837 w 192214"/>
                <a:gd name="connsiteY25" fmla="*/ 76911 h 153684"/>
                <a:gd name="connsiteX26" fmla="*/ 79274 w 192214"/>
                <a:gd name="connsiteY26" fmla="*/ 76051 h 153684"/>
                <a:gd name="connsiteX27" fmla="*/ 55920 w 192214"/>
                <a:gd name="connsiteY27" fmla="*/ 87831 h 153684"/>
                <a:gd name="connsiteX28" fmla="*/ 42562 w 192214"/>
                <a:gd name="connsiteY28" fmla="*/ 94545 h 153684"/>
                <a:gd name="connsiteX29" fmla="*/ 27288 w 192214"/>
                <a:gd name="connsiteY29" fmla="*/ 92610 h 153684"/>
                <a:gd name="connsiteX30" fmla="*/ 3747 w 192214"/>
                <a:gd name="connsiteY30" fmla="*/ 103506 h 153684"/>
                <a:gd name="connsiteX31" fmla="*/ 3374 w 192214"/>
                <a:gd name="connsiteY31" fmla="*/ 127950 h 153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92214" h="153684">
                  <a:moveTo>
                    <a:pt x="13463" y="144127"/>
                  </a:moveTo>
                  <a:cubicBezTo>
                    <a:pt x="16826" y="149556"/>
                    <a:pt x="22457" y="153086"/>
                    <a:pt x="28713" y="153685"/>
                  </a:cubicBezTo>
                  <a:cubicBezTo>
                    <a:pt x="27542" y="152380"/>
                    <a:pt x="26884" y="150677"/>
                    <a:pt x="26868" y="148906"/>
                  </a:cubicBezTo>
                  <a:cubicBezTo>
                    <a:pt x="26801" y="146910"/>
                    <a:pt x="27669" y="145002"/>
                    <a:pt x="29203" y="143768"/>
                  </a:cubicBezTo>
                  <a:cubicBezTo>
                    <a:pt x="26030" y="143377"/>
                    <a:pt x="23195" y="141553"/>
                    <a:pt x="21473" y="138798"/>
                  </a:cubicBezTo>
                  <a:lnTo>
                    <a:pt x="11477" y="122646"/>
                  </a:lnTo>
                  <a:cubicBezTo>
                    <a:pt x="8876" y="118464"/>
                    <a:pt x="8958" y="113098"/>
                    <a:pt x="11688" y="109002"/>
                  </a:cubicBezTo>
                  <a:cubicBezTo>
                    <a:pt x="14852" y="104175"/>
                    <a:pt x="20418" y="101601"/>
                    <a:pt x="26050" y="102359"/>
                  </a:cubicBezTo>
                  <a:lnTo>
                    <a:pt x="41231" y="104318"/>
                  </a:lnTo>
                  <a:cubicBezTo>
                    <a:pt x="50400" y="105510"/>
                    <a:pt x="59383" y="101000"/>
                    <a:pt x="64071" y="92849"/>
                  </a:cubicBezTo>
                  <a:cubicBezTo>
                    <a:pt x="66917" y="87817"/>
                    <a:pt x="72452" y="85042"/>
                    <a:pt x="78083" y="85824"/>
                  </a:cubicBezTo>
                  <a:lnTo>
                    <a:pt x="84669" y="86684"/>
                  </a:lnTo>
                  <a:cubicBezTo>
                    <a:pt x="92730" y="87703"/>
                    <a:pt x="100719" y="84298"/>
                    <a:pt x="105688" y="77724"/>
                  </a:cubicBezTo>
                  <a:lnTo>
                    <a:pt x="111503" y="70030"/>
                  </a:lnTo>
                  <a:cubicBezTo>
                    <a:pt x="119347" y="59696"/>
                    <a:pt x="119697" y="45339"/>
                    <a:pt x="112367" y="34618"/>
                  </a:cubicBezTo>
                  <a:lnTo>
                    <a:pt x="95716" y="10126"/>
                  </a:lnTo>
                  <a:cubicBezTo>
                    <a:pt x="98798" y="9958"/>
                    <a:pt x="101928" y="9839"/>
                    <a:pt x="105057" y="9839"/>
                  </a:cubicBezTo>
                  <a:cubicBezTo>
                    <a:pt x="133962" y="9835"/>
                    <a:pt x="162359" y="17605"/>
                    <a:pt x="187404" y="32372"/>
                  </a:cubicBezTo>
                  <a:lnTo>
                    <a:pt x="192215" y="23865"/>
                  </a:lnTo>
                  <a:cubicBezTo>
                    <a:pt x="145813" y="-3517"/>
                    <a:pt x="89687" y="-7561"/>
                    <a:pt x="39993" y="12897"/>
                  </a:cubicBezTo>
                  <a:cubicBezTo>
                    <a:pt x="39339" y="16888"/>
                    <a:pt x="37657" y="21093"/>
                    <a:pt x="36700" y="24988"/>
                  </a:cubicBezTo>
                  <a:cubicBezTo>
                    <a:pt x="51941" y="17970"/>
                    <a:pt x="68114" y="13299"/>
                    <a:pt x="84692" y="11129"/>
                  </a:cubicBezTo>
                  <a:lnTo>
                    <a:pt x="104473" y="40305"/>
                  </a:lnTo>
                  <a:cubicBezTo>
                    <a:pt x="109360" y="47500"/>
                    <a:pt x="109114" y="57108"/>
                    <a:pt x="103866" y="64032"/>
                  </a:cubicBezTo>
                  <a:lnTo>
                    <a:pt x="98074" y="71726"/>
                  </a:lnTo>
                  <a:cubicBezTo>
                    <a:pt x="95185" y="75555"/>
                    <a:pt x="90527" y="77529"/>
                    <a:pt x="85837" y="76911"/>
                  </a:cubicBezTo>
                  <a:lnTo>
                    <a:pt x="79274" y="76051"/>
                  </a:lnTo>
                  <a:cubicBezTo>
                    <a:pt x="69897" y="74905"/>
                    <a:pt x="60742" y="79523"/>
                    <a:pt x="55920" y="87831"/>
                  </a:cubicBezTo>
                  <a:cubicBezTo>
                    <a:pt x="53185" y="92605"/>
                    <a:pt x="47927" y="95248"/>
                    <a:pt x="42562" y="94545"/>
                  </a:cubicBezTo>
                  <a:lnTo>
                    <a:pt x="27288" y="92610"/>
                  </a:lnTo>
                  <a:cubicBezTo>
                    <a:pt x="18057" y="91386"/>
                    <a:pt x="8943" y="95605"/>
                    <a:pt x="3747" y="103506"/>
                  </a:cubicBezTo>
                  <a:cubicBezTo>
                    <a:pt x="-1110" y="110855"/>
                    <a:pt x="-1257" y="120449"/>
                    <a:pt x="3374" y="127950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18" name="Freeform 317">
              <a:extLst>
                <a:ext uri="{FF2B5EF4-FFF2-40B4-BE49-F238E27FC236}">
                  <a16:creationId xmlns:a16="http://schemas.microsoft.com/office/drawing/2014/main" id="{5FE0110E-263E-B283-EC92-41A504B2945E}"/>
                </a:ext>
              </a:extLst>
            </p:cNvPr>
            <p:cNvSpPr/>
            <p:nvPr/>
          </p:nvSpPr>
          <p:spPr>
            <a:xfrm>
              <a:off x="9090133" y="371877"/>
              <a:ext cx="127201" cy="172381"/>
            </a:xfrm>
            <a:custGeom>
              <a:avLst/>
              <a:gdLst>
                <a:gd name="connsiteX0" fmla="*/ 107990 w 127201"/>
                <a:gd name="connsiteY0" fmla="*/ 18875 h 172381"/>
                <a:gd name="connsiteX1" fmla="*/ 19501 w 127201"/>
                <a:gd name="connsiteY1" fmla="*/ 18612 h 172381"/>
                <a:gd name="connsiteX2" fmla="*/ 19244 w 127201"/>
                <a:gd name="connsiteY2" fmla="*/ 18875 h 172381"/>
                <a:gd name="connsiteX3" fmla="*/ 13476 w 127201"/>
                <a:gd name="connsiteY3" fmla="*/ 107046 h 172381"/>
                <a:gd name="connsiteX4" fmla="*/ 59764 w 127201"/>
                <a:gd name="connsiteY4" fmla="*/ 170319 h 172381"/>
                <a:gd name="connsiteX5" fmla="*/ 66256 w 127201"/>
                <a:gd name="connsiteY5" fmla="*/ 171538 h 172381"/>
                <a:gd name="connsiteX6" fmla="*/ 67447 w 127201"/>
                <a:gd name="connsiteY6" fmla="*/ 170319 h 172381"/>
                <a:gd name="connsiteX7" fmla="*/ 113712 w 127201"/>
                <a:gd name="connsiteY7" fmla="*/ 107046 h 172381"/>
                <a:gd name="connsiteX8" fmla="*/ 127093 w 127201"/>
                <a:gd name="connsiteY8" fmla="*/ 62411 h 172381"/>
                <a:gd name="connsiteX9" fmla="*/ 107967 w 127201"/>
                <a:gd name="connsiteY9" fmla="*/ 18875 h 172381"/>
                <a:gd name="connsiteX10" fmla="*/ 106051 w 127201"/>
                <a:gd name="connsiteY10" fmla="*/ 101144 h 172381"/>
                <a:gd name="connsiteX11" fmla="*/ 63617 w 127201"/>
                <a:gd name="connsiteY11" fmla="*/ 159161 h 172381"/>
                <a:gd name="connsiteX12" fmla="*/ 21206 w 127201"/>
                <a:gd name="connsiteY12" fmla="*/ 101168 h 172381"/>
                <a:gd name="connsiteX13" fmla="*/ 26064 w 127201"/>
                <a:gd name="connsiteY13" fmla="*/ 25781 h 172381"/>
                <a:gd name="connsiteX14" fmla="*/ 100960 w 127201"/>
                <a:gd name="connsiteY14" fmla="*/ 25589 h 172381"/>
                <a:gd name="connsiteX15" fmla="*/ 101147 w 127201"/>
                <a:gd name="connsiteY15" fmla="*/ 25781 h 172381"/>
                <a:gd name="connsiteX16" fmla="*/ 117495 w 127201"/>
                <a:gd name="connsiteY16" fmla="*/ 63032 h 172381"/>
                <a:gd name="connsiteX17" fmla="*/ 106028 w 127201"/>
                <a:gd name="connsiteY17" fmla="*/ 101120 h 172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201" h="172381">
                  <a:moveTo>
                    <a:pt x="107990" y="18875"/>
                  </a:moveTo>
                  <a:cubicBezTo>
                    <a:pt x="83622" y="-6189"/>
                    <a:pt x="44011" y="-6306"/>
                    <a:pt x="19501" y="18612"/>
                  </a:cubicBezTo>
                  <a:lnTo>
                    <a:pt x="19244" y="18875"/>
                  </a:lnTo>
                  <a:cubicBezTo>
                    <a:pt x="-4023" y="42624"/>
                    <a:pt x="-6492" y="80337"/>
                    <a:pt x="13476" y="107046"/>
                  </a:cubicBezTo>
                  <a:lnTo>
                    <a:pt x="59764" y="170319"/>
                  </a:lnTo>
                  <a:cubicBezTo>
                    <a:pt x="61228" y="172489"/>
                    <a:pt x="64133" y="173034"/>
                    <a:pt x="66256" y="171538"/>
                  </a:cubicBezTo>
                  <a:cubicBezTo>
                    <a:pt x="66721" y="171207"/>
                    <a:pt x="67123" y="170794"/>
                    <a:pt x="67447" y="170319"/>
                  </a:cubicBezTo>
                  <a:lnTo>
                    <a:pt x="113712" y="107046"/>
                  </a:lnTo>
                  <a:cubicBezTo>
                    <a:pt x="123247" y="94285"/>
                    <a:pt x="127995" y="78448"/>
                    <a:pt x="127093" y="62411"/>
                  </a:cubicBezTo>
                  <a:cubicBezTo>
                    <a:pt x="126066" y="46012"/>
                    <a:pt x="119272" y="30547"/>
                    <a:pt x="107967" y="18875"/>
                  </a:cubicBezTo>
                  <a:close/>
                  <a:moveTo>
                    <a:pt x="106051" y="101144"/>
                  </a:moveTo>
                  <a:lnTo>
                    <a:pt x="63617" y="159161"/>
                  </a:lnTo>
                  <a:lnTo>
                    <a:pt x="21206" y="101168"/>
                  </a:lnTo>
                  <a:cubicBezTo>
                    <a:pt x="4132" y="78344"/>
                    <a:pt x="6208" y="46113"/>
                    <a:pt x="26064" y="25781"/>
                  </a:cubicBezTo>
                  <a:cubicBezTo>
                    <a:pt x="46695" y="4571"/>
                    <a:pt x="80224" y="4485"/>
                    <a:pt x="100960" y="25589"/>
                  </a:cubicBezTo>
                  <a:lnTo>
                    <a:pt x="101147" y="25781"/>
                  </a:lnTo>
                  <a:cubicBezTo>
                    <a:pt x="110818" y="35768"/>
                    <a:pt x="116626" y="49002"/>
                    <a:pt x="117495" y="63032"/>
                  </a:cubicBezTo>
                  <a:cubicBezTo>
                    <a:pt x="118247" y="76723"/>
                    <a:pt x="114179" y="90235"/>
                    <a:pt x="106028" y="101120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19" name="Freeform 318">
              <a:extLst>
                <a:ext uri="{FF2B5EF4-FFF2-40B4-BE49-F238E27FC236}">
                  <a16:creationId xmlns:a16="http://schemas.microsoft.com/office/drawing/2014/main" id="{5BFCF4DF-B710-4459-0E6F-27E0C9283585}"/>
                </a:ext>
              </a:extLst>
            </p:cNvPr>
            <p:cNvSpPr/>
            <p:nvPr/>
          </p:nvSpPr>
          <p:spPr>
            <a:xfrm>
              <a:off x="9123623" y="408124"/>
              <a:ext cx="58805" cy="60166"/>
            </a:xfrm>
            <a:custGeom>
              <a:avLst/>
              <a:gdLst>
                <a:gd name="connsiteX0" fmla="*/ 29403 w 58805"/>
                <a:gd name="connsiteY0" fmla="*/ 0 h 60166"/>
                <a:gd name="connsiteX1" fmla="*/ 0 w 58805"/>
                <a:gd name="connsiteY1" fmla="*/ 30083 h 60166"/>
                <a:gd name="connsiteX2" fmla="*/ 29403 w 58805"/>
                <a:gd name="connsiteY2" fmla="*/ 60167 h 60166"/>
                <a:gd name="connsiteX3" fmla="*/ 58806 w 58805"/>
                <a:gd name="connsiteY3" fmla="*/ 30107 h 60166"/>
                <a:gd name="connsiteX4" fmla="*/ 29426 w 58805"/>
                <a:gd name="connsiteY4" fmla="*/ 0 h 60166"/>
                <a:gd name="connsiteX5" fmla="*/ 29403 w 58805"/>
                <a:gd name="connsiteY5" fmla="*/ 0 h 60166"/>
                <a:gd name="connsiteX6" fmla="*/ 43415 w 58805"/>
                <a:gd name="connsiteY6" fmla="*/ 44420 h 60166"/>
                <a:gd name="connsiteX7" fmla="*/ 15442 w 58805"/>
                <a:gd name="connsiteY7" fmla="*/ 44233 h 60166"/>
                <a:gd name="connsiteX8" fmla="*/ 15624 w 58805"/>
                <a:gd name="connsiteY8" fmla="*/ 15612 h 60166"/>
                <a:gd name="connsiteX9" fmla="*/ 43597 w 58805"/>
                <a:gd name="connsiteY9" fmla="*/ 15799 h 60166"/>
                <a:gd name="connsiteX10" fmla="*/ 49300 w 58805"/>
                <a:gd name="connsiteY10" fmla="*/ 30083 h 60166"/>
                <a:gd name="connsiteX11" fmla="*/ 43415 w 58805"/>
                <a:gd name="connsiteY11" fmla="*/ 44420 h 6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805" h="60166">
                  <a:moveTo>
                    <a:pt x="29403" y="0"/>
                  </a:moveTo>
                  <a:cubicBezTo>
                    <a:pt x="13165" y="0"/>
                    <a:pt x="0" y="13469"/>
                    <a:pt x="0" y="30083"/>
                  </a:cubicBezTo>
                  <a:cubicBezTo>
                    <a:pt x="0" y="46698"/>
                    <a:pt x="13165" y="60167"/>
                    <a:pt x="29403" y="60167"/>
                  </a:cubicBezTo>
                  <a:cubicBezTo>
                    <a:pt x="45631" y="60167"/>
                    <a:pt x="58792" y="46713"/>
                    <a:pt x="58806" y="30107"/>
                  </a:cubicBezTo>
                  <a:cubicBezTo>
                    <a:pt x="58820" y="13493"/>
                    <a:pt x="45664" y="13"/>
                    <a:pt x="29426" y="0"/>
                  </a:cubicBezTo>
                  <a:cubicBezTo>
                    <a:pt x="29419" y="0"/>
                    <a:pt x="29410" y="0"/>
                    <a:pt x="29403" y="0"/>
                  </a:cubicBezTo>
                  <a:close/>
                  <a:moveTo>
                    <a:pt x="43415" y="44420"/>
                  </a:moveTo>
                  <a:cubicBezTo>
                    <a:pt x="35641" y="52272"/>
                    <a:pt x="23116" y="52188"/>
                    <a:pt x="15442" y="44233"/>
                  </a:cubicBezTo>
                  <a:cubicBezTo>
                    <a:pt x="7768" y="36278"/>
                    <a:pt x="7849" y="23464"/>
                    <a:pt x="15624" y="15612"/>
                  </a:cubicBezTo>
                  <a:cubicBezTo>
                    <a:pt x="23398" y="7760"/>
                    <a:pt x="35923" y="7844"/>
                    <a:pt x="43597" y="15799"/>
                  </a:cubicBezTo>
                  <a:cubicBezTo>
                    <a:pt x="47269" y="19603"/>
                    <a:pt x="49317" y="24738"/>
                    <a:pt x="49300" y="30083"/>
                  </a:cubicBezTo>
                  <a:cubicBezTo>
                    <a:pt x="49282" y="35474"/>
                    <a:pt x="47164" y="40634"/>
                    <a:pt x="43415" y="44420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20" name="Freeform 319">
              <a:extLst>
                <a:ext uri="{FF2B5EF4-FFF2-40B4-BE49-F238E27FC236}">
                  <a16:creationId xmlns:a16="http://schemas.microsoft.com/office/drawing/2014/main" id="{E039C382-2E75-C918-F8B7-F7D5703EC924}"/>
                </a:ext>
              </a:extLst>
            </p:cNvPr>
            <p:cNvSpPr/>
            <p:nvPr/>
          </p:nvSpPr>
          <p:spPr>
            <a:xfrm>
              <a:off x="8821187" y="350103"/>
              <a:ext cx="127248" cy="172302"/>
            </a:xfrm>
            <a:custGeom>
              <a:avLst/>
              <a:gdLst>
                <a:gd name="connsiteX0" fmla="*/ 107990 w 127248"/>
                <a:gd name="connsiteY0" fmla="*/ 18905 h 172302"/>
                <a:gd name="connsiteX1" fmla="*/ 19576 w 127248"/>
                <a:gd name="connsiteY1" fmla="*/ 18566 h 172302"/>
                <a:gd name="connsiteX2" fmla="*/ 19571 w 127248"/>
                <a:gd name="connsiteY2" fmla="*/ 18570 h 172302"/>
                <a:gd name="connsiteX3" fmla="*/ 19244 w 127248"/>
                <a:gd name="connsiteY3" fmla="*/ 18905 h 172302"/>
                <a:gd name="connsiteX4" fmla="*/ 13476 w 127248"/>
                <a:gd name="connsiteY4" fmla="*/ 107076 h 172302"/>
                <a:gd name="connsiteX5" fmla="*/ 59787 w 127248"/>
                <a:gd name="connsiteY5" fmla="*/ 170325 h 172302"/>
                <a:gd name="connsiteX6" fmla="*/ 66513 w 127248"/>
                <a:gd name="connsiteY6" fmla="*/ 171329 h 172302"/>
                <a:gd name="connsiteX7" fmla="*/ 67494 w 127248"/>
                <a:gd name="connsiteY7" fmla="*/ 170325 h 172302"/>
                <a:gd name="connsiteX8" fmla="*/ 113758 w 127248"/>
                <a:gd name="connsiteY8" fmla="*/ 107076 h 172302"/>
                <a:gd name="connsiteX9" fmla="*/ 127140 w 127248"/>
                <a:gd name="connsiteY9" fmla="*/ 62441 h 172302"/>
                <a:gd name="connsiteX10" fmla="*/ 107990 w 127248"/>
                <a:gd name="connsiteY10" fmla="*/ 18905 h 172302"/>
                <a:gd name="connsiteX11" fmla="*/ 106075 w 127248"/>
                <a:gd name="connsiteY11" fmla="*/ 101174 h 172302"/>
                <a:gd name="connsiteX12" fmla="*/ 63617 w 127248"/>
                <a:gd name="connsiteY12" fmla="*/ 159214 h 172302"/>
                <a:gd name="connsiteX13" fmla="*/ 21253 w 127248"/>
                <a:gd name="connsiteY13" fmla="*/ 101222 h 172302"/>
                <a:gd name="connsiteX14" fmla="*/ 26111 w 127248"/>
                <a:gd name="connsiteY14" fmla="*/ 25834 h 172302"/>
                <a:gd name="connsiteX15" fmla="*/ 100984 w 127248"/>
                <a:gd name="connsiteY15" fmla="*/ 25643 h 172302"/>
                <a:gd name="connsiteX16" fmla="*/ 101171 w 127248"/>
                <a:gd name="connsiteY16" fmla="*/ 25834 h 172302"/>
                <a:gd name="connsiteX17" fmla="*/ 117518 w 127248"/>
                <a:gd name="connsiteY17" fmla="*/ 63086 h 172302"/>
                <a:gd name="connsiteX18" fmla="*/ 106052 w 127248"/>
                <a:gd name="connsiteY18" fmla="*/ 101174 h 17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7248" h="172302">
                  <a:moveTo>
                    <a:pt x="107990" y="18905"/>
                  </a:moveTo>
                  <a:cubicBezTo>
                    <a:pt x="83666" y="-6169"/>
                    <a:pt x="44082" y="-6320"/>
                    <a:pt x="19576" y="18566"/>
                  </a:cubicBezTo>
                  <a:cubicBezTo>
                    <a:pt x="19574" y="18568"/>
                    <a:pt x="19573" y="18569"/>
                    <a:pt x="19571" y="18570"/>
                  </a:cubicBezTo>
                  <a:lnTo>
                    <a:pt x="19244" y="18905"/>
                  </a:lnTo>
                  <a:cubicBezTo>
                    <a:pt x="-4024" y="42654"/>
                    <a:pt x="-6491" y="80367"/>
                    <a:pt x="13476" y="107076"/>
                  </a:cubicBezTo>
                  <a:lnTo>
                    <a:pt x="59787" y="170325"/>
                  </a:lnTo>
                  <a:cubicBezTo>
                    <a:pt x="61375" y="172500"/>
                    <a:pt x="64384" y="172950"/>
                    <a:pt x="66513" y="171329"/>
                  </a:cubicBezTo>
                  <a:cubicBezTo>
                    <a:pt x="66885" y="171044"/>
                    <a:pt x="67215" y="170706"/>
                    <a:pt x="67494" y="170325"/>
                  </a:cubicBezTo>
                  <a:lnTo>
                    <a:pt x="113758" y="107076"/>
                  </a:lnTo>
                  <a:cubicBezTo>
                    <a:pt x="123294" y="94315"/>
                    <a:pt x="128042" y="78478"/>
                    <a:pt x="127140" y="62441"/>
                  </a:cubicBezTo>
                  <a:cubicBezTo>
                    <a:pt x="126119" y="46035"/>
                    <a:pt x="119315" y="30566"/>
                    <a:pt x="107990" y="18905"/>
                  </a:cubicBezTo>
                  <a:close/>
                  <a:moveTo>
                    <a:pt x="106075" y="101174"/>
                  </a:moveTo>
                  <a:lnTo>
                    <a:pt x="63617" y="159214"/>
                  </a:lnTo>
                  <a:lnTo>
                    <a:pt x="21253" y="101222"/>
                  </a:lnTo>
                  <a:cubicBezTo>
                    <a:pt x="4084" y="78427"/>
                    <a:pt x="6165" y="46125"/>
                    <a:pt x="26111" y="25834"/>
                  </a:cubicBezTo>
                  <a:cubicBezTo>
                    <a:pt x="46735" y="4627"/>
                    <a:pt x="80256" y="4542"/>
                    <a:pt x="100984" y="25643"/>
                  </a:cubicBezTo>
                  <a:lnTo>
                    <a:pt x="101171" y="25834"/>
                  </a:lnTo>
                  <a:cubicBezTo>
                    <a:pt x="110841" y="35822"/>
                    <a:pt x="116649" y="49055"/>
                    <a:pt x="117518" y="63086"/>
                  </a:cubicBezTo>
                  <a:cubicBezTo>
                    <a:pt x="118269" y="76777"/>
                    <a:pt x="114201" y="90289"/>
                    <a:pt x="106052" y="101174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21" name="Freeform 320">
              <a:extLst>
                <a:ext uri="{FF2B5EF4-FFF2-40B4-BE49-F238E27FC236}">
                  <a16:creationId xmlns:a16="http://schemas.microsoft.com/office/drawing/2014/main" id="{EF26C69D-4686-7A44-30FA-60BAF297A7D1}"/>
                </a:ext>
              </a:extLst>
            </p:cNvPr>
            <p:cNvSpPr/>
            <p:nvPr/>
          </p:nvSpPr>
          <p:spPr>
            <a:xfrm>
              <a:off x="8854701" y="386427"/>
              <a:ext cx="58805" cy="60166"/>
            </a:xfrm>
            <a:custGeom>
              <a:avLst/>
              <a:gdLst>
                <a:gd name="connsiteX0" fmla="*/ 29403 w 58805"/>
                <a:gd name="connsiteY0" fmla="*/ 0 h 60166"/>
                <a:gd name="connsiteX1" fmla="*/ 0 w 58805"/>
                <a:gd name="connsiteY1" fmla="*/ 30083 h 60166"/>
                <a:gd name="connsiteX2" fmla="*/ 29403 w 58805"/>
                <a:gd name="connsiteY2" fmla="*/ 60167 h 60166"/>
                <a:gd name="connsiteX3" fmla="*/ 58806 w 58805"/>
                <a:gd name="connsiteY3" fmla="*/ 30083 h 60166"/>
                <a:gd name="connsiteX4" fmla="*/ 29403 w 58805"/>
                <a:gd name="connsiteY4" fmla="*/ 0 h 60166"/>
                <a:gd name="connsiteX5" fmla="*/ 43415 w 58805"/>
                <a:gd name="connsiteY5" fmla="*/ 44420 h 60166"/>
                <a:gd name="connsiteX6" fmla="*/ 15441 w 58805"/>
                <a:gd name="connsiteY6" fmla="*/ 44281 h 60166"/>
                <a:gd name="connsiteX7" fmla="*/ 15577 w 58805"/>
                <a:gd name="connsiteY7" fmla="*/ 15659 h 60166"/>
                <a:gd name="connsiteX8" fmla="*/ 43551 w 58805"/>
                <a:gd name="connsiteY8" fmla="*/ 15799 h 60166"/>
                <a:gd name="connsiteX9" fmla="*/ 49277 w 58805"/>
                <a:gd name="connsiteY9" fmla="*/ 30083 h 60166"/>
                <a:gd name="connsiteX10" fmla="*/ 43415 w 58805"/>
                <a:gd name="connsiteY10" fmla="*/ 44420 h 6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805" h="60166">
                  <a:moveTo>
                    <a:pt x="29403" y="0"/>
                  </a:moveTo>
                  <a:cubicBezTo>
                    <a:pt x="13164" y="0"/>
                    <a:pt x="0" y="13469"/>
                    <a:pt x="0" y="30083"/>
                  </a:cubicBezTo>
                  <a:cubicBezTo>
                    <a:pt x="0" y="46698"/>
                    <a:pt x="13164" y="60167"/>
                    <a:pt x="29403" y="60167"/>
                  </a:cubicBezTo>
                  <a:cubicBezTo>
                    <a:pt x="45642" y="60167"/>
                    <a:pt x="58806" y="46698"/>
                    <a:pt x="58806" y="30083"/>
                  </a:cubicBezTo>
                  <a:cubicBezTo>
                    <a:pt x="58806" y="13469"/>
                    <a:pt x="45642" y="0"/>
                    <a:pt x="29403" y="0"/>
                  </a:cubicBezTo>
                  <a:close/>
                  <a:moveTo>
                    <a:pt x="43415" y="44420"/>
                  </a:moveTo>
                  <a:cubicBezTo>
                    <a:pt x="35653" y="52285"/>
                    <a:pt x="23128" y="52223"/>
                    <a:pt x="15441" y="44281"/>
                  </a:cubicBezTo>
                  <a:cubicBezTo>
                    <a:pt x="7754" y="36339"/>
                    <a:pt x="7815" y="23525"/>
                    <a:pt x="15577" y="15659"/>
                  </a:cubicBezTo>
                  <a:cubicBezTo>
                    <a:pt x="23340" y="7794"/>
                    <a:pt x="35864" y="7857"/>
                    <a:pt x="43551" y="15799"/>
                  </a:cubicBezTo>
                  <a:cubicBezTo>
                    <a:pt x="47230" y="19599"/>
                    <a:pt x="49288" y="24735"/>
                    <a:pt x="49277" y="30083"/>
                  </a:cubicBezTo>
                  <a:cubicBezTo>
                    <a:pt x="49263" y="35469"/>
                    <a:pt x="47154" y="40628"/>
                    <a:pt x="43415" y="44420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22" name="Freeform 321">
              <a:extLst>
                <a:ext uri="{FF2B5EF4-FFF2-40B4-BE49-F238E27FC236}">
                  <a16:creationId xmlns:a16="http://schemas.microsoft.com/office/drawing/2014/main" id="{5A62C67E-B963-3A71-0938-316518986360}"/>
                </a:ext>
              </a:extLst>
            </p:cNvPr>
            <p:cNvSpPr/>
            <p:nvPr/>
          </p:nvSpPr>
          <p:spPr>
            <a:xfrm>
              <a:off x="8924833" y="522079"/>
              <a:ext cx="127318" cy="172367"/>
            </a:xfrm>
            <a:custGeom>
              <a:avLst/>
              <a:gdLst>
                <a:gd name="connsiteX0" fmla="*/ 107990 w 127318"/>
                <a:gd name="connsiteY0" fmla="*/ 18875 h 172367"/>
                <a:gd name="connsiteX1" fmla="*/ 19478 w 127318"/>
                <a:gd name="connsiteY1" fmla="*/ 18636 h 172367"/>
                <a:gd name="connsiteX2" fmla="*/ 19244 w 127318"/>
                <a:gd name="connsiteY2" fmla="*/ 18875 h 172367"/>
                <a:gd name="connsiteX3" fmla="*/ 13476 w 127318"/>
                <a:gd name="connsiteY3" fmla="*/ 107046 h 172367"/>
                <a:gd name="connsiteX4" fmla="*/ 59857 w 127318"/>
                <a:gd name="connsiteY4" fmla="*/ 170391 h 172367"/>
                <a:gd name="connsiteX5" fmla="*/ 66583 w 127318"/>
                <a:gd name="connsiteY5" fmla="*/ 171395 h 172367"/>
                <a:gd name="connsiteX6" fmla="*/ 67564 w 127318"/>
                <a:gd name="connsiteY6" fmla="*/ 170391 h 172367"/>
                <a:gd name="connsiteX7" fmla="*/ 113828 w 127318"/>
                <a:gd name="connsiteY7" fmla="*/ 107118 h 172367"/>
                <a:gd name="connsiteX8" fmla="*/ 127210 w 127318"/>
                <a:gd name="connsiteY8" fmla="*/ 62483 h 172367"/>
                <a:gd name="connsiteX9" fmla="*/ 108060 w 127318"/>
                <a:gd name="connsiteY9" fmla="*/ 18923 h 172367"/>
                <a:gd name="connsiteX10" fmla="*/ 106075 w 127318"/>
                <a:gd name="connsiteY10" fmla="*/ 101096 h 172367"/>
                <a:gd name="connsiteX11" fmla="*/ 63641 w 127318"/>
                <a:gd name="connsiteY11" fmla="*/ 159113 h 172367"/>
                <a:gd name="connsiteX12" fmla="*/ 21253 w 127318"/>
                <a:gd name="connsiteY12" fmla="*/ 101216 h 172367"/>
                <a:gd name="connsiteX13" fmla="*/ 26111 w 127318"/>
                <a:gd name="connsiteY13" fmla="*/ 25828 h 172367"/>
                <a:gd name="connsiteX14" fmla="*/ 100984 w 127318"/>
                <a:gd name="connsiteY14" fmla="*/ 25637 h 172367"/>
                <a:gd name="connsiteX15" fmla="*/ 101171 w 127318"/>
                <a:gd name="connsiteY15" fmla="*/ 25828 h 172367"/>
                <a:gd name="connsiteX16" fmla="*/ 117518 w 127318"/>
                <a:gd name="connsiteY16" fmla="*/ 63080 h 172367"/>
                <a:gd name="connsiteX17" fmla="*/ 106052 w 127318"/>
                <a:gd name="connsiteY17" fmla="*/ 101168 h 172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318" h="172367">
                  <a:moveTo>
                    <a:pt x="107990" y="18875"/>
                  </a:moveTo>
                  <a:cubicBezTo>
                    <a:pt x="83612" y="-6198"/>
                    <a:pt x="43985" y="-6305"/>
                    <a:pt x="19478" y="18636"/>
                  </a:cubicBezTo>
                  <a:lnTo>
                    <a:pt x="19244" y="18875"/>
                  </a:lnTo>
                  <a:cubicBezTo>
                    <a:pt x="-4024" y="42624"/>
                    <a:pt x="-6491" y="80337"/>
                    <a:pt x="13476" y="107046"/>
                  </a:cubicBezTo>
                  <a:lnTo>
                    <a:pt x="59857" y="170391"/>
                  </a:lnTo>
                  <a:cubicBezTo>
                    <a:pt x="61445" y="172565"/>
                    <a:pt x="64454" y="173015"/>
                    <a:pt x="66583" y="171395"/>
                  </a:cubicBezTo>
                  <a:cubicBezTo>
                    <a:pt x="66955" y="171110"/>
                    <a:pt x="67285" y="170771"/>
                    <a:pt x="67564" y="170391"/>
                  </a:cubicBezTo>
                  <a:lnTo>
                    <a:pt x="113828" y="107118"/>
                  </a:lnTo>
                  <a:cubicBezTo>
                    <a:pt x="123364" y="94356"/>
                    <a:pt x="128112" y="78521"/>
                    <a:pt x="127210" y="62483"/>
                  </a:cubicBezTo>
                  <a:cubicBezTo>
                    <a:pt x="126185" y="46071"/>
                    <a:pt x="119381" y="30596"/>
                    <a:pt x="108060" y="18923"/>
                  </a:cubicBezTo>
                  <a:close/>
                  <a:moveTo>
                    <a:pt x="106075" y="101096"/>
                  </a:moveTo>
                  <a:lnTo>
                    <a:pt x="63641" y="159113"/>
                  </a:lnTo>
                  <a:lnTo>
                    <a:pt x="21253" y="101216"/>
                  </a:lnTo>
                  <a:cubicBezTo>
                    <a:pt x="4084" y="78420"/>
                    <a:pt x="6165" y="46119"/>
                    <a:pt x="26111" y="25828"/>
                  </a:cubicBezTo>
                  <a:cubicBezTo>
                    <a:pt x="46735" y="4621"/>
                    <a:pt x="80256" y="4536"/>
                    <a:pt x="100984" y="25637"/>
                  </a:cubicBezTo>
                  <a:lnTo>
                    <a:pt x="101171" y="25828"/>
                  </a:lnTo>
                  <a:cubicBezTo>
                    <a:pt x="110841" y="35816"/>
                    <a:pt x="116649" y="49049"/>
                    <a:pt x="117518" y="63080"/>
                  </a:cubicBezTo>
                  <a:cubicBezTo>
                    <a:pt x="118269" y="76769"/>
                    <a:pt x="114201" y="90284"/>
                    <a:pt x="106052" y="101168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23" name="Freeform 322">
              <a:extLst>
                <a:ext uri="{FF2B5EF4-FFF2-40B4-BE49-F238E27FC236}">
                  <a16:creationId xmlns:a16="http://schemas.microsoft.com/office/drawing/2014/main" id="{BB049C3F-41C0-63E6-D3F3-0D5B4B47DAA0}"/>
                </a:ext>
              </a:extLst>
            </p:cNvPr>
            <p:cNvSpPr/>
            <p:nvPr/>
          </p:nvSpPr>
          <p:spPr>
            <a:xfrm>
              <a:off x="8958347" y="558397"/>
              <a:ext cx="58805" cy="60166"/>
            </a:xfrm>
            <a:custGeom>
              <a:avLst/>
              <a:gdLst>
                <a:gd name="connsiteX0" fmla="*/ 29403 w 58805"/>
                <a:gd name="connsiteY0" fmla="*/ 0 h 60166"/>
                <a:gd name="connsiteX1" fmla="*/ 0 w 58805"/>
                <a:gd name="connsiteY1" fmla="*/ 30083 h 60166"/>
                <a:gd name="connsiteX2" fmla="*/ 29403 w 58805"/>
                <a:gd name="connsiteY2" fmla="*/ 60167 h 60166"/>
                <a:gd name="connsiteX3" fmla="*/ 58806 w 58805"/>
                <a:gd name="connsiteY3" fmla="*/ 30083 h 60166"/>
                <a:gd name="connsiteX4" fmla="*/ 58806 w 58805"/>
                <a:gd name="connsiteY4" fmla="*/ 30083 h 60166"/>
                <a:gd name="connsiteX5" fmla="*/ 29403 w 58805"/>
                <a:gd name="connsiteY5" fmla="*/ 0 h 60166"/>
                <a:gd name="connsiteX6" fmla="*/ 43415 w 58805"/>
                <a:gd name="connsiteY6" fmla="*/ 44396 h 60166"/>
                <a:gd name="connsiteX7" fmla="*/ 15441 w 58805"/>
                <a:gd name="connsiteY7" fmla="*/ 44258 h 60166"/>
                <a:gd name="connsiteX8" fmla="*/ 15577 w 58805"/>
                <a:gd name="connsiteY8" fmla="*/ 15635 h 60166"/>
                <a:gd name="connsiteX9" fmla="*/ 43551 w 58805"/>
                <a:gd name="connsiteY9" fmla="*/ 15775 h 60166"/>
                <a:gd name="connsiteX10" fmla="*/ 49277 w 58805"/>
                <a:gd name="connsiteY10" fmla="*/ 30060 h 60166"/>
                <a:gd name="connsiteX11" fmla="*/ 43415 w 58805"/>
                <a:gd name="connsiteY11" fmla="*/ 44396 h 6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805" h="60166">
                  <a:moveTo>
                    <a:pt x="29403" y="0"/>
                  </a:moveTo>
                  <a:cubicBezTo>
                    <a:pt x="13164" y="0"/>
                    <a:pt x="0" y="13469"/>
                    <a:pt x="0" y="30083"/>
                  </a:cubicBezTo>
                  <a:cubicBezTo>
                    <a:pt x="0" y="46697"/>
                    <a:pt x="13164" y="60167"/>
                    <a:pt x="29403" y="60167"/>
                  </a:cubicBezTo>
                  <a:cubicBezTo>
                    <a:pt x="45642" y="60167"/>
                    <a:pt x="58806" y="46697"/>
                    <a:pt x="58806" y="30083"/>
                  </a:cubicBezTo>
                  <a:lnTo>
                    <a:pt x="58806" y="30083"/>
                  </a:lnTo>
                  <a:cubicBezTo>
                    <a:pt x="58780" y="13480"/>
                    <a:pt x="45631" y="26"/>
                    <a:pt x="29403" y="0"/>
                  </a:cubicBezTo>
                  <a:close/>
                  <a:moveTo>
                    <a:pt x="43415" y="44396"/>
                  </a:moveTo>
                  <a:cubicBezTo>
                    <a:pt x="35653" y="52262"/>
                    <a:pt x="23128" y="52200"/>
                    <a:pt x="15441" y="44258"/>
                  </a:cubicBezTo>
                  <a:cubicBezTo>
                    <a:pt x="7754" y="36315"/>
                    <a:pt x="7815" y="23501"/>
                    <a:pt x="15577" y="15635"/>
                  </a:cubicBezTo>
                  <a:cubicBezTo>
                    <a:pt x="23340" y="7770"/>
                    <a:pt x="35864" y="7833"/>
                    <a:pt x="43551" y="15775"/>
                  </a:cubicBezTo>
                  <a:cubicBezTo>
                    <a:pt x="47230" y="19575"/>
                    <a:pt x="49288" y="24711"/>
                    <a:pt x="49277" y="30060"/>
                  </a:cubicBezTo>
                  <a:cubicBezTo>
                    <a:pt x="49266" y="35445"/>
                    <a:pt x="47156" y="40607"/>
                    <a:pt x="43415" y="44396"/>
                  </a:cubicBezTo>
                  <a:close/>
                </a:path>
              </a:pathLst>
            </a:custGeom>
            <a:grpFill/>
            <a:ln w="2297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24" name="Graphic 15">
            <a:extLst>
              <a:ext uri="{FF2B5EF4-FFF2-40B4-BE49-F238E27FC236}">
                <a16:creationId xmlns:a16="http://schemas.microsoft.com/office/drawing/2014/main" id="{B24DAE36-A5B7-8D4B-F650-66EBEBE688B7}"/>
              </a:ext>
            </a:extLst>
          </p:cNvPr>
          <p:cNvGrpSpPr/>
          <p:nvPr/>
        </p:nvGrpSpPr>
        <p:grpSpPr>
          <a:xfrm>
            <a:off x="5614152" y="3827623"/>
            <a:ext cx="314559" cy="307849"/>
            <a:chOff x="7423462" y="4219633"/>
            <a:chExt cx="439157" cy="439157"/>
          </a:xfrm>
          <a:solidFill>
            <a:schemeClr val="bg1"/>
          </a:solidFill>
        </p:grpSpPr>
        <p:sp>
          <p:nvSpPr>
            <p:cNvPr id="325" name="Freeform 324">
              <a:extLst>
                <a:ext uri="{FF2B5EF4-FFF2-40B4-BE49-F238E27FC236}">
                  <a16:creationId xmlns:a16="http://schemas.microsoft.com/office/drawing/2014/main" id="{CD648867-5DA2-7A5F-DB62-BDDF0B539647}"/>
                </a:ext>
              </a:extLst>
            </p:cNvPr>
            <p:cNvSpPr/>
            <p:nvPr/>
          </p:nvSpPr>
          <p:spPr>
            <a:xfrm>
              <a:off x="7426598" y="4224921"/>
              <a:ext cx="429181" cy="429163"/>
            </a:xfrm>
            <a:custGeom>
              <a:avLst/>
              <a:gdLst>
                <a:gd name="connsiteX0" fmla="*/ 421779 w 429181"/>
                <a:gd name="connsiteY0" fmla="*/ 392557 h 429163"/>
                <a:gd name="connsiteX1" fmla="*/ 364438 w 429181"/>
                <a:gd name="connsiteY1" fmla="*/ 392557 h 429163"/>
                <a:gd name="connsiteX2" fmla="*/ 364438 w 429181"/>
                <a:gd name="connsiteY2" fmla="*/ 29217 h 429163"/>
                <a:gd name="connsiteX3" fmla="*/ 357882 w 429181"/>
                <a:gd name="connsiteY3" fmla="*/ 21877 h 429163"/>
                <a:gd name="connsiteX4" fmla="*/ 164182 w 429181"/>
                <a:gd name="connsiteY4" fmla="*/ 44 h 429163"/>
                <a:gd name="connsiteX5" fmla="*/ 156026 w 429181"/>
                <a:gd name="connsiteY5" fmla="*/ 6538 h 429163"/>
                <a:gd name="connsiteX6" fmla="*/ 156026 w 429181"/>
                <a:gd name="connsiteY6" fmla="*/ 7385 h 429163"/>
                <a:gd name="connsiteX7" fmla="*/ 156026 w 429181"/>
                <a:gd name="connsiteY7" fmla="*/ 21877 h 429163"/>
                <a:gd name="connsiteX8" fmla="*/ 72147 w 429181"/>
                <a:gd name="connsiteY8" fmla="*/ 21877 h 429163"/>
                <a:gd name="connsiteX9" fmla="*/ 64776 w 429181"/>
                <a:gd name="connsiteY9" fmla="*/ 29248 h 429163"/>
                <a:gd name="connsiteX10" fmla="*/ 64776 w 429181"/>
                <a:gd name="connsiteY10" fmla="*/ 392557 h 429163"/>
                <a:gd name="connsiteX11" fmla="*/ 7372 w 429181"/>
                <a:gd name="connsiteY11" fmla="*/ 392557 h 429163"/>
                <a:gd name="connsiteX12" fmla="*/ 0 w 429181"/>
                <a:gd name="connsiteY12" fmla="*/ 399928 h 429163"/>
                <a:gd name="connsiteX13" fmla="*/ 7372 w 429181"/>
                <a:gd name="connsiteY13" fmla="*/ 407300 h 429163"/>
                <a:gd name="connsiteX14" fmla="*/ 155963 w 429181"/>
                <a:gd name="connsiteY14" fmla="*/ 407300 h 429163"/>
                <a:gd name="connsiteX15" fmla="*/ 155963 w 429181"/>
                <a:gd name="connsiteY15" fmla="*/ 421792 h 429163"/>
                <a:gd name="connsiteX16" fmla="*/ 163335 w 429181"/>
                <a:gd name="connsiteY16" fmla="*/ 429164 h 429163"/>
                <a:gd name="connsiteX17" fmla="*/ 164182 w 429181"/>
                <a:gd name="connsiteY17" fmla="*/ 429164 h 429163"/>
                <a:gd name="connsiteX18" fmla="*/ 357474 w 429181"/>
                <a:gd name="connsiteY18" fmla="*/ 407206 h 429163"/>
                <a:gd name="connsiteX19" fmla="*/ 421810 w 429181"/>
                <a:gd name="connsiteY19" fmla="*/ 407206 h 429163"/>
                <a:gd name="connsiteX20" fmla="*/ 429182 w 429181"/>
                <a:gd name="connsiteY20" fmla="*/ 399834 h 429163"/>
                <a:gd name="connsiteX21" fmla="*/ 421810 w 429181"/>
                <a:gd name="connsiteY21" fmla="*/ 392463 h 429163"/>
                <a:gd name="connsiteX22" fmla="*/ 79487 w 429181"/>
                <a:gd name="connsiteY22" fmla="*/ 36620 h 429163"/>
                <a:gd name="connsiteX23" fmla="*/ 155963 w 429181"/>
                <a:gd name="connsiteY23" fmla="*/ 36620 h 429163"/>
                <a:gd name="connsiteX24" fmla="*/ 155963 w 429181"/>
                <a:gd name="connsiteY24" fmla="*/ 55441 h 429163"/>
                <a:gd name="connsiteX25" fmla="*/ 105774 w 429181"/>
                <a:gd name="connsiteY25" fmla="*/ 55441 h 429163"/>
                <a:gd name="connsiteX26" fmla="*/ 98403 w 429181"/>
                <a:gd name="connsiteY26" fmla="*/ 62812 h 429163"/>
                <a:gd name="connsiteX27" fmla="*/ 98403 w 429181"/>
                <a:gd name="connsiteY27" fmla="*/ 392557 h 429163"/>
                <a:gd name="connsiteX28" fmla="*/ 79582 w 429181"/>
                <a:gd name="connsiteY28" fmla="*/ 392557 h 429163"/>
                <a:gd name="connsiteX29" fmla="*/ 113177 w 429181"/>
                <a:gd name="connsiteY29" fmla="*/ 392557 h 429163"/>
                <a:gd name="connsiteX30" fmla="*/ 113177 w 429181"/>
                <a:gd name="connsiteY30" fmla="*/ 70309 h 429163"/>
                <a:gd name="connsiteX31" fmla="*/ 155963 w 429181"/>
                <a:gd name="connsiteY31" fmla="*/ 70309 h 429163"/>
                <a:gd name="connsiteX32" fmla="*/ 155963 w 429181"/>
                <a:gd name="connsiteY32" fmla="*/ 392557 h 429163"/>
                <a:gd name="connsiteX33" fmla="*/ 170707 w 429181"/>
                <a:gd name="connsiteY33" fmla="*/ 15634 h 429163"/>
                <a:gd name="connsiteX34" fmla="*/ 349694 w 429181"/>
                <a:gd name="connsiteY34" fmla="*/ 35836 h 429163"/>
                <a:gd name="connsiteX35" fmla="*/ 349694 w 429181"/>
                <a:gd name="connsiteY35" fmla="*/ 393435 h 429163"/>
                <a:gd name="connsiteX36" fmla="*/ 170707 w 429181"/>
                <a:gd name="connsiteY36" fmla="*/ 413668 h 429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29181" h="429163">
                  <a:moveTo>
                    <a:pt x="421779" y="392557"/>
                  </a:moveTo>
                  <a:lnTo>
                    <a:pt x="364438" y="392557"/>
                  </a:lnTo>
                  <a:lnTo>
                    <a:pt x="364438" y="29217"/>
                  </a:lnTo>
                  <a:cubicBezTo>
                    <a:pt x="364431" y="25461"/>
                    <a:pt x="361611" y="22306"/>
                    <a:pt x="357882" y="21877"/>
                  </a:cubicBezTo>
                  <a:lnTo>
                    <a:pt x="164182" y="44"/>
                  </a:lnTo>
                  <a:cubicBezTo>
                    <a:pt x="160142" y="-397"/>
                    <a:pt x="156501" y="2501"/>
                    <a:pt x="156026" y="6538"/>
                  </a:cubicBezTo>
                  <a:lnTo>
                    <a:pt x="156026" y="7385"/>
                  </a:lnTo>
                  <a:lnTo>
                    <a:pt x="156026" y="21877"/>
                  </a:lnTo>
                  <a:lnTo>
                    <a:pt x="72147" y="21877"/>
                  </a:lnTo>
                  <a:cubicBezTo>
                    <a:pt x="68076" y="21877"/>
                    <a:pt x="64776" y="25177"/>
                    <a:pt x="64776" y="29248"/>
                  </a:cubicBezTo>
                  <a:lnTo>
                    <a:pt x="64776" y="392557"/>
                  </a:lnTo>
                  <a:lnTo>
                    <a:pt x="7372" y="392557"/>
                  </a:lnTo>
                  <a:cubicBezTo>
                    <a:pt x="3300" y="392557"/>
                    <a:pt x="0" y="395857"/>
                    <a:pt x="0" y="399928"/>
                  </a:cubicBezTo>
                  <a:cubicBezTo>
                    <a:pt x="0" y="404000"/>
                    <a:pt x="3300" y="407300"/>
                    <a:pt x="7372" y="407300"/>
                  </a:cubicBezTo>
                  <a:lnTo>
                    <a:pt x="155963" y="407300"/>
                  </a:lnTo>
                  <a:lnTo>
                    <a:pt x="155963" y="421792"/>
                  </a:lnTo>
                  <a:cubicBezTo>
                    <a:pt x="155963" y="425864"/>
                    <a:pt x="159264" y="429164"/>
                    <a:pt x="163335" y="429164"/>
                  </a:cubicBezTo>
                  <a:lnTo>
                    <a:pt x="164182" y="429164"/>
                  </a:lnTo>
                  <a:lnTo>
                    <a:pt x="357474" y="407206"/>
                  </a:lnTo>
                  <a:lnTo>
                    <a:pt x="421810" y="407206"/>
                  </a:lnTo>
                  <a:cubicBezTo>
                    <a:pt x="425882" y="407206"/>
                    <a:pt x="429182" y="403906"/>
                    <a:pt x="429182" y="399834"/>
                  </a:cubicBezTo>
                  <a:cubicBezTo>
                    <a:pt x="429182" y="395762"/>
                    <a:pt x="425882" y="392463"/>
                    <a:pt x="421810" y="392463"/>
                  </a:cubicBezTo>
                  <a:close/>
                  <a:moveTo>
                    <a:pt x="79487" y="36620"/>
                  </a:moveTo>
                  <a:lnTo>
                    <a:pt x="155963" y="36620"/>
                  </a:lnTo>
                  <a:lnTo>
                    <a:pt x="155963" y="55441"/>
                  </a:lnTo>
                  <a:lnTo>
                    <a:pt x="105774" y="55441"/>
                  </a:lnTo>
                  <a:cubicBezTo>
                    <a:pt x="101703" y="55441"/>
                    <a:pt x="98403" y="58741"/>
                    <a:pt x="98403" y="62812"/>
                  </a:cubicBezTo>
                  <a:lnTo>
                    <a:pt x="98403" y="392557"/>
                  </a:lnTo>
                  <a:lnTo>
                    <a:pt x="79582" y="392557"/>
                  </a:lnTo>
                  <a:close/>
                  <a:moveTo>
                    <a:pt x="113177" y="392557"/>
                  </a:moveTo>
                  <a:lnTo>
                    <a:pt x="113177" y="70309"/>
                  </a:lnTo>
                  <a:lnTo>
                    <a:pt x="155963" y="70309"/>
                  </a:lnTo>
                  <a:lnTo>
                    <a:pt x="155963" y="392557"/>
                  </a:lnTo>
                  <a:close/>
                  <a:moveTo>
                    <a:pt x="170707" y="15634"/>
                  </a:moveTo>
                  <a:lnTo>
                    <a:pt x="349694" y="35836"/>
                  </a:lnTo>
                  <a:lnTo>
                    <a:pt x="349694" y="393435"/>
                  </a:lnTo>
                  <a:lnTo>
                    <a:pt x="170707" y="413668"/>
                  </a:lnTo>
                  <a:close/>
                </a:path>
              </a:pathLst>
            </a:custGeom>
            <a:grpFill/>
            <a:ln w="3129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26" name="Freeform 325">
              <a:extLst>
                <a:ext uri="{FF2B5EF4-FFF2-40B4-BE49-F238E27FC236}">
                  <a16:creationId xmlns:a16="http://schemas.microsoft.com/office/drawing/2014/main" id="{68CBF45F-A913-EDAA-C291-CAA078D1AB21}"/>
                </a:ext>
              </a:extLst>
            </p:cNvPr>
            <p:cNvSpPr/>
            <p:nvPr/>
          </p:nvSpPr>
          <p:spPr>
            <a:xfrm>
              <a:off x="7607123" y="4417567"/>
              <a:ext cx="43915" cy="43915"/>
            </a:xfrm>
            <a:custGeom>
              <a:avLst/>
              <a:gdLst>
                <a:gd name="connsiteX0" fmla="*/ 21958 w 43915"/>
                <a:gd name="connsiteY0" fmla="*/ 0 h 43915"/>
                <a:gd name="connsiteX1" fmla="*/ 0 w 43915"/>
                <a:gd name="connsiteY1" fmla="*/ 21958 h 43915"/>
                <a:gd name="connsiteX2" fmla="*/ 21958 w 43915"/>
                <a:gd name="connsiteY2" fmla="*/ 43916 h 43915"/>
                <a:gd name="connsiteX3" fmla="*/ 43916 w 43915"/>
                <a:gd name="connsiteY3" fmla="*/ 21958 h 43915"/>
                <a:gd name="connsiteX4" fmla="*/ 43916 w 43915"/>
                <a:gd name="connsiteY4" fmla="*/ 21958 h 43915"/>
                <a:gd name="connsiteX5" fmla="*/ 21958 w 43915"/>
                <a:gd name="connsiteY5" fmla="*/ 0 h 43915"/>
                <a:gd name="connsiteX6" fmla="*/ 21958 w 43915"/>
                <a:gd name="connsiteY6" fmla="*/ 29141 h 43915"/>
                <a:gd name="connsiteX7" fmla="*/ 14712 w 43915"/>
                <a:gd name="connsiteY7" fmla="*/ 21958 h 43915"/>
                <a:gd name="connsiteX8" fmla="*/ 21895 w 43915"/>
                <a:gd name="connsiteY8" fmla="*/ 14712 h 43915"/>
                <a:gd name="connsiteX9" fmla="*/ 29141 w 43915"/>
                <a:gd name="connsiteY9" fmla="*/ 21895 h 43915"/>
                <a:gd name="connsiteX10" fmla="*/ 29141 w 43915"/>
                <a:gd name="connsiteY10" fmla="*/ 21926 h 43915"/>
                <a:gd name="connsiteX11" fmla="*/ 21989 w 43915"/>
                <a:gd name="connsiteY11" fmla="*/ 29141 h 43915"/>
                <a:gd name="connsiteX12" fmla="*/ 21958 w 43915"/>
                <a:gd name="connsiteY12" fmla="*/ 29141 h 43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915" h="43915">
                  <a:moveTo>
                    <a:pt x="21958" y="0"/>
                  </a:moveTo>
                  <a:cubicBezTo>
                    <a:pt x="9831" y="0"/>
                    <a:pt x="0" y="9831"/>
                    <a:pt x="0" y="21958"/>
                  </a:cubicBezTo>
                  <a:cubicBezTo>
                    <a:pt x="0" y="34085"/>
                    <a:pt x="9831" y="43916"/>
                    <a:pt x="21958" y="43916"/>
                  </a:cubicBezTo>
                  <a:cubicBezTo>
                    <a:pt x="34085" y="43916"/>
                    <a:pt x="43916" y="34085"/>
                    <a:pt x="43916" y="21958"/>
                  </a:cubicBezTo>
                  <a:lnTo>
                    <a:pt x="43916" y="21958"/>
                  </a:lnTo>
                  <a:cubicBezTo>
                    <a:pt x="43916" y="9831"/>
                    <a:pt x="34085" y="0"/>
                    <a:pt x="21958" y="0"/>
                  </a:cubicBezTo>
                  <a:close/>
                  <a:moveTo>
                    <a:pt x="21958" y="29141"/>
                  </a:moveTo>
                  <a:cubicBezTo>
                    <a:pt x="17973" y="29158"/>
                    <a:pt x="14729" y="25943"/>
                    <a:pt x="14712" y="21958"/>
                  </a:cubicBezTo>
                  <a:cubicBezTo>
                    <a:pt x="14695" y="17973"/>
                    <a:pt x="17911" y="14729"/>
                    <a:pt x="21895" y="14712"/>
                  </a:cubicBezTo>
                  <a:cubicBezTo>
                    <a:pt x="25880" y="14695"/>
                    <a:pt x="29124" y="17911"/>
                    <a:pt x="29141" y="21895"/>
                  </a:cubicBezTo>
                  <a:cubicBezTo>
                    <a:pt x="29141" y="21905"/>
                    <a:pt x="29141" y="21916"/>
                    <a:pt x="29141" y="21926"/>
                  </a:cubicBezTo>
                  <a:cubicBezTo>
                    <a:pt x="29158" y="25894"/>
                    <a:pt x="25956" y="29124"/>
                    <a:pt x="21989" y="29141"/>
                  </a:cubicBezTo>
                  <a:cubicBezTo>
                    <a:pt x="21979" y="29141"/>
                    <a:pt x="21968" y="29141"/>
                    <a:pt x="21958" y="29141"/>
                  </a:cubicBezTo>
                  <a:close/>
                </a:path>
              </a:pathLst>
            </a:custGeom>
            <a:grpFill/>
            <a:ln w="3129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27" name="Graphic 17">
            <a:extLst>
              <a:ext uri="{FF2B5EF4-FFF2-40B4-BE49-F238E27FC236}">
                <a16:creationId xmlns:a16="http://schemas.microsoft.com/office/drawing/2014/main" id="{21DF8499-4B48-486C-E570-1B481F21D7F9}"/>
              </a:ext>
            </a:extLst>
          </p:cNvPr>
          <p:cNvGrpSpPr/>
          <p:nvPr/>
        </p:nvGrpSpPr>
        <p:grpSpPr>
          <a:xfrm>
            <a:off x="4840924" y="1886330"/>
            <a:ext cx="306251" cy="299719"/>
            <a:chOff x="6343955" y="1450313"/>
            <a:chExt cx="427559" cy="427559"/>
          </a:xfrm>
          <a:solidFill>
            <a:schemeClr val="bg1"/>
          </a:solidFill>
        </p:grpSpPr>
        <p:sp>
          <p:nvSpPr>
            <p:cNvPr id="328" name="Freeform 327">
              <a:extLst>
                <a:ext uri="{FF2B5EF4-FFF2-40B4-BE49-F238E27FC236}">
                  <a16:creationId xmlns:a16="http://schemas.microsoft.com/office/drawing/2014/main" id="{95CCDF55-D830-B0AD-760B-77204F901472}"/>
                </a:ext>
              </a:extLst>
            </p:cNvPr>
            <p:cNvSpPr/>
            <p:nvPr/>
          </p:nvSpPr>
          <p:spPr>
            <a:xfrm>
              <a:off x="6347455" y="1523772"/>
              <a:ext cx="359603" cy="359657"/>
            </a:xfrm>
            <a:custGeom>
              <a:avLst/>
              <a:gdLst>
                <a:gd name="connsiteX0" fmla="*/ 14323 w 359603"/>
                <a:gd name="connsiteY0" fmla="*/ 345281 h 359657"/>
                <a:gd name="connsiteX1" fmla="*/ 14323 w 359603"/>
                <a:gd name="connsiteY1" fmla="*/ 187030 h 359657"/>
                <a:gd name="connsiteX2" fmla="*/ 61889 w 359603"/>
                <a:gd name="connsiteY2" fmla="*/ 187030 h 359657"/>
                <a:gd name="connsiteX3" fmla="*/ 83526 w 359603"/>
                <a:gd name="connsiteY3" fmla="*/ 228512 h 359657"/>
                <a:gd name="connsiteX4" fmla="*/ 125008 w 359603"/>
                <a:gd name="connsiteY4" fmla="*/ 206877 h 359657"/>
                <a:gd name="connsiteX5" fmla="*/ 125008 w 359603"/>
                <a:gd name="connsiteY5" fmla="*/ 187030 h 359657"/>
                <a:gd name="connsiteX6" fmla="*/ 172574 w 359603"/>
                <a:gd name="connsiteY6" fmla="*/ 187030 h 359657"/>
                <a:gd name="connsiteX7" fmla="*/ 172574 w 359603"/>
                <a:gd name="connsiteY7" fmla="*/ 244537 h 359657"/>
                <a:gd name="connsiteX8" fmla="*/ 179762 w 359603"/>
                <a:gd name="connsiteY8" fmla="*/ 251725 h 359657"/>
                <a:gd name="connsiteX9" fmla="*/ 179789 w 359603"/>
                <a:gd name="connsiteY9" fmla="*/ 251725 h 359657"/>
                <a:gd name="connsiteX10" fmla="*/ 182060 w 359603"/>
                <a:gd name="connsiteY10" fmla="*/ 251351 h 359657"/>
                <a:gd name="connsiteX11" fmla="*/ 191092 w 359603"/>
                <a:gd name="connsiteY11" fmla="*/ 248358 h 359657"/>
                <a:gd name="connsiteX12" fmla="*/ 214704 w 359603"/>
                <a:gd name="connsiteY12" fmla="*/ 260287 h 359657"/>
                <a:gd name="connsiteX13" fmla="*/ 202774 w 359603"/>
                <a:gd name="connsiteY13" fmla="*/ 283899 h 359657"/>
                <a:gd name="connsiteX14" fmla="*/ 191092 w 359603"/>
                <a:gd name="connsiteY14" fmla="*/ 283899 h 359657"/>
                <a:gd name="connsiteX15" fmla="*/ 182060 w 359603"/>
                <a:gd name="connsiteY15" fmla="*/ 280880 h 359657"/>
                <a:gd name="connsiteX16" fmla="*/ 172940 w 359603"/>
                <a:gd name="connsiteY16" fmla="*/ 285457 h 359657"/>
                <a:gd name="connsiteX17" fmla="*/ 172574 w 359603"/>
                <a:gd name="connsiteY17" fmla="*/ 287694 h 359657"/>
                <a:gd name="connsiteX18" fmla="*/ 172574 w 359603"/>
                <a:gd name="connsiteY18" fmla="*/ 345281 h 359657"/>
                <a:gd name="connsiteX19" fmla="*/ 172574 w 359603"/>
                <a:gd name="connsiteY19" fmla="*/ 14377 h 359657"/>
                <a:gd name="connsiteX20" fmla="*/ 172574 w 359603"/>
                <a:gd name="connsiteY20" fmla="*/ 61943 h 359657"/>
                <a:gd name="connsiteX21" fmla="*/ 131092 w 359603"/>
                <a:gd name="connsiteY21" fmla="*/ 83579 h 359657"/>
                <a:gd name="connsiteX22" fmla="*/ 152728 w 359603"/>
                <a:gd name="connsiteY22" fmla="*/ 125061 h 359657"/>
                <a:gd name="connsiteX23" fmla="*/ 172574 w 359603"/>
                <a:gd name="connsiteY23" fmla="*/ 125061 h 359657"/>
                <a:gd name="connsiteX24" fmla="*/ 172574 w 359603"/>
                <a:gd name="connsiteY24" fmla="*/ 172627 h 359657"/>
                <a:gd name="connsiteX25" fmla="*/ 115040 w 359603"/>
                <a:gd name="connsiteY25" fmla="*/ 172627 h 359657"/>
                <a:gd name="connsiteX26" fmla="*/ 107852 w 359603"/>
                <a:gd name="connsiteY26" fmla="*/ 179815 h 359657"/>
                <a:gd name="connsiteX27" fmla="*/ 107852 w 359603"/>
                <a:gd name="connsiteY27" fmla="*/ 179842 h 359657"/>
                <a:gd name="connsiteX28" fmla="*/ 108226 w 359603"/>
                <a:gd name="connsiteY28" fmla="*/ 182113 h 359657"/>
                <a:gd name="connsiteX29" fmla="*/ 111219 w 359603"/>
                <a:gd name="connsiteY29" fmla="*/ 191146 h 359657"/>
                <a:gd name="connsiteX30" fmla="*/ 99289 w 359603"/>
                <a:gd name="connsiteY30" fmla="*/ 214758 h 359657"/>
                <a:gd name="connsiteX31" fmla="*/ 75678 w 359603"/>
                <a:gd name="connsiteY31" fmla="*/ 202826 h 359657"/>
                <a:gd name="connsiteX32" fmla="*/ 75678 w 359603"/>
                <a:gd name="connsiteY32" fmla="*/ 191146 h 359657"/>
                <a:gd name="connsiteX33" fmla="*/ 78698 w 359603"/>
                <a:gd name="connsiteY33" fmla="*/ 182113 h 359657"/>
                <a:gd name="connsiteX34" fmla="*/ 74121 w 359603"/>
                <a:gd name="connsiteY34" fmla="*/ 172994 h 359657"/>
                <a:gd name="connsiteX35" fmla="*/ 71883 w 359603"/>
                <a:gd name="connsiteY35" fmla="*/ 172627 h 359657"/>
                <a:gd name="connsiteX36" fmla="*/ 14323 w 359603"/>
                <a:gd name="connsiteY36" fmla="*/ 172627 h 359657"/>
                <a:gd name="connsiteX37" fmla="*/ 14323 w 359603"/>
                <a:gd name="connsiteY37" fmla="*/ 14377 h 359657"/>
                <a:gd name="connsiteX38" fmla="*/ 239246 w 359603"/>
                <a:gd name="connsiteY38" fmla="*/ 216425 h 359657"/>
                <a:gd name="connsiteX39" fmla="*/ 285385 w 359603"/>
                <a:gd name="connsiteY39" fmla="*/ 224175 h 359657"/>
                <a:gd name="connsiteX40" fmla="*/ 297661 w 359603"/>
                <a:gd name="connsiteY40" fmla="*/ 187030 h 359657"/>
                <a:gd name="connsiteX41" fmla="*/ 345227 w 359603"/>
                <a:gd name="connsiteY41" fmla="*/ 187030 h 359657"/>
                <a:gd name="connsiteX42" fmla="*/ 345227 w 359603"/>
                <a:gd name="connsiteY42" fmla="*/ 345281 h 359657"/>
                <a:gd name="connsiteX43" fmla="*/ 186977 w 359603"/>
                <a:gd name="connsiteY43" fmla="*/ 345281 h 359657"/>
                <a:gd name="connsiteX44" fmla="*/ 186977 w 359603"/>
                <a:gd name="connsiteY44" fmla="*/ 297715 h 359657"/>
                <a:gd name="connsiteX45" fmla="*/ 228459 w 359603"/>
                <a:gd name="connsiteY45" fmla="*/ 276078 h 359657"/>
                <a:gd name="connsiteX46" fmla="*/ 206822 w 359603"/>
                <a:gd name="connsiteY46" fmla="*/ 234596 h 359657"/>
                <a:gd name="connsiteX47" fmla="*/ 186977 w 359603"/>
                <a:gd name="connsiteY47" fmla="*/ 234596 h 359657"/>
                <a:gd name="connsiteX48" fmla="*/ 186977 w 359603"/>
                <a:gd name="connsiteY48" fmla="*/ 187030 h 359657"/>
                <a:gd name="connsiteX49" fmla="*/ 234543 w 359603"/>
                <a:gd name="connsiteY49" fmla="*/ 187030 h 359657"/>
                <a:gd name="connsiteX50" fmla="*/ 239246 w 359603"/>
                <a:gd name="connsiteY50" fmla="*/ 216425 h 359657"/>
                <a:gd name="connsiteX51" fmla="*/ 359497 w 359603"/>
                <a:gd name="connsiteY51" fmla="*/ 352469 h 359657"/>
                <a:gd name="connsiteX52" fmla="*/ 359497 w 359603"/>
                <a:gd name="connsiteY52" fmla="*/ 179842 h 359657"/>
                <a:gd name="connsiteX53" fmla="*/ 352335 w 359603"/>
                <a:gd name="connsiteY53" fmla="*/ 172627 h 359657"/>
                <a:gd name="connsiteX54" fmla="*/ 352309 w 359603"/>
                <a:gd name="connsiteY54" fmla="*/ 172627 h 359657"/>
                <a:gd name="connsiteX55" fmla="*/ 287774 w 359603"/>
                <a:gd name="connsiteY55" fmla="*/ 172627 h 359657"/>
                <a:gd name="connsiteX56" fmla="*/ 280586 w 359603"/>
                <a:gd name="connsiteY56" fmla="*/ 179842 h 359657"/>
                <a:gd name="connsiteX57" fmla="*/ 280960 w 359603"/>
                <a:gd name="connsiteY57" fmla="*/ 182113 h 359657"/>
                <a:gd name="connsiteX58" fmla="*/ 283979 w 359603"/>
                <a:gd name="connsiteY58" fmla="*/ 191146 h 359657"/>
                <a:gd name="connsiteX59" fmla="*/ 272751 w 359603"/>
                <a:gd name="connsiteY59" fmla="*/ 215097 h 359657"/>
                <a:gd name="connsiteX60" fmla="*/ 248798 w 359603"/>
                <a:gd name="connsiteY60" fmla="*/ 203871 h 359657"/>
                <a:gd name="connsiteX61" fmla="*/ 248439 w 359603"/>
                <a:gd name="connsiteY61" fmla="*/ 202770 h 359657"/>
                <a:gd name="connsiteX62" fmla="*/ 248439 w 359603"/>
                <a:gd name="connsiteY62" fmla="*/ 191146 h 359657"/>
                <a:gd name="connsiteX63" fmla="*/ 251431 w 359603"/>
                <a:gd name="connsiteY63" fmla="*/ 182113 h 359657"/>
                <a:gd name="connsiteX64" fmla="*/ 246855 w 359603"/>
                <a:gd name="connsiteY64" fmla="*/ 172994 h 359657"/>
                <a:gd name="connsiteX65" fmla="*/ 244617 w 359603"/>
                <a:gd name="connsiteY65" fmla="*/ 172627 h 359657"/>
                <a:gd name="connsiteX66" fmla="*/ 186977 w 359603"/>
                <a:gd name="connsiteY66" fmla="*/ 172627 h 359657"/>
                <a:gd name="connsiteX67" fmla="*/ 186977 w 359603"/>
                <a:gd name="connsiteY67" fmla="*/ 115094 h 359657"/>
                <a:gd name="connsiteX68" fmla="*/ 179789 w 359603"/>
                <a:gd name="connsiteY68" fmla="*/ 107905 h 359657"/>
                <a:gd name="connsiteX69" fmla="*/ 179762 w 359603"/>
                <a:gd name="connsiteY69" fmla="*/ 107905 h 359657"/>
                <a:gd name="connsiteX70" fmla="*/ 177490 w 359603"/>
                <a:gd name="connsiteY70" fmla="*/ 108279 h 359657"/>
                <a:gd name="connsiteX71" fmla="*/ 168458 w 359603"/>
                <a:gd name="connsiteY71" fmla="*/ 111272 h 359657"/>
                <a:gd name="connsiteX72" fmla="*/ 144847 w 359603"/>
                <a:gd name="connsiteY72" fmla="*/ 99343 h 359657"/>
                <a:gd name="connsiteX73" fmla="*/ 156777 w 359603"/>
                <a:gd name="connsiteY73" fmla="*/ 75731 h 359657"/>
                <a:gd name="connsiteX74" fmla="*/ 168458 w 359603"/>
                <a:gd name="connsiteY74" fmla="*/ 75731 h 359657"/>
                <a:gd name="connsiteX75" fmla="*/ 177490 w 359603"/>
                <a:gd name="connsiteY75" fmla="*/ 78751 h 359657"/>
                <a:gd name="connsiteX76" fmla="*/ 186596 w 359603"/>
                <a:gd name="connsiteY76" fmla="*/ 74230 h 359657"/>
                <a:gd name="connsiteX77" fmla="*/ 186603 w 359603"/>
                <a:gd name="connsiteY77" fmla="*/ 74208 h 359657"/>
                <a:gd name="connsiteX78" fmla="*/ 186977 w 359603"/>
                <a:gd name="connsiteY78" fmla="*/ 71910 h 359657"/>
                <a:gd name="connsiteX79" fmla="*/ 186977 w 359603"/>
                <a:gd name="connsiteY79" fmla="*/ 7188 h 359657"/>
                <a:gd name="connsiteX80" fmla="*/ 179789 w 359603"/>
                <a:gd name="connsiteY80" fmla="*/ 0 h 359657"/>
                <a:gd name="connsiteX81" fmla="*/ 179762 w 359603"/>
                <a:gd name="connsiteY81" fmla="*/ 0 h 359657"/>
                <a:gd name="connsiteX82" fmla="*/ 7188 w 359603"/>
                <a:gd name="connsiteY82" fmla="*/ 0 h 359657"/>
                <a:gd name="connsiteX83" fmla="*/ 0 w 359603"/>
                <a:gd name="connsiteY83" fmla="*/ 7135 h 359657"/>
                <a:gd name="connsiteX84" fmla="*/ 0 w 359603"/>
                <a:gd name="connsiteY84" fmla="*/ 7188 h 359657"/>
                <a:gd name="connsiteX85" fmla="*/ 0 w 359603"/>
                <a:gd name="connsiteY85" fmla="*/ 352469 h 359657"/>
                <a:gd name="connsiteX86" fmla="*/ 7135 w 359603"/>
                <a:gd name="connsiteY86" fmla="*/ 359657 h 359657"/>
                <a:gd name="connsiteX87" fmla="*/ 7188 w 359603"/>
                <a:gd name="connsiteY87" fmla="*/ 359657 h 359657"/>
                <a:gd name="connsiteX88" fmla="*/ 352416 w 359603"/>
                <a:gd name="connsiteY88" fmla="*/ 359657 h 359657"/>
                <a:gd name="connsiteX89" fmla="*/ 359604 w 359603"/>
                <a:gd name="connsiteY89" fmla="*/ 352522 h 359657"/>
                <a:gd name="connsiteX90" fmla="*/ 359604 w 359603"/>
                <a:gd name="connsiteY90" fmla="*/ 352469 h 359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359603" h="359657">
                  <a:moveTo>
                    <a:pt x="14323" y="345281"/>
                  </a:moveTo>
                  <a:lnTo>
                    <a:pt x="14323" y="187030"/>
                  </a:lnTo>
                  <a:lnTo>
                    <a:pt x="61889" y="187030"/>
                  </a:lnTo>
                  <a:cubicBezTo>
                    <a:pt x="56409" y="204459"/>
                    <a:pt x="66096" y="223031"/>
                    <a:pt x="83526" y="228512"/>
                  </a:cubicBezTo>
                  <a:cubicBezTo>
                    <a:pt x="100955" y="233992"/>
                    <a:pt x="119527" y="224306"/>
                    <a:pt x="125008" y="206877"/>
                  </a:cubicBezTo>
                  <a:cubicBezTo>
                    <a:pt x="127039" y="200416"/>
                    <a:pt x="127039" y="193490"/>
                    <a:pt x="125008" y="187030"/>
                  </a:cubicBezTo>
                  <a:lnTo>
                    <a:pt x="172574" y="187030"/>
                  </a:lnTo>
                  <a:lnTo>
                    <a:pt x="172574" y="244537"/>
                  </a:lnTo>
                  <a:cubicBezTo>
                    <a:pt x="172574" y="248508"/>
                    <a:pt x="175792" y="251725"/>
                    <a:pt x="179762" y="251725"/>
                  </a:cubicBezTo>
                  <a:cubicBezTo>
                    <a:pt x="179771" y="251725"/>
                    <a:pt x="179780" y="251725"/>
                    <a:pt x="179789" y="251725"/>
                  </a:cubicBezTo>
                  <a:cubicBezTo>
                    <a:pt x="180562" y="251731"/>
                    <a:pt x="181330" y="251605"/>
                    <a:pt x="182060" y="251351"/>
                  </a:cubicBezTo>
                  <a:lnTo>
                    <a:pt x="191092" y="248358"/>
                  </a:lnTo>
                  <a:cubicBezTo>
                    <a:pt x="200907" y="245133"/>
                    <a:pt x="211478" y="250475"/>
                    <a:pt x="214704" y="260287"/>
                  </a:cubicBezTo>
                  <a:cubicBezTo>
                    <a:pt x="217929" y="270102"/>
                    <a:pt x="212588" y="280674"/>
                    <a:pt x="202774" y="283899"/>
                  </a:cubicBezTo>
                  <a:cubicBezTo>
                    <a:pt x="198980" y="285147"/>
                    <a:pt x="194886" y="285147"/>
                    <a:pt x="191092" y="283899"/>
                  </a:cubicBezTo>
                  <a:lnTo>
                    <a:pt x="182060" y="280880"/>
                  </a:lnTo>
                  <a:cubicBezTo>
                    <a:pt x="178278" y="279626"/>
                    <a:pt x="174195" y="281673"/>
                    <a:pt x="172940" y="285457"/>
                  </a:cubicBezTo>
                  <a:cubicBezTo>
                    <a:pt x="172701" y="286179"/>
                    <a:pt x="172577" y="286932"/>
                    <a:pt x="172574" y="287694"/>
                  </a:cubicBezTo>
                  <a:lnTo>
                    <a:pt x="172574" y="345281"/>
                  </a:lnTo>
                  <a:close/>
                  <a:moveTo>
                    <a:pt x="172574" y="14377"/>
                  </a:moveTo>
                  <a:lnTo>
                    <a:pt x="172574" y="61943"/>
                  </a:lnTo>
                  <a:cubicBezTo>
                    <a:pt x="155144" y="56462"/>
                    <a:pt x="136572" y="66150"/>
                    <a:pt x="131092" y="83579"/>
                  </a:cubicBezTo>
                  <a:cubicBezTo>
                    <a:pt x="125612" y="101009"/>
                    <a:pt x="135298" y="119581"/>
                    <a:pt x="152728" y="125061"/>
                  </a:cubicBezTo>
                  <a:cubicBezTo>
                    <a:pt x="159187" y="127092"/>
                    <a:pt x="166114" y="127092"/>
                    <a:pt x="172574" y="125061"/>
                  </a:cubicBezTo>
                  <a:lnTo>
                    <a:pt x="172574" y="172627"/>
                  </a:lnTo>
                  <a:lnTo>
                    <a:pt x="115040" y="172627"/>
                  </a:lnTo>
                  <a:cubicBezTo>
                    <a:pt x="111070" y="172627"/>
                    <a:pt x="107852" y="175845"/>
                    <a:pt x="107852" y="179815"/>
                  </a:cubicBezTo>
                  <a:cubicBezTo>
                    <a:pt x="107852" y="179824"/>
                    <a:pt x="107852" y="179833"/>
                    <a:pt x="107852" y="179842"/>
                  </a:cubicBezTo>
                  <a:cubicBezTo>
                    <a:pt x="107844" y="180615"/>
                    <a:pt x="107970" y="181384"/>
                    <a:pt x="108226" y="182113"/>
                  </a:cubicBezTo>
                  <a:lnTo>
                    <a:pt x="111219" y="191146"/>
                  </a:lnTo>
                  <a:cubicBezTo>
                    <a:pt x="114445" y="200961"/>
                    <a:pt x="109103" y="211532"/>
                    <a:pt x="99289" y="214758"/>
                  </a:cubicBezTo>
                  <a:cubicBezTo>
                    <a:pt x="89475" y="217983"/>
                    <a:pt x="78904" y="212641"/>
                    <a:pt x="75678" y="202826"/>
                  </a:cubicBezTo>
                  <a:cubicBezTo>
                    <a:pt x="74431" y="199034"/>
                    <a:pt x="74431" y="194940"/>
                    <a:pt x="75678" y="191146"/>
                  </a:cubicBezTo>
                  <a:lnTo>
                    <a:pt x="78698" y="182113"/>
                  </a:lnTo>
                  <a:cubicBezTo>
                    <a:pt x="79952" y="178331"/>
                    <a:pt x="77903" y="174248"/>
                    <a:pt x="74121" y="172994"/>
                  </a:cubicBezTo>
                  <a:cubicBezTo>
                    <a:pt x="73399" y="172754"/>
                    <a:pt x="72644" y="172630"/>
                    <a:pt x="71883" y="172627"/>
                  </a:cubicBezTo>
                  <a:lnTo>
                    <a:pt x="14323" y="172627"/>
                  </a:lnTo>
                  <a:lnTo>
                    <a:pt x="14323" y="14377"/>
                  </a:lnTo>
                  <a:close/>
                  <a:moveTo>
                    <a:pt x="239246" y="216425"/>
                  </a:moveTo>
                  <a:cubicBezTo>
                    <a:pt x="249847" y="231307"/>
                    <a:pt x="270503" y="234775"/>
                    <a:pt x="285385" y="224175"/>
                  </a:cubicBezTo>
                  <a:cubicBezTo>
                    <a:pt x="297143" y="215800"/>
                    <a:pt x="302113" y="200763"/>
                    <a:pt x="297661" y="187030"/>
                  </a:cubicBezTo>
                  <a:lnTo>
                    <a:pt x="345227" y="187030"/>
                  </a:lnTo>
                  <a:lnTo>
                    <a:pt x="345227" y="345281"/>
                  </a:lnTo>
                  <a:lnTo>
                    <a:pt x="186977" y="345281"/>
                  </a:lnTo>
                  <a:lnTo>
                    <a:pt x="186977" y="297715"/>
                  </a:lnTo>
                  <a:cubicBezTo>
                    <a:pt x="204407" y="303196"/>
                    <a:pt x="222979" y="293509"/>
                    <a:pt x="228459" y="276078"/>
                  </a:cubicBezTo>
                  <a:cubicBezTo>
                    <a:pt x="233939" y="258649"/>
                    <a:pt x="224252" y="240077"/>
                    <a:pt x="206822" y="234596"/>
                  </a:cubicBezTo>
                  <a:cubicBezTo>
                    <a:pt x="200363" y="232565"/>
                    <a:pt x="193436" y="232565"/>
                    <a:pt x="186977" y="234596"/>
                  </a:cubicBezTo>
                  <a:lnTo>
                    <a:pt x="186977" y="187030"/>
                  </a:lnTo>
                  <a:lnTo>
                    <a:pt x="234543" y="187030"/>
                  </a:lnTo>
                  <a:cubicBezTo>
                    <a:pt x="231303" y="197017"/>
                    <a:pt x="233052" y="207949"/>
                    <a:pt x="239246" y="216425"/>
                  </a:cubicBezTo>
                  <a:moveTo>
                    <a:pt x="359497" y="352469"/>
                  </a:moveTo>
                  <a:lnTo>
                    <a:pt x="359497" y="179842"/>
                  </a:lnTo>
                  <a:cubicBezTo>
                    <a:pt x="359513" y="175872"/>
                    <a:pt x="356306" y="172642"/>
                    <a:pt x="352335" y="172627"/>
                  </a:cubicBezTo>
                  <a:cubicBezTo>
                    <a:pt x="352327" y="172627"/>
                    <a:pt x="352317" y="172627"/>
                    <a:pt x="352309" y="172627"/>
                  </a:cubicBezTo>
                  <a:lnTo>
                    <a:pt x="287774" y="172627"/>
                  </a:lnTo>
                  <a:cubicBezTo>
                    <a:pt x="283800" y="172642"/>
                    <a:pt x="280586" y="175868"/>
                    <a:pt x="280586" y="179842"/>
                  </a:cubicBezTo>
                  <a:cubicBezTo>
                    <a:pt x="280591" y="180614"/>
                    <a:pt x="280717" y="181381"/>
                    <a:pt x="280960" y="182113"/>
                  </a:cubicBezTo>
                  <a:lnTo>
                    <a:pt x="283979" y="191146"/>
                  </a:lnTo>
                  <a:cubicBezTo>
                    <a:pt x="287493" y="200862"/>
                    <a:pt x="282467" y="211586"/>
                    <a:pt x="272751" y="215097"/>
                  </a:cubicBezTo>
                  <a:cubicBezTo>
                    <a:pt x="263036" y="218611"/>
                    <a:pt x="252312" y="213584"/>
                    <a:pt x="248798" y="203871"/>
                  </a:cubicBezTo>
                  <a:cubicBezTo>
                    <a:pt x="248667" y="203507"/>
                    <a:pt x="248547" y="203141"/>
                    <a:pt x="248439" y="202770"/>
                  </a:cubicBezTo>
                  <a:cubicBezTo>
                    <a:pt x="247183" y="198997"/>
                    <a:pt x="247183" y="194919"/>
                    <a:pt x="248439" y="191146"/>
                  </a:cubicBezTo>
                  <a:lnTo>
                    <a:pt x="251431" y="182113"/>
                  </a:lnTo>
                  <a:cubicBezTo>
                    <a:pt x="252686" y="178331"/>
                    <a:pt x="250637" y="174248"/>
                    <a:pt x="246855" y="172994"/>
                  </a:cubicBezTo>
                  <a:cubicBezTo>
                    <a:pt x="246133" y="172754"/>
                    <a:pt x="245378" y="172630"/>
                    <a:pt x="244617" y="172627"/>
                  </a:cubicBezTo>
                  <a:lnTo>
                    <a:pt x="186977" y="172627"/>
                  </a:lnTo>
                  <a:lnTo>
                    <a:pt x="186977" y="115094"/>
                  </a:lnTo>
                  <a:cubicBezTo>
                    <a:pt x="186977" y="111124"/>
                    <a:pt x="183759" y="107905"/>
                    <a:pt x="179789" y="107905"/>
                  </a:cubicBezTo>
                  <a:cubicBezTo>
                    <a:pt x="179780" y="107905"/>
                    <a:pt x="179771" y="107905"/>
                    <a:pt x="179762" y="107905"/>
                  </a:cubicBezTo>
                  <a:cubicBezTo>
                    <a:pt x="178989" y="107899"/>
                    <a:pt x="178221" y="108026"/>
                    <a:pt x="177490" y="108279"/>
                  </a:cubicBezTo>
                  <a:lnTo>
                    <a:pt x="168458" y="111272"/>
                  </a:lnTo>
                  <a:cubicBezTo>
                    <a:pt x="158644" y="114498"/>
                    <a:pt x="148073" y="109157"/>
                    <a:pt x="144847" y="99343"/>
                  </a:cubicBezTo>
                  <a:cubicBezTo>
                    <a:pt x="141621" y="89528"/>
                    <a:pt x="146962" y="78957"/>
                    <a:pt x="156777" y="75731"/>
                  </a:cubicBezTo>
                  <a:cubicBezTo>
                    <a:pt x="160571" y="74484"/>
                    <a:pt x="164664" y="74484"/>
                    <a:pt x="168458" y="75731"/>
                  </a:cubicBezTo>
                  <a:lnTo>
                    <a:pt x="177490" y="78751"/>
                  </a:lnTo>
                  <a:cubicBezTo>
                    <a:pt x="181253" y="80017"/>
                    <a:pt x="185330" y="77993"/>
                    <a:pt x="186596" y="74230"/>
                  </a:cubicBezTo>
                  <a:cubicBezTo>
                    <a:pt x="186598" y="74223"/>
                    <a:pt x="186600" y="74215"/>
                    <a:pt x="186603" y="74208"/>
                  </a:cubicBezTo>
                  <a:cubicBezTo>
                    <a:pt x="186846" y="73466"/>
                    <a:pt x="186972" y="72691"/>
                    <a:pt x="186977" y="71910"/>
                  </a:cubicBezTo>
                  <a:lnTo>
                    <a:pt x="186977" y="7188"/>
                  </a:lnTo>
                  <a:cubicBezTo>
                    <a:pt x="186977" y="3219"/>
                    <a:pt x="183759" y="0"/>
                    <a:pt x="179789" y="0"/>
                  </a:cubicBezTo>
                  <a:cubicBezTo>
                    <a:pt x="179780" y="0"/>
                    <a:pt x="179771" y="0"/>
                    <a:pt x="179762" y="0"/>
                  </a:cubicBezTo>
                  <a:lnTo>
                    <a:pt x="7188" y="0"/>
                  </a:lnTo>
                  <a:cubicBezTo>
                    <a:pt x="3233" y="-15"/>
                    <a:pt x="15" y="3180"/>
                    <a:pt x="0" y="7135"/>
                  </a:cubicBezTo>
                  <a:cubicBezTo>
                    <a:pt x="0" y="7153"/>
                    <a:pt x="0" y="7170"/>
                    <a:pt x="0" y="7188"/>
                  </a:cubicBezTo>
                  <a:lnTo>
                    <a:pt x="0" y="352469"/>
                  </a:lnTo>
                  <a:cubicBezTo>
                    <a:pt x="-15" y="356424"/>
                    <a:pt x="3180" y="359641"/>
                    <a:pt x="7135" y="359657"/>
                  </a:cubicBezTo>
                  <a:cubicBezTo>
                    <a:pt x="7153" y="359657"/>
                    <a:pt x="7171" y="359657"/>
                    <a:pt x="7188" y="359657"/>
                  </a:cubicBezTo>
                  <a:lnTo>
                    <a:pt x="352416" y="359657"/>
                  </a:lnTo>
                  <a:cubicBezTo>
                    <a:pt x="356370" y="359673"/>
                    <a:pt x="359588" y="356477"/>
                    <a:pt x="359604" y="352522"/>
                  </a:cubicBezTo>
                  <a:cubicBezTo>
                    <a:pt x="359604" y="352504"/>
                    <a:pt x="359604" y="352488"/>
                    <a:pt x="359604" y="352469"/>
                  </a:cubicBezTo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29" name="Freeform 328">
              <a:extLst>
                <a:ext uri="{FF2B5EF4-FFF2-40B4-BE49-F238E27FC236}">
                  <a16:creationId xmlns:a16="http://schemas.microsoft.com/office/drawing/2014/main" id="{AEF7F8E0-677F-4DFB-280C-B2A5375C6D84}"/>
                </a:ext>
              </a:extLst>
            </p:cNvPr>
            <p:cNvSpPr/>
            <p:nvPr/>
          </p:nvSpPr>
          <p:spPr>
            <a:xfrm>
              <a:off x="6548951" y="1451836"/>
              <a:ext cx="230044" cy="230044"/>
            </a:xfrm>
            <a:custGeom>
              <a:avLst/>
              <a:gdLst>
                <a:gd name="connsiteX0" fmla="*/ 215668 w 230044"/>
                <a:gd name="connsiteY0" fmla="*/ 14510 h 230044"/>
                <a:gd name="connsiteX1" fmla="*/ 215668 w 230044"/>
                <a:gd name="connsiteY1" fmla="*/ 172627 h 230044"/>
                <a:gd name="connsiteX2" fmla="*/ 158108 w 230044"/>
                <a:gd name="connsiteY2" fmla="*/ 172627 h 230044"/>
                <a:gd name="connsiteX3" fmla="*/ 150919 w 230044"/>
                <a:gd name="connsiteY3" fmla="*/ 179842 h 230044"/>
                <a:gd name="connsiteX4" fmla="*/ 151293 w 230044"/>
                <a:gd name="connsiteY4" fmla="*/ 182113 h 230044"/>
                <a:gd name="connsiteX5" fmla="*/ 154313 w 230044"/>
                <a:gd name="connsiteY5" fmla="*/ 191146 h 230044"/>
                <a:gd name="connsiteX6" fmla="*/ 143084 w 230044"/>
                <a:gd name="connsiteY6" fmla="*/ 215098 h 230044"/>
                <a:gd name="connsiteX7" fmla="*/ 119133 w 230044"/>
                <a:gd name="connsiteY7" fmla="*/ 203870 h 230044"/>
                <a:gd name="connsiteX8" fmla="*/ 118772 w 230044"/>
                <a:gd name="connsiteY8" fmla="*/ 202770 h 230044"/>
                <a:gd name="connsiteX9" fmla="*/ 118772 w 230044"/>
                <a:gd name="connsiteY9" fmla="*/ 191146 h 230044"/>
                <a:gd name="connsiteX10" fmla="*/ 121765 w 230044"/>
                <a:gd name="connsiteY10" fmla="*/ 182113 h 230044"/>
                <a:gd name="connsiteX11" fmla="*/ 117187 w 230044"/>
                <a:gd name="connsiteY11" fmla="*/ 172994 h 230044"/>
                <a:gd name="connsiteX12" fmla="*/ 114951 w 230044"/>
                <a:gd name="connsiteY12" fmla="*/ 172627 h 230044"/>
                <a:gd name="connsiteX13" fmla="*/ 57417 w 230044"/>
                <a:gd name="connsiteY13" fmla="*/ 172627 h 230044"/>
                <a:gd name="connsiteX14" fmla="*/ 57417 w 230044"/>
                <a:gd name="connsiteY14" fmla="*/ 115094 h 230044"/>
                <a:gd name="connsiteX15" fmla="*/ 50202 w 230044"/>
                <a:gd name="connsiteY15" fmla="*/ 108039 h 230044"/>
                <a:gd name="connsiteX16" fmla="*/ 47931 w 230044"/>
                <a:gd name="connsiteY16" fmla="*/ 108413 h 230044"/>
                <a:gd name="connsiteX17" fmla="*/ 38899 w 230044"/>
                <a:gd name="connsiteY17" fmla="*/ 111406 h 230044"/>
                <a:gd name="connsiteX18" fmla="*/ 15288 w 230044"/>
                <a:gd name="connsiteY18" fmla="*/ 99476 h 230044"/>
                <a:gd name="connsiteX19" fmla="*/ 27217 w 230044"/>
                <a:gd name="connsiteY19" fmla="*/ 75865 h 230044"/>
                <a:gd name="connsiteX20" fmla="*/ 38899 w 230044"/>
                <a:gd name="connsiteY20" fmla="*/ 75865 h 230044"/>
                <a:gd name="connsiteX21" fmla="*/ 47931 w 230044"/>
                <a:gd name="connsiteY21" fmla="*/ 78644 h 230044"/>
                <a:gd name="connsiteX22" fmla="*/ 57050 w 230044"/>
                <a:gd name="connsiteY22" fmla="*/ 74067 h 230044"/>
                <a:gd name="connsiteX23" fmla="*/ 57417 w 230044"/>
                <a:gd name="connsiteY23" fmla="*/ 71830 h 230044"/>
                <a:gd name="connsiteX24" fmla="*/ 57417 w 230044"/>
                <a:gd name="connsiteY24" fmla="*/ 14510 h 230044"/>
                <a:gd name="connsiteX25" fmla="*/ 43014 w 230044"/>
                <a:gd name="connsiteY25" fmla="*/ 7188 h 230044"/>
                <a:gd name="connsiteX26" fmla="*/ 43014 w 230044"/>
                <a:gd name="connsiteY26" fmla="*/ 61943 h 230044"/>
                <a:gd name="connsiteX27" fmla="*/ 1532 w 230044"/>
                <a:gd name="connsiteY27" fmla="*/ 83579 h 230044"/>
                <a:gd name="connsiteX28" fmla="*/ 23169 w 230044"/>
                <a:gd name="connsiteY28" fmla="*/ 125061 h 230044"/>
                <a:gd name="connsiteX29" fmla="*/ 43014 w 230044"/>
                <a:gd name="connsiteY29" fmla="*/ 125061 h 230044"/>
                <a:gd name="connsiteX30" fmla="*/ 43014 w 230044"/>
                <a:gd name="connsiteY30" fmla="*/ 179815 h 230044"/>
                <a:gd name="connsiteX31" fmla="*/ 50202 w 230044"/>
                <a:gd name="connsiteY31" fmla="*/ 187030 h 230044"/>
                <a:gd name="connsiteX32" fmla="*/ 104983 w 230044"/>
                <a:gd name="connsiteY32" fmla="*/ 187030 h 230044"/>
                <a:gd name="connsiteX33" fmla="*/ 126620 w 230044"/>
                <a:gd name="connsiteY33" fmla="*/ 228512 h 230044"/>
                <a:gd name="connsiteX34" fmla="*/ 168102 w 230044"/>
                <a:gd name="connsiteY34" fmla="*/ 206876 h 230044"/>
                <a:gd name="connsiteX35" fmla="*/ 168102 w 230044"/>
                <a:gd name="connsiteY35" fmla="*/ 187030 h 230044"/>
                <a:gd name="connsiteX36" fmla="*/ 222856 w 230044"/>
                <a:gd name="connsiteY36" fmla="*/ 187030 h 230044"/>
                <a:gd name="connsiteX37" fmla="*/ 230044 w 230044"/>
                <a:gd name="connsiteY37" fmla="*/ 179842 h 230044"/>
                <a:gd name="connsiteX38" fmla="*/ 230044 w 230044"/>
                <a:gd name="connsiteY38" fmla="*/ 179815 h 230044"/>
                <a:gd name="connsiteX39" fmla="*/ 230044 w 230044"/>
                <a:gd name="connsiteY39" fmla="*/ 7188 h 230044"/>
                <a:gd name="connsiteX40" fmla="*/ 222909 w 230044"/>
                <a:gd name="connsiteY40" fmla="*/ 0 h 230044"/>
                <a:gd name="connsiteX41" fmla="*/ 222856 w 230044"/>
                <a:gd name="connsiteY41" fmla="*/ 0 h 230044"/>
                <a:gd name="connsiteX42" fmla="*/ 50202 w 230044"/>
                <a:gd name="connsiteY42" fmla="*/ 0 h 230044"/>
                <a:gd name="connsiteX43" fmla="*/ 43014 w 230044"/>
                <a:gd name="connsiteY43" fmla="*/ 7188 h 23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30044" h="230044">
                  <a:moveTo>
                    <a:pt x="215668" y="14510"/>
                  </a:moveTo>
                  <a:lnTo>
                    <a:pt x="215668" y="172627"/>
                  </a:lnTo>
                  <a:lnTo>
                    <a:pt x="158108" y="172627"/>
                  </a:lnTo>
                  <a:cubicBezTo>
                    <a:pt x="154134" y="172642"/>
                    <a:pt x="150919" y="175868"/>
                    <a:pt x="150919" y="179842"/>
                  </a:cubicBezTo>
                  <a:cubicBezTo>
                    <a:pt x="150925" y="180614"/>
                    <a:pt x="151050" y="181381"/>
                    <a:pt x="151293" y="182113"/>
                  </a:cubicBezTo>
                  <a:lnTo>
                    <a:pt x="154313" y="191146"/>
                  </a:lnTo>
                  <a:cubicBezTo>
                    <a:pt x="157827" y="200861"/>
                    <a:pt x="152800" y="211585"/>
                    <a:pt x="143084" y="215098"/>
                  </a:cubicBezTo>
                  <a:cubicBezTo>
                    <a:pt x="133371" y="218612"/>
                    <a:pt x="122644" y="213585"/>
                    <a:pt x="119133" y="203870"/>
                  </a:cubicBezTo>
                  <a:cubicBezTo>
                    <a:pt x="118999" y="203507"/>
                    <a:pt x="118882" y="203140"/>
                    <a:pt x="118772" y="202770"/>
                  </a:cubicBezTo>
                  <a:cubicBezTo>
                    <a:pt x="117516" y="198997"/>
                    <a:pt x="117516" y="194919"/>
                    <a:pt x="118772" y="191146"/>
                  </a:cubicBezTo>
                  <a:lnTo>
                    <a:pt x="121765" y="182113"/>
                  </a:lnTo>
                  <a:cubicBezTo>
                    <a:pt x="123018" y="178331"/>
                    <a:pt x="120971" y="174248"/>
                    <a:pt x="117187" y="172994"/>
                  </a:cubicBezTo>
                  <a:cubicBezTo>
                    <a:pt x="116466" y="172754"/>
                    <a:pt x="115712" y="172630"/>
                    <a:pt x="114951" y="172627"/>
                  </a:cubicBezTo>
                  <a:lnTo>
                    <a:pt x="57417" y="172627"/>
                  </a:lnTo>
                  <a:lnTo>
                    <a:pt x="57417" y="115094"/>
                  </a:lnTo>
                  <a:cubicBezTo>
                    <a:pt x="57344" y="111165"/>
                    <a:pt x="54131" y="108024"/>
                    <a:pt x="50202" y="108039"/>
                  </a:cubicBezTo>
                  <a:cubicBezTo>
                    <a:pt x="49429" y="108031"/>
                    <a:pt x="48660" y="108157"/>
                    <a:pt x="47931" y="108413"/>
                  </a:cubicBezTo>
                  <a:lnTo>
                    <a:pt x="38899" y="111406"/>
                  </a:lnTo>
                  <a:cubicBezTo>
                    <a:pt x="29084" y="114632"/>
                    <a:pt x="18513" y="109291"/>
                    <a:pt x="15288" y="99476"/>
                  </a:cubicBezTo>
                  <a:cubicBezTo>
                    <a:pt x="12062" y="89662"/>
                    <a:pt x="17403" y="79091"/>
                    <a:pt x="27217" y="75865"/>
                  </a:cubicBezTo>
                  <a:cubicBezTo>
                    <a:pt x="31011" y="74618"/>
                    <a:pt x="35105" y="74618"/>
                    <a:pt x="38899" y="75865"/>
                  </a:cubicBezTo>
                  <a:lnTo>
                    <a:pt x="47931" y="78644"/>
                  </a:lnTo>
                  <a:cubicBezTo>
                    <a:pt x="51713" y="79899"/>
                    <a:pt x="55796" y="77850"/>
                    <a:pt x="57050" y="74067"/>
                  </a:cubicBezTo>
                  <a:cubicBezTo>
                    <a:pt x="57290" y="73346"/>
                    <a:pt x="57414" y="72590"/>
                    <a:pt x="57417" y="71830"/>
                  </a:cubicBezTo>
                  <a:lnTo>
                    <a:pt x="57417" y="14510"/>
                  </a:lnTo>
                  <a:close/>
                  <a:moveTo>
                    <a:pt x="43014" y="7188"/>
                  </a:moveTo>
                  <a:lnTo>
                    <a:pt x="43014" y="61943"/>
                  </a:lnTo>
                  <a:cubicBezTo>
                    <a:pt x="25584" y="56462"/>
                    <a:pt x="7012" y="66150"/>
                    <a:pt x="1532" y="83579"/>
                  </a:cubicBezTo>
                  <a:cubicBezTo>
                    <a:pt x="-3948" y="101009"/>
                    <a:pt x="5739" y="119581"/>
                    <a:pt x="23169" y="125061"/>
                  </a:cubicBezTo>
                  <a:cubicBezTo>
                    <a:pt x="29628" y="127092"/>
                    <a:pt x="36555" y="127092"/>
                    <a:pt x="43014" y="125061"/>
                  </a:cubicBezTo>
                  <a:lnTo>
                    <a:pt x="43014" y="179815"/>
                  </a:lnTo>
                  <a:cubicBezTo>
                    <a:pt x="43014" y="183790"/>
                    <a:pt x="46228" y="187016"/>
                    <a:pt x="50202" y="187030"/>
                  </a:cubicBezTo>
                  <a:lnTo>
                    <a:pt x="104983" y="187030"/>
                  </a:lnTo>
                  <a:cubicBezTo>
                    <a:pt x="99503" y="204460"/>
                    <a:pt x="109189" y="223032"/>
                    <a:pt x="126620" y="228512"/>
                  </a:cubicBezTo>
                  <a:cubicBezTo>
                    <a:pt x="144049" y="233992"/>
                    <a:pt x="162621" y="224306"/>
                    <a:pt x="168102" y="206876"/>
                  </a:cubicBezTo>
                  <a:cubicBezTo>
                    <a:pt x="170133" y="200416"/>
                    <a:pt x="170133" y="193490"/>
                    <a:pt x="168102" y="187030"/>
                  </a:cubicBezTo>
                  <a:lnTo>
                    <a:pt x="222856" y="187030"/>
                  </a:lnTo>
                  <a:cubicBezTo>
                    <a:pt x="226827" y="187030"/>
                    <a:pt x="230044" y="183812"/>
                    <a:pt x="230044" y="179842"/>
                  </a:cubicBezTo>
                  <a:cubicBezTo>
                    <a:pt x="230044" y="179833"/>
                    <a:pt x="230044" y="179824"/>
                    <a:pt x="230044" y="179815"/>
                  </a:cubicBezTo>
                  <a:lnTo>
                    <a:pt x="230044" y="7188"/>
                  </a:lnTo>
                  <a:cubicBezTo>
                    <a:pt x="230060" y="3233"/>
                    <a:pt x="226864" y="15"/>
                    <a:pt x="222909" y="0"/>
                  </a:cubicBezTo>
                  <a:cubicBezTo>
                    <a:pt x="222891" y="0"/>
                    <a:pt x="222875" y="0"/>
                    <a:pt x="222856" y="0"/>
                  </a:cubicBezTo>
                  <a:lnTo>
                    <a:pt x="50202" y="0"/>
                  </a:lnTo>
                  <a:cubicBezTo>
                    <a:pt x="46232" y="0"/>
                    <a:pt x="43014" y="3218"/>
                    <a:pt x="43014" y="7188"/>
                  </a:cubicBezTo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30" name="Graphic 19">
            <a:extLst>
              <a:ext uri="{FF2B5EF4-FFF2-40B4-BE49-F238E27FC236}">
                <a16:creationId xmlns:a16="http://schemas.microsoft.com/office/drawing/2014/main" id="{4B0F7957-5083-17D3-3DCA-830CD2D75613}"/>
              </a:ext>
            </a:extLst>
          </p:cNvPr>
          <p:cNvGrpSpPr/>
          <p:nvPr/>
        </p:nvGrpSpPr>
        <p:grpSpPr>
          <a:xfrm>
            <a:off x="4026338" y="2582750"/>
            <a:ext cx="313381" cy="306697"/>
            <a:chOff x="5206708" y="2443780"/>
            <a:chExt cx="437513" cy="437513"/>
          </a:xfrm>
          <a:solidFill>
            <a:schemeClr val="bg1"/>
          </a:solidFill>
        </p:grpSpPr>
        <p:sp>
          <p:nvSpPr>
            <p:cNvPr id="331" name="Freeform 330">
              <a:extLst>
                <a:ext uri="{FF2B5EF4-FFF2-40B4-BE49-F238E27FC236}">
                  <a16:creationId xmlns:a16="http://schemas.microsoft.com/office/drawing/2014/main" id="{D5B9B266-D9D0-92ED-FBFC-316E67640D73}"/>
                </a:ext>
              </a:extLst>
            </p:cNvPr>
            <p:cNvSpPr/>
            <p:nvPr/>
          </p:nvSpPr>
          <p:spPr>
            <a:xfrm>
              <a:off x="5232193" y="2534673"/>
              <a:ext cx="189060" cy="284684"/>
            </a:xfrm>
            <a:custGeom>
              <a:avLst/>
              <a:gdLst>
                <a:gd name="connsiteX0" fmla="*/ 147961 w 189060"/>
                <a:gd name="connsiteY0" fmla="*/ 273473 h 284684"/>
                <a:gd name="connsiteX1" fmla="*/ 85069 w 189060"/>
                <a:gd name="connsiteY1" fmla="*/ 239074 h 284684"/>
                <a:gd name="connsiteX2" fmla="*/ 68908 w 189060"/>
                <a:gd name="connsiteY2" fmla="*/ 222257 h 284684"/>
                <a:gd name="connsiteX3" fmla="*/ 71397 w 189060"/>
                <a:gd name="connsiteY3" fmla="*/ 222257 h 284684"/>
                <a:gd name="connsiteX4" fmla="*/ 81924 w 189060"/>
                <a:gd name="connsiteY4" fmla="*/ 222612 h 284684"/>
                <a:gd name="connsiteX5" fmla="*/ 79819 w 189060"/>
                <a:gd name="connsiteY5" fmla="*/ 219714 h 284684"/>
                <a:gd name="connsiteX6" fmla="*/ 75963 w 189060"/>
                <a:gd name="connsiteY6" fmla="*/ 213479 h 284684"/>
                <a:gd name="connsiteX7" fmla="*/ 71397 w 189060"/>
                <a:gd name="connsiteY7" fmla="*/ 213643 h 284684"/>
                <a:gd name="connsiteX8" fmla="*/ 62728 w 189060"/>
                <a:gd name="connsiteY8" fmla="*/ 213999 h 284684"/>
                <a:gd name="connsiteX9" fmla="*/ 39868 w 189060"/>
                <a:gd name="connsiteY9" fmla="*/ 148946 h 284684"/>
                <a:gd name="connsiteX10" fmla="*/ 46540 w 189060"/>
                <a:gd name="connsiteY10" fmla="*/ 149219 h 284684"/>
                <a:gd name="connsiteX11" fmla="*/ 57150 w 189060"/>
                <a:gd name="connsiteY11" fmla="*/ 149547 h 284684"/>
                <a:gd name="connsiteX12" fmla="*/ 56849 w 189060"/>
                <a:gd name="connsiteY12" fmla="*/ 140250 h 284684"/>
                <a:gd name="connsiteX13" fmla="*/ 46540 w 189060"/>
                <a:gd name="connsiteY13" fmla="*/ 140578 h 284684"/>
                <a:gd name="connsiteX14" fmla="*/ 39732 w 189060"/>
                <a:gd name="connsiteY14" fmla="*/ 140879 h 284684"/>
                <a:gd name="connsiteX15" fmla="*/ 58599 w 189060"/>
                <a:gd name="connsiteY15" fmla="*/ 76975 h 284684"/>
                <a:gd name="connsiteX16" fmla="*/ 67486 w 189060"/>
                <a:gd name="connsiteY16" fmla="*/ 77358 h 284684"/>
                <a:gd name="connsiteX17" fmla="*/ 71944 w 189060"/>
                <a:gd name="connsiteY17" fmla="*/ 77494 h 284684"/>
                <a:gd name="connsiteX18" fmla="*/ 76756 w 189060"/>
                <a:gd name="connsiteY18" fmla="*/ 68416 h 284684"/>
                <a:gd name="connsiteX19" fmla="*/ 67486 w 189060"/>
                <a:gd name="connsiteY19" fmla="*/ 68717 h 284684"/>
                <a:gd name="connsiteX20" fmla="*/ 64068 w 189060"/>
                <a:gd name="connsiteY20" fmla="*/ 68717 h 284684"/>
                <a:gd name="connsiteX21" fmla="*/ 85151 w 189060"/>
                <a:gd name="connsiteY21" fmla="*/ 45474 h 284684"/>
                <a:gd name="connsiteX22" fmla="*/ 135602 w 189060"/>
                <a:gd name="connsiteY22" fmla="*/ 15340 h 284684"/>
                <a:gd name="connsiteX23" fmla="*/ 180365 w 189060"/>
                <a:gd name="connsiteY23" fmla="*/ 1313 h 284684"/>
                <a:gd name="connsiteX24" fmla="*/ 188322 w 189060"/>
                <a:gd name="connsiteY24" fmla="*/ 0 h 284684"/>
                <a:gd name="connsiteX25" fmla="*/ 163028 w 189060"/>
                <a:gd name="connsiteY25" fmla="*/ 0 h 284684"/>
                <a:gd name="connsiteX26" fmla="*/ 0 w 189060"/>
                <a:gd name="connsiteY26" fmla="*/ 142356 h 284684"/>
                <a:gd name="connsiteX27" fmla="*/ 163028 w 189060"/>
                <a:gd name="connsiteY27" fmla="*/ 284684 h 284684"/>
                <a:gd name="connsiteX28" fmla="*/ 189060 w 189060"/>
                <a:gd name="connsiteY28" fmla="*/ 284684 h 284684"/>
                <a:gd name="connsiteX29" fmla="*/ 147961 w 189060"/>
                <a:gd name="connsiteY29" fmla="*/ 273473 h 284684"/>
                <a:gd name="connsiteX30" fmla="*/ 4895 w 189060"/>
                <a:gd name="connsiteY30" fmla="*/ 142356 h 284684"/>
                <a:gd name="connsiteX31" fmla="*/ 144817 w 189060"/>
                <a:gd name="connsiteY31" fmla="*/ 5824 h 284684"/>
                <a:gd name="connsiteX32" fmla="*/ 50451 w 189060"/>
                <a:gd name="connsiteY32" fmla="*/ 69537 h 284684"/>
                <a:gd name="connsiteX33" fmla="*/ 32103 w 189060"/>
                <a:gd name="connsiteY33" fmla="*/ 73037 h 284684"/>
                <a:gd name="connsiteX34" fmla="*/ 46103 w 189060"/>
                <a:gd name="connsiteY34" fmla="*/ 76264 h 284684"/>
                <a:gd name="connsiteX35" fmla="*/ 27345 w 189060"/>
                <a:gd name="connsiteY35" fmla="*/ 141535 h 284684"/>
                <a:gd name="connsiteX36" fmla="*/ 11157 w 189060"/>
                <a:gd name="connsiteY36" fmla="*/ 144899 h 284684"/>
                <a:gd name="connsiteX37" fmla="*/ 27563 w 189060"/>
                <a:gd name="connsiteY37" fmla="*/ 148290 h 284684"/>
                <a:gd name="connsiteX38" fmla="*/ 50314 w 189060"/>
                <a:gd name="connsiteY38" fmla="*/ 214792 h 284684"/>
                <a:gd name="connsiteX39" fmla="*/ 36204 w 189060"/>
                <a:gd name="connsiteY39" fmla="*/ 218018 h 284684"/>
                <a:gd name="connsiteX40" fmla="*/ 55345 w 189060"/>
                <a:gd name="connsiteY40" fmla="*/ 221600 h 284684"/>
                <a:gd name="connsiteX41" fmla="*/ 144981 w 189060"/>
                <a:gd name="connsiteY41" fmla="*/ 278887 h 284684"/>
                <a:gd name="connsiteX42" fmla="*/ 4895 w 189060"/>
                <a:gd name="connsiteY42" fmla="*/ 142356 h 284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89060" h="284684">
                  <a:moveTo>
                    <a:pt x="147961" y="273473"/>
                  </a:moveTo>
                  <a:cubicBezTo>
                    <a:pt x="124724" y="266768"/>
                    <a:pt x="103251" y="255024"/>
                    <a:pt x="85069" y="239074"/>
                  </a:cubicBezTo>
                  <a:cubicBezTo>
                    <a:pt x="79249" y="233900"/>
                    <a:pt x="73845" y="228278"/>
                    <a:pt x="68908" y="222257"/>
                  </a:cubicBezTo>
                  <a:lnTo>
                    <a:pt x="71397" y="222257"/>
                  </a:lnTo>
                  <a:lnTo>
                    <a:pt x="81924" y="222612"/>
                  </a:lnTo>
                  <a:cubicBezTo>
                    <a:pt x="81241" y="221628"/>
                    <a:pt x="80475" y="220725"/>
                    <a:pt x="79819" y="219714"/>
                  </a:cubicBezTo>
                  <a:cubicBezTo>
                    <a:pt x="78479" y="217690"/>
                    <a:pt x="77084" y="215612"/>
                    <a:pt x="75963" y="213479"/>
                  </a:cubicBezTo>
                  <a:lnTo>
                    <a:pt x="71397" y="213643"/>
                  </a:lnTo>
                  <a:lnTo>
                    <a:pt x="62728" y="213999"/>
                  </a:lnTo>
                  <a:cubicBezTo>
                    <a:pt x="49144" y="194896"/>
                    <a:pt x="41221" y="172348"/>
                    <a:pt x="39868" y="148946"/>
                  </a:cubicBezTo>
                  <a:lnTo>
                    <a:pt x="46540" y="149219"/>
                  </a:lnTo>
                  <a:lnTo>
                    <a:pt x="57150" y="149547"/>
                  </a:lnTo>
                  <a:cubicBezTo>
                    <a:pt x="56959" y="146457"/>
                    <a:pt x="56849" y="143340"/>
                    <a:pt x="56849" y="140250"/>
                  </a:cubicBezTo>
                  <a:lnTo>
                    <a:pt x="46540" y="140578"/>
                  </a:lnTo>
                  <a:lnTo>
                    <a:pt x="39732" y="140879"/>
                  </a:lnTo>
                  <a:cubicBezTo>
                    <a:pt x="40043" y="118251"/>
                    <a:pt x="46570" y="96143"/>
                    <a:pt x="58599" y="76975"/>
                  </a:cubicBezTo>
                  <a:lnTo>
                    <a:pt x="67486" y="77358"/>
                  </a:lnTo>
                  <a:lnTo>
                    <a:pt x="71944" y="77494"/>
                  </a:lnTo>
                  <a:cubicBezTo>
                    <a:pt x="73420" y="74377"/>
                    <a:pt x="75033" y="71369"/>
                    <a:pt x="76756" y="68416"/>
                  </a:cubicBezTo>
                  <a:lnTo>
                    <a:pt x="67486" y="68717"/>
                  </a:lnTo>
                  <a:lnTo>
                    <a:pt x="64068" y="68717"/>
                  </a:lnTo>
                  <a:cubicBezTo>
                    <a:pt x="70225" y="60222"/>
                    <a:pt x="77295" y="52428"/>
                    <a:pt x="85151" y="45474"/>
                  </a:cubicBezTo>
                  <a:cubicBezTo>
                    <a:pt x="99998" y="32448"/>
                    <a:pt x="117094" y="22237"/>
                    <a:pt x="135602" y="15340"/>
                  </a:cubicBezTo>
                  <a:cubicBezTo>
                    <a:pt x="149737" y="8451"/>
                    <a:pt x="164826" y="3722"/>
                    <a:pt x="180365" y="1313"/>
                  </a:cubicBezTo>
                  <a:cubicBezTo>
                    <a:pt x="183099" y="820"/>
                    <a:pt x="185642" y="410"/>
                    <a:pt x="188322" y="0"/>
                  </a:cubicBezTo>
                  <a:lnTo>
                    <a:pt x="163028" y="0"/>
                  </a:lnTo>
                  <a:cubicBezTo>
                    <a:pt x="73147" y="0"/>
                    <a:pt x="0" y="63850"/>
                    <a:pt x="0" y="142356"/>
                  </a:cubicBezTo>
                  <a:cubicBezTo>
                    <a:pt x="0" y="220862"/>
                    <a:pt x="73147" y="284684"/>
                    <a:pt x="163028" y="284684"/>
                  </a:cubicBezTo>
                  <a:lnTo>
                    <a:pt x="189060" y="284684"/>
                  </a:lnTo>
                  <a:cubicBezTo>
                    <a:pt x="174993" y="282458"/>
                    <a:pt x="161211" y="278699"/>
                    <a:pt x="147961" y="273473"/>
                  </a:cubicBezTo>
                  <a:close/>
                  <a:moveTo>
                    <a:pt x="4895" y="142356"/>
                  </a:moveTo>
                  <a:cubicBezTo>
                    <a:pt x="4895" y="71916"/>
                    <a:pt x="66174" y="13672"/>
                    <a:pt x="144817" y="5824"/>
                  </a:cubicBezTo>
                  <a:cubicBezTo>
                    <a:pt x="106730" y="15040"/>
                    <a:pt x="73233" y="37656"/>
                    <a:pt x="50451" y="69537"/>
                  </a:cubicBezTo>
                  <a:cubicBezTo>
                    <a:pt x="32103" y="70631"/>
                    <a:pt x="32103" y="71807"/>
                    <a:pt x="32103" y="73037"/>
                  </a:cubicBezTo>
                  <a:cubicBezTo>
                    <a:pt x="32103" y="74268"/>
                    <a:pt x="32103" y="75252"/>
                    <a:pt x="46103" y="76264"/>
                  </a:cubicBezTo>
                  <a:cubicBezTo>
                    <a:pt x="34039" y="95914"/>
                    <a:pt x="27554" y="118479"/>
                    <a:pt x="27345" y="141535"/>
                  </a:cubicBezTo>
                  <a:cubicBezTo>
                    <a:pt x="11184" y="142575"/>
                    <a:pt x="11157" y="143723"/>
                    <a:pt x="11157" y="144899"/>
                  </a:cubicBezTo>
                  <a:cubicBezTo>
                    <a:pt x="11157" y="146075"/>
                    <a:pt x="11157" y="147223"/>
                    <a:pt x="27563" y="148290"/>
                  </a:cubicBezTo>
                  <a:cubicBezTo>
                    <a:pt x="28820" y="172140"/>
                    <a:pt x="36699" y="195169"/>
                    <a:pt x="50314" y="214792"/>
                  </a:cubicBezTo>
                  <a:cubicBezTo>
                    <a:pt x="36232" y="215831"/>
                    <a:pt x="36204" y="216897"/>
                    <a:pt x="36204" y="218018"/>
                  </a:cubicBezTo>
                  <a:cubicBezTo>
                    <a:pt x="36204" y="219139"/>
                    <a:pt x="36204" y="220479"/>
                    <a:pt x="55345" y="221600"/>
                  </a:cubicBezTo>
                  <a:cubicBezTo>
                    <a:pt x="78085" y="250063"/>
                    <a:pt x="109601" y="270203"/>
                    <a:pt x="144981" y="278887"/>
                  </a:cubicBezTo>
                  <a:cubicBezTo>
                    <a:pt x="66174" y="271012"/>
                    <a:pt x="4895" y="212768"/>
                    <a:pt x="4895" y="142356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32" name="Freeform 331">
              <a:extLst>
                <a:ext uri="{FF2B5EF4-FFF2-40B4-BE49-F238E27FC236}">
                  <a16:creationId xmlns:a16="http://schemas.microsoft.com/office/drawing/2014/main" id="{757FF47F-FC71-9DD0-154F-CADA8FFD9C54}"/>
                </a:ext>
              </a:extLst>
            </p:cNvPr>
            <p:cNvSpPr/>
            <p:nvPr/>
          </p:nvSpPr>
          <p:spPr>
            <a:xfrm>
              <a:off x="5207739" y="2525345"/>
              <a:ext cx="447118" cy="305385"/>
            </a:xfrm>
            <a:custGeom>
              <a:avLst/>
              <a:gdLst>
                <a:gd name="connsiteX0" fmla="*/ 183653 w 447118"/>
                <a:gd name="connsiteY0" fmla="*/ 305305 h 305385"/>
                <a:gd name="connsiteX1" fmla="*/ 171184 w 447118"/>
                <a:gd name="connsiteY1" fmla="*/ 305305 h 305385"/>
                <a:gd name="connsiteX2" fmla="*/ 24235 w 447118"/>
                <a:gd name="connsiteY2" fmla="*/ 234209 h 305385"/>
                <a:gd name="connsiteX3" fmla="*/ 14883 w 447118"/>
                <a:gd name="connsiteY3" fmla="*/ 86740 h 305385"/>
                <a:gd name="connsiteX4" fmla="*/ 129484 w 447118"/>
                <a:gd name="connsiteY4" fmla="*/ 4706 h 305385"/>
                <a:gd name="connsiteX5" fmla="*/ 183626 w 447118"/>
                <a:gd name="connsiteY5" fmla="*/ 3 h 305385"/>
                <a:gd name="connsiteX6" fmla="*/ 255706 w 447118"/>
                <a:gd name="connsiteY6" fmla="*/ 3 h 305385"/>
                <a:gd name="connsiteX7" fmla="*/ 345943 w 447118"/>
                <a:gd name="connsiteY7" fmla="*/ 12718 h 305385"/>
                <a:gd name="connsiteX8" fmla="*/ 409137 w 447118"/>
                <a:gd name="connsiteY8" fmla="*/ 53270 h 305385"/>
                <a:gd name="connsiteX9" fmla="*/ 409137 w 447118"/>
                <a:gd name="connsiteY9" fmla="*/ 53462 h 305385"/>
                <a:gd name="connsiteX10" fmla="*/ 447118 w 447118"/>
                <a:gd name="connsiteY10" fmla="*/ 154336 h 305385"/>
                <a:gd name="connsiteX11" fmla="*/ 348678 w 447118"/>
                <a:gd name="connsiteY11" fmla="*/ 292317 h 305385"/>
                <a:gd name="connsiteX12" fmla="*/ 255706 w 447118"/>
                <a:gd name="connsiteY12" fmla="*/ 305278 h 305385"/>
                <a:gd name="connsiteX13" fmla="*/ 184310 w 447118"/>
                <a:gd name="connsiteY13" fmla="*/ 13730 h 305385"/>
                <a:gd name="connsiteX14" fmla="*/ 131726 w 447118"/>
                <a:gd name="connsiteY14" fmla="*/ 18269 h 305385"/>
                <a:gd name="connsiteX15" fmla="*/ 27133 w 447118"/>
                <a:gd name="connsiteY15" fmla="*/ 92756 h 305385"/>
                <a:gd name="connsiteX16" fmla="*/ 35583 w 447118"/>
                <a:gd name="connsiteY16" fmla="*/ 226608 h 305385"/>
                <a:gd name="connsiteX17" fmla="*/ 171512 w 447118"/>
                <a:gd name="connsiteY17" fmla="*/ 291524 h 305385"/>
                <a:gd name="connsiteX18" fmla="*/ 183653 w 447118"/>
                <a:gd name="connsiteY18" fmla="*/ 291524 h 305385"/>
                <a:gd name="connsiteX19" fmla="*/ 255542 w 447118"/>
                <a:gd name="connsiteY19" fmla="*/ 291524 h 305385"/>
                <a:gd name="connsiteX20" fmla="*/ 344248 w 447118"/>
                <a:gd name="connsiteY20" fmla="*/ 279273 h 305385"/>
                <a:gd name="connsiteX21" fmla="*/ 433501 w 447118"/>
                <a:gd name="connsiteY21" fmla="*/ 154090 h 305385"/>
                <a:gd name="connsiteX22" fmla="*/ 398965 w 447118"/>
                <a:gd name="connsiteY22" fmla="*/ 62403 h 305385"/>
                <a:gd name="connsiteX23" fmla="*/ 341705 w 447118"/>
                <a:gd name="connsiteY23" fmla="*/ 25652 h 305385"/>
                <a:gd name="connsiteX24" fmla="*/ 255843 w 447118"/>
                <a:gd name="connsiteY24" fmla="*/ 13648 h 305385"/>
                <a:gd name="connsiteX25" fmla="*/ 184310 w 447118"/>
                <a:gd name="connsiteY25" fmla="*/ 13648 h 305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47118" h="305385">
                  <a:moveTo>
                    <a:pt x="183653" y="305305"/>
                  </a:moveTo>
                  <a:lnTo>
                    <a:pt x="171184" y="305305"/>
                  </a:lnTo>
                  <a:cubicBezTo>
                    <a:pt x="113526" y="307047"/>
                    <a:pt x="58655" y="280501"/>
                    <a:pt x="24235" y="234209"/>
                  </a:cubicBezTo>
                  <a:cubicBezTo>
                    <a:pt x="-4344" y="190033"/>
                    <a:pt x="-7886" y="134172"/>
                    <a:pt x="14883" y="86740"/>
                  </a:cubicBezTo>
                  <a:cubicBezTo>
                    <a:pt x="36988" y="41974"/>
                    <a:pt x="79982" y="11199"/>
                    <a:pt x="129484" y="4706"/>
                  </a:cubicBezTo>
                  <a:cubicBezTo>
                    <a:pt x="147357" y="1545"/>
                    <a:pt x="165475" y="-29"/>
                    <a:pt x="183626" y="3"/>
                  </a:cubicBezTo>
                  <a:lnTo>
                    <a:pt x="255706" y="3"/>
                  </a:lnTo>
                  <a:cubicBezTo>
                    <a:pt x="286242" y="-133"/>
                    <a:pt x="316636" y="4150"/>
                    <a:pt x="345943" y="12718"/>
                  </a:cubicBezTo>
                  <a:cubicBezTo>
                    <a:pt x="370029" y="20820"/>
                    <a:pt x="391737" y="34751"/>
                    <a:pt x="409137" y="53270"/>
                  </a:cubicBezTo>
                  <a:lnTo>
                    <a:pt x="409137" y="53462"/>
                  </a:lnTo>
                  <a:cubicBezTo>
                    <a:pt x="433703" y="81313"/>
                    <a:pt x="447214" y="117199"/>
                    <a:pt x="447118" y="154336"/>
                  </a:cubicBezTo>
                  <a:cubicBezTo>
                    <a:pt x="445899" y="216230"/>
                    <a:pt x="406807" y="271023"/>
                    <a:pt x="348678" y="292317"/>
                  </a:cubicBezTo>
                  <a:cubicBezTo>
                    <a:pt x="318555" y="301474"/>
                    <a:pt x="287183" y="305847"/>
                    <a:pt x="255706" y="305278"/>
                  </a:cubicBezTo>
                  <a:close/>
                  <a:moveTo>
                    <a:pt x="184310" y="13730"/>
                  </a:moveTo>
                  <a:cubicBezTo>
                    <a:pt x="166682" y="13688"/>
                    <a:pt x="149086" y="15207"/>
                    <a:pt x="131726" y="18269"/>
                  </a:cubicBezTo>
                  <a:cubicBezTo>
                    <a:pt x="86602" y="24052"/>
                    <a:pt x="47353" y="52003"/>
                    <a:pt x="27133" y="92756"/>
                  </a:cubicBezTo>
                  <a:cubicBezTo>
                    <a:pt x="6808" y="135870"/>
                    <a:pt x="9997" y="186392"/>
                    <a:pt x="35583" y="226608"/>
                  </a:cubicBezTo>
                  <a:cubicBezTo>
                    <a:pt x="67623" y="269085"/>
                    <a:pt x="118336" y="293304"/>
                    <a:pt x="171512" y="291524"/>
                  </a:cubicBezTo>
                  <a:cubicBezTo>
                    <a:pt x="175541" y="291524"/>
                    <a:pt x="179588" y="291524"/>
                    <a:pt x="183653" y="291524"/>
                  </a:cubicBezTo>
                  <a:lnTo>
                    <a:pt x="255542" y="291524"/>
                  </a:lnTo>
                  <a:cubicBezTo>
                    <a:pt x="285567" y="292076"/>
                    <a:pt x="315495" y="287944"/>
                    <a:pt x="344248" y="279273"/>
                  </a:cubicBezTo>
                  <a:cubicBezTo>
                    <a:pt x="396946" y="259916"/>
                    <a:pt x="432380" y="210220"/>
                    <a:pt x="433501" y="154090"/>
                  </a:cubicBezTo>
                  <a:cubicBezTo>
                    <a:pt x="433558" y="120338"/>
                    <a:pt x="421275" y="87729"/>
                    <a:pt x="398965" y="62403"/>
                  </a:cubicBezTo>
                  <a:cubicBezTo>
                    <a:pt x="383181" y="45641"/>
                    <a:pt x="363518" y="33019"/>
                    <a:pt x="341705" y="25652"/>
                  </a:cubicBezTo>
                  <a:cubicBezTo>
                    <a:pt x="313811" y="17539"/>
                    <a:pt x="284891" y="13496"/>
                    <a:pt x="255843" y="13648"/>
                  </a:cubicBezTo>
                  <a:lnTo>
                    <a:pt x="184310" y="13648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33" name="Freeform 332">
              <a:extLst>
                <a:ext uri="{FF2B5EF4-FFF2-40B4-BE49-F238E27FC236}">
                  <a16:creationId xmlns:a16="http://schemas.microsoft.com/office/drawing/2014/main" id="{29114191-1464-3E4E-5218-1C00F13B8643}"/>
                </a:ext>
              </a:extLst>
            </p:cNvPr>
            <p:cNvSpPr/>
            <p:nvPr/>
          </p:nvSpPr>
          <p:spPr>
            <a:xfrm>
              <a:off x="5285629" y="2528544"/>
              <a:ext cx="367534" cy="298723"/>
            </a:xfrm>
            <a:custGeom>
              <a:avLst/>
              <a:gdLst>
                <a:gd name="connsiteX0" fmla="*/ 177926 w 367534"/>
                <a:gd name="connsiteY0" fmla="*/ 298634 h 298723"/>
                <a:gd name="connsiteX1" fmla="*/ 167535 w 367534"/>
                <a:gd name="connsiteY1" fmla="*/ 298634 h 298723"/>
                <a:gd name="connsiteX2" fmla="*/ 23730 w 367534"/>
                <a:gd name="connsiteY2" fmla="*/ 229151 h 298723"/>
                <a:gd name="connsiteX3" fmla="*/ 14570 w 367534"/>
                <a:gd name="connsiteY3" fmla="*/ 84772 h 298723"/>
                <a:gd name="connsiteX4" fmla="*/ 126683 w 367534"/>
                <a:gd name="connsiteY4" fmla="*/ 4571 h 298723"/>
                <a:gd name="connsiteX5" fmla="*/ 268492 w 367534"/>
                <a:gd name="connsiteY5" fmla="*/ 12391 h 298723"/>
                <a:gd name="connsiteX6" fmla="*/ 330236 w 367534"/>
                <a:gd name="connsiteY6" fmla="*/ 51959 h 298723"/>
                <a:gd name="connsiteX7" fmla="*/ 330400 w 367534"/>
                <a:gd name="connsiteY7" fmla="*/ 52150 h 298723"/>
                <a:gd name="connsiteX8" fmla="*/ 367534 w 367534"/>
                <a:gd name="connsiteY8" fmla="*/ 150919 h 298723"/>
                <a:gd name="connsiteX9" fmla="*/ 271089 w 367534"/>
                <a:gd name="connsiteY9" fmla="*/ 285919 h 298723"/>
                <a:gd name="connsiteX10" fmla="*/ 177926 w 367534"/>
                <a:gd name="connsiteY10" fmla="*/ 298634 h 298723"/>
                <a:gd name="connsiteX11" fmla="*/ 180223 w 367534"/>
                <a:gd name="connsiteY11" fmla="*/ 13676 h 298723"/>
                <a:gd name="connsiteX12" fmla="*/ 128898 w 367534"/>
                <a:gd name="connsiteY12" fmla="*/ 17969 h 298723"/>
                <a:gd name="connsiteX13" fmla="*/ 26820 w 367534"/>
                <a:gd name="connsiteY13" fmla="*/ 90733 h 298723"/>
                <a:gd name="connsiteX14" fmla="*/ 35024 w 367534"/>
                <a:gd name="connsiteY14" fmla="*/ 221413 h 298723"/>
                <a:gd name="connsiteX15" fmla="*/ 167782 w 367534"/>
                <a:gd name="connsiteY15" fmla="*/ 284852 h 298723"/>
                <a:gd name="connsiteX16" fmla="*/ 266687 w 367534"/>
                <a:gd name="connsiteY16" fmla="*/ 272985 h 298723"/>
                <a:gd name="connsiteX17" fmla="*/ 353807 w 367534"/>
                <a:gd name="connsiteY17" fmla="*/ 150727 h 298723"/>
                <a:gd name="connsiteX18" fmla="*/ 320310 w 367534"/>
                <a:gd name="connsiteY18" fmla="*/ 61174 h 298723"/>
                <a:gd name="connsiteX19" fmla="*/ 264253 w 367534"/>
                <a:gd name="connsiteY19" fmla="*/ 25298 h 298723"/>
                <a:gd name="connsiteX20" fmla="*/ 180223 w 367534"/>
                <a:gd name="connsiteY20" fmla="*/ 13676 h 29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67534" h="298723">
                  <a:moveTo>
                    <a:pt x="177926" y="298634"/>
                  </a:moveTo>
                  <a:cubicBezTo>
                    <a:pt x="174536" y="298634"/>
                    <a:pt x="171063" y="298634"/>
                    <a:pt x="167535" y="298634"/>
                  </a:cubicBezTo>
                  <a:cubicBezTo>
                    <a:pt x="111128" y="300354"/>
                    <a:pt x="57437" y="274412"/>
                    <a:pt x="23730" y="229151"/>
                  </a:cubicBezTo>
                  <a:cubicBezTo>
                    <a:pt x="-4252" y="185902"/>
                    <a:pt x="-7722" y="131211"/>
                    <a:pt x="14570" y="84772"/>
                  </a:cubicBezTo>
                  <a:cubicBezTo>
                    <a:pt x="36222" y="41010"/>
                    <a:pt x="78273" y="10929"/>
                    <a:pt x="126683" y="4571"/>
                  </a:cubicBezTo>
                  <a:cubicBezTo>
                    <a:pt x="173939" y="-3519"/>
                    <a:pt x="222411" y="-845"/>
                    <a:pt x="268492" y="12391"/>
                  </a:cubicBezTo>
                  <a:cubicBezTo>
                    <a:pt x="292013" y="20301"/>
                    <a:pt x="313222" y="33892"/>
                    <a:pt x="330236" y="51959"/>
                  </a:cubicBezTo>
                  <a:lnTo>
                    <a:pt x="330400" y="52150"/>
                  </a:lnTo>
                  <a:cubicBezTo>
                    <a:pt x="354446" y="79420"/>
                    <a:pt x="367659" y="114561"/>
                    <a:pt x="367534" y="150919"/>
                  </a:cubicBezTo>
                  <a:cubicBezTo>
                    <a:pt x="366300" y="211501"/>
                    <a:pt x="328002" y="265112"/>
                    <a:pt x="271089" y="285919"/>
                  </a:cubicBezTo>
                  <a:cubicBezTo>
                    <a:pt x="240917" y="295117"/>
                    <a:pt x="209460" y="299411"/>
                    <a:pt x="177926" y="298634"/>
                  </a:cubicBezTo>
                  <a:close/>
                  <a:moveTo>
                    <a:pt x="180223" y="13676"/>
                  </a:moveTo>
                  <a:cubicBezTo>
                    <a:pt x="163021" y="13583"/>
                    <a:pt x="145845" y="15020"/>
                    <a:pt x="128898" y="17969"/>
                  </a:cubicBezTo>
                  <a:cubicBezTo>
                    <a:pt x="84855" y="23654"/>
                    <a:pt x="46558" y="50953"/>
                    <a:pt x="26820" y="90733"/>
                  </a:cubicBezTo>
                  <a:cubicBezTo>
                    <a:pt x="6950" y="132815"/>
                    <a:pt x="10046" y="182147"/>
                    <a:pt x="35024" y="221413"/>
                  </a:cubicBezTo>
                  <a:cubicBezTo>
                    <a:pt x="66312" y="262908"/>
                    <a:pt x="115841" y="286575"/>
                    <a:pt x="167782" y="284852"/>
                  </a:cubicBezTo>
                  <a:cubicBezTo>
                    <a:pt x="201188" y="286619"/>
                    <a:pt x="234647" y="282605"/>
                    <a:pt x="266687" y="272985"/>
                  </a:cubicBezTo>
                  <a:cubicBezTo>
                    <a:pt x="318133" y="254062"/>
                    <a:pt x="352716" y="205531"/>
                    <a:pt x="353807" y="150727"/>
                  </a:cubicBezTo>
                  <a:cubicBezTo>
                    <a:pt x="353941" y="117789"/>
                    <a:pt x="342027" y="85939"/>
                    <a:pt x="320310" y="61174"/>
                  </a:cubicBezTo>
                  <a:cubicBezTo>
                    <a:pt x="304843" y="44805"/>
                    <a:pt x="285596" y="32485"/>
                    <a:pt x="264253" y="25298"/>
                  </a:cubicBezTo>
                  <a:cubicBezTo>
                    <a:pt x="236947" y="17414"/>
                    <a:pt x="208645" y="13500"/>
                    <a:pt x="180223" y="13676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34" name="Freeform 333">
              <a:extLst>
                <a:ext uri="{FF2B5EF4-FFF2-40B4-BE49-F238E27FC236}">
                  <a16:creationId xmlns:a16="http://schemas.microsoft.com/office/drawing/2014/main" id="{8E18E552-8DDB-403C-746B-A928CFC18E3D}"/>
                </a:ext>
              </a:extLst>
            </p:cNvPr>
            <p:cNvSpPr/>
            <p:nvPr/>
          </p:nvSpPr>
          <p:spPr>
            <a:xfrm>
              <a:off x="5320583" y="2554891"/>
              <a:ext cx="238431" cy="170674"/>
            </a:xfrm>
            <a:custGeom>
              <a:avLst/>
              <a:gdLst>
                <a:gd name="connsiteX0" fmla="*/ 238432 w 238431"/>
                <a:gd name="connsiteY0" fmla="*/ 16943 h 170674"/>
                <a:gd name="connsiteX1" fmla="*/ 18664 w 238431"/>
                <a:gd name="connsiteY1" fmla="*/ 58890 h 170674"/>
                <a:gd name="connsiteX2" fmla="*/ 7972 w 238431"/>
                <a:gd name="connsiteY2" fmla="*/ 170675 h 170674"/>
                <a:gd name="connsiteX3" fmla="*/ 238432 w 238431"/>
                <a:gd name="connsiteY3" fmla="*/ 16943 h 170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431" h="170674">
                  <a:moveTo>
                    <a:pt x="238432" y="16943"/>
                  </a:moveTo>
                  <a:cubicBezTo>
                    <a:pt x="238432" y="16943"/>
                    <a:pt x="86806" y="-41574"/>
                    <a:pt x="18664" y="58890"/>
                  </a:cubicBezTo>
                  <a:cubicBezTo>
                    <a:pt x="-1687" y="92596"/>
                    <a:pt x="-5620" y="133722"/>
                    <a:pt x="7972" y="170675"/>
                  </a:cubicBezTo>
                  <a:cubicBezTo>
                    <a:pt x="7972" y="170675"/>
                    <a:pt x="3132" y="-27327"/>
                    <a:pt x="238432" y="16943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35" name="Freeform 334">
              <a:extLst>
                <a:ext uri="{FF2B5EF4-FFF2-40B4-BE49-F238E27FC236}">
                  <a16:creationId xmlns:a16="http://schemas.microsoft.com/office/drawing/2014/main" id="{4CE03B97-0FF1-2E9E-22E5-086E455E8139}"/>
                </a:ext>
              </a:extLst>
            </p:cNvPr>
            <p:cNvSpPr/>
            <p:nvPr/>
          </p:nvSpPr>
          <p:spPr>
            <a:xfrm>
              <a:off x="5381697" y="2608777"/>
              <a:ext cx="202285" cy="138319"/>
            </a:xfrm>
            <a:custGeom>
              <a:avLst/>
              <a:gdLst>
                <a:gd name="connsiteX0" fmla="*/ 79315 w 202285"/>
                <a:gd name="connsiteY0" fmla="*/ 1805 h 138319"/>
                <a:gd name="connsiteX1" fmla="*/ 61814 w 202285"/>
                <a:gd name="connsiteY1" fmla="*/ 38036 h 138319"/>
                <a:gd name="connsiteX2" fmla="*/ 53994 w 202285"/>
                <a:gd name="connsiteY2" fmla="*/ 122804 h 138319"/>
                <a:gd name="connsiteX3" fmla="*/ 56728 w 202285"/>
                <a:gd name="connsiteY3" fmla="*/ 125293 h 138319"/>
                <a:gd name="connsiteX4" fmla="*/ 71276 w 202285"/>
                <a:gd name="connsiteY4" fmla="*/ 112496 h 138319"/>
                <a:gd name="connsiteX5" fmla="*/ 98456 w 202285"/>
                <a:gd name="connsiteY5" fmla="*/ 7875 h 138319"/>
                <a:gd name="connsiteX6" fmla="*/ 108601 w 202285"/>
                <a:gd name="connsiteY6" fmla="*/ 246 h 138319"/>
                <a:gd name="connsiteX7" fmla="*/ 109203 w 202285"/>
                <a:gd name="connsiteY7" fmla="*/ 2406 h 138319"/>
                <a:gd name="connsiteX8" fmla="*/ 98593 w 202285"/>
                <a:gd name="connsiteY8" fmla="*/ 16079 h 138319"/>
                <a:gd name="connsiteX9" fmla="*/ 95476 w 202285"/>
                <a:gd name="connsiteY9" fmla="*/ 25895 h 138319"/>
                <a:gd name="connsiteX10" fmla="*/ 83882 w 202285"/>
                <a:gd name="connsiteY10" fmla="*/ 122258 h 138319"/>
                <a:gd name="connsiteX11" fmla="*/ 87846 w 202285"/>
                <a:gd name="connsiteY11" fmla="*/ 124992 h 138319"/>
                <a:gd name="connsiteX12" fmla="*/ 100534 w 202285"/>
                <a:gd name="connsiteY12" fmla="*/ 112468 h 138319"/>
                <a:gd name="connsiteX13" fmla="*/ 123039 w 202285"/>
                <a:gd name="connsiteY13" fmla="*/ 65982 h 138319"/>
                <a:gd name="connsiteX14" fmla="*/ 145762 w 202285"/>
                <a:gd name="connsiteY14" fmla="*/ 65189 h 138319"/>
                <a:gd name="connsiteX15" fmla="*/ 139774 w 202285"/>
                <a:gd name="connsiteY15" fmla="*/ 118457 h 138319"/>
                <a:gd name="connsiteX16" fmla="*/ 142153 w 202285"/>
                <a:gd name="connsiteY16" fmla="*/ 125867 h 138319"/>
                <a:gd name="connsiteX17" fmla="*/ 144614 w 202285"/>
                <a:gd name="connsiteY17" fmla="*/ 125293 h 138319"/>
                <a:gd name="connsiteX18" fmla="*/ 159790 w 202285"/>
                <a:gd name="connsiteY18" fmla="*/ 109706 h 138319"/>
                <a:gd name="connsiteX19" fmla="*/ 171822 w 202285"/>
                <a:gd name="connsiteY19" fmla="*/ 35521 h 138319"/>
                <a:gd name="connsiteX20" fmla="*/ 192932 w 202285"/>
                <a:gd name="connsiteY20" fmla="*/ 7957 h 138319"/>
                <a:gd name="connsiteX21" fmla="*/ 188611 w 202285"/>
                <a:gd name="connsiteY21" fmla="*/ 12961 h 138319"/>
                <a:gd name="connsiteX22" fmla="*/ 170865 w 202285"/>
                <a:gd name="connsiteY22" fmla="*/ 70959 h 138319"/>
                <a:gd name="connsiteX23" fmla="*/ 177646 w 202285"/>
                <a:gd name="connsiteY23" fmla="*/ 68225 h 138319"/>
                <a:gd name="connsiteX24" fmla="*/ 191893 w 202285"/>
                <a:gd name="connsiteY24" fmla="*/ 56330 h 138319"/>
                <a:gd name="connsiteX25" fmla="*/ 198264 w 202285"/>
                <a:gd name="connsiteY25" fmla="*/ 62564 h 138319"/>
                <a:gd name="connsiteX26" fmla="*/ 191045 w 202285"/>
                <a:gd name="connsiteY26" fmla="*/ 115804 h 138319"/>
                <a:gd name="connsiteX27" fmla="*/ 167775 w 202285"/>
                <a:gd name="connsiteY27" fmla="*/ 137680 h 138319"/>
                <a:gd name="connsiteX28" fmla="*/ 162825 w 202285"/>
                <a:gd name="connsiteY28" fmla="*/ 137188 h 138319"/>
                <a:gd name="connsiteX29" fmla="*/ 160091 w 202285"/>
                <a:gd name="connsiteY29" fmla="*/ 117007 h 138319"/>
                <a:gd name="connsiteX30" fmla="*/ 159161 w 202285"/>
                <a:gd name="connsiteY30" fmla="*/ 116406 h 138319"/>
                <a:gd name="connsiteX31" fmla="*/ 135645 w 202285"/>
                <a:gd name="connsiteY31" fmla="*/ 138063 h 138319"/>
                <a:gd name="connsiteX32" fmla="*/ 132910 w 202285"/>
                <a:gd name="connsiteY32" fmla="*/ 137434 h 138319"/>
                <a:gd name="connsiteX33" fmla="*/ 129656 w 202285"/>
                <a:gd name="connsiteY33" fmla="*/ 125074 h 138319"/>
                <a:gd name="connsiteX34" fmla="*/ 112046 w 202285"/>
                <a:gd name="connsiteY34" fmla="*/ 138172 h 138319"/>
                <a:gd name="connsiteX35" fmla="*/ 105976 w 202285"/>
                <a:gd name="connsiteY35" fmla="*/ 131500 h 138319"/>
                <a:gd name="connsiteX36" fmla="*/ 101191 w 202285"/>
                <a:gd name="connsiteY36" fmla="*/ 118019 h 138319"/>
                <a:gd name="connsiteX37" fmla="*/ 78905 w 202285"/>
                <a:gd name="connsiteY37" fmla="*/ 137871 h 138319"/>
                <a:gd name="connsiteX38" fmla="*/ 74366 w 202285"/>
                <a:gd name="connsiteY38" fmla="*/ 134426 h 138319"/>
                <a:gd name="connsiteX39" fmla="*/ 71631 w 202285"/>
                <a:gd name="connsiteY39" fmla="*/ 117773 h 138319"/>
                <a:gd name="connsiteX40" fmla="*/ 70401 w 202285"/>
                <a:gd name="connsiteY40" fmla="*/ 118046 h 138319"/>
                <a:gd name="connsiteX41" fmla="*/ 48744 w 202285"/>
                <a:gd name="connsiteY41" fmla="*/ 137899 h 138319"/>
                <a:gd name="connsiteX42" fmla="*/ 44478 w 202285"/>
                <a:gd name="connsiteY42" fmla="*/ 135164 h 138319"/>
                <a:gd name="connsiteX43" fmla="*/ 41579 w 202285"/>
                <a:gd name="connsiteY43" fmla="*/ 113917 h 138319"/>
                <a:gd name="connsiteX44" fmla="*/ 40349 w 202285"/>
                <a:gd name="connsiteY44" fmla="*/ 113917 h 138319"/>
                <a:gd name="connsiteX45" fmla="*/ 9750 w 202285"/>
                <a:gd name="connsiteY45" fmla="*/ 138281 h 138319"/>
                <a:gd name="connsiteX46" fmla="*/ 6387 w 202285"/>
                <a:gd name="connsiteY46" fmla="*/ 135793 h 138319"/>
                <a:gd name="connsiteX47" fmla="*/ 13469 w 202285"/>
                <a:gd name="connsiteY47" fmla="*/ 64971 h 138319"/>
                <a:gd name="connsiteX48" fmla="*/ 27142 w 202285"/>
                <a:gd name="connsiteY48" fmla="*/ 58845 h 138319"/>
                <a:gd name="connsiteX49" fmla="*/ 33403 w 202285"/>
                <a:gd name="connsiteY49" fmla="*/ 68525 h 138319"/>
                <a:gd name="connsiteX50" fmla="*/ 33403 w 202285"/>
                <a:gd name="connsiteY50" fmla="*/ 78698 h 138319"/>
                <a:gd name="connsiteX51" fmla="*/ 12047 w 202285"/>
                <a:gd name="connsiteY51" fmla="*/ 98550 h 138319"/>
                <a:gd name="connsiteX52" fmla="*/ 15192 w 202285"/>
                <a:gd name="connsiteY52" fmla="*/ 126332 h 138319"/>
                <a:gd name="connsiteX53" fmla="*/ 19212 w 202285"/>
                <a:gd name="connsiteY53" fmla="*/ 126906 h 138319"/>
                <a:gd name="connsiteX54" fmla="*/ 19786 w 202285"/>
                <a:gd name="connsiteY54" fmla="*/ 126332 h 138319"/>
                <a:gd name="connsiteX55" fmla="*/ 41662 w 202285"/>
                <a:gd name="connsiteY55" fmla="*/ 105577 h 138319"/>
                <a:gd name="connsiteX56" fmla="*/ 65807 w 202285"/>
                <a:gd name="connsiteY56" fmla="*/ 12387 h 138319"/>
                <a:gd name="connsiteX57" fmla="*/ 79042 w 202285"/>
                <a:gd name="connsiteY57" fmla="*/ 0 h 138319"/>
                <a:gd name="connsiteX58" fmla="*/ 79664 w 202285"/>
                <a:gd name="connsiteY58" fmla="*/ 1331 h 138319"/>
                <a:gd name="connsiteX59" fmla="*/ 79315 w 202285"/>
                <a:gd name="connsiteY59" fmla="*/ 1805 h 138319"/>
                <a:gd name="connsiteX60" fmla="*/ 25173 w 202285"/>
                <a:gd name="connsiteY60" fmla="*/ 61142 h 138319"/>
                <a:gd name="connsiteX61" fmla="*/ 20852 w 202285"/>
                <a:gd name="connsiteY61" fmla="*/ 63877 h 138319"/>
                <a:gd name="connsiteX62" fmla="*/ 12922 w 202285"/>
                <a:gd name="connsiteY62" fmla="*/ 92780 h 138319"/>
                <a:gd name="connsiteX63" fmla="*/ 26212 w 202285"/>
                <a:gd name="connsiteY63" fmla="*/ 81186 h 138319"/>
                <a:gd name="connsiteX64" fmla="*/ 28208 w 202285"/>
                <a:gd name="connsiteY64" fmla="*/ 65189 h 138319"/>
                <a:gd name="connsiteX65" fmla="*/ 25173 w 202285"/>
                <a:gd name="connsiteY65" fmla="*/ 61142 h 138319"/>
                <a:gd name="connsiteX66" fmla="*/ 134989 w 202285"/>
                <a:gd name="connsiteY66" fmla="*/ 67076 h 138319"/>
                <a:gd name="connsiteX67" fmla="*/ 123066 w 202285"/>
                <a:gd name="connsiteY67" fmla="*/ 70166 h 138319"/>
                <a:gd name="connsiteX68" fmla="*/ 112894 w 202285"/>
                <a:gd name="connsiteY68" fmla="*/ 109214 h 138319"/>
                <a:gd name="connsiteX69" fmla="*/ 117351 w 202285"/>
                <a:gd name="connsiteY69" fmla="*/ 125894 h 138319"/>
                <a:gd name="connsiteX70" fmla="*/ 128754 w 202285"/>
                <a:gd name="connsiteY70" fmla="*/ 119222 h 138319"/>
                <a:gd name="connsiteX71" fmla="*/ 135344 w 202285"/>
                <a:gd name="connsiteY71" fmla="*/ 68717 h 138319"/>
                <a:gd name="connsiteX72" fmla="*/ 184209 w 202285"/>
                <a:gd name="connsiteY72" fmla="*/ 68443 h 138319"/>
                <a:gd name="connsiteX73" fmla="*/ 172751 w 202285"/>
                <a:gd name="connsiteY73" fmla="*/ 80065 h 138319"/>
                <a:gd name="connsiteX74" fmla="*/ 172286 w 202285"/>
                <a:gd name="connsiteY74" fmla="*/ 124855 h 138319"/>
                <a:gd name="connsiteX75" fmla="*/ 173490 w 202285"/>
                <a:gd name="connsiteY75" fmla="*/ 127945 h 138319"/>
                <a:gd name="connsiteX76" fmla="*/ 181693 w 202285"/>
                <a:gd name="connsiteY76" fmla="*/ 122285 h 138319"/>
                <a:gd name="connsiteX77" fmla="*/ 189158 w 202285"/>
                <a:gd name="connsiteY77" fmla="*/ 73830 h 138319"/>
                <a:gd name="connsiteX78" fmla="*/ 184072 w 202285"/>
                <a:gd name="connsiteY78" fmla="*/ 68443 h 13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202285" h="138319">
                  <a:moveTo>
                    <a:pt x="79315" y="1805"/>
                  </a:moveTo>
                  <a:cubicBezTo>
                    <a:pt x="66983" y="9407"/>
                    <a:pt x="66217" y="25130"/>
                    <a:pt x="61814" y="38036"/>
                  </a:cubicBezTo>
                  <a:cubicBezTo>
                    <a:pt x="53949" y="65558"/>
                    <a:pt x="51296" y="94308"/>
                    <a:pt x="53994" y="122804"/>
                  </a:cubicBezTo>
                  <a:cubicBezTo>
                    <a:pt x="54502" y="123991"/>
                    <a:pt x="55500" y="124899"/>
                    <a:pt x="56728" y="125293"/>
                  </a:cubicBezTo>
                  <a:cubicBezTo>
                    <a:pt x="62132" y="121702"/>
                    <a:pt x="67025" y="117398"/>
                    <a:pt x="71276" y="112496"/>
                  </a:cubicBezTo>
                  <a:cubicBezTo>
                    <a:pt x="72592" y="76056"/>
                    <a:pt x="81870" y="40347"/>
                    <a:pt x="98456" y="7875"/>
                  </a:cubicBezTo>
                  <a:cubicBezTo>
                    <a:pt x="100813" y="4198"/>
                    <a:pt x="104415" y="1490"/>
                    <a:pt x="108601" y="246"/>
                  </a:cubicBezTo>
                  <a:cubicBezTo>
                    <a:pt x="109531" y="246"/>
                    <a:pt x="109832" y="1805"/>
                    <a:pt x="109203" y="2406"/>
                  </a:cubicBezTo>
                  <a:cubicBezTo>
                    <a:pt x="102968" y="4703"/>
                    <a:pt x="100780" y="10063"/>
                    <a:pt x="98593" y="16079"/>
                  </a:cubicBezTo>
                  <a:cubicBezTo>
                    <a:pt x="97357" y="19285"/>
                    <a:pt x="96316" y="22563"/>
                    <a:pt x="95476" y="25895"/>
                  </a:cubicBezTo>
                  <a:cubicBezTo>
                    <a:pt x="85432" y="56968"/>
                    <a:pt x="81495" y="89690"/>
                    <a:pt x="83882" y="122258"/>
                  </a:cubicBezTo>
                  <a:cubicBezTo>
                    <a:pt x="84483" y="123816"/>
                    <a:pt x="85987" y="125676"/>
                    <a:pt x="87846" y="124992"/>
                  </a:cubicBezTo>
                  <a:cubicBezTo>
                    <a:pt x="92808" y="121631"/>
                    <a:pt x="97108" y="117385"/>
                    <a:pt x="100534" y="112468"/>
                  </a:cubicBezTo>
                  <a:cubicBezTo>
                    <a:pt x="98697" y="93974"/>
                    <a:pt x="107392" y="76012"/>
                    <a:pt x="123039" y="65982"/>
                  </a:cubicBezTo>
                  <a:cubicBezTo>
                    <a:pt x="130039" y="62057"/>
                    <a:pt x="138505" y="61762"/>
                    <a:pt x="145762" y="65189"/>
                  </a:cubicBezTo>
                  <a:cubicBezTo>
                    <a:pt x="142057" y="82711"/>
                    <a:pt x="140050" y="100550"/>
                    <a:pt x="139774" y="118457"/>
                  </a:cubicBezTo>
                  <a:cubicBezTo>
                    <a:pt x="139965" y="120617"/>
                    <a:pt x="139774" y="124308"/>
                    <a:pt x="142153" y="125867"/>
                  </a:cubicBezTo>
                  <a:lnTo>
                    <a:pt x="144614" y="125293"/>
                  </a:lnTo>
                  <a:lnTo>
                    <a:pt x="159790" y="109706"/>
                  </a:lnTo>
                  <a:cubicBezTo>
                    <a:pt x="162205" y="84745"/>
                    <a:pt x="166224" y="59966"/>
                    <a:pt x="171822" y="35521"/>
                  </a:cubicBezTo>
                  <a:cubicBezTo>
                    <a:pt x="175294" y="24446"/>
                    <a:pt x="183388" y="9160"/>
                    <a:pt x="192932" y="7957"/>
                  </a:cubicBezTo>
                  <a:cubicBezTo>
                    <a:pt x="196459" y="11102"/>
                    <a:pt x="192576" y="9215"/>
                    <a:pt x="188611" y="12961"/>
                  </a:cubicBezTo>
                  <a:cubicBezTo>
                    <a:pt x="177321" y="30222"/>
                    <a:pt x="171165" y="50336"/>
                    <a:pt x="170865" y="70959"/>
                  </a:cubicBezTo>
                  <a:cubicBezTo>
                    <a:pt x="173244" y="71615"/>
                    <a:pt x="173599" y="71342"/>
                    <a:pt x="177646" y="68225"/>
                  </a:cubicBezTo>
                  <a:lnTo>
                    <a:pt x="191893" y="56330"/>
                  </a:lnTo>
                  <a:cubicBezTo>
                    <a:pt x="195256" y="56056"/>
                    <a:pt x="197061" y="60076"/>
                    <a:pt x="198264" y="62564"/>
                  </a:cubicBezTo>
                  <a:cubicBezTo>
                    <a:pt x="205557" y="80324"/>
                    <a:pt x="202803" y="100628"/>
                    <a:pt x="191045" y="115804"/>
                  </a:cubicBezTo>
                  <a:cubicBezTo>
                    <a:pt x="185056" y="124773"/>
                    <a:pt x="177096" y="132255"/>
                    <a:pt x="167775" y="137680"/>
                  </a:cubicBezTo>
                  <a:cubicBezTo>
                    <a:pt x="164028" y="138938"/>
                    <a:pt x="163044" y="137434"/>
                    <a:pt x="162825" y="137188"/>
                  </a:cubicBezTo>
                  <a:cubicBezTo>
                    <a:pt x="160558" y="130715"/>
                    <a:pt x="159626" y="123849"/>
                    <a:pt x="160091" y="117007"/>
                  </a:cubicBezTo>
                  <a:lnTo>
                    <a:pt x="159161" y="116406"/>
                  </a:lnTo>
                  <a:lnTo>
                    <a:pt x="135645" y="138063"/>
                  </a:lnTo>
                  <a:cubicBezTo>
                    <a:pt x="135043" y="138063"/>
                    <a:pt x="133430" y="138500"/>
                    <a:pt x="132910" y="137434"/>
                  </a:cubicBezTo>
                  <a:cubicBezTo>
                    <a:pt x="131089" y="133545"/>
                    <a:pt x="129984" y="129356"/>
                    <a:pt x="129656" y="125074"/>
                  </a:cubicBezTo>
                  <a:cubicBezTo>
                    <a:pt x="123476" y="128711"/>
                    <a:pt x="118226" y="134508"/>
                    <a:pt x="112046" y="138172"/>
                  </a:cubicBezTo>
                  <a:cubicBezTo>
                    <a:pt x="108683" y="138446"/>
                    <a:pt x="107152" y="134289"/>
                    <a:pt x="105976" y="131500"/>
                  </a:cubicBezTo>
                  <a:cubicBezTo>
                    <a:pt x="103241" y="124746"/>
                    <a:pt x="103105" y="123160"/>
                    <a:pt x="101191" y="118019"/>
                  </a:cubicBezTo>
                  <a:lnTo>
                    <a:pt x="78905" y="137871"/>
                  </a:lnTo>
                  <a:cubicBezTo>
                    <a:pt x="76444" y="139074"/>
                    <a:pt x="74995" y="136395"/>
                    <a:pt x="74366" y="134426"/>
                  </a:cubicBezTo>
                  <a:cubicBezTo>
                    <a:pt x="73101" y="128938"/>
                    <a:pt x="72188" y="123376"/>
                    <a:pt x="71631" y="117773"/>
                  </a:cubicBezTo>
                  <a:lnTo>
                    <a:pt x="70401" y="118046"/>
                  </a:lnTo>
                  <a:lnTo>
                    <a:pt x="48744" y="137899"/>
                  </a:lnTo>
                  <a:cubicBezTo>
                    <a:pt x="46447" y="138582"/>
                    <a:pt x="45626" y="137680"/>
                    <a:pt x="44478" y="135164"/>
                  </a:cubicBezTo>
                  <a:cubicBezTo>
                    <a:pt x="42874" y="128183"/>
                    <a:pt x="41904" y="121074"/>
                    <a:pt x="41579" y="113917"/>
                  </a:cubicBezTo>
                  <a:lnTo>
                    <a:pt x="40349" y="113917"/>
                  </a:lnTo>
                  <a:cubicBezTo>
                    <a:pt x="30854" y="122886"/>
                    <a:pt x="20618" y="131038"/>
                    <a:pt x="9750" y="138281"/>
                  </a:cubicBezTo>
                  <a:cubicBezTo>
                    <a:pt x="8219" y="138582"/>
                    <a:pt x="7016" y="137051"/>
                    <a:pt x="6387" y="135793"/>
                  </a:cubicBezTo>
                  <a:cubicBezTo>
                    <a:pt x="-4195" y="112635"/>
                    <a:pt x="-1488" y="85574"/>
                    <a:pt x="13469" y="64971"/>
                  </a:cubicBezTo>
                  <a:cubicBezTo>
                    <a:pt x="15356" y="62975"/>
                    <a:pt x="20880" y="56166"/>
                    <a:pt x="27142" y="58845"/>
                  </a:cubicBezTo>
                  <a:cubicBezTo>
                    <a:pt x="30696" y="60103"/>
                    <a:pt x="32364" y="62920"/>
                    <a:pt x="33403" y="68525"/>
                  </a:cubicBezTo>
                  <a:cubicBezTo>
                    <a:pt x="34481" y="71831"/>
                    <a:pt x="34481" y="75393"/>
                    <a:pt x="33403" y="78698"/>
                  </a:cubicBezTo>
                  <a:lnTo>
                    <a:pt x="12047" y="98550"/>
                  </a:lnTo>
                  <a:cubicBezTo>
                    <a:pt x="10580" y="107925"/>
                    <a:pt x="11666" y="117521"/>
                    <a:pt x="15192" y="126332"/>
                  </a:cubicBezTo>
                  <a:cubicBezTo>
                    <a:pt x="16143" y="127601"/>
                    <a:pt x="17943" y="127858"/>
                    <a:pt x="19212" y="126906"/>
                  </a:cubicBezTo>
                  <a:cubicBezTo>
                    <a:pt x="19429" y="126742"/>
                    <a:pt x="19623" y="126551"/>
                    <a:pt x="19786" y="126332"/>
                  </a:cubicBezTo>
                  <a:lnTo>
                    <a:pt x="41662" y="105577"/>
                  </a:lnTo>
                  <a:cubicBezTo>
                    <a:pt x="43758" y="73269"/>
                    <a:pt x="51951" y="41649"/>
                    <a:pt x="65807" y="12387"/>
                  </a:cubicBezTo>
                  <a:cubicBezTo>
                    <a:pt x="67557" y="9133"/>
                    <a:pt x="73299" y="246"/>
                    <a:pt x="79042" y="0"/>
                  </a:cubicBezTo>
                  <a:cubicBezTo>
                    <a:pt x="79581" y="196"/>
                    <a:pt x="79860" y="792"/>
                    <a:pt x="79664" y="1331"/>
                  </a:cubicBezTo>
                  <a:cubicBezTo>
                    <a:pt x="79596" y="1519"/>
                    <a:pt x="79474" y="1684"/>
                    <a:pt x="79315" y="1805"/>
                  </a:cubicBezTo>
                  <a:close/>
                  <a:moveTo>
                    <a:pt x="25173" y="61142"/>
                  </a:moveTo>
                  <a:cubicBezTo>
                    <a:pt x="23568" y="61763"/>
                    <a:pt x="22100" y="62692"/>
                    <a:pt x="20852" y="63877"/>
                  </a:cubicBezTo>
                  <a:cubicBezTo>
                    <a:pt x="16294" y="72881"/>
                    <a:pt x="13597" y="82711"/>
                    <a:pt x="12922" y="92780"/>
                  </a:cubicBezTo>
                  <a:cubicBezTo>
                    <a:pt x="17844" y="88870"/>
                    <a:pt x="22192" y="84850"/>
                    <a:pt x="26212" y="81186"/>
                  </a:cubicBezTo>
                  <a:lnTo>
                    <a:pt x="28208" y="65189"/>
                  </a:lnTo>
                  <a:cubicBezTo>
                    <a:pt x="29138" y="62728"/>
                    <a:pt x="27634" y="61170"/>
                    <a:pt x="25173" y="61142"/>
                  </a:cubicBezTo>
                  <a:close/>
                  <a:moveTo>
                    <a:pt x="134989" y="67076"/>
                  </a:moveTo>
                  <a:cubicBezTo>
                    <a:pt x="130780" y="65197"/>
                    <a:pt x="125831" y="66479"/>
                    <a:pt x="123066" y="70166"/>
                  </a:cubicBezTo>
                  <a:cubicBezTo>
                    <a:pt x="114146" y="81077"/>
                    <a:pt x="110430" y="95338"/>
                    <a:pt x="112894" y="109214"/>
                  </a:cubicBezTo>
                  <a:cubicBezTo>
                    <a:pt x="112916" y="115066"/>
                    <a:pt x="114450" y="120811"/>
                    <a:pt x="117351" y="125894"/>
                  </a:cubicBezTo>
                  <a:cubicBezTo>
                    <a:pt x="122000" y="126332"/>
                    <a:pt x="125555" y="121957"/>
                    <a:pt x="128754" y="119222"/>
                  </a:cubicBezTo>
                  <a:cubicBezTo>
                    <a:pt x="130449" y="102296"/>
                    <a:pt x="132445" y="85342"/>
                    <a:pt x="135344" y="68717"/>
                  </a:cubicBezTo>
                  <a:close/>
                  <a:moveTo>
                    <a:pt x="184209" y="68443"/>
                  </a:moveTo>
                  <a:cubicBezTo>
                    <a:pt x="178863" y="70436"/>
                    <a:pt x="174668" y="74690"/>
                    <a:pt x="172751" y="80065"/>
                  </a:cubicBezTo>
                  <a:cubicBezTo>
                    <a:pt x="170438" y="94895"/>
                    <a:pt x="170282" y="109980"/>
                    <a:pt x="172286" y="124855"/>
                  </a:cubicBezTo>
                  <a:lnTo>
                    <a:pt x="173490" y="127945"/>
                  </a:lnTo>
                  <a:cubicBezTo>
                    <a:pt x="176525" y="127945"/>
                    <a:pt x="180134" y="124254"/>
                    <a:pt x="181693" y="122285"/>
                  </a:cubicBezTo>
                  <a:cubicBezTo>
                    <a:pt x="191499" y="108140"/>
                    <a:pt x="194252" y="90271"/>
                    <a:pt x="189158" y="73830"/>
                  </a:cubicBezTo>
                  <a:cubicBezTo>
                    <a:pt x="188967" y="72463"/>
                    <a:pt x="188365" y="67131"/>
                    <a:pt x="184072" y="68443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36" name="Graphic 21">
            <a:extLst>
              <a:ext uri="{FF2B5EF4-FFF2-40B4-BE49-F238E27FC236}">
                <a16:creationId xmlns:a16="http://schemas.microsoft.com/office/drawing/2014/main" id="{B48D9BD9-E9A1-2255-150E-F82F9E5BEF06}"/>
              </a:ext>
            </a:extLst>
          </p:cNvPr>
          <p:cNvGrpSpPr/>
          <p:nvPr/>
        </p:nvGrpSpPr>
        <p:grpSpPr>
          <a:xfrm>
            <a:off x="4030412" y="1888937"/>
            <a:ext cx="313244" cy="306639"/>
            <a:chOff x="5212395" y="1454032"/>
            <a:chExt cx="437321" cy="437431"/>
          </a:xfrm>
          <a:solidFill>
            <a:schemeClr val="bg1"/>
          </a:solidFill>
        </p:grpSpPr>
        <p:sp>
          <p:nvSpPr>
            <p:cNvPr id="337" name="Freeform 336">
              <a:extLst>
                <a:ext uri="{FF2B5EF4-FFF2-40B4-BE49-F238E27FC236}">
                  <a16:creationId xmlns:a16="http://schemas.microsoft.com/office/drawing/2014/main" id="{769742BE-7578-7C96-C066-6BA78A22C8CB}"/>
                </a:ext>
              </a:extLst>
            </p:cNvPr>
            <p:cNvSpPr/>
            <p:nvPr/>
          </p:nvSpPr>
          <p:spPr>
            <a:xfrm>
              <a:off x="5212395" y="1454032"/>
              <a:ext cx="437321" cy="437431"/>
            </a:xfrm>
            <a:custGeom>
              <a:avLst/>
              <a:gdLst>
                <a:gd name="connsiteX0" fmla="*/ 434396 w 437321"/>
                <a:gd name="connsiteY0" fmla="*/ 161825 h 437431"/>
                <a:gd name="connsiteX1" fmla="*/ 393543 w 437321"/>
                <a:gd name="connsiteY1" fmla="*/ 130871 h 437431"/>
                <a:gd name="connsiteX2" fmla="*/ 393543 w 437321"/>
                <a:gd name="connsiteY2" fmla="*/ 50970 h 437431"/>
                <a:gd name="connsiteX3" fmla="*/ 386242 w 437321"/>
                <a:gd name="connsiteY3" fmla="*/ 43697 h 437431"/>
                <a:gd name="connsiteX4" fmla="*/ 278696 w 437321"/>
                <a:gd name="connsiteY4" fmla="*/ 43697 h 437431"/>
                <a:gd name="connsiteX5" fmla="*/ 223022 w 437321"/>
                <a:gd name="connsiteY5" fmla="*/ 1477 h 437431"/>
                <a:gd name="connsiteX6" fmla="*/ 214217 w 437321"/>
                <a:gd name="connsiteY6" fmla="*/ 1477 h 437431"/>
                <a:gd name="connsiteX7" fmla="*/ 158544 w 437321"/>
                <a:gd name="connsiteY7" fmla="*/ 43751 h 437431"/>
                <a:gd name="connsiteX8" fmla="*/ 51025 w 437321"/>
                <a:gd name="connsiteY8" fmla="*/ 43751 h 437431"/>
                <a:gd name="connsiteX9" fmla="*/ 43724 w 437321"/>
                <a:gd name="connsiteY9" fmla="*/ 50970 h 437431"/>
                <a:gd name="connsiteX10" fmla="*/ 43724 w 437321"/>
                <a:gd name="connsiteY10" fmla="*/ 130816 h 437431"/>
                <a:gd name="connsiteX11" fmla="*/ 2926 w 437321"/>
                <a:gd name="connsiteY11" fmla="*/ 161825 h 437431"/>
                <a:gd name="connsiteX12" fmla="*/ 0 w 437321"/>
                <a:gd name="connsiteY12" fmla="*/ 167650 h 437431"/>
                <a:gd name="connsiteX13" fmla="*/ 0 w 437321"/>
                <a:gd name="connsiteY13" fmla="*/ 430157 h 437431"/>
                <a:gd name="connsiteX14" fmla="*/ 7274 w 437321"/>
                <a:gd name="connsiteY14" fmla="*/ 437431 h 437431"/>
                <a:gd name="connsiteX15" fmla="*/ 7301 w 437321"/>
                <a:gd name="connsiteY15" fmla="*/ 437431 h 437431"/>
                <a:gd name="connsiteX16" fmla="*/ 430021 w 437321"/>
                <a:gd name="connsiteY16" fmla="*/ 437431 h 437431"/>
                <a:gd name="connsiteX17" fmla="*/ 437322 w 437321"/>
                <a:gd name="connsiteY17" fmla="*/ 430185 h 437431"/>
                <a:gd name="connsiteX18" fmla="*/ 437322 w 437321"/>
                <a:gd name="connsiteY18" fmla="*/ 430157 h 437431"/>
                <a:gd name="connsiteX19" fmla="*/ 437322 w 437321"/>
                <a:gd name="connsiteY19" fmla="*/ 167650 h 437431"/>
                <a:gd name="connsiteX20" fmla="*/ 434396 w 437321"/>
                <a:gd name="connsiteY20" fmla="*/ 161825 h 437431"/>
                <a:gd name="connsiteX21" fmla="*/ 14575 w 437321"/>
                <a:gd name="connsiteY21" fmla="*/ 182224 h 437431"/>
                <a:gd name="connsiteX22" fmla="*/ 168169 w 437321"/>
                <a:gd name="connsiteY22" fmla="*/ 298739 h 437431"/>
                <a:gd name="connsiteX23" fmla="*/ 14575 w 437321"/>
                <a:gd name="connsiteY23" fmla="*/ 415364 h 437431"/>
                <a:gd name="connsiteX24" fmla="*/ 218674 w 437321"/>
                <a:gd name="connsiteY24" fmla="*/ 278723 h 437431"/>
                <a:gd name="connsiteX25" fmla="*/ 408364 w 437321"/>
                <a:gd name="connsiteY25" fmla="*/ 422856 h 437431"/>
                <a:gd name="connsiteX26" fmla="*/ 28958 w 437321"/>
                <a:gd name="connsiteY26" fmla="*/ 422856 h 437431"/>
                <a:gd name="connsiteX27" fmla="*/ 269153 w 437321"/>
                <a:gd name="connsiteY27" fmla="*/ 298739 h 437431"/>
                <a:gd name="connsiteX28" fmla="*/ 422747 w 437321"/>
                <a:gd name="connsiteY28" fmla="*/ 182224 h 437431"/>
                <a:gd name="connsiteX29" fmla="*/ 422747 w 437321"/>
                <a:gd name="connsiteY29" fmla="*/ 415255 h 437431"/>
                <a:gd name="connsiteX30" fmla="*/ 417962 w 437321"/>
                <a:gd name="connsiteY30" fmla="*/ 167486 h 437431"/>
                <a:gd name="connsiteX31" fmla="*/ 393598 w 437321"/>
                <a:gd name="connsiteY31" fmla="*/ 185970 h 437431"/>
                <a:gd name="connsiteX32" fmla="*/ 393598 w 437321"/>
                <a:gd name="connsiteY32" fmla="*/ 149165 h 437431"/>
                <a:gd name="connsiteX33" fmla="*/ 218674 w 437321"/>
                <a:gd name="connsiteY33" fmla="*/ 16434 h 437431"/>
                <a:gd name="connsiteX34" fmla="*/ 254633 w 437321"/>
                <a:gd name="connsiteY34" fmla="*/ 43779 h 437431"/>
                <a:gd name="connsiteX35" fmla="*/ 182689 w 437321"/>
                <a:gd name="connsiteY35" fmla="*/ 43779 h 437431"/>
                <a:gd name="connsiteX36" fmla="*/ 379023 w 437321"/>
                <a:gd name="connsiteY36" fmla="*/ 58326 h 437431"/>
                <a:gd name="connsiteX37" fmla="*/ 379023 w 437321"/>
                <a:gd name="connsiteY37" fmla="*/ 197209 h 437431"/>
                <a:gd name="connsiteX38" fmla="*/ 257066 w 437321"/>
                <a:gd name="connsiteY38" fmla="*/ 289688 h 437431"/>
                <a:gd name="connsiteX39" fmla="*/ 223022 w 437321"/>
                <a:gd name="connsiteY39" fmla="*/ 263875 h 437431"/>
                <a:gd name="connsiteX40" fmla="*/ 214217 w 437321"/>
                <a:gd name="connsiteY40" fmla="*/ 263875 h 437431"/>
                <a:gd name="connsiteX41" fmla="*/ 180255 w 437321"/>
                <a:gd name="connsiteY41" fmla="*/ 289661 h 437431"/>
                <a:gd name="connsiteX42" fmla="*/ 58299 w 437321"/>
                <a:gd name="connsiteY42" fmla="*/ 197209 h 437431"/>
                <a:gd name="connsiteX43" fmla="*/ 58299 w 437321"/>
                <a:gd name="connsiteY43" fmla="*/ 58326 h 437431"/>
                <a:gd name="connsiteX44" fmla="*/ 43724 w 437321"/>
                <a:gd name="connsiteY44" fmla="*/ 186135 h 437431"/>
                <a:gd name="connsiteX45" fmla="*/ 19360 w 437321"/>
                <a:gd name="connsiteY45" fmla="*/ 167650 h 437431"/>
                <a:gd name="connsiteX46" fmla="*/ 43724 w 437321"/>
                <a:gd name="connsiteY46" fmla="*/ 149165 h 437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37321" h="437431">
                  <a:moveTo>
                    <a:pt x="434396" y="161825"/>
                  </a:moveTo>
                  <a:lnTo>
                    <a:pt x="393543" y="130871"/>
                  </a:lnTo>
                  <a:lnTo>
                    <a:pt x="393543" y="50970"/>
                  </a:lnTo>
                  <a:cubicBezTo>
                    <a:pt x="393527" y="46949"/>
                    <a:pt x="390264" y="43697"/>
                    <a:pt x="386242" y="43697"/>
                  </a:cubicBezTo>
                  <a:lnTo>
                    <a:pt x="278696" y="43697"/>
                  </a:lnTo>
                  <a:lnTo>
                    <a:pt x="223022" y="1477"/>
                  </a:lnTo>
                  <a:cubicBezTo>
                    <a:pt x="220417" y="-492"/>
                    <a:pt x="216822" y="-492"/>
                    <a:pt x="214217" y="1477"/>
                  </a:cubicBezTo>
                  <a:lnTo>
                    <a:pt x="158544" y="43751"/>
                  </a:lnTo>
                  <a:lnTo>
                    <a:pt x="51025" y="43751"/>
                  </a:lnTo>
                  <a:cubicBezTo>
                    <a:pt x="47024" y="43751"/>
                    <a:pt x="43769" y="46970"/>
                    <a:pt x="43724" y="50970"/>
                  </a:cubicBezTo>
                  <a:lnTo>
                    <a:pt x="43724" y="130816"/>
                  </a:lnTo>
                  <a:lnTo>
                    <a:pt x="2926" y="161825"/>
                  </a:lnTo>
                  <a:cubicBezTo>
                    <a:pt x="1087" y="163197"/>
                    <a:pt x="2" y="165355"/>
                    <a:pt x="0" y="167650"/>
                  </a:cubicBezTo>
                  <a:lnTo>
                    <a:pt x="0" y="430157"/>
                  </a:lnTo>
                  <a:cubicBezTo>
                    <a:pt x="0" y="434174"/>
                    <a:pt x="3256" y="437431"/>
                    <a:pt x="7274" y="437431"/>
                  </a:cubicBezTo>
                  <a:cubicBezTo>
                    <a:pt x="7283" y="437431"/>
                    <a:pt x="7292" y="437431"/>
                    <a:pt x="7301" y="437431"/>
                  </a:cubicBezTo>
                  <a:lnTo>
                    <a:pt x="430021" y="437431"/>
                  </a:lnTo>
                  <a:cubicBezTo>
                    <a:pt x="434038" y="437447"/>
                    <a:pt x="437305" y="434202"/>
                    <a:pt x="437322" y="430185"/>
                  </a:cubicBezTo>
                  <a:cubicBezTo>
                    <a:pt x="437322" y="430177"/>
                    <a:pt x="437322" y="430166"/>
                    <a:pt x="437322" y="430157"/>
                  </a:cubicBezTo>
                  <a:lnTo>
                    <a:pt x="437322" y="167650"/>
                  </a:lnTo>
                  <a:cubicBezTo>
                    <a:pt x="437319" y="165355"/>
                    <a:pt x="436236" y="163197"/>
                    <a:pt x="434396" y="161825"/>
                  </a:cubicBezTo>
                  <a:close/>
                  <a:moveTo>
                    <a:pt x="14575" y="182224"/>
                  </a:moveTo>
                  <a:lnTo>
                    <a:pt x="168169" y="298739"/>
                  </a:lnTo>
                  <a:lnTo>
                    <a:pt x="14575" y="415364"/>
                  </a:lnTo>
                  <a:close/>
                  <a:moveTo>
                    <a:pt x="218674" y="278723"/>
                  </a:moveTo>
                  <a:lnTo>
                    <a:pt x="408364" y="422856"/>
                  </a:lnTo>
                  <a:lnTo>
                    <a:pt x="28958" y="422856"/>
                  </a:lnTo>
                  <a:close/>
                  <a:moveTo>
                    <a:pt x="269153" y="298739"/>
                  </a:moveTo>
                  <a:lnTo>
                    <a:pt x="422747" y="182224"/>
                  </a:lnTo>
                  <a:lnTo>
                    <a:pt x="422747" y="415255"/>
                  </a:lnTo>
                  <a:close/>
                  <a:moveTo>
                    <a:pt x="417962" y="167486"/>
                  </a:moveTo>
                  <a:lnTo>
                    <a:pt x="393598" y="185970"/>
                  </a:lnTo>
                  <a:lnTo>
                    <a:pt x="393598" y="149165"/>
                  </a:lnTo>
                  <a:close/>
                  <a:moveTo>
                    <a:pt x="218674" y="16434"/>
                  </a:moveTo>
                  <a:lnTo>
                    <a:pt x="254633" y="43779"/>
                  </a:lnTo>
                  <a:lnTo>
                    <a:pt x="182689" y="43779"/>
                  </a:lnTo>
                  <a:close/>
                  <a:moveTo>
                    <a:pt x="379023" y="58326"/>
                  </a:moveTo>
                  <a:lnTo>
                    <a:pt x="379023" y="197209"/>
                  </a:lnTo>
                  <a:lnTo>
                    <a:pt x="257066" y="289688"/>
                  </a:lnTo>
                  <a:lnTo>
                    <a:pt x="223022" y="263875"/>
                  </a:lnTo>
                  <a:cubicBezTo>
                    <a:pt x="220427" y="261878"/>
                    <a:pt x="216813" y="261878"/>
                    <a:pt x="214217" y="263875"/>
                  </a:cubicBezTo>
                  <a:lnTo>
                    <a:pt x="180255" y="289661"/>
                  </a:lnTo>
                  <a:lnTo>
                    <a:pt x="58299" y="197209"/>
                  </a:lnTo>
                  <a:lnTo>
                    <a:pt x="58299" y="58326"/>
                  </a:lnTo>
                  <a:close/>
                  <a:moveTo>
                    <a:pt x="43724" y="186135"/>
                  </a:moveTo>
                  <a:lnTo>
                    <a:pt x="19360" y="167650"/>
                  </a:lnTo>
                  <a:lnTo>
                    <a:pt x="43724" y="149165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38" name="Freeform 337">
              <a:extLst>
                <a:ext uri="{FF2B5EF4-FFF2-40B4-BE49-F238E27FC236}">
                  <a16:creationId xmlns:a16="http://schemas.microsoft.com/office/drawing/2014/main" id="{80363FFF-DF3E-51C8-A706-1BA30A52D32F}"/>
                </a:ext>
              </a:extLst>
            </p:cNvPr>
            <p:cNvSpPr/>
            <p:nvPr/>
          </p:nvSpPr>
          <p:spPr>
            <a:xfrm>
              <a:off x="5365306" y="1548754"/>
              <a:ext cx="131253" cy="131267"/>
            </a:xfrm>
            <a:custGeom>
              <a:avLst/>
              <a:gdLst>
                <a:gd name="connsiteX0" fmla="*/ 65764 w 131253"/>
                <a:gd name="connsiteY0" fmla="*/ 131254 h 131267"/>
                <a:gd name="connsiteX1" fmla="*/ 87503 w 131253"/>
                <a:gd name="connsiteY1" fmla="*/ 131254 h 131267"/>
                <a:gd name="connsiteX2" fmla="*/ 95236 w 131253"/>
                <a:gd name="connsiteY2" fmla="*/ 124413 h 131267"/>
                <a:gd name="connsiteX3" fmla="*/ 88396 w 131253"/>
                <a:gd name="connsiteY3" fmla="*/ 116679 h 131267"/>
                <a:gd name="connsiteX4" fmla="*/ 87503 w 131253"/>
                <a:gd name="connsiteY4" fmla="*/ 116679 h 131267"/>
                <a:gd name="connsiteX5" fmla="*/ 65627 w 131253"/>
                <a:gd name="connsiteY5" fmla="*/ 116679 h 131267"/>
                <a:gd name="connsiteX6" fmla="*/ 14711 w 131253"/>
                <a:gd name="connsiteY6" fmla="*/ 65545 h 131267"/>
                <a:gd name="connsiteX7" fmla="*/ 65846 w 131253"/>
                <a:gd name="connsiteY7" fmla="*/ 14630 h 131267"/>
                <a:gd name="connsiteX8" fmla="*/ 116761 w 131253"/>
                <a:gd name="connsiteY8" fmla="*/ 65627 h 131267"/>
                <a:gd name="connsiteX9" fmla="*/ 116761 w 131253"/>
                <a:gd name="connsiteY9" fmla="*/ 80202 h 131267"/>
                <a:gd name="connsiteX10" fmla="*/ 109027 w 131253"/>
                <a:gd name="connsiteY10" fmla="*/ 87042 h 131267"/>
                <a:gd name="connsiteX11" fmla="*/ 102187 w 131253"/>
                <a:gd name="connsiteY11" fmla="*/ 80202 h 131267"/>
                <a:gd name="connsiteX12" fmla="*/ 102187 w 131253"/>
                <a:gd name="connsiteY12" fmla="*/ 65627 h 131267"/>
                <a:gd name="connsiteX13" fmla="*/ 65758 w 131253"/>
                <a:gd name="connsiteY13" fmla="*/ 28773 h 131267"/>
                <a:gd name="connsiteX14" fmla="*/ 28905 w 131253"/>
                <a:gd name="connsiteY14" fmla="*/ 65201 h 131267"/>
                <a:gd name="connsiteX15" fmla="*/ 65333 w 131253"/>
                <a:gd name="connsiteY15" fmla="*/ 102055 h 131267"/>
                <a:gd name="connsiteX16" fmla="*/ 91003 w 131253"/>
                <a:gd name="connsiteY16" fmla="*/ 91768 h 131267"/>
                <a:gd name="connsiteX17" fmla="*/ 121246 w 131253"/>
                <a:gd name="connsiteY17" fmla="*/ 98281 h 131267"/>
                <a:gd name="connsiteX18" fmla="*/ 131254 w 131253"/>
                <a:gd name="connsiteY18" fmla="*/ 80229 h 131267"/>
                <a:gd name="connsiteX19" fmla="*/ 131254 w 131253"/>
                <a:gd name="connsiteY19" fmla="*/ 65627 h 131267"/>
                <a:gd name="connsiteX20" fmla="*/ 65627 w 131253"/>
                <a:gd name="connsiteY20" fmla="*/ 0 h 131267"/>
                <a:gd name="connsiteX21" fmla="*/ 0 w 131253"/>
                <a:gd name="connsiteY21" fmla="*/ 65627 h 131267"/>
                <a:gd name="connsiteX22" fmla="*/ 65627 w 131253"/>
                <a:gd name="connsiteY22" fmla="*/ 131254 h 131267"/>
                <a:gd name="connsiteX23" fmla="*/ 65764 w 131253"/>
                <a:gd name="connsiteY23" fmla="*/ 87503 h 131267"/>
                <a:gd name="connsiteX24" fmla="*/ 43752 w 131253"/>
                <a:gd name="connsiteY24" fmla="*/ 65764 h 131267"/>
                <a:gd name="connsiteX25" fmla="*/ 65490 w 131253"/>
                <a:gd name="connsiteY25" fmla="*/ 43752 h 131267"/>
                <a:gd name="connsiteX26" fmla="*/ 87502 w 131253"/>
                <a:gd name="connsiteY26" fmla="*/ 65491 h 131267"/>
                <a:gd name="connsiteX27" fmla="*/ 87503 w 131253"/>
                <a:gd name="connsiteY27" fmla="*/ 65627 h 131267"/>
                <a:gd name="connsiteX28" fmla="*/ 65764 w 131253"/>
                <a:gd name="connsiteY28" fmla="*/ 87503 h 131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1253" h="131267">
                  <a:moveTo>
                    <a:pt x="65764" y="131254"/>
                  </a:moveTo>
                  <a:lnTo>
                    <a:pt x="87503" y="131254"/>
                  </a:lnTo>
                  <a:cubicBezTo>
                    <a:pt x="91527" y="131501"/>
                    <a:pt x="94990" y="128438"/>
                    <a:pt x="95236" y="124413"/>
                  </a:cubicBezTo>
                  <a:cubicBezTo>
                    <a:pt x="95483" y="120389"/>
                    <a:pt x="92421" y="116926"/>
                    <a:pt x="88396" y="116679"/>
                  </a:cubicBezTo>
                  <a:cubicBezTo>
                    <a:pt x="88098" y="116661"/>
                    <a:pt x="87800" y="116661"/>
                    <a:pt x="87503" y="116679"/>
                  </a:cubicBezTo>
                  <a:lnTo>
                    <a:pt x="65627" y="116679"/>
                  </a:lnTo>
                  <a:cubicBezTo>
                    <a:pt x="37447" y="116619"/>
                    <a:pt x="14651" y="93725"/>
                    <a:pt x="14711" y="65545"/>
                  </a:cubicBezTo>
                  <a:cubicBezTo>
                    <a:pt x="14772" y="37365"/>
                    <a:pt x="37665" y="14569"/>
                    <a:pt x="65846" y="14630"/>
                  </a:cubicBezTo>
                  <a:cubicBezTo>
                    <a:pt x="93973" y="14690"/>
                    <a:pt x="116745" y="37500"/>
                    <a:pt x="116761" y="65627"/>
                  </a:cubicBezTo>
                  <a:lnTo>
                    <a:pt x="116761" y="80202"/>
                  </a:lnTo>
                  <a:cubicBezTo>
                    <a:pt x="116515" y="84226"/>
                    <a:pt x="113052" y="87289"/>
                    <a:pt x="109027" y="87042"/>
                  </a:cubicBezTo>
                  <a:cubicBezTo>
                    <a:pt x="105347" y="86817"/>
                    <a:pt x="102412" y="83882"/>
                    <a:pt x="102187" y="80202"/>
                  </a:cubicBezTo>
                  <a:lnTo>
                    <a:pt x="102187" y="65627"/>
                  </a:lnTo>
                  <a:cubicBezTo>
                    <a:pt x="102304" y="45391"/>
                    <a:pt x="85995" y="28891"/>
                    <a:pt x="65758" y="28773"/>
                  </a:cubicBezTo>
                  <a:cubicBezTo>
                    <a:pt x="45522" y="28655"/>
                    <a:pt x="29022" y="44965"/>
                    <a:pt x="28905" y="65201"/>
                  </a:cubicBezTo>
                  <a:cubicBezTo>
                    <a:pt x="28787" y="85438"/>
                    <a:pt x="45096" y="101938"/>
                    <a:pt x="65333" y="102055"/>
                  </a:cubicBezTo>
                  <a:cubicBezTo>
                    <a:pt x="74904" y="102111"/>
                    <a:pt x="84118" y="98419"/>
                    <a:pt x="91003" y="91768"/>
                  </a:cubicBezTo>
                  <a:cubicBezTo>
                    <a:pt x="97556" y="101918"/>
                    <a:pt x="111096" y="104834"/>
                    <a:pt x="121246" y="98281"/>
                  </a:cubicBezTo>
                  <a:cubicBezTo>
                    <a:pt x="127390" y="94314"/>
                    <a:pt x="131145" y="87541"/>
                    <a:pt x="131254" y="80229"/>
                  </a:cubicBezTo>
                  <a:lnTo>
                    <a:pt x="131254" y="65627"/>
                  </a:lnTo>
                  <a:cubicBezTo>
                    <a:pt x="131254" y="29382"/>
                    <a:pt x="101872" y="0"/>
                    <a:pt x="65627" y="0"/>
                  </a:cubicBezTo>
                  <a:cubicBezTo>
                    <a:pt x="29382" y="0"/>
                    <a:pt x="0" y="29382"/>
                    <a:pt x="0" y="65627"/>
                  </a:cubicBezTo>
                  <a:cubicBezTo>
                    <a:pt x="0" y="101872"/>
                    <a:pt x="29382" y="131254"/>
                    <a:pt x="65627" y="131254"/>
                  </a:cubicBezTo>
                  <a:close/>
                  <a:moveTo>
                    <a:pt x="65764" y="87503"/>
                  </a:moveTo>
                  <a:cubicBezTo>
                    <a:pt x="53682" y="87578"/>
                    <a:pt x="43827" y="77846"/>
                    <a:pt x="43752" y="65764"/>
                  </a:cubicBezTo>
                  <a:cubicBezTo>
                    <a:pt x="43676" y="53683"/>
                    <a:pt x="53409" y="43828"/>
                    <a:pt x="65490" y="43752"/>
                  </a:cubicBezTo>
                  <a:cubicBezTo>
                    <a:pt x="77572" y="43677"/>
                    <a:pt x="87427" y="53409"/>
                    <a:pt x="87502" y="65491"/>
                  </a:cubicBezTo>
                  <a:cubicBezTo>
                    <a:pt x="87502" y="65536"/>
                    <a:pt x="87503" y="65582"/>
                    <a:pt x="87503" y="65627"/>
                  </a:cubicBezTo>
                  <a:cubicBezTo>
                    <a:pt x="87503" y="77655"/>
                    <a:pt x="77792" y="87427"/>
                    <a:pt x="65764" y="87503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39" name="Graphic 23">
            <a:extLst>
              <a:ext uri="{FF2B5EF4-FFF2-40B4-BE49-F238E27FC236}">
                <a16:creationId xmlns:a16="http://schemas.microsoft.com/office/drawing/2014/main" id="{0DC6B9CF-6EF5-7E29-6AF7-6868693F3E94}"/>
              </a:ext>
            </a:extLst>
          </p:cNvPr>
          <p:cNvGrpSpPr/>
          <p:nvPr/>
        </p:nvGrpSpPr>
        <p:grpSpPr>
          <a:xfrm>
            <a:off x="7451898" y="3716854"/>
            <a:ext cx="422758" cy="413740"/>
            <a:chOff x="9989148" y="4061617"/>
            <a:chExt cx="590214" cy="590214"/>
          </a:xfrm>
          <a:solidFill>
            <a:schemeClr val="bg1"/>
          </a:solidFill>
        </p:grpSpPr>
        <p:sp>
          <p:nvSpPr>
            <p:cNvPr id="340" name="Freeform 339">
              <a:extLst>
                <a:ext uri="{FF2B5EF4-FFF2-40B4-BE49-F238E27FC236}">
                  <a16:creationId xmlns:a16="http://schemas.microsoft.com/office/drawing/2014/main" id="{751E5BE2-8C0C-36F8-708B-30EDD7E3A32D}"/>
                </a:ext>
              </a:extLst>
            </p:cNvPr>
            <p:cNvSpPr/>
            <p:nvPr/>
          </p:nvSpPr>
          <p:spPr>
            <a:xfrm>
              <a:off x="10070792" y="4217750"/>
              <a:ext cx="103974" cy="141925"/>
            </a:xfrm>
            <a:custGeom>
              <a:avLst/>
              <a:gdLst>
                <a:gd name="connsiteX0" fmla="*/ 3199 w 103974"/>
                <a:gd name="connsiteY0" fmla="*/ 141924 h 141925"/>
                <a:gd name="connsiteX1" fmla="*/ 2055 w 103974"/>
                <a:gd name="connsiteY1" fmla="*/ 141740 h 141925"/>
                <a:gd name="connsiteX2" fmla="*/ 211 w 103974"/>
                <a:gd name="connsiteY2" fmla="*/ 137572 h 141925"/>
                <a:gd name="connsiteX3" fmla="*/ 100178 w 103974"/>
                <a:gd name="connsiteY3" fmla="*/ 52 h 141925"/>
                <a:gd name="connsiteX4" fmla="*/ 103923 w 103974"/>
                <a:gd name="connsiteY4" fmla="*/ 2652 h 141925"/>
                <a:gd name="connsiteX5" fmla="*/ 101322 w 103974"/>
                <a:gd name="connsiteY5" fmla="*/ 6396 h 141925"/>
                <a:gd name="connsiteX6" fmla="*/ 6224 w 103974"/>
                <a:gd name="connsiteY6" fmla="*/ 139895 h 141925"/>
                <a:gd name="connsiteX7" fmla="*/ 3199 w 103974"/>
                <a:gd name="connsiteY7" fmla="*/ 141924 h 1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974" h="141925">
                  <a:moveTo>
                    <a:pt x="3199" y="141924"/>
                  </a:moveTo>
                  <a:cubicBezTo>
                    <a:pt x="2809" y="141935"/>
                    <a:pt x="2422" y="141873"/>
                    <a:pt x="2055" y="141740"/>
                  </a:cubicBezTo>
                  <a:cubicBezTo>
                    <a:pt x="404" y="141088"/>
                    <a:pt x="-417" y="139232"/>
                    <a:pt x="211" y="137572"/>
                  </a:cubicBezTo>
                  <a:cubicBezTo>
                    <a:pt x="2240" y="132296"/>
                    <a:pt x="50490" y="8905"/>
                    <a:pt x="100178" y="52"/>
                  </a:cubicBezTo>
                  <a:cubicBezTo>
                    <a:pt x="101931" y="-264"/>
                    <a:pt x="103607" y="900"/>
                    <a:pt x="103923" y="2652"/>
                  </a:cubicBezTo>
                  <a:cubicBezTo>
                    <a:pt x="104238" y="4404"/>
                    <a:pt x="103074" y="6081"/>
                    <a:pt x="101322" y="6396"/>
                  </a:cubicBezTo>
                  <a:cubicBezTo>
                    <a:pt x="55138" y="14586"/>
                    <a:pt x="6888" y="138641"/>
                    <a:pt x="6224" y="139895"/>
                  </a:cubicBezTo>
                  <a:cubicBezTo>
                    <a:pt x="5717" y="141120"/>
                    <a:pt x="4524" y="141921"/>
                    <a:pt x="3199" y="141924"/>
                  </a:cubicBez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41" name="Freeform 340">
              <a:extLst>
                <a:ext uri="{FF2B5EF4-FFF2-40B4-BE49-F238E27FC236}">
                  <a16:creationId xmlns:a16="http://schemas.microsoft.com/office/drawing/2014/main" id="{98F7B5F8-A7B6-9770-3080-497EDAD79A2F}"/>
                </a:ext>
              </a:extLst>
            </p:cNvPr>
            <p:cNvSpPr/>
            <p:nvPr/>
          </p:nvSpPr>
          <p:spPr>
            <a:xfrm>
              <a:off x="10168524" y="4216996"/>
              <a:ext cx="167095" cy="86903"/>
            </a:xfrm>
            <a:custGeom>
              <a:avLst/>
              <a:gdLst>
                <a:gd name="connsiteX0" fmla="*/ 163870 w 167095"/>
                <a:gd name="connsiteY0" fmla="*/ 86904 h 86903"/>
                <a:gd name="connsiteX1" fmla="*/ 161804 w 167095"/>
                <a:gd name="connsiteY1" fmla="*/ 86129 h 86903"/>
                <a:gd name="connsiteX2" fmla="*/ 3774 w 167095"/>
                <a:gd name="connsiteY2" fmla="*/ 7114 h 86903"/>
                <a:gd name="connsiteX3" fmla="*/ 48 w 167095"/>
                <a:gd name="connsiteY3" fmla="*/ 4495 h 86903"/>
                <a:gd name="connsiteX4" fmla="*/ 2667 w 167095"/>
                <a:gd name="connsiteY4" fmla="*/ 769 h 86903"/>
                <a:gd name="connsiteX5" fmla="*/ 165935 w 167095"/>
                <a:gd name="connsiteY5" fmla="*/ 81223 h 86903"/>
                <a:gd name="connsiteX6" fmla="*/ 166356 w 167095"/>
                <a:gd name="connsiteY6" fmla="*/ 85742 h 86903"/>
                <a:gd name="connsiteX7" fmla="*/ 166341 w 167095"/>
                <a:gd name="connsiteY7" fmla="*/ 85760 h 86903"/>
                <a:gd name="connsiteX8" fmla="*/ 163870 w 167095"/>
                <a:gd name="connsiteY8" fmla="*/ 86904 h 86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095" h="86903">
                  <a:moveTo>
                    <a:pt x="163870" y="86904"/>
                  </a:moveTo>
                  <a:cubicBezTo>
                    <a:pt x="163110" y="86904"/>
                    <a:pt x="162376" y="86629"/>
                    <a:pt x="161804" y="86129"/>
                  </a:cubicBezTo>
                  <a:cubicBezTo>
                    <a:pt x="160771" y="85244"/>
                    <a:pt x="55971" y="-2219"/>
                    <a:pt x="3774" y="7114"/>
                  </a:cubicBezTo>
                  <a:cubicBezTo>
                    <a:pt x="2022" y="7420"/>
                    <a:pt x="354" y="6247"/>
                    <a:pt x="48" y="4495"/>
                  </a:cubicBezTo>
                  <a:cubicBezTo>
                    <a:pt x="-257" y="2743"/>
                    <a:pt x="915" y="1075"/>
                    <a:pt x="2667" y="769"/>
                  </a:cubicBezTo>
                  <a:cubicBezTo>
                    <a:pt x="58000" y="-9006"/>
                    <a:pt x="161546" y="77534"/>
                    <a:pt x="165935" y="81223"/>
                  </a:cubicBezTo>
                  <a:cubicBezTo>
                    <a:pt x="167300" y="82355"/>
                    <a:pt x="167488" y="84378"/>
                    <a:pt x="166356" y="85742"/>
                  </a:cubicBezTo>
                  <a:cubicBezTo>
                    <a:pt x="166352" y="85748"/>
                    <a:pt x="166346" y="85754"/>
                    <a:pt x="166341" y="85760"/>
                  </a:cubicBezTo>
                  <a:cubicBezTo>
                    <a:pt x="165725" y="86485"/>
                    <a:pt x="164821" y="86903"/>
                    <a:pt x="163870" y="86904"/>
                  </a:cubicBez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42" name="Freeform 341">
              <a:extLst>
                <a:ext uri="{FF2B5EF4-FFF2-40B4-BE49-F238E27FC236}">
                  <a16:creationId xmlns:a16="http://schemas.microsoft.com/office/drawing/2014/main" id="{B7C18348-5D87-7F44-23F5-FF716ACDD34F}"/>
                </a:ext>
              </a:extLst>
            </p:cNvPr>
            <p:cNvSpPr/>
            <p:nvPr/>
          </p:nvSpPr>
          <p:spPr>
            <a:xfrm>
              <a:off x="10168524" y="4217254"/>
              <a:ext cx="102616" cy="98119"/>
            </a:xfrm>
            <a:custGeom>
              <a:avLst/>
              <a:gdLst>
                <a:gd name="connsiteX0" fmla="*/ 99315 w 102616"/>
                <a:gd name="connsiteY0" fmla="*/ 98118 h 98119"/>
                <a:gd name="connsiteX1" fmla="*/ 96475 w 102616"/>
                <a:gd name="connsiteY1" fmla="*/ 96347 h 98119"/>
                <a:gd name="connsiteX2" fmla="*/ 3774 w 102616"/>
                <a:gd name="connsiteY2" fmla="*/ 6856 h 98119"/>
                <a:gd name="connsiteX3" fmla="*/ 48 w 102616"/>
                <a:gd name="connsiteY3" fmla="*/ 4237 h 98119"/>
                <a:gd name="connsiteX4" fmla="*/ 2667 w 102616"/>
                <a:gd name="connsiteY4" fmla="*/ 511 h 98119"/>
                <a:gd name="connsiteX5" fmla="*/ 102266 w 102616"/>
                <a:gd name="connsiteY5" fmla="*/ 93433 h 98119"/>
                <a:gd name="connsiteX6" fmla="*/ 100864 w 102616"/>
                <a:gd name="connsiteY6" fmla="*/ 97749 h 98119"/>
                <a:gd name="connsiteX7" fmla="*/ 99315 w 102616"/>
                <a:gd name="connsiteY7" fmla="*/ 98118 h 98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616" h="98119">
                  <a:moveTo>
                    <a:pt x="99315" y="98118"/>
                  </a:moveTo>
                  <a:cubicBezTo>
                    <a:pt x="98106" y="98125"/>
                    <a:pt x="97001" y="97436"/>
                    <a:pt x="96475" y="96347"/>
                  </a:cubicBezTo>
                  <a:cubicBezTo>
                    <a:pt x="95958" y="95388"/>
                    <a:pt x="46159" y="-706"/>
                    <a:pt x="3774" y="6856"/>
                  </a:cubicBezTo>
                  <a:cubicBezTo>
                    <a:pt x="2022" y="7162"/>
                    <a:pt x="354" y="5989"/>
                    <a:pt x="48" y="4237"/>
                  </a:cubicBezTo>
                  <a:cubicBezTo>
                    <a:pt x="-257" y="2485"/>
                    <a:pt x="915" y="817"/>
                    <a:pt x="2667" y="511"/>
                  </a:cubicBezTo>
                  <a:cubicBezTo>
                    <a:pt x="49774" y="-7862"/>
                    <a:pt x="100053" y="89302"/>
                    <a:pt x="102266" y="93433"/>
                  </a:cubicBezTo>
                  <a:cubicBezTo>
                    <a:pt x="103071" y="95012"/>
                    <a:pt x="102443" y="96944"/>
                    <a:pt x="100864" y="97749"/>
                  </a:cubicBezTo>
                  <a:cubicBezTo>
                    <a:pt x="100390" y="98009"/>
                    <a:pt x="99855" y="98136"/>
                    <a:pt x="99315" y="98118"/>
                  </a:cubicBez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43" name="Freeform 342">
              <a:extLst>
                <a:ext uri="{FF2B5EF4-FFF2-40B4-BE49-F238E27FC236}">
                  <a16:creationId xmlns:a16="http://schemas.microsoft.com/office/drawing/2014/main" id="{F097DE74-C062-ECE9-8519-8BEBDE2B6191}"/>
                </a:ext>
              </a:extLst>
            </p:cNvPr>
            <p:cNvSpPr/>
            <p:nvPr/>
          </p:nvSpPr>
          <p:spPr>
            <a:xfrm>
              <a:off x="10136699" y="4217521"/>
              <a:ext cx="75486" cy="127139"/>
            </a:xfrm>
            <a:custGeom>
              <a:avLst/>
              <a:gdLst>
                <a:gd name="connsiteX0" fmla="*/ 3138 w 75486"/>
                <a:gd name="connsiteY0" fmla="*/ 127140 h 127139"/>
                <a:gd name="connsiteX1" fmla="*/ 3138 w 75486"/>
                <a:gd name="connsiteY1" fmla="*/ 127140 h 127139"/>
                <a:gd name="connsiteX2" fmla="*/ 0 w 75486"/>
                <a:gd name="connsiteY2" fmla="*/ 123933 h 127139"/>
                <a:gd name="connsiteX3" fmla="*/ 2 w 75486"/>
                <a:gd name="connsiteY3" fmla="*/ 123857 h 127139"/>
                <a:gd name="connsiteX4" fmla="*/ 35636 w 75486"/>
                <a:gd name="connsiteY4" fmla="*/ 59 h 127139"/>
                <a:gd name="connsiteX5" fmla="*/ 39325 w 75486"/>
                <a:gd name="connsiteY5" fmla="*/ 2199 h 127139"/>
                <a:gd name="connsiteX6" fmla="*/ 75328 w 75486"/>
                <a:gd name="connsiteY6" fmla="*/ 111020 h 127139"/>
                <a:gd name="connsiteX7" fmla="*/ 73262 w 75486"/>
                <a:gd name="connsiteY7" fmla="*/ 115077 h 127139"/>
                <a:gd name="connsiteX8" fmla="*/ 69205 w 75486"/>
                <a:gd name="connsiteY8" fmla="*/ 113012 h 127139"/>
                <a:gd name="connsiteX9" fmla="*/ 34050 w 75486"/>
                <a:gd name="connsiteY9" fmla="*/ 7253 h 127139"/>
                <a:gd name="connsiteX10" fmla="*/ 6347 w 75486"/>
                <a:gd name="connsiteY10" fmla="*/ 124004 h 127139"/>
                <a:gd name="connsiteX11" fmla="*/ 3138 w 75486"/>
                <a:gd name="connsiteY11" fmla="*/ 127140 h 12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486" h="127139">
                  <a:moveTo>
                    <a:pt x="3138" y="127140"/>
                  </a:moveTo>
                  <a:lnTo>
                    <a:pt x="3138" y="127140"/>
                  </a:lnTo>
                  <a:cubicBezTo>
                    <a:pt x="1386" y="127121"/>
                    <a:pt x="-19" y="125685"/>
                    <a:pt x="0" y="123933"/>
                  </a:cubicBezTo>
                  <a:cubicBezTo>
                    <a:pt x="1" y="123907"/>
                    <a:pt x="1" y="123882"/>
                    <a:pt x="2" y="123857"/>
                  </a:cubicBezTo>
                  <a:cubicBezTo>
                    <a:pt x="334" y="111757"/>
                    <a:pt x="4244" y="5814"/>
                    <a:pt x="35636" y="59"/>
                  </a:cubicBezTo>
                  <a:cubicBezTo>
                    <a:pt x="37228" y="-248"/>
                    <a:pt x="38802" y="665"/>
                    <a:pt x="39325" y="2199"/>
                  </a:cubicBezTo>
                  <a:lnTo>
                    <a:pt x="75328" y="111020"/>
                  </a:lnTo>
                  <a:cubicBezTo>
                    <a:pt x="75878" y="112711"/>
                    <a:pt x="74953" y="114527"/>
                    <a:pt x="73262" y="115077"/>
                  </a:cubicBezTo>
                  <a:cubicBezTo>
                    <a:pt x="71571" y="115627"/>
                    <a:pt x="69755" y="114703"/>
                    <a:pt x="69205" y="113012"/>
                  </a:cubicBezTo>
                  <a:lnTo>
                    <a:pt x="34050" y="7253"/>
                  </a:lnTo>
                  <a:cubicBezTo>
                    <a:pt x="16085" y="16217"/>
                    <a:pt x="7527" y="82357"/>
                    <a:pt x="6347" y="124004"/>
                  </a:cubicBezTo>
                  <a:cubicBezTo>
                    <a:pt x="6307" y="125748"/>
                    <a:pt x="4882" y="127140"/>
                    <a:pt x="3138" y="127140"/>
                  </a:cubicBez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44" name="Freeform 343">
              <a:extLst>
                <a:ext uri="{FF2B5EF4-FFF2-40B4-BE49-F238E27FC236}">
                  <a16:creationId xmlns:a16="http://schemas.microsoft.com/office/drawing/2014/main" id="{66873228-9698-D576-D939-7C6A12B1A1EA}"/>
                </a:ext>
              </a:extLst>
            </p:cNvPr>
            <p:cNvSpPr/>
            <p:nvPr/>
          </p:nvSpPr>
          <p:spPr>
            <a:xfrm>
              <a:off x="10129567" y="4073444"/>
              <a:ext cx="42194" cy="132590"/>
            </a:xfrm>
            <a:custGeom>
              <a:avLst/>
              <a:gdLst>
                <a:gd name="connsiteX0" fmla="*/ 38968 w 42194"/>
                <a:gd name="connsiteY0" fmla="*/ 132591 h 132590"/>
                <a:gd name="connsiteX1" fmla="*/ 35870 w 42194"/>
                <a:gd name="connsiteY1" fmla="*/ 130267 h 132590"/>
                <a:gd name="connsiteX2" fmla="*/ 125 w 42194"/>
                <a:gd name="connsiteY2" fmla="*/ 4109 h 132590"/>
                <a:gd name="connsiteX3" fmla="*/ 2338 w 42194"/>
                <a:gd name="connsiteY3" fmla="*/ 125 h 132590"/>
                <a:gd name="connsiteX4" fmla="*/ 6322 w 42194"/>
                <a:gd name="connsiteY4" fmla="*/ 2338 h 132590"/>
                <a:gd name="connsiteX5" fmla="*/ 42067 w 42194"/>
                <a:gd name="connsiteY5" fmla="*/ 128349 h 132590"/>
                <a:gd name="connsiteX6" fmla="*/ 39879 w 42194"/>
                <a:gd name="connsiteY6" fmla="*/ 132325 h 132590"/>
                <a:gd name="connsiteX7" fmla="*/ 39854 w 42194"/>
                <a:gd name="connsiteY7" fmla="*/ 132333 h 132590"/>
                <a:gd name="connsiteX8" fmla="*/ 38968 w 42194"/>
                <a:gd name="connsiteY8" fmla="*/ 132591 h 13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194" h="132590">
                  <a:moveTo>
                    <a:pt x="38968" y="132591"/>
                  </a:moveTo>
                  <a:cubicBezTo>
                    <a:pt x="37536" y="132585"/>
                    <a:pt x="36276" y="131640"/>
                    <a:pt x="35870" y="130267"/>
                  </a:cubicBezTo>
                  <a:lnTo>
                    <a:pt x="125" y="4109"/>
                  </a:lnTo>
                  <a:cubicBezTo>
                    <a:pt x="-364" y="2397"/>
                    <a:pt x="627" y="614"/>
                    <a:pt x="2338" y="125"/>
                  </a:cubicBezTo>
                  <a:cubicBezTo>
                    <a:pt x="4049" y="-364"/>
                    <a:pt x="5833" y="627"/>
                    <a:pt x="6322" y="2338"/>
                  </a:cubicBezTo>
                  <a:lnTo>
                    <a:pt x="42067" y="128349"/>
                  </a:lnTo>
                  <a:cubicBezTo>
                    <a:pt x="42561" y="130051"/>
                    <a:pt x="41581" y="131831"/>
                    <a:pt x="39879" y="132325"/>
                  </a:cubicBezTo>
                  <a:cubicBezTo>
                    <a:pt x="39871" y="132328"/>
                    <a:pt x="39862" y="132330"/>
                    <a:pt x="39854" y="132333"/>
                  </a:cubicBezTo>
                  <a:cubicBezTo>
                    <a:pt x="39570" y="132456"/>
                    <a:pt x="39273" y="132542"/>
                    <a:pt x="38968" y="132591"/>
                  </a:cubicBez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45" name="Freeform 344">
              <a:extLst>
                <a:ext uri="{FF2B5EF4-FFF2-40B4-BE49-F238E27FC236}">
                  <a16:creationId xmlns:a16="http://schemas.microsoft.com/office/drawing/2014/main" id="{3C743684-714D-F679-313F-298E389DC52D}"/>
                </a:ext>
              </a:extLst>
            </p:cNvPr>
            <p:cNvSpPr/>
            <p:nvPr/>
          </p:nvSpPr>
          <p:spPr>
            <a:xfrm>
              <a:off x="10058048" y="4352726"/>
              <a:ext cx="34884" cy="25286"/>
            </a:xfrm>
            <a:custGeom>
              <a:avLst/>
              <a:gdLst>
                <a:gd name="connsiteX0" fmla="*/ 7569 w 34884"/>
                <a:gd name="connsiteY0" fmla="*/ 25282 h 25286"/>
                <a:gd name="connsiteX1" fmla="*/ 4286 w 34884"/>
                <a:gd name="connsiteY1" fmla="*/ 24434 h 25286"/>
                <a:gd name="connsiteX2" fmla="*/ 2516 w 34884"/>
                <a:gd name="connsiteY2" fmla="*/ 21888 h 25286"/>
                <a:gd name="connsiteX3" fmla="*/ 81 w 34884"/>
                <a:gd name="connsiteY3" fmla="*/ 10232 h 25286"/>
                <a:gd name="connsiteX4" fmla="*/ 2774 w 34884"/>
                <a:gd name="connsiteY4" fmla="*/ 5399 h 25286"/>
                <a:gd name="connsiteX5" fmla="*/ 5836 w 34884"/>
                <a:gd name="connsiteY5" fmla="*/ 4330 h 25286"/>
                <a:gd name="connsiteX6" fmla="*/ 24686 w 34884"/>
                <a:gd name="connsiteY6" fmla="*/ 309 h 25286"/>
                <a:gd name="connsiteX7" fmla="*/ 32358 w 34884"/>
                <a:gd name="connsiteY7" fmla="*/ 3371 h 25286"/>
                <a:gd name="connsiteX8" fmla="*/ 34830 w 34884"/>
                <a:gd name="connsiteY8" fmla="*/ 14990 h 25286"/>
                <a:gd name="connsiteX9" fmla="*/ 34240 w 34884"/>
                <a:gd name="connsiteY9" fmla="*/ 18052 h 25286"/>
                <a:gd name="connsiteX10" fmla="*/ 29039 w 34884"/>
                <a:gd name="connsiteY10" fmla="*/ 20929 h 25286"/>
                <a:gd name="connsiteX11" fmla="*/ 10189 w 34884"/>
                <a:gd name="connsiteY11" fmla="*/ 24913 h 25286"/>
                <a:gd name="connsiteX12" fmla="*/ 7569 w 34884"/>
                <a:gd name="connsiteY12" fmla="*/ 25282 h 25286"/>
                <a:gd name="connsiteX13" fmla="*/ 9783 w 34884"/>
                <a:gd name="connsiteY13" fmla="*/ 20302 h 25286"/>
                <a:gd name="connsiteX14" fmla="*/ 9783 w 34884"/>
                <a:gd name="connsiteY14" fmla="*/ 20302 h 25286"/>
                <a:gd name="connsiteX15" fmla="*/ 7938 w 34884"/>
                <a:gd name="connsiteY15" fmla="*/ 11375 h 25286"/>
                <a:gd name="connsiteX16" fmla="*/ 9229 w 34884"/>
                <a:gd name="connsiteY16" fmla="*/ 17462 h 25286"/>
                <a:gd name="connsiteX17" fmla="*/ 26936 w 34884"/>
                <a:gd name="connsiteY17" fmla="*/ 13773 h 25286"/>
                <a:gd name="connsiteX18" fmla="*/ 26383 w 34884"/>
                <a:gd name="connsiteY18" fmla="*/ 11375 h 25286"/>
                <a:gd name="connsiteX19" fmla="*/ 26383 w 34884"/>
                <a:gd name="connsiteY19" fmla="*/ 11375 h 25286"/>
                <a:gd name="connsiteX20" fmla="*/ 25645 w 34884"/>
                <a:gd name="connsiteY20" fmla="*/ 7686 h 25286"/>
                <a:gd name="connsiteX21" fmla="*/ 27526 w 34884"/>
                <a:gd name="connsiteY21" fmla="*/ 16466 h 25286"/>
                <a:gd name="connsiteX22" fmla="*/ 27526 w 34884"/>
                <a:gd name="connsiteY22" fmla="*/ 16466 h 25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84" h="25286">
                  <a:moveTo>
                    <a:pt x="7569" y="25282"/>
                  </a:moveTo>
                  <a:cubicBezTo>
                    <a:pt x="6416" y="25325"/>
                    <a:pt x="5275" y="25030"/>
                    <a:pt x="4286" y="24434"/>
                  </a:cubicBezTo>
                  <a:cubicBezTo>
                    <a:pt x="3420" y="23815"/>
                    <a:pt x="2795" y="22916"/>
                    <a:pt x="2516" y="21888"/>
                  </a:cubicBezTo>
                  <a:lnTo>
                    <a:pt x="81" y="10232"/>
                  </a:lnTo>
                  <a:cubicBezTo>
                    <a:pt x="-323" y="8179"/>
                    <a:pt x="816" y="6135"/>
                    <a:pt x="2774" y="5399"/>
                  </a:cubicBezTo>
                  <a:cubicBezTo>
                    <a:pt x="3743" y="4910"/>
                    <a:pt x="4773" y="4550"/>
                    <a:pt x="5836" y="4330"/>
                  </a:cubicBezTo>
                  <a:lnTo>
                    <a:pt x="24686" y="309"/>
                  </a:lnTo>
                  <a:cubicBezTo>
                    <a:pt x="30883" y="-1019"/>
                    <a:pt x="32063" y="2301"/>
                    <a:pt x="32358" y="3371"/>
                  </a:cubicBezTo>
                  <a:lnTo>
                    <a:pt x="34830" y="14990"/>
                  </a:lnTo>
                  <a:cubicBezTo>
                    <a:pt x="34995" y="16049"/>
                    <a:pt x="34786" y="17131"/>
                    <a:pt x="34240" y="18052"/>
                  </a:cubicBezTo>
                  <a:cubicBezTo>
                    <a:pt x="32945" y="19649"/>
                    <a:pt x="31080" y="20681"/>
                    <a:pt x="29039" y="20929"/>
                  </a:cubicBezTo>
                  <a:lnTo>
                    <a:pt x="10189" y="24913"/>
                  </a:lnTo>
                  <a:cubicBezTo>
                    <a:pt x="9332" y="25134"/>
                    <a:pt x="8454" y="25258"/>
                    <a:pt x="7569" y="25282"/>
                  </a:cubicBezTo>
                  <a:close/>
                  <a:moveTo>
                    <a:pt x="9783" y="20302"/>
                  </a:moveTo>
                  <a:lnTo>
                    <a:pt x="9783" y="20302"/>
                  </a:lnTo>
                  <a:close/>
                  <a:moveTo>
                    <a:pt x="7938" y="11375"/>
                  </a:moveTo>
                  <a:lnTo>
                    <a:pt x="9229" y="17462"/>
                  </a:lnTo>
                  <a:lnTo>
                    <a:pt x="26936" y="13773"/>
                  </a:lnTo>
                  <a:lnTo>
                    <a:pt x="26383" y="11375"/>
                  </a:lnTo>
                  <a:lnTo>
                    <a:pt x="26383" y="11375"/>
                  </a:lnTo>
                  <a:lnTo>
                    <a:pt x="25645" y="7686"/>
                  </a:lnTo>
                  <a:close/>
                  <a:moveTo>
                    <a:pt x="27526" y="16466"/>
                  </a:moveTo>
                  <a:lnTo>
                    <a:pt x="27526" y="16466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46" name="Freeform 345">
              <a:extLst>
                <a:ext uri="{FF2B5EF4-FFF2-40B4-BE49-F238E27FC236}">
                  <a16:creationId xmlns:a16="http://schemas.microsoft.com/office/drawing/2014/main" id="{3084BCEB-478C-0F58-7EEE-F474803CC773}"/>
                </a:ext>
              </a:extLst>
            </p:cNvPr>
            <p:cNvSpPr/>
            <p:nvPr/>
          </p:nvSpPr>
          <p:spPr>
            <a:xfrm>
              <a:off x="10127334" y="4337603"/>
              <a:ext cx="34744" cy="25354"/>
            </a:xfrm>
            <a:custGeom>
              <a:avLst/>
              <a:gdLst>
                <a:gd name="connsiteX0" fmla="*/ 7559 w 34744"/>
                <a:gd name="connsiteY0" fmla="*/ 25354 h 25354"/>
                <a:gd name="connsiteX1" fmla="*/ 2543 w 34744"/>
                <a:gd name="connsiteY1" fmla="*/ 21998 h 25354"/>
                <a:gd name="connsiteX2" fmla="*/ 71 w 34744"/>
                <a:gd name="connsiteY2" fmla="*/ 10341 h 25354"/>
                <a:gd name="connsiteX3" fmla="*/ 661 w 34744"/>
                <a:gd name="connsiteY3" fmla="*/ 7279 h 25354"/>
                <a:gd name="connsiteX4" fmla="*/ 5678 w 34744"/>
                <a:gd name="connsiteY4" fmla="*/ 4365 h 25354"/>
                <a:gd name="connsiteX5" fmla="*/ 24528 w 34744"/>
                <a:gd name="connsiteY5" fmla="*/ 344 h 25354"/>
                <a:gd name="connsiteX6" fmla="*/ 30430 w 34744"/>
                <a:gd name="connsiteY6" fmla="*/ 897 h 25354"/>
                <a:gd name="connsiteX7" fmla="*/ 32201 w 34744"/>
                <a:gd name="connsiteY7" fmla="*/ 3443 h 25354"/>
                <a:gd name="connsiteX8" fmla="*/ 33529 w 34744"/>
                <a:gd name="connsiteY8" fmla="*/ 9677 h 25354"/>
                <a:gd name="connsiteX9" fmla="*/ 33529 w 34744"/>
                <a:gd name="connsiteY9" fmla="*/ 9677 h 25354"/>
                <a:gd name="connsiteX10" fmla="*/ 34672 w 34744"/>
                <a:gd name="connsiteY10" fmla="*/ 15063 h 25354"/>
                <a:gd name="connsiteX11" fmla="*/ 31980 w 34744"/>
                <a:gd name="connsiteY11" fmla="*/ 19932 h 25354"/>
                <a:gd name="connsiteX12" fmla="*/ 28918 w 34744"/>
                <a:gd name="connsiteY12" fmla="*/ 21002 h 25354"/>
                <a:gd name="connsiteX13" fmla="*/ 10068 w 34744"/>
                <a:gd name="connsiteY13" fmla="*/ 24986 h 25354"/>
                <a:gd name="connsiteX14" fmla="*/ 7559 w 34744"/>
                <a:gd name="connsiteY14" fmla="*/ 25354 h 25354"/>
                <a:gd name="connsiteX15" fmla="*/ 7928 w 34744"/>
                <a:gd name="connsiteY15" fmla="*/ 11595 h 25354"/>
                <a:gd name="connsiteX16" fmla="*/ 9367 w 34744"/>
                <a:gd name="connsiteY16" fmla="*/ 17682 h 25354"/>
                <a:gd name="connsiteX17" fmla="*/ 27110 w 34744"/>
                <a:gd name="connsiteY17" fmla="*/ 13993 h 25354"/>
                <a:gd name="connsiteX18" fmla="*/ 25819 w 34744"/>
                <a:gd name="connsiteY18" fmla="*/ 7906 h 25354"/>
                <a:gd name="connsiteX19" fmla="*/ 25081 w 34744"/>
                <a:gd name="connsiteY19" fmla="*/ 5029 h 25354"/>
                <a:gd name="connsiteX20" fmla="*/ 25081 w 34744"/>
                <a:gd name="connsiteY20" fmla="*/ 5029 h 25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744" h="25354">
                  <a:moveTo>
                    <a:pt x="7559" y="25354"/>
                  </a:moveTo>
                  <a:cubicBezTo>
                    <a:pt x="3612" y="25354"/>
                    <a:pt x="2727" y="22883"/>
                    <a:pt x="2543" y="21998"/>
                  </a:cubicBezTo>
                  <a:lnTo>
                    <a:pt x="71" y="10341"/>
                  </a:lnTo>
                  <a:cubicBezTo>
                    <a:pt x="-124" y="9283"/>
                    <a:pt x="87" y="8189"/>
                    <a:pt x="661" y="7279"/>
                  </a:cubicBezTo>
                  <a:cubicBezTo>
                    <a:pt x="1898" y="5700"/>
                    <a:pt x="3694" y="4657"/>
                    <a:pt x="5678" y="4365"/>
                  </a:cubicBezTo>
                  <a:lnTo>
                    <a:pt x="24528" y="344"/>
                  </a:lnTo>
                  <a:cubicBezTo>
                    <a:pt x="26491" y="-261"/>
                    <a:pt x="28614" y="-62"/>
                    <a:pt x="30430" y="897"/>
                  </a:cubicBezTo>
                  <a:cubicBezTo>
                    <a:pt x="31326" y="1487"/>
                    <a:pt x="31960" y="2398"/>
                    <a:pt x="32201" y="3443"/>
                  </a:cubicBezTo>
                  <a:lnTo>
                    <a:pt x="33529" y="9677"/>
                  </a:lnTo>
                  <a:lnTo>
                    <a:pt x="33529" y="9677"/>
                  </a:lnTo>
                  <a:lnTo>
                    <a:pt x="34672" y="15063"/>
                  </a:lnTo>
                  <a:cubicBezTo>
                    <a:pt x="35049" y="17120"/>
                    <a:pt x="33922" y="19158"/>
                    <a:pt x="31980" y="19932"/>
                  </a:cubicBezTo>
                  <a:cubicBezTo>
                    <a:pt x="31008" y="20415"/>
                    <a:pt x="29979" y="20775"/>
                    <a:pt x="28918" y="21002"/>
                  </a:cubicBezTo>
                  <a:lnTo>
                    <a:pt x="10068" y="24986"/>
                  </a:lnTo>
                  <a:cubicBezTo>
                    <a:pt x="9247" y="25196"/>
                    <a:pt x="8406" y="25319"/>
                    <a:pt x="7559" y="25354"/>
                  </a:cubicBezTo>
                  <a:close/>
                  <a:moveTo>
                    <a:pt x="7928" y="11595"/>
                  </a:moveTo>
                  <a:lnTo>
                    <a:pt x="9367" y="17682"/>
                  </a:lnTo>
                  <a:lnTo>
                    <a:pt x="27110" y="13993"/>
                  </a:lnTo>
                  <a:lnTo>
                    <a:pt x="25819" y="7906"/>
                  </a:lnTo>
                  <a:close/>
                  <a:moveTo>
                    <a:pt x="25081" y="5029"/>
                  </a:moveTo>
                  <a:lnTo>
                    <a:pt x="25081" y="5029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47" name="Freeform 346">
              <a:extLst>
                <a:ext uri="{FF2B5EF4-FFF2-40B4-BE49-F238E27FC236}">
                  <a16:creationId xmlns:a16="http://schemas.microsoft.com/office/drawing/2014/main" id="{E6620FA9-4DBE-8DEF-F6C8-AF8E5FF9E5BD}"/>
                </a:ext>
              </a:extLst>
            </p:cNvPr>
            <p:cNvSpPr/>
            <p:nvPr/>
          </p:nvSpPr>
          <p:spPr>
            <a:xfrm>
              <a:off x="10191361" y="4323882"/>
              <a:ext cx="34913" cy="25242"/>
            </a:xfrm>
            <a:custGeom>
              <a:avLst/>
              <a:gdLst>
                <a:gd name="connsiteX0" fmla="*/ 7571 w 34913"/>
                <a:gd name="connsiteY0" fmla="*/ 25243 h 25242"/>
                <a:gd name="connsiteX1" fmla="*/ 2554 w 34913"/>
                <a:gd name="connsiteY1" fmla="*/ 21886 h 25242"/>
                <a:gd name="connsiteX2" fmla="*/ 82 w 34913"/>
                <a:gd name="connsiteY2" fmla="*/ 10229 h 25242"/>
                <a:gd name="connsiteX3" fmla="*/ 5837 w 34913"/>
                <a:gd name="connsiteY3" fmla="*/ 4327 h 25242"/>
                <a:gd name="connsiteX4" fmla="*/ 24687 w 34913"/>
                <a:gd name="connsiteY4" fmla="*/ 306 h 25242"/>
                <a:gd name="connsiteX5" fmla="*/ 32360 w 34913"/>
                <a:gd name="connsiteY5" fmla="*/ 3405 h 25242"/>
                <a:gd name="connsiteX6" fmla="*/ 33688 w 34913"/>
                <a:gd name="connsiteY6" fmla="*/ 9639 h 25242"/>
                <a:gd name="connsiteX7" fmla="*/ 33688 w 34913"/>
                <a:gd name="connsiteY7" fmla="*/ 9639 h 25242"/>
                <a:gd name="connsiteX8" fmla="*/ 34831 w 34913"/>
                <a:gd name="connsiteY8" fmla="*/ 15025 h 25242"/>
                <a:gd name="connsiteX9" fmla="*/ 29040 w 34913"/>
                <a:gd name="connsiteY9" fmla="*/ 20964 h 25242"/>
                <a:gd name="connsiteX10" fmla="*/ 10226 w 34913"/>
                <a:gd name="connsiteY10" fmla="*/ 24948 h 25242"/>
                <a:gd name="connsiteX11" fmla="*/ 7571 w 34913"/>
                <a:gd name="connsiteY11" fmla="*/ 25243 h 25242"/>
                <a:gd name="connsiteX12" fmla="*/ 7939 w 34913"/>
                <a:gd name="connsiteY12" fmla="*/ 11483 h 25242"/>
                <a:gd name="connsiteX13" fmla="*/ 9231 w 34913"/>
                <a:gd name="connsiteY13" fmla="*/ 17570 h 25242"/>
                <a:gd name="connsiteX14" fmla="*/ 26974 w 34913"/>
                <a:gd name="connsiteY14" fmla="*/ 13881 h 25242"/>
                <a:gd name="connsiteX15" fmla="*/ 25683 w 34913"/>
                <a:gd name="connsiteY15" fmla="*/ 7795 h 2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4913" h="25242">
                  <a:moveTo>
                    <a:pt x="7571" y="25243"/>
                  </a:moveTo>
                  <a:cubicBezTo>
                    <a:pt x="3623" y="25243"/>
                    <a:pt x="2738" y="22771"/>
                    <a:pt x="2554" y="21886"/>
                  </a:cubicBezTo>
                  <a:lnTo>
                    <a:pt x="82" y="10229"/>
                  </a:lnTo>
                  <a:cubicBezTo>
                    <a:pt x="-139" y="9159"/>
                    <a:pt x="-360" y="5618"/>
                    <a:pt x="5837" y="4327"/>
                  </a:cubicBezTo>
                  <a:lnTo>
                    <a:pt x="24687" y="306"/>
                  </a:lnTo>
                  <a:cubicBezTo>
                    <a:pt x="30921" y="-1022"/>
                    <a:pt x="32064" y="2335"/>
                    <a:pt x="32360" y="3405"/>
                  </a:cubicBezTo>
                  <a:lnTo>
                    <a:pt x="33688" y="9639"/>
                  </a:lnTo>
                  <a:lnTo>
                    <a:pt x="33688" y="9639"/>
                  </a:lnTo>
                  <a:lnTo>
                    <a:pt x="34831" y="15025"/>
                  </a:lnTo>
                  <a:cubicBezTo>
                    <a:pt x="35052" y="16094"/>
                    <a:pt x="35274" y="19636"/>
                    <a:pt x="29040" y="20964"/>
                  </a:cubicBezTo>
                  <a:lnTo>
                    <a:pt x="10226" y="24948"/>
                  </a:lnTo>
                  <a:cubicBezTo>
                    <a:pt x="9355" y="25144"/>
                    <a:pt x="8464" y="25242"/>
                    <a:pt x="7571" y="25243"/>
                  </a:cubicBezTo>
                  <a:close/>
                  <a:moveTo>
                    <a:pt x="7939" y="11483"/>
                  </a:moveTo>
                  <a:lnTo>
                    <a:pt x="9231" y="17570"/>
                  </a:lnTo>
                  <a:lnTo>
                    <a:pt x="26974" y="13881"/>
                  </a:lnTo>
                  <a:lnTo>
                    <a:pt x="25683" y="7795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48" name="Freeform 347">
              <a:extLst>
                <a:ext uri="{FF2B5EF4-FFF2-40B4-BE49-F238E27FC236}">
                  <a16:creationId xmlns:a16="http://schemas.microsoft.com/office/drawing/2014/main" id="{D7503403-B456-89DB-7122-1599733EDEB8}"/>
                </a:ext>
              </a:extLst>
            </p:cNvPr>
            <p:cNvSpPr/>
            <p:nvPr/>
          </p:nvSpPr>
          <p:spPr>
            <a:xfrm>
              <a:off x="10148809" y="4200154"/>
              <a:ext cx="45843" cy="27718"/>
            </a:xfrm>
            <a:custGeom>
              <a:avLst/>
              <a:gdLst>
                <a:gd name="connsiteX0" fmla="*/ 7591 w 45843"/>
                <a:gd name="connsiteY0" fmla="*/ 27718 h 27718"/>
                <a:gd name="connsiteX1" fmla="*/ 2684 w 45843"/>
                <a:gd name="connsiteY1" fmla="*/ 24509 h 27718"/>
                <a:gd name="connsiteX2" fmla="*/ 102 w 45843"/>
                <a:gd name="connsiteY2" fmla="*/ 12705 h 27718"/>
                <a:gd name="connsiteX3" fmla="*/ 7185 w 45843"/>
                <a:gd name="connsiteY3" fmla="*/ 6471 h 27718"/>
                <a:gd name="connsiteX4" fmla="*/ 34150 w 45843"/>
                <a:gd name="connsiteY4" fmla="*/ 532 h 27718"/>
                <a:gd name="connsiteX5" fmla="*/ 43188 w 45843"/>
                <a:gd name="connsiteY5" fmla="*/ 3224 h 27718"/>
                <a:gd name="connsiteX6" fmla="*/ 44553 w 45843"/>
                <a:gd name="connsiteY6" fmla="*/ 9496 h 27718"/>
                <a:gd name="connsiteX7" fmla="*/ 44553 w 45843"/>
                <a:gd name="connsiteY7" fmla="*/ 9496 h 27718"/>
                <a:gd name="connsiteX8" fmla="*/ 45733 w 45843"/>
                <a:gd name="connsiteY8" fmla="*/ 14881 h 27718"/>
                <a:gd name="connsiteX9" fmla="*/ 38688 w 45843"/>
                <a:gd name="connsiteY9" fmla="*/ 21115 h 27718"/>
                <a:gd name="connsiteX10" fmla="*/ 11722 w 45843"/>
                <a:gd name="connsiteY10" fmla="*/ 27054 h 27718"/>
                <a:gd name="connsiteX11" fmla="*/ 7812 w 45843"/>
                <a:gd name="connsiteY11" fmla="*/ 27571 h 27718"/>
                <a:gd name="connsiteX12" fmla="*/ 7996 w 45843"/>
                <a:gd name="connsiteY12" fmla="*/ 14070 h 27718"/>
                <a:gd name="connsiteX13" fmla="*/ 9324 w 45843"/>
                <a:gd name="connsiteY13" fmla="*/ 20119 h 27718"/>
                <a:gd name="connsiteX14" fmla="*/ 10099 w 45843"/>
                <a:gd name="connsiteY14" fmla="*/ 20119 h 27718"/>
                <a:gd name="connsiteX15" fmla="*/ 37101 w 45843"/>
                <a:gd name="connsiteY15" fmla="*/ 14180 h 27718"/>
                <a:gd name="connsiteX16" fmla="*/ 37876 w 45843"/>
                <a:gd name="connsiteY16" fmla="*/ 14180 h 27718"/>
                <a:gd name="connsiteX17" fmla="*/ 36548 w 45843"/>
                <a:gd name="connsiteY17" fmla="*/ 8131 h 27718"/>
                <a:gd name="connsiteX18" fmla="*/ 35736 w 45843"/>
                <a:gd name="connsiteY18" fmla="*/ 8131 h 27718"/>
                <a:gd name="connsiteX19" fmla="*/ 8771 w 45843"/>
                <a:gd name="connsiteY19" fmla="*/ 14070 h 2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843" h="27718">
                  <a:moveTo>
                    <a:pt x="7591" y="27718"/>
                  </a:moveTo>
                  <a:cubicBezTo>
                    <a:pt x="3902" y="27718"/>
                    <a:pt x="2906" y="25468"/>
                    <a:pt x="2684" y="24509"/>
                  </a:cubicBezTo>
                  <a:lnTo>
                    <a:pt x="102" y="12705"/>
                  </a:lnTo>
                  <a:cubicBezTo>
                    <a:pt x="-857" y="8204"/>
                    <a:pt x="5193" y="6913"/>
                    <a:pt x="7185" y="6471"/>
                  </a:cubicBezTo>
                  <a:lnTo>
                    <a:pt x="34150" y="532"/>
                  </a:lnTo>
                  <a:cubicBezTo>
                    <a:pt x="36142" y="89"/>
                    <a:pt x="42192" y="-1239"/>
                    <a:pt x="43188" y="3224"/>
                  </a:cubicBezTo>
                  <a:lnTo>
                    <a:pt x="44553" y="9496"/>
                  </a:lnTo>
                  <a:lnTo>
                    <a:pt x="44553" y="9496"/>
                  </a:lnTo>
                  <a:lnTo>
                    <a:pt x="45733" y="14881"/>
                  </a:lnTo>
                  <a:cubicBezTo>
                    <a:pt x="46729" y="19345"/>
                    <a:pt x="40680" y="20673"/>
                    <a:pt x="38688" y="21115"/>
                  </a:cubicBezTo>
                  <a:lnTo>
                    <a:pt x="11722" y="27054"/>
                  </a:lnTo>
                  <a:cubicBezTo>
                    <a:pt x="10442" y="27371"/>
                    <a:pt x="9130" y="27544"/>
                    <a:pt x="7812" y="27571"/>
                  </a:cubicBezTo>
                  <a:close/>
                  <a:moveTo>
                    <a:pt x="7996" y="14070"/>
                  </a:moveTo>
                  <a:lnTo>
                    <a:pt x="9324" y="20119"/>
                  </a:lnTo>
                  <a:lnTo>
                    <a:pt x="10099" y="20119"/>
                  </a:lnTo>
                  <a:lnTo>
                    <a:pt x="37101" y="14180"/>
                  </a:lnTo>
                  <a:lnTo>
                    <a:pt x="37876" y="14180"/>
                  </a:lnTo>
                  <a:lnTo>
                    <a:pt x="36548" y="8131"/>
                  </a:lnTo>
                  <a:lnTo>
                    <a:pt x="35736" y="8131"/>
                  </a:lnTo>
                  <a:lnTo>
                    <a:pt x="8771" y="14070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49" name="Freeform 348">
              <a:extLst>
                <a:ext uri="{FF2B5EF4-FFF2-40B4-BE49-F238E27FC236}">
                  <a16:creationId xmlns:a16="http://schemas.microsoft.com/office/drawing/2014/main" id="{1ECBAFEB-4636-A933-FFA9-36DFCFAF05FA}"/>
                </a:ext>
              </a:extLst>
            </p:cNvPr>
            <p:cNvSpPr/>
            <p:nvPr/>
          </p:nvSpPr>
          <p:spPr>
            <a:xfrm>
              <a:off x="10253971" y="4309606"/>
              <a:ext cx="34893" cy="25317"/>
            </a:xfrm>
            <a:custGeom>
              <a:avLst/>
              <a:gdLst>
                <a:gd name="connsiteX0" fmla="*/ 7561 w 34893"/>
                <a:gd name="connsiteY0" fmla="*/ 25317 h 25317"/>
                <a:gd name="connsiteX1" fmla="*/ 4462 w 34893"/>
                <a:gd name="connsiteY1" fmla="*/ 24505 h 25317"/>
                <a:gd name="connsiteX2" fmla="*/ 2691 w 34893"/>
                <a:gd name="connsiteY2" fmla="*/ 21923 h 25317"/>
                <a:gd name="connsiteX3" fmla="*/ 72 w 34893"/>
                <a:gd name="connsiteY3" fmla="*/ 10229 h 25317"/>
                <a:gd name="connsiteX4" fmla="*/ 2765 w 34893"/>
                <a:gd name="connsiteY4" fmla="*/ 5360 h 25317"/>
                <a:gd name="connsiteX5" fmla="*/ 5864 w 34893"/>
                <a:gd name="connsiteY5" fmla="*/ 4290 h 25317"/>
                <a:gd name="connsiteX6" fmla="*/ 24714 w 34893"/>
                <a:gd name="connsiteY6" fmla="*/ 306 h 25317"/>
                <a:gd name="connsiteX7" fmla="*/ 32350 w 34893"/>
                <a:gd name="connsiteY7" fmla="*/ 3368 h 25317"/>
                <a:gd name="connsiteX8" fmla="*/ 34821 w 34893"/>
                <a:gd name="connsiteY8" fmla="*/ 15025 h 25317"/>
                <a:gd name="connsiteX9" fmla="*/ 34268 w 34893"/>
                <a:gd name="connsiteY9" fmla="*/ 18050 h 25317"/>
                <a:gd name="connsiteX10" fmla="*/ 29067 w 34893"/>
                <a:gd name="connsiteY10" fmla="*/ 20927 h 25317"/>
                <a:gd name="connsiteX11" fmla="*/ 10217 w 34893"/>
                <a:gd name="connsiteY11" fmla="*/ 24985 h 25317"/>
                <a:gd name="connsiteX12" fmla="*/ 7561 w 34893"/>
                <a:gd name="connsiteY12" fmla="*/ 25317 h 25317"/>
                <a:gd name="connsiteX13" fmla="*/ 9811 w 34893"/>
                <a:gd name="connsiteY13" fmla="*/ 20374 h 25317"/>
                <a:gd name="connsiteX14" fmla="*/ 9811 w 34893"/>
                <a:gd name="connsiteY14" fmla="*/ 20374 h 25317"/>
                <a:gd name="connsiteX15" fmla="*/ 7966 w 34893"/>
                <a:gd name="connsiteY15" fmla="*/ 11520 h 25317"/>
                <a:gd name="connsiteX16" fmla="*/ 9257 w 34893"/>
                <a:gd name="connsiteY16" fmla="*/ 17607 h 25317"/>
                <a:gd name="connsiteX17" fmla="*/ 26964 w 34893"/>
                <a:gd name="connsiteY17" fmla="*/ 13918 h 25317"/>
                <a:gd name="connsiteX18" fmla="*/ 26595 w 34893"/>
                <a:gd name="connsiteY18" fmla="*/ 11225 h 25317"/>
                <a:gd name="connsiteX19" fmla="*/ 26595 w 34893"/>
                <a:gd name="connsiteY19" fmla="*/ 11225 h 25317"/>
                <a:gd name="connsiteX20" fmla="*/ 25857 w 34893"/>
                <a:gd name="connsiteY20" fmla="*/ 7758 h 25317"/>
                <a:gd name="connsiteX21" fmla="*/ 27554 w 34893"/>
                <a:gd name="connsiteY21" fmla="*/ 16611 h 25317"/>
                <a:gd name="connsiteX22" fmla="*/ 27554 w 34893"/>
                <a:gd name="connsiteY22" fmla="*/ 16611 h 2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93" h="25317">
                  <a:moveTo>
                    <a:pt x="7561" y="25317"/>
                  </a:moveTo>
                  <a:cubicBezTo>
                    <a:pt x="6473" y="25337"/>
                    <a:pt x="5400" y="25056"/>
                    <a:pt x="4462" y="24505"/>
                  </a:cubicBezTo>
                  <a:cubicBezTo>
                    <a:pt x="3593" y="23873"/>
                    <a:pt x="2968" y="22961"/>
                    <a:pt x="2691" y="21923"/>
                  </a:cubicBezTo>
                  <a:lnTo>
                    <a:pt x="72" y="10229"/>
                  </a:lnTo>
                  <a:cubicBezTo>
                    <a:pt x="-305" y="8172"/>
                    <a:pt x="822" y="6134"/>
                    <a:pt x="2765" y="5360"/>
                  </a:cubicBezTo>
                  <a:cubicBezTo>
                    <a:pt x="3747" y="4871"/>
                    <a:pt x="4789" y="4511"/>
                    <a:pt x="5864" y="4290"/>
                  </a:cubicBezTo>
                  <a:lnTo>
                    <a:pt x="24714" y="306"/>
                  </a:lnTo>
                  <a:cubicBezTo>
                    <a:pt x="30948" y="-1022"/>
                    <a:pt x="32091" y="2335"/>
                    <a:pt x="32350" y="3368"/>
                  </a:cubicBezTo>
                  <a:lnTo>
                    <a:pt x="34821" y="15025"/>
                  </a:lnTo>
                  <a:cubicBezTo>
                    <a:pt x="35014" y="16067"/>
                    <a:pt x="34817" y="17144"/>
                    <a:pt x="34268" y="18050"/>
                  </a:cubicBezTo>
                  <a:cubicBezTo>
                    <a:pt x="32983" y="19659"/>
                    <a:pt x="31113" y="20694"/>
                    <a:pt x="29067" y="20927"/>
                  </a:cubicBezTo>
                  <a:lnTo>
                    <a:pt x="10217" y="24985"/>
                  </a:lnTo>
                  <a:cubicBezTo>
                    <a:pt x="9344" y="25178"/>
                    <a:pt x="8454" y="25290"/>
                    <a:pt x="7561" y="25317"/>
                  </a:cubicBezTo>
                  <a:close/>
                  <a:moveTo>
                    <a:pt x="9811" y="20374"/>
                  </a:moveTo>
                  <a:lnTo>
                    <a:pt x="9811" y="20374"/>
                  </a:lnTo>
                  <a:close/>
                  <a:moveTo>
                    <a:pt x="7966" y="11520"/>
                  </a:moveTo>
                  <a:lnTo>
                    <a:pt x="9257" y="17607"/>
                  </a:lnTo>
                  <a:lnTo>
                    <a:pt x="26964" y="13918"/>
                  </a:lnTo>
                  <a:lnTo>
                    <a:pt x="26595" y="11225"/>
                  </a:lnTo>
                  <a:lnTo>
                    <a:pt x="26595" y="11225"/>
                  </a:lnTo>
                  <a:lnTo>
                    <a:pt x="25857" y="7758"/>
                  </a:lnTo>
                  <a:close/>
                  <a:moveTo>
                    <a:pt x="27554" y="16611"/>
                  </a:moveTo>
                  <a:lnTo>
                    <a:pt x="27554" y="16611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50" name="Freeform 349">
              <a:extLst>
                <a:ext uri="{FF2B5EF4-FFF2-40B4-BE49-F238E27FC236}">
                  <a16:creationId xmlns:a16="http://schemas.microsoft.com/office/drawing/2014/main" id="{A9BAB0E2-3117-1F15-AC68-E7A02530F79B}"/>
                </a:ext>
              </a:extLst>
            </p:cNvPr>
            <p:cNvSpPr/>
            <p:nvPr/>
          </p:nvSpPr>
          <p:spPr>
            <a:xfrm>
              <a:off x="10317677" y="4295392"/>
              <a:ext cx="34882" cy="25291"/>
            </a:xfrm>
            <a:custGeom>
              <a:avLst/>
              <a:gdLst>
                <a:gd name="connsiteX0" fmla="*/ 7560 w 34882"/>
                <a:gd name="connsiteY0" fmla="*/ 25292 h 25291"/>
                <a:gd name="connsiteX1" fmla="*/ 2543 w 34882"/>
                <a:gd name="connsiteY1" fmla="*/ 21935 h 25291"/>
                <a:gd name="connsiteX2" fmla="*/ 72 w 34882"/>
                <a:gd name="connsiteY2" fmla="*/ 10278 h 25291"/>
                <a:gd name="connsiteX3" fmla="*/ 625 w 34882"/>
                <a:gd name="connsiteY3" fmla="*/ 7216 h 25291"/>
                <a:gd name="connsiteX4" fmla="*/ 5826 w 34882"/>
                <a:gd name="connsiteY4" fmla="*/ 4339 h 25291"/>
                <a:gd name="connsiteX5" fmla="*/ 24676 w 34882"/>
                <a:gd name="connsiteY5" fmla="*/ 355 h 25291"/>
                <a:gd name="connsiteX6" fmla="*/ 30578 w 34882"/>
                <a:gd name="connsiteY6" fmla="*/ 871 h 25291"/>
                <a:gd name="connsiteX7" fmla="*/ 32349 w 34882"/>
                <a:gd name="connsiteY7" fmla="*/ 3417 h 25291"/>
                <a:gd name="connsiteX8" fmla="*/ 33677 w 34882"/>
                <a:gd name="connsiteY8" fmla="*/ 9651 h 25291"/>
                <a:gd name="connsiteX9" fmla="*/ 33677 w 34882"/>
                <a:gd name="connsiteY9" fmla="*/ 9651 h 25291"/>
                <a:gd name="connsiteX10" fmla="*/ 34821 w 34882"/>
                <a:gd name="connsiteY10" fmla="*/ 15073 h 25291"/>
                <a:gd name="connsiteX11" fmla="*/ 34230 w 34882"/>
                <a:gd name="connsiteY11" fmla="*/ 18098 h 25291"/>
                <a:gd name="connsiteX12" fmla="*/ 29066 w 34882"/>
                <a:gd name="connsiteY12" fmla="*/ 20976 h 25291"/>
                <a:gd name="connsiteX13" fmla="*/ 10216 w 34882"/>
                <a:gd name="connsiteY13" fmla="*/ 24996 h 25291"/>
                <a:gd name="connsiteX14" fmla="*/ 7560 w 34882"/>
                <a:gd name="connsiteY14" fmla="*/ 25292 h 25291"/>
                <a:gd name="connsiteX15" fmla="*/ 7929 w 34882"/>
                <a:gd name="connsiteY15" fmla="*/ 11495 h 25291"/>
                <a:gd name="connsiteX16" fmla="*/ 9220 w 34882"/>
                <a:gd name="connsiteY16" fmla="*/ 17582 h 25291"/>
                <a:gd name="connsiteX17" fmla="*/ 26963 w 34882"/>
                <a:gd name="connsiteY17" fmla="*/ 13893 h 25291"/>
                <a:gd name="connsiteX18" fmla="*/ 25599 w 34882"/>
                <a:gd name="connsiteY18" fmla="*/ 7733 h 25291"/>
                <a:gd name="connsiteX19" fmla="*/ 27554 w 34882"/>
                <a:gd name="connsiteY19" fmla="*/ 16586 h 25291"/>
                <a:gd name="connsiteX20" fmla="*/ 27554 w 34882"/>
                <a:gd name="connsiteY20" fmla="*/ 16586 h 2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882" h="25291">
                  <a:moveTo>
                    <a:pt x="7560" y="25292"/>
                  </a:moveTo>
                  <a:cubicBezTo>
                    <a:pt x="3613" y="25292"/>
                    <a:pt x="2728" y="22820"/>
                    <a:pt x="2543" y="21935"/>
                  </a:cubicBezTo>
                  <a:lnTo>
                    <a:pt x="72" y="10278"/>
                  </a:lnTo>
                  <a:cubicBezTo>
                    <a:pt x="-120" y="9224"/>
                    <a:pt x="76" y="8136"/>
                    <a:pt x="625" y="7216"/>
                  </a:cubicBezTo>
                  <a:cubicBezTo>
                    <a:pt x="1920" y="5619"/>
                    <a:pt x="3785" y="4588"/>
                    <a:pt x="5826" y="4339"/>
                  </a:cubicBezTo>
                  <a:lnTo>
                    <a:pt x="24676" y="355"/>
                  </a:lnTo>
                  <a:cubicBezTo>
                    <a:pt x="26635" y="-258"/>
                    <a:pt x="28756" y="-72"/>
                    <a:pt x="30578" y="871"/>
                  </a:cubicBezTo>
                  <a:cubicBezTo>
                    <a:pt x="31445" y="1490"/>
                    <a:pt x="32070" y="2389"/>
                    <a:pt x="32349" y="3417"/>
                  </a:cubicBezTo>
                  <a:lnTo>
                    <a:pt x="33677" y="9651"/>
                  </a:lnTo>
                  <a:lnTo>
                    <a:pt x="33677" y="9651"/>
                  </a:lnTo>
                  <a:lnTo>
                    <a:pt x="34821" y="15073"/>
                  </a:lnTo>
                  <a:cubicBezTo>
                    <a:pt x="35000" y="16120"/>
                    <a:pt x="34790" y="17196"/>
                    <a:pt x="34230" y="18098"/>
                  </a:cubicBezTo>
                  <a:cubicBezTo>
                    <a:pt x="32963" y="19709"/>
                    <a:pt x="31103" y="20745"/>
                    <a:pt x="29066" y="20976"/>
                  </a:cubicBezTo>
                  <a:lnTo>
                    <a:pt x="10216" y="24996"/>
                  </a:lnTo>
                  <a:cubicBezTo>
                    <a:pt x="9341" y="25172"/>
                    <a:pt x="8452" y="25271"/>
                    <a:pt x="7560" y="25292"/>
                  </a:cubicBezTo>
                  <a:close/>
                  <a:moveTo>
                    <a:pt x="7929" y="11495"/>
                  </a:moveTo>
                  <a:lnTo>
                    <a:pt x="9220" y="17582"/>
                  </a:lnTo>
                  <a:lnTo>
                    <a:pt x="26963" y="13893"/>
                  </a:lnTo>
                  <a:lnTo>
                    <a:pt x="25599" y="7733"/>
                  </a:lnTo>
                  <a:close/>
                  <a:moveTo>
                    <a:pt x="27554" y="16586"/>
                  </a:moveTo>
                  <a:lnTo>
                    <a:pt x="27554" y="16586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51" name="Freeform 350">
              <a:extLst>
                <a:ext uri="{FF2B5EF4-FFF2-40B4-BE49-F238E27FC236}">
                  <a16:creationId xmlns:a16="http://schemas.microsoft.com/office/drawing/2014/main" id="{23F4680B-CCB7-1B58-26B3-B6099C91D3BA}"/>
                </a:ext>
              </a:extLst>
            </p:cNvPr>
            <p:cNvSpPr/>
            <p:nvPr/>
          </p:nvSpPr>
          <p:spPr>
            <a:xfrm>
              <a:off x="9995831" y="4304915"/>
              <a:ext cx="577031" cy="337404"/>
            </a:xfrm>
            <a:custGeom>
              <a:avLst/>
              <a:gdLst>
                <a:gd name="connsiteX0" fmla="*/ 247847 w 577031"/>
                <a:gd name="connsiteY0" fmla="*/ 337398 h 337404"/>
                <a:gd name="connsiteX1" fmla="*/ 193104 w 577031"/>
                <a:gd name="connsiteY1" fmla="*/ 327217 h 337404"/>
                <a:gd name="connsiteX2" fmla="*/ 21241 w 577031"/>
                <a:gd name="connsiteY2" fmla="*/ 234664 h 337404"/>
                <a:gd name="connsiteX3" fmla="*/ 20614 w 577031"/>
                <a:gd name="connsiteY3" fmla="*/ 234221 h 337404"/>
                <a:gd name="connsiteX4" fmla="*/ 178 w 577031"/>
                <a:gd name="connsiteY4" fmla="*/ 205743 h 337404"/>
                <a:gd name="connsiteX5" fmla="*/ 4383 w 577031"/>
                <a:gd name="connsiteY5" fmla="*/ 93971 h 337404"/>
                <a:gd name="connsiteX6" fmla="*/ 22906 w 577031"/>
                <a:gd name="connsiteY6" fmla="*/ 73938 h 337404"/>
                <a:gd name="connsiteX7" fmla="*/ 24488 w 577031"/>
                <a:gd name="connsiteY7" fmla="*/ 73941 h 337404"/>
                <a:gd name="connsiteX8" fmla="*/ 368804 w 577031"/>
                <a:gd name="connsiteY8" fmla="*/ 164 h 337404"/>
                <a:gd name="connsiteX9" fmla="*/ 369394 w 577031"/>
                <a:gd name="connsiteY9" fmla="*/ 164 h 337404"/>
                <a:gd name="connsiteX10" fmla="*/ 397429 w 577031"/>
                <a:gd name="connsiteY10" fmla="*/ 4406 h 337404"/>
                <a:gd name="connsiteX11" fmla="*/ 426681 w 577031"/>
                <a:gd name="connsiteY11" fmla="*/ 19383 h 337404"/>
                <a:gd name="connsiteX12" fmla="*/ 427751 w 577031"/>
                <a:gd name="connsiteY12" fmla="*/ 20195 h 337404"/>
                <a:gd name="connsiteX13" fmla="*/ 552840 w 577031"/>
                <a:gd name="connsiteY13" fmla="*/ 161219 h 337404"/>
                <a:gd name="connsiteX14" fmla="*/ 562209 w 577031"/>
                <a:gd name="connsiteY14" fmla="*/ 178225 h 337404"/>
                <a:gd name="connsiteX15" fmla="*/ 576965 w 577031"/>
                <a:gd name="connsiteY15" fmla="*/ 223007 h 337404"/>
                <a:gd name="connsiteX16" fmla="*/ 576965 w 577031"/>
                <a:gd name="connsiteY16" fmla="*/ 224261 h 337404"/>
                <a:gd name="connsiteX17" fmla="*/ 550848 w 577031"/>
                <a:gd name="connsiteY17" fmla="*/ 260818 h 337404"/>
                <a:gd name="connsiteX18" fmla="*/ 550184 w 577031"/>
                <a:gd name="connsiteY18" fmla="*/ 261076 h 337404"/>
                <a:gd name="connsiteX19" fmla="*/ 294695 w 577031"/>
                <a:gd name="connsiteY19" fmla="*/ 330205 h 337404"/>
                <a:gd name="connsiteX20" fmla="*/ 247847 w 577031"/>
                <a:gd name="connsiteY20" fmla="*/ 337398 h 337404"/>
                <a:gd name="connsiteX21" fmla="*/ 25115 w 577031"/>
                <a:gd name="connsiteY21" fmla="*/ 228319 h 337404"/>
                <a:gd name="connsiteX22" fmla="*/ 196092 w 577031"/>
                <a:gd name="connsiteY22" fmla="*/ 320540 h 337404"/>
                <a:gd name="connsiteX23" fmla="*/ 292445 w 577031"/>
                <a:gd name="connsiteY23" fmla="*/ 323159 h 337404"/>
                <a:gd name="connsiteX24" fmla="*/ 548118 w 577031"/>
                <a:gd name="connsiteY24" fmla="*/ 254178 h 337404"/>
                <a:gd name="connsiteX25" fmla="*/ 569735 w 577031"/>
                <a:gd name="connsiteY25" fmla="*/ 224851 h 337404"/>
                <a:gd name="connsiteX26" fmla="*/ 554979 w 577031"/>
                <a:gd name="connsiteY26" fmla="*/ 180585 h 337404"/>
                <a:gd name="connsiteX27" fmla="*/ 554979 w 577031"/>
                <a:gd name="connsiteY27" fmla="*/ 179995 h 337404"/>
                <a:gd name="connsiteX28" fmla="*/ 547343 w 577031"/>
                <a:gd name="connsiteY28" fmla="*/ 166420 h 337404"/>
                <a:gd name="connsiteX29" fmla="*/ 422661 w 577031"/>
                <a:gd name="connsiteY29" fmla="*/ 25986 h 337404"/>
                <a:gd name="connsiteX30" fmla="*/ 393961 w 577031"/>
                <a:gd name="connsiteY30" fmla="*/ 11231 h 337404"/>
                <a:gd name="connsiteX31" fmla="*/ 370132 w 577031"/>
                <a:gd name="connsiteY31" fmla="*/ 7837 h 337404"/>
                <a:gd name="connsiteX32" fmla="*/ 24488 w 577031"/>
                <a:gd name="connsiteY32" fmla="*/ 81614 h 337404"/>
                <a:gd name="connsiteX33" fmla="*/ 11945 w 577031"/>
                <a:gd name="connsiteY33" fmla="*/ 93022 h 337404"/>
                <a:gd name="connsiteX34" fmla="*/ 11945 w 577031"/>
                <a:gd name="connsiteY34" fmla="*/ 94156 h 337404"/>
                <a:gd name="connsiteX35" fmla="*/ 11945 w 577031"/>
                <a:gd name="connsiteY35" fmla="*/ 94377 h 337404"/>
                <a:gd name="connsiteX36" fmla="*/ 7593 w 577031"/>
                <a:gd name="connsiteY36" fmla="*/ 205042 h 337404"/>
                <a:gd name="connsiteX37" fmla="*/ 25115 w 577031"/>
                <a:gd name="connsiteY37" fmla="*/ 228319 h 337404"/>
                <a:gd name="connsiteX38" fmla="*/ 8072 w 577031"/>
                <a:gd name="connsiteY38" fmla="*/ 94082 h 337404"/>
                <a:gd name="connsiteX39" fmla="*/ 8072 w 577031"/>
                <a:gd name="connsiteY39" fmla="*/ 94082 h 337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77031" h="337404">
                  <a:moveTo>
                    <a:pt x="247847" y="337398"/>
                  </a:moveTo>
                  <a:cubicBezTo>
                    <a:pt x="229121" y="337483"/>
                    <a:pt x="210548" y="334026"/>
                    <a:pt x="193104" y="327217"/>
                  </a:cubicBezTo>
                  <a:lnTo>
                    <a:pt x="21241" y="234664"/>
                  </a:lnTo>
                  <a:lnTo>
                    <a:pt x="20614" y="234221"/>
                  </a:lnTo>
                  <a:cubicBezTo>
                    <a:pt x="18659" y="232561"/>
                    <a:pt x="1506" y="217806"/>
                    <a:pt x="178" y="205743"/>
                  </a:cubicBezTo>
                  <a:cubicBezTo>
                    <a:pt x="-1039" y="194677"/>
                    <a:pt x="4383" y="99320"/>
                    <a:pt x="4383" y="93971"/>
                  </a:cubicBezTo>
                  <a:cubicBezTo>
                    <a:pt x="3966" y="83325"/>
                    <a:pt x="12259" y="74355"/>
                    <a:pt x="22906" y="73938"/>
                  </a:cubicBezTo>
                  <a:cubicBezTo>
                    <a:pt x="23433" y="73917"/>
                    <a:pt x="23960" y="73919"/>
                    <a:pt x="24488" y="73941"/>
                  </a:cubicBezTo>
                  <a:cubicBezTo>
                    <a:pt x="37509" y="73941"/>
                    <a:pt x="277468" y="20748"/>
                    <a:pt x="368804" y="164"/>
                  </a:cubicBezTo>
                  <a:lnTo>
                    <a:pt x="369394" y="164"/>
                  </a:lnTo>
                  <a:cubicBezTo>
                    <a:pt x="378937" y="-518"/>
                    <a:pt x="388513" y="931"/>
                    <a:pt x="397429" y="4406"/>
                  </a:cubicBezTo>
                  <a:lnTo>
                    <a:pt x="426681" y="19383"/>
                  </a:lnTo>
                  <a:cubicBezTo>
                    <a:pt x="427091" y="19577"/>
                    <a:pt x="427456" y="19853"/>
                    <a:pt x="427751" y="20195"/>
                  </a:cubicBezTo>
                  <a:lnTo>
                    <a:pt x="552840" y="161219"/>
                  </a:lnTo>
                  <a:cubicBezTo>
                    <a:pt x="557222" y="166096"/>
                    <a:pt x="560428" y="171913"/>
                    <a:pt x="562209" y="178225"/>
                  </a:cubicBezTo>
                  <a:lnTo>
                    <a:pt x="576965" y="223007"/>
                  </a:lnTo>
                  <a:cubicBezTo>
                    <a:pt x="577053" y="223420"/>
                    <a:pt x="577053" y="223848"/>
                    <a:pt x="576965" y="224261"/>
                  </a:cubicBezTo>
                  <a:cubicBezTo>
                    <a:pt x="575548" y="240289"/>
                    <a:pt x="565551" y="254285"/>
                    <a:pt x="550848" y="260818"/>
                  </a:cubicBezTo>
                  <a:lnTo>
                    <a:pt x="550184" y="261076"/>
                  </a:lnTo>
                  <a:lnTo>
                    <a:pt x="294695" y="330205"/>
                  </a:lnTo>
                  <a:cubicBezTo>
                    <a:pt x="279570" y="335118"/>
                    <a:pt x="263749" y="337549"/>
                    <a:pt x="247847" y="337398"/>
                  </a:cubicBezTo>
                  <a:close/>
                  <a:moveTo>
                    <a:pt x="25115" y="228319"/>
                  </a:moveTo>
                  <a:lnTo>
                    <a:pt x="196092" y="320540"/>
                  </a:lnTo>
                  <a:cubicBezTo>
                    <a:pt x="227040" y="332027"/>
                    <a:pt x="260919" y="332945"/>
                    <a:pt x="292445" y="323159"/>
                  </a:cubicBezTo>
                  <a:lnTo>
                    <a:pt x="548118" y="254178"/>
                  </a:lnTo>
                  <a:cubicBezTo>
                    <a:pt x="559937" y="248833"/>
                    <a:pt x="568126" y="237722"/>
                    <a:pt x="569735" y="224851"/>
                  </a:cubicBezTo>
                  <a:lnTo>
                    <a:pt x="554979" y="180585"/>
                  </a:lnTo>
                  <a:lnTo>
                    <a:pt x="554979" y="179995"/>
                  </a:lnTo>
                  <a:cubicBezTo>
                    <a:pt x="553504" y="174949"/>
                    <a:pt x="550892" y="170305"/>
                    <a:pt x="547343" y="166420"/>
                  </a:cubicBezTo>
                  <a:lnTo>
                    <a:pt x="422661" y="25986"/>
                  </a:lnTo>
                  <a:lnTo>
                    <a:pt x="393961" y="11231"/>
                  </a:lnTo>
                  <a:cubicBezTo>
                    <a:pt x="386362" y="8371"/>
                    <a:pt x="378229" y="7212"/>
                    <a:pt x="370132" y="7837"/>
                  </a:cubicBezTo>
                  <a:cubicBezTo>
                    <a:pt x="352905" y="11526"/>
                    <a:pt x="40903" y="81614"/>
                    <a:pt x="24488" y="81614"/>
                  </a:cubicBezTo>
                  <a:cubicBezTo>
                    <a:pt x="17874" y="81301"/>
                    <a:pt x="12258" y="86409"/>
                    <a:pt x="11945" y="93022"/>
                  </a:cubicBezTo>
                  <a:cubicBezTo>
                    <a:pt x="11928" y="93400"/>
                    <a:pt x="11928" y="93778"/>
                    <a:pt x="11945" y="94156"/>
                  </a:cubicBezTo>
                  <a:lnTo>
                    <a:pt x="11945" y="94377"/>
                  </a:lnTo>
                  <a:cubicBezTo>
                    <a:pt x="10433" y="122191"/>
                    <a:pt x="6634" y="196263"/>
                    <a:pt x="7593" y="205042"/>
                  </a:cubicBezTo>
                  <a:cubicBezTo>
                    <a:pt x="8404" y="212568"/>
                    <a:pt x="20245" y="224151"/>
                    <a:pt x="25115" y="228319"/>
                  </a:cubicBezTo>
                  <a:close/>
                  <a:moveTo>
                    <a:pt x="8072" y="94082"/>
                  </a:moveTo>
                  <a:lnTo>
                    <a:pt x="8072" y="94082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52" name="Freeform 351">
              <a:extLst>
                <a:ext uri="{FF2B5EF4-FFF2-40B4-BE49-F238E27FC236}">
                  <a16:creationId xmlns:a16="http://schemas.microsoft.com/office/drawing/2014/main" id="{25A9A058-2822-43D1-8FF6-761EFE11C04C}"/>
                </a:ext>
              </a:extLst>
            </p:cNvPr>
            <p:cNvSpPr/>
            <p:nvPr/>
          </p:nvSpPr>
          <p:spPr>
            <a:xfrm>
              <a:off x="10129029" y="4361604"/>
              <a:ext cx="364211" cy="173144"/>
            </a:xfrm>
            <a:custGeom>
              <a:avLst/>
              <a:gdLst>
                <a:gd name="connsiteX0" fmla="*/ 96573 w 364211"/>
                <a:gd name="connsiteY0" fmla="*/ 173106 h 173144"/>
                <a:gd name="connsiteX1" fmla="*/ 93769 w 364211"/>
                <a:gd name="connsiteY1" fmla="*/ 171852 h 173144"/>
                <a:gd name="connsiteX2" fmla="*/ 958 w 364211"/>
                <a:gd name="connsiteY2" fmla="*/ 66462 h 173144"/>
                <a:gd name="connsiteX3" fmla="*/ 1209 w 364211"/>
                <a:gd name="connsiteY3" fmla="*/ 61251 h 173144"/>
                <a:gd name="connsiteX4" fmla="*/ 2913 w 364211"/>
                <a:gd name="connsiteY4" fmla="*/ 60375 h 173144"/>
                <a:gd name="connsiteX5" fmla="*/ 262571 w 364211"/>
                <a:gd name="connsiteY5" fmla="*/ 137 h 173144"/>
                <a:gd name="connsiteX6" fmla="*/ 266259 w 364211"/>
                <a:gd name="connsiteY6" fmla="*/ 1170 h 173144"/>
                <a:gd name="connsiteX7" fmla="*/ 363128 w 364211"/>
                <a:gd name="connsiteY7" fmla="*/ 99661 h 173144"/>
                <a:gd name="connsiteX8" fmla="*/ 364050 w 364211"/>
                <a:gd name="connsiteY8" fmla="*/ 103350 h 173144"/>
                <a:gd name="connsiteX9" fmla="*/ 361394 w 364211"/>
                <a:gd name="connsiteY9" fmla="*/ 105969 h 173144"/>
                <a:gd name="connsiteX10" fmla="*/ 97643 w 364211"/>
                <a:gd name="connsiteY10" fmla="*/ 173106 h 173144"/>
                <a:gd name="connsiteX11" fmla="*/ 96573 w 364211"/>
                <a:gd name="connsiteY11" fmla="*/ 173106 h 173144"/>
                <a:gd name="connsiteX12" fmla="*/ 10660 w 364211"/>
                <a:gd name="connsiteY12" fmla="*/ 66130 h 173144"/>
                <a:gd name="connsiteX13" fmla="*/ 97827 w 364211"/>
                <a:gd name="connsiteY13" fmla="*/ 165175 h 173144"/>
                <a:gd name="connsiteX14" fmla="*/ 353095 w 364211"/>
                <a:gd name="connsiteY14" fmla="*/ 100178 h 173144"/>
                <a:gd name="connsiteX15" fmla="*/ 262202 w 364211"/>
                <a:gd name="connsiteY15" fmla="*/ 7846 h 17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4211" h="173144">
                  <a:moveTo>
                    <a:pt x="96573" y="173106"/>
                  </a:moveTo>
                  <a:cubicBezTo>
                    <a:pt x="95500" y="173117"/>
                    <a:pt x="94477" y="172656"/>
                    <a:pt x="93769" y="171852"/>
                  </a:cubicBezTo>
                  <a:lnTo>
                    <a:pt x="958" y="66462"/>
                  </a:lnTo>
                  <a:cubicBezTo>
                    <a:pt x="-411" y="64954"/>
                    <a:pt x="-299" y="62621"/>
                    <a:pt x="1209" y="61251"/>
                  </a:cubicBezTo>
                  <a:cubicBezTo>
                    <a:pt x="1690" y="60814"/>
                    <a:pt x="2278" y="60512"/>
                    <a:pt x="2913" y="60375"/>
                  </a:cubicBezTo>
                  <a:lnTo>
                    <a:pt x="262571" y="137"/>
                  </a:lnTo>
                  <a:cubicBezTo>
                    <a:pt x="263895" y="-234"/>
                    <a:pt x="265319" y="164"/>
                    <a:pt x="266259" y="1170"/>
                  </a:cubicBezTo>
                  <a:lnTo>
                    <a:pt x="363128" y="99661"/>
                  </a:lnTo>
                  <a:cubicBezTo>
                    <a:pt x="364095" y="100624"/>
                    <a:pt x="364449" y="102044"/>
                    <a:pt x="364050" y="103350"/>
                  </a:cubicBezTo>
                  <a:cubicBezTo>
                    <a:pt x="363704" y="104641"/>
                    <a:pt x="362689" y="105641"/>
                    <a:pt x="361394" y="105969"/>
                  </a:cubicBezTo>
                  <a:lnTo>
                    <a:pt x="97643" y="173106"/>
                  </a:lnTo>
                  <a:cubicBezTo>
                    <a:pt x="97288" y="173158"/>
                    <a:pt x="96928" y="173158"/>
                    <a:pt x="96573" y="173106"/>
                  </a:cubicBezTo>
                  <a:close/>
                  <a:moveTo>
                    <a:pt x="10660" y="66130"/>
                  </a:moveTo>
                  <a:lnTo>
                    <a:pt x="97827" y="165175"/>
                  </a:lnTo>
                  <a:lnTo>
                    <a:pt x="353095" y="100178"/>
                  </a:lnTo>
                  <a:lnTo>
                    <a:pt x="262202" y="7846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53" name="Freeform 352">
              <a:extLst>
                <a:ext uri="{FF2B5EF4-FFF2-40B4-BE49-F238E27FC236}">
                  <a16:creationId xmlns:a16="http://schemas.microsoft.com/office/drawing/2014/main" id="{86564878-5519-09E9-2F34-B290B984B9A3}"/>
                </a:ext>
              </a:extLst>
            </p:cNvPr>
            <p:cNvSpPr/>
            <p:nvPr/>
          </p:nvSpPr>
          <p:spPr>
            <a:xfrm>
              <a:off x="10163654" y="4473079"/>
              <a:ext cx="392973" cy="107594"/>
            </a:xfrm>
            <a:custGeom>
              <a:avLst/>
              <a:gdLst>
                <a:gd name="connsiteX0" fmla="*/ 55750 w 392973"/>
                <a:gd name="connsiteY0" fmla="*/ 107594 h 107594"/>
                <a:gd name="connsiteX1" fmla="*/ 639 w 392973"/>
                <a:gd name="connsiteY1" fmla="*/ 90515 h 107594"/>
                <a:gd name="connsiteX2" fmla="*/ 1635 w 392973"/>
                <a:gd name="connsiteY2" fmla="*/ 85351 h 107594"/>
                <a:gd name="connsiteX3" fmla="*/ 6800 w 392973"/>
                <a:gd name="connsiteY3" fmla="*/ 86347 h 107594"/>
                <a:gd name="connsiteX4" fmla="*/ 104738 w 392973"/>
                <a:gd name="connsiteY4" fmla="*/ 94573 h 107594"/>
                <a:gd name="connsiteX5" fmla="*/ 367383 w 392973"/>
                <a:gd name="connsiteY5" fmla="*/ 27067 h 107594"/>
                <a:gd name="connsiteX6" fmla="*/ 383836 w 392973"/>
                <a:gd name="connsiteY6" fmla="*/ 17181 h 107594"/>
                <a:gd name="connsiteX7" fmla="*/ 384426 w 392973"/>
                <a:gd name="connsiteY7" fmla="*/ 4897 h 107594"/>
                <a:gd name="connsiteX8" fmla="*/ 386768 w 392973"/>
                <a:gd name="connsiteY8" fmla="*/ 194 h 107594"/>
                <a:gd name="connsiteX9" fmla="*/ 391472 w 392973"/>
                <a:gd name="connsiteY9" fmla="*/ 2536 h 107594"/>
                <a:gd name="connsiteX10" fmla="*/ 390217 w 392973"/>
                <a:gd name="connsiteY10" fmla="*/ 20980 h 107594"/>
                <a:gd name="connsiteX11" fmla="*/ 369080 w 392973"/>
                <a:gd name="connsiteY11" fmla="*/ 34371 h 107594"/>
                <a:gd name="connsiteX12" fmla="*/ 106214 w 392973"/>
                <a:gd name="connsiteY12" fmla="*/ 101913 h 107594"/>
                <a:gd name="connsiteX13" fmla="*/ 55750 w 392973"/>
                <a:gd name="connsiteY13" fmla="*/ 107594 h 10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2973" h="107594">
                  <a:moveTo>
                    <a:pt x="55750" y="107594"/>
                  </a:moveTo>
                  <a:cubicBezTo>
                    <a:pt x="12665" y="107594"/>
                    <a:pt x="1229" y="91437"/>
                    <a:pt x="639" y="90515"/>
                  </a:cubicBezTo>
                  <a:cubicBezTo>
                    <a:pt x="-512" y="88814"/>
                    <a:pt x="-66" y="86501"/>
                    <a:pt x="1635" y="85351"/>
                  </a:cubicBezTo>
                  <a:cubicBezTo>
                    <a:pt x="3336" y="84200"/>
                    <a:pt x="5649" y="84646"/>
                    <a:pt x="6800" y="86347"/>
                  </a:cubicBezTo>
                  <a:cubicBezTo>
                    <a:pt x="7132" y="86789"/>
                    <a:pt x="25576" y="110730"/>
                    <a:pt x="104738" y="94573"/>
                  </a:cubicBezTo>
                  <a:cubicBezTo>
                    <a:pt x="187479" y="77715"/>
                    <a:pt x="365613" y="27583"/>
                    <a:pt x="367383" y="27067"/>
                  </a:cubicBezTo>
                  <a:cubicBezTo>
                    <a:pt x="373891" y="25886"/>
                    <a:pt x="379741" y="22371"/>
                    <a:pt x="383836" y="17181"/>
                  </a:cubicBezTo>
                  <a:cubicBezTo>
                    <a:pt x="385872" y="13385"/>
                    <a:pt x="386090" y="8874"/>
                    <a:pt x="384426" y="4897"/>
                  </a:cubicBezTo>
                  <a:cubicBezTo>
                    <a:pt x="383773" y="2953"/>
                    <a:pt x="384824" y="847"/>
                    <a:pt x="386768" y="194"/>
                  </a:cubicBezTo>
                  <a:cubicBezTo>
                    <a:pt x="388712" y="-459"/>
                    <a:pt x="390819" y="592"/>
                    <a:pt x="391472" y="2536"/>
                  </a:cubicBezTo>
                  <a:cubicBezTo>
                    <a:pt x="393847" y="8560"/>
                    <a:pt x="393386" y="15333"/>
                    <a:pt x="390217" y="20980"/>
                  </a:cubicBezTo>
                  <a:cubicBezTo>
                    <a:pt x="385116" y="27952"/>
                    <a:pt x="377565" y="32737"/>
                    <a:pt x="369080" y="34371"/>
                  </a:cubicBezTo>
                  <a:cubicBezTo>
                    <a:pt x="367605" y="34777"/>
                    <a:pt x="189249" y="84982"/>
                    <a:pt x="106214" y="101913"/>
                  </a:cubicBezTo>
                  <a:cubicBezTo>
                    <a:pt x="89623" y="105477"/>
                    <a:pt x="72718" y="107380"/>
                    <a:pt x="55750" y="107594"/>
                  </a:cubicBez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54" name="Freeform 353">
              <a:extLst>
                <a:ext uri="{FF2B5EF4-FFF2-40B4-BE49-F238E27FC236}">
                  <a16:creationId xmlns:a16="http://schemas.microsoft.com/office/drawing/2014/main" id="{7F768943-DEDF-8CFC-2361-741D6923387B}"/>
                </a:ext>
              </a:extLst>
            </p:cNvPr>
            <p:cNvSpPr/>
            <p:nvPr/>
          </p:nvSpPr>
          <p:spPr>
            <a:xfrm>
              <a:off x="10157876" y="4420442"/>
              <a:ext cx="70608" cy="36702"/>
            </a:xfrm>
            <a:custGeom>
              <a:avLst/>
              <a:gdLst>
                <a:gd name="connsiteX0" fmla="*/ 20251 w 70608"/>
                <a:gd name="connsiteY0" fmla="*/ 36692 h 36702"/>
                <a:gd name="connsiteX1" fmla="*/ 17447 w 70608"/>
                <a:gd name="connsiteY1" fmla="*/ 35437 h 36702"/>
                <a:gd name="connsiteX2" fmla="*/ 958 w 70608"/>
                <a:gd name="connsiteY2" fmla="*/ 16809 h 36702"/>
                <a:gd name="connsiteX3" fmla="*/ 1209 w 70608"/>
                <a:gd name="connsiteY3" fmla="*/ 11596 h 36702"/>
                <a:gd name="connsiteX4" fmla="*/ 2913 w 70608"/>
                <a:gd name="connsiteY4" fmla="*/ 10722 h 36702"/>
                <a:gd name="connsiteX5" fmla="*/ 48913 w 70608"/>
                <a:gd name="connsiteY5" fmla="*/ 98 h 36702"/>
                <a:gd name="connsiteX6" fmla="*/ 52381 w 70608"/>
                <a:gd name="connsiteY6" fmla="*/ 1094 h 36702"/>
                <a:gd name="connsiteX7" fmla="*/ 69497 w 70608"/>
                <a:gd name="connsiteY7" fmla="*/ 18506 h 36702"/>
                <a:gd name="connsiteX8" fmla="*/ 70456 w 70608"/>
                <a:gd name="connsiteY8" fmla="*/ 22194 h 36702"/>
                <a:gd name="connsiteX9" fmla="*/ 67800 w 70608"/>
                <a:gd name="connsiteY9" fmla="*/ 24777 h 36702"/>
                <a:gd name="connsiteX10" fmla="*/ 21173 w 70608"/>
                <a:gd name="connsiteY10" fmla="*/ 36655 h 36702"/>
                <a:gd name="connsiteX11" fmla="*/ 20251 w 70608"/>
                <a:gd name="connsiteY11" fmla="*/ 36692 h 36702"/>
                <a:gd name="connsiteX12" fmla="*/ 10734 w 70608"/>
                <a:gd name="connsiteY12" fmla="*/ 16550 h 36702"/>
                <a:gd name="connsiteX13" fmla="*/ 21542 w 70608"/>
                <a:gd name="connsiteY13" fmla="*/ 28834 h 36702"/>
                <a:gd name="connsiteX14" fmla="*/ 59684 w 70608"/>
                <a:gd name="connsiteY14" fmla="*/ 19096 h 36702"/>
                <a:gd name="connsiteX15" fmla="*/ 48618 w 70608"/>
                <a:gd name="connsiteY15" fmla="*/ 7808 h 36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08" h="36702">
                  <a:moveTo>
                    <a:pt x="20251" y="36692"/>
                  </a:moveTo>
                  <a:cubicBezTo>
                    <a:pt x="19178" y="36703"/>
                    <a:pt x="18155" y="36241"/>
                    <a:pt x="17447" y="35437"/>
                  </a:cubicBezTo>
                  <a:lnTo>
                    <a:pt x="958" y="16809"/>
                  </a:lnTo>
                  <a:cubicBezTo>
                    <a:pt x="-411" y="15300"/>
                    <a:pt x="-299" y="12969"/>
                    <a:pt x="1209" y="11596"/>
                  </a:cubicBezTo>
                  <a:cubicBezTo>
                    <a:pt x="1690" y="11161"/>
                    <a:pt x="2278" y="10859"/>
                    <a:pt x="2913" y="10722"/>
                  </a:cubicBezTo>
                  <a:lnTo>
                    <a:pt x="48913" y="98"/>
                  </a:lnTo>
                  <a:cubicBezTo>
                    <a:pt x="50164" y="-196"/>
                    <a:pt x="51477" y="181"/>
                    <a:pt x="52381" y="1094"/>
                  </a:cubicBezTo>
                  <a:lnTo>
                    <a:pt x="69497" y="18506"/>
                  </a:lnTo>
                  <a:cubicBezTo>
                    <a:pt x="70476" y="19461"/>
                    <a:pt x="70845" y="20881"/>
                    <a:pt x="70456" y="22194"/>
                  </a:cubicBezTo>
                  <a:cubicBezTo>
                    <a:pt x="70098" y="23471"/>
                    <a:pt x="69085" y="24456"/>
                    <a:pt x="67800" y="24777"/>
                  </a:cubicBezTo>
                  <a:lnTo>
                    <a:pt x="21173" y="36655"/>
                  </a:lnTo>
                  <a:cubicBezTo>
                    <a:pt x="20868" y="36703"/>
                    <a:pt x="20558" y="36714"/>
                    <a:pt x="20251" y="36692"/>
                  </a:cubicBezTo>
                  <a:close/>
                  <a:moveTo>
                    <a:pt x="10734" y="16550"/>
                  </a:moveTo>
                  <a:lnTo>
                    <a:pt x="21542" y="28834"/>
                  </a:lnTo>
                  <a:lnTo>
                    <a:pt x="59684" y="19096"/>
                  </a:lnTo>
                  <a:lnTo>
                    <a:pt x="48618" y="7808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55" name="Freeform 354">
              <a:extLst>
                <a:ext uri="{FF2B5EF4-FFF2-40B4-BE49-F238E27FC236}">
                  <a16:creationId xmlns:a16="http://schemas.microsoft.com/office/drawing/2014/main" id="{98505918-35EE-285F-6CDD-188E1AEE3736}"/>
                </a:ext>
              </a:extLst>
            </p:cNvPr>
            <p:cNvSpPr/>
            <p:nvPr/>
          </p:nvSpPr>
          <p:spPr>
            <a:xfrm>
              <a:off x="10218004" y="4405797"/>
              <a:ext cx="70470" cy="36691"/>
            </a:xfrm>
            <a:custGeom>
              <a:avLst/>
              <a:gdLst>
                <a:gd name="connsiteX0" fmla="*/ 20140 w 70470"/>
                <a:gd name="connsiteY0" fmla="*/ 36691 h 36691"/>
                <a:gd name="connsiteX1" fmla="*/ 17337 w 70470"/>
                <a:gd name="connsiteY1" fmla="*/ 35437 h 36691"/>
                <a:gd name="connsiteX2" fmla="*/ 958 w 70470"/>
                <a:gd name="connsiteY2" fmla="*/ 16809 h 36691"/>
                <a:gd name="connsiteX3" fmla="*/ 1209 w 70470"/>
                <a:gd name="connsiteY3" fmla="*/ 11598 h 36691"/>
                <a:gd name="connsiteX4" fmla="*/ 2913 w 70470"/>
                <a:gd name="connsiteY4" fmla="*/ 10722 h 36691"/>
                <a:gd name="connsiteX5" fmla="*/ 48802 w 70470"/>
                <a:gd name="connsiteY5" fmla="*/ 98 h 36691"/>
                <a:gd name="connsiteX6" fmla="*/ 52270 w 70470"/>
                <a:gd name="connsiteY6" fmla="*/ 1094 h 36691"/>
                <a:gd name="connsiteX7" fmla="*/ 69386 w 70470"/>
                <a:gd name="connsiteY7" fmla="*/ 18506 h 36691"/>
                <a:gd name="connsiteX8" fmla="*/ 69395 w 70470"/>
                <a:gd name="connsiteY8" fmla="*/ 23722 h 36691"/>
                <a:gd name="connsiteX9" fmla="*/ 67652 w 70470"/>
                <a:gd name="connsiteY9" fmla="*/ 24703 h 36691"/>
                <a:gd name="connsiteX10" fmla="*/ 21062 w 70470"/>
                <a:gd name="connsiteY10" fmla="*/ 36544 h 36691"/>
                <a:gd name="connsiteX11" fmla="*/ 20140 w 70470"/>
                <a:gd name="connsiteY11" fmla="*/ 36691 h 36691"/>
                <a:gd name="connsiteX12" fmla="*/ 10623 w 70470"/>
                <a:gd name="connsiteY12" fmla="*/ 16550 h 36691"/>
                <a:gd name="connsiteX13" fmla="*/ 21431 w 70470"/>
                <a:gd name="connsiteY13" fmla="*/ 28834 h 36691"/>
                <a:gd name="connsiteX14" fmla="*/ 59574 w 70470"/>
                <a:gd name="connsiteY14" fmla="*/ 19133 h 36691"/>
                <a:gd name="connsiteX15" fmla="*/ 48507 w 70470"/>
                <a:gd name="connsiteY15" fmla="*/ 7808 h 36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470" h="36691">
                  <a:moveTo>
                    <a:pt x="20140" y="36691"/>
                  </a:moveTo>
                  <a:cubicBezTo>
                    <a:pt x="19068" y="36703"/>
                    <a:pt x="18044" y="36241"/>
                    <a:pt x="17337" y="35437"/>
                  </a:cubicBezTo>
                  <a:lnTo>
                    <a:pt x="958" y="16809"/>
                  </a:lnTo>
                  <a:cubicBezTo>
                    <a:pt x="-411" y="15301"/>
                    <a:pt x="-299" y="12967"/>
                    <a:pt x="1209" y="11598"/>
                  </a:cubicBezTo>
                  <a:cubicBezTo>
                    <a:pt x="1690" y="11161"/>
                    <a:pt x="2278" y="10859"/>
                    <a:pt x="2913" y="10722"/>
                  </a:cubicBezTo>
                  <a:lnTo>
                    <a:pt x="48802" y="98"/>
                  </a:lnTo>
                  <a:cubicBezTo>
                    <a:pt x="50053" y="-196"/>
                    <a:pt x="51366" y="181"/>
                    <a:pt x="52270" y="1094"/>
                  </a:cubicBezTo>
                  <a:lnTo>
                    <a:pt x="69386" y="18506"/>
                  </a:lnTo>
                  <a:cubicBezTo>
                    <a:pt x="70829" y="19944"/>
                    <a:pt x="70833" y="22280"/>
                    <a:pt x="69395" y="23722"/>
                  </a:cubicBezTo>
                  <a:cubicBezTo>
                    <a:pt x="68915" y="24203"/>
                    <a:pt x="68312" y="24543"/>
                    <a:pt x="67652" y="24703"/>
                  </a:cubicBezTo>
                  <a:lnTo>
                    <a:pt x="21062" y="36544"/>
                  </a:lnTo>
                  <a:cubicBezTo>
                    <a:pt x="20762" y="36629"/>
                    <a:pt x="20452" y="36680"/>
                    <a:pt x="20140" y="36691"/>
                  </a:cubicBezTo>
                  <a:close/>
                  <a:moveTo>
                    <a:pt x="10623" y="16550"/>
                  </a:moveTo>
                  <a:lnTo>
                    <a:pt x="21431" y="28834"/>
                  </a:lnTo>
                  <a:lnTo>
                    <a:pt x="59574" y="19133"/>
                  </a:lnTo>
                  <a:lnTo>
                    <a:pt x="48507" y="7808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56" name="Freeform 355">
              <a:extLst>
                <a:ext uri="{FF2B5EF4-FFF2-40B4-BE49-F238E27FC236}">
                  <a16:creationId xmlns:a16="http://schemas.microsoft.com/office/drawing/2014/main" id="{9E75E813-2A0B-AB09-CCE1-8E481E6D69EB}"/>
                </a:ext>
              </a:extLst>
            </p:cNvPr>
            <p:cNvSpPr/>
            <p:nvPr/>
          </p:nvSpPr>
          <p:spPr>
            <a:xfrm>
              <a:off x="10275931" y="4391146"/>
              <a:ext cx="70636" cy="36745"/>
            </a:xfrm>
            <a:custGeom>
              <a:avLst/>
              <a:gdLst>
                <a:gd name="connsiteX0" fmla="*/ 20054 w 70636"/>
                <a:gd name="connsiteY0" fmla="*/ 36736 h 36745"/>
                <a:gd name="connsiteX1" fmla="*/ 17288 w 70636"/>
                <a:gd name="connsiteY1" fmla="*/ 35445 h 36745"/>
                <a:gd name="connsiteX2" fmla="*/ 946 w 70636"/>
                <a:gd name="connsiteY2" fmla="*/ 16816 h 36745"/>
                <a:gd name="connsiteX3" fmla="*/ 208 w 70636"/>
                <a:gd name="connsiteY3" fmla="*/ 13127 h 36745"/>
                <a:gd name="connsiteX4" fmla="*/ 2901 w 70636"/>
                <a:gd name="connsiteY4" fmla="*/ 10656 h 36745"/>
                <a:gd name="connsiteX5" fmla="*/ 48901 w 70636"/>
                <a:gd name="connsiteY5" fmla="*/ 105 h 36745"/>
                <a:gd name="connsiteX6" fmla="*/ 52405 w 70636"/>
                <a:gd name="connsiteY6" fmla="*/ 1101 h 36745"/>
                <a:gd name="connsiteX7" fmla="*/ 69522 w 70636"/>
                <a:gd name="connsiteY7" fmla="*/ 18513 h 36745"/>
                <a:gd name="connsiteX8" fmla="*/ 69590 w 70636"/>
                <a:gd name="connsiteY8" fmla="*/ 23729 h 36745"/>
                <a:gd name="connsiteX9" fmla="*/ 67788 w 70636"/>
                <a:gd name="connsiteY9" fmla="*/ 24747 h 36745"/>
                <a:gd name="connsiteX10" fmla="*/ 21161 w 70636"/>
                <a:gd name="connsiteY10" fmla="*/ 36588 h 36745"/>
                <a:gd name="connsiteX11" fmla="*/ 20054 w 70636"/>
                <a:gd name="connsiteY11" fmla="*/ 36736 h 36745"/>
                <a:gd name="connsiteX12" fmla="*/ 10574 w 70636"/>
                <a:gd name="connsiteY12" fmla="*/ 16595 h 36745"/>
                <a:gd name="connsiteX13" fmla="*/ 21345 w 70636"/>
                <a:gd name="connsiteY13" fmla="*/ 28842 h 36745"/>
                <a:gd name="connsiteX14" fmla="*/ 59488 w 70636"/>
                <a:gd name="connsiteY14" fmla="*/ 19140 h 36745"/>
                <a:gd name="connsiteX15" fmla="*/ 48422 w 70636"/>
                <a:gd name="connsiteY15" fmla="*/ 7815 h 36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36" h="36745">
                  <a:moveTo>
                    <a:pt x="20054" y="36736"/>
                  </a:moveTo>
                  <a:cubicBezTo>
                    <a:pt x="18989" y="36725"/>
                    <a:pt x="17980" y="36254"/>
                    <a:pt x="17288" y="35445"/>
                  </a:cubicBezTo>
                  <a:lnTo>
                    <a:pt x="946" y="16816"/>
                  </a:lnTo>
                  <a:cubicBezTo>
                    <a:pt x="45" y="15814"/>
                    <a:pt x="-238" y="14399"/>
                    <a:pt x="208" y="13127"/>
                  </a:cubicBezTo>
                  <a:cubicBezTo>
                    <a:pt x="606" y="11885"/>
                    <a:pt x="1630" y="10946"/>
                    <a:pt x="2901" y="10656"/>
                  </a:cubicBezTo>
                  <a:lnTo>
                    <a:pt x="48901" y="105"/>
                  </a:lnTo>
                  <a:cubicBezTo>
                    <a:pt x="50163" y="-203"/>
                    <a:pt x="51494" y="176"/>
                    <a:pt x="52405" y="1101"/>
                  </a:cubicBezTo>
                  <a:lnTo>
                    <a:pt x="69522" y="18513"/>
                  </a:lnTo>
                  <a:cubicBezTo>
                    <a:pt x="70981" y="19934"/>
                    <a:pt x="71012" y="22270"/>
                    <a:pt x="69590" y="23729"/>
                  </a:cubicBezTo>
                  <a:cubicBezTo>
                    <a:pt x="69099" y="24233"/>
                    <a:pt x="68473" y="24586"/>
                    <a:pt x="67788" y="24747"/>
                  </a:cubicBezTo>
                  <a:lnTo>
                    <a:pt x="21161" y="36588"/>
                  </a:lnTo>
                  <a:cubicBezTo>
                    <a:pt x="20808" y="36719"/>
                    <a:pt x="20430" y="36769"/>
                    <a:pt x="20054" y="36736"/>
                  </a:cubicBezTo>
                  <a:close/>
                  <a:moveTo>
                    <a:pt x="10574" y="16595"/>
                  </a:moveTo>
                  <a:lnTo>
                    <a:pt x="21345" y="28842"/>
                  </a:lnTo>
                  <a:lnTo>
                    <a:pt x="59488" y="19140"/>
                  </a:lnTo>
                  <a:lnTo>
                    <a:pt x="48422" y="7815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57" name="Freeform 356">
              <a:extLst>
                <a:ext uri="{FF2B5EF4-FFF2-40B4-BE49-F238E27FC236}">
                  <a16:creationId xmlns:a16="http://schemas.microsoft.com/office/drawing/2014/main" id="{4BB3B000-9321-5474-C38C-7DB95750575F}"/>
                </a:ext>
              </a:extLst>
            </p:cNvPr>
            <p:cNvSpPr/>
            <p:nvPr/>
          </p:nvSpPr>
          <p:spPr>
            <a:xfrm>
              <a:off x="10335542" y="4376654"/>
              <a:ext cx="70679" cy="36667"/>
            </a:xfrm>
            <a:custGeom>
              <a:avLst/>
              <a:gdLst>
                <a:gd name="connsiteX0" fmla="*/ 20165 w 70679"/>
                <a:gd name="connsiteY0" fmla="*/ 36582 h 36667"/>
                <a:gd name="connsiteX1" fmla="*/ 17362 w 70679"/>
                <a:gd name="connsiteY1" fmla="*/ 35402 h 36667"/>
                <a:gd name="connsiteX2" fmla="*/ 946 w 70679"/>
                <a:gd name="connsiteY2" fmla="*/ 16958 h 36667"/>
                <a:gd name="connsiteX3" fmla="*/ 208 w 70679"/>
                <a:gd name="connsiteY3" fmla="*/ 13269 h 36667"/>
                <a:gd name="connsiteX4" fmla="*/ 2901 w 70679"/>
                <a:gd name="connsiteY4" fmla="*/ 10797 h 36667"/>
                <a:gd name="connsiteX5" fmla="*/ 48790 w 70679"/>
                <a:gd name="connsiteY5" fmla="*/ 137 h 36667"/>
                <a:gd name="connsiteX6" fmla="*/ 52479 w 70679"/>
                <a:gd name="connsiteY6" fmla="*/ 1170 h 36667"/>
                <a:gd name="connsiteX7" fmla="*/ 69595 w 70679"/>
                <a:gd name="connsiteY7" fmla="*/ 18581 h 36667"/>
                <a:gd name="connsiteX8" fmla="*/ 69603 w 70679"/>
                <a:gd name="connsiteY8" fmla="*/ 23798 h 36667"/>
                <a:gd name="connsiteX9" fmla="*/ 67862 w 70679"/>
                <a:gd name="connsiteY9" fmla="*/ 24778 h 36667"/>
                <a:gd name="connsiteX10" fmla="*/ 21235 w 70679"/>
                <a:gd name="connsiteY10" fmla="*/ 36656 h 36667"/>
                <a:gd name="connsiteX11" fmla="*/ 20165 w 70679"/>
                <a:gd name="connsiteY11" fmla="*/ 36582 h 36667"/>
                <a:gd name="connsiteX12" fmla="*/ 10648 w 70679"/>
                <a:gd name="connsiteY12" fmla="*/ 16441 h 36667"/>
                <a:gd name="connsiteX13" fmla="*/ 21419 w 70679"/>
                <a:gd name="connsiteY13" fmla="*/ 28688 h 36667"/>
                <a:gd name="connsiteX14" fmla="*/ 59562 w 70679"/>
                <a:gd name="connsiteY14" fmla="*/ 18987 h 36667"/>
                <a:gd name="connsiteX15" fmla="*/ 48495 w 70679"/>
                <a:gd name="connsiteY15" fmla="*/ 7662 h 3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79" h="36667">
                  <a:moveTo>
                    <a:pt x="20165" y="36582"/>
                  </a:moveTo>
                  <a:cubicBezTo>
                    <a:pt x="19104" y="36610"/>
                    <a:pt x="18083" y="36180"/>
                    <a:pt x="17362" y="35402"/>
                  </a:cubicBezTo>
                  <a:lnTo>
                    <a:pt x="946" y="16958"/>
                  </a:lnTo>
                  <a:cubicBezTo>
                    <a:pt x="45" y="15955"/>
                    <a:pt x="-238" y="14541"/>
                    <a:pt x="208" y="13269"/>
                  </a:cubicBezTo>
                  <a:cubicBezTo>
                    <a:pt x="606" y="12027"/>
                    <a:pt x="1630" y="11087"/>
                    <a:pt x="2901" y="10797"/>
                  </a:cubicBezTo>
                  <a:lnTo>
                    <a:pt x="48790" y="137"/>
                  </a:lnTo>
                  <a:cubicBezTo>
                    <a:pt x="50115" y="-234"/>
                    <a:pt x="51539" y="164"/>
                    <a:pt x="52479" y="1170"/>
                  </a:cubicBezTo>
                  <a:lnTo>
                    <a:pt x="69595" y="18581"/>
                  </a:lnTo>
                  <a:cubicBezTo>
                    <a:pt x="71038" y="20019"/>
                    <a:pt x="71041" y="22355"/>
                    <a:pt x="69603" y="23798"/>
                  </a:cubicBezTo>
                  <a:cubicBezTo>
                    <a:pt x="69123" y="24279"/>
                    <a:pt x="68522" y="24618"/>
                    <a:pt x="67862" y="24778"/>
                  </a:cubicBezTo>
                  <a:lnTo>
                    <a:pt x="21235" y="36656"/>
                  </a:lnTo>
                  <a:cubicBezTo>
                    <a:pt x="20877" y="36684"/>
                    <a:pt x="20516" y="36659"/>
                    <a:pt x="20165" y="36582"/>
                  </a:cubicBezTo>
                  <a:close/>
                  <a:moveTo>
                    <a:pt x="10648" y="16441"/>
                  </a:moveTo>
                  <a:lnTo>
                    <a:pt x="21419" y="28688"/>
                  </a:lnTo>
                  <a:lnTo>
                    <a:pt x="59562" y="18987"/>
                  </a:lnTo>
                  <a:lnTo>
                    <a:pt x="48495" y="7662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58" name="Freeform 357">
              <a:extLst>
                <a:ext uri="{FF2B5EF4-FFF2-40B4-BE49-F238E27FC236}">
                  <a16:creationId xmlns:a16="http://schemas.microsoft.com/office/drawing/2014/main" id="{91465C17-147B-1F4A-6734-3FA9F9CA2CC3}"/>
                </a:ext>
              </a:extLst>
            </p:cNvPr>
            <p:cNvSpPr/>
            <p:nvPr/>
          </p:nvSpPr>
          <p:spPr>
            <a:xfrm>
              <a:off x="10183710" y="4448329"/>
              <a:ext cx="70606" cy="36728"/>
            </a:xfrm>
            <a:custGeom>
              <a:avLst/>
              <a:gdLst>
                <a:gd name="connsiteX0" fmla="*/ 20276 w 70606"/>
                <a:gd name="connsiteY0" fmla="*/ 36729 h 36728"/>
                <a:gd name="connsiteX1" fmla="*/ 17509 w 70606"/>
                <a:gd name="connsiteY1" fmla="*/ 35474 h 36728"/>
                <a:gd name="connsiteX2" fmla="*/ 946 w 70606"/>
                <a:gd name="connsiteY2" fmla="*/ 16846 h 36728"/>
                <a:gd name="connsiteX3" fmla="*/ 208 w 70606"/>
                <a:gd name="connsiteY3" fmla="*/ 13157 h 36728"/>
                <a:gd name="connsiteX4" fmla="*/ 2901 w 70606"/>
                <a:gd name="connsiteY4" fmla="*/ 10686 h 36728"/>
                <a:gd name="connsiteX5" fmla="*/ 48901 w 70606"/>
                <a:gd name="connsiteY5" fmla="*/ 99 h 36728"/>
                <a:gd name="connsiteX6" fmla="*/ 52405 w 70606"/>
                <a:gd name="connsiteY6" fmla="*/ 1131 h 36728"/>
                <a:gd name="connsiteX7" fmla="*/ 69522 w 70606"/>
                <a:gd name="connsiteY7" fmla="*/ 18543 h 36728"/>
                <a:gd name="connsiteX8" fmla="*/ 69530 w 70606"/>
                <a:gd name="connsiteY8" fmla="*/ 23759 h 36728"/>
                <a:gd name="connsiteX9" fmla="*/ 67788 w 70606"/>
                <a:gd name="connsiteY9" fmla="*/ 24740 h 36728"/>
                <a:gd name="connsiteX10" fmla="*/ 21161 w 70606"/>
                <a:gd name="connsiteY10" fmla="*/ 36618 h 36728"/>
                <a:gd name="connsiteX11" fmla="*/ 20276 w 70606"/>
                <a:gd name="connsiteY11" fmla="*/ 36729 h 36728"/>
                <a:gd name="connsiteX12" fmla="*/ 10795 w 70606"/>
                <a:gd name="connsiteY12" fmla="*/ 16588 h 36728"/>
                <a:gd name="connsiteX13" fmla="*/ 21567 w 70606"/>
                <a:gd name="connsiteY13" fmla="*/ 28835 h 36728"/>
                <a:gd name="connsiteX14" fmla="*/ 59709 w 70606"/>
                <a:gd name="connsiteY14" fmla="*/ 19059 h 36728"/>
                <a:gd name="connsiteX15" fmla="*/ 48643 w 70606"/>
                <a:gd name="connsiteY15" fmla="*/ 7734 h 36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06" h="36728">
                  <a:moveTo>
                    <a:pt x="20276" y="36729"/>
                  </a:moveTo>
                  <a:cubicBezTo>
                    <a:pt x="19216" y="36729"/>
                    <a:pt x="18208" y="36271"/>
                    <a:pt x="17509" y="35474"/>
                  </a:cubicBezTo>
                  <a:lnTo>
                    <a:pt x="946" y="16846"/>
                  </a:lnTo>
                  <a:cubicBezTo>
                    <a:pt x="45" y="15843"/>
                    <a:pt x="-238" y="14430"/>
                    <a:pt x="208" y="13157"/>
                  </a:cubicBezTo>
                  <a:cubicBezTo>
                    <a:pt x="606" y="11914"/>
                    <a:pt x="1630" y="10977"/>
                    <a:pt x="2901" y="10686"/>
                  </a:cubicBezTo>
                  <a:lnTo>
                    <a:pt x="48901" y="99"/>
                  </a:lnTo>
                  <a:cubicBezTo>
                    <a:pt x="50170" y="-200"/>
                    <a:pt x="51502" y="191"/>
                    <a:pt x="52405" y="1131"/>
                  </a:cubicBezTo>
                  <a:lnTo>
                    <a:pt x="69522" y="18543"/>
                  </a:lnTo>
                  <a:cubicBezTo>
                    <a:pt x="70964" y="19981"/>
                    <a:pt x="70968" y="22316"/>
                    <a:pt x="69530" y="23759"/>
                  </a:cubicBezTo>
                  <a:cubicBezTo>
                    <a:pt x="69051" y="24242"/>
                    <a:pt x="68448" y="24581"/>
                    <a:pt x="67788" y="24740"/>
                  </a:cubicBezTo>
                  <a:lnTo>
                    <a:pt x="21161" y="36618"/>
                  </a:lnTo>
                  <a:cubicBezTo>
                    <a:pt x="20871" y="36692"/>
                    <a:pt x="20574" y="36729"/>
                    <a:pt x="20276" y="36729"/>
                  </a:cubicBezTo>
                  <a:close/>
                  <a:moveTo>
                    <a:pt x="10795" y="16588"/>
                  </a:moveTo>
                  <a:lnTo>
                    <a:pt x="21567" y="28835"/>
                  </a:lnTo>
                  <a:lnTo>
                    <a:pt x="59709" y="19059"/>
                  </a:lnTo>
                  <a:lnTo>
                    <a:pt x="48643" y="7734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59" name="Freeform 358">
              <a:extLst>
                <a:ext uri="{FF2B5EF4-FFF2-40B4-BE49-F238E27FC236}">
                  <a16:creationId xmlns:a16="http://schemas.microsoft.com/office/drawing/2014/main" id="{0E2FFE07-77D8-4DE8-B46B-73553A07E7A9}"/>
                </a:ext>
              </a:extLst>
            </p:cNvPr>
            <p:cNvSpPr/>
            <p:nvPr/>
          </p:nvSpPr>
          <p:spPr>
            <a:xfrm>
              <a:off x="10243875" y="4433602"/>
              <a:ext cx="70680" cy="36811"/>
            </a:xfrm>
            <a:custGeom>
              <a:avLst/>
              <a:gdLst>
                <a:gd name="connsiteX0" fmla="*/ 20128 w 70680"/>
                <a:gd name="connsiteY0" fmla="*/ 36811 h 36811"/>
                <a:gd name="connsiteX1" fmla="*/ 17362 w 70680"/>
                <a:gd name="connsiteY1" fmla="*/ 35557 h 36811"/>
                <a:gd name="connsiteX2" fmla="*/ 946 w 70680"/>
                <a:gd name="connsiteY2" fmla="*/ 16928 h 36811"/>
                <a:gd name="connsiteX3" fmla="*/ 208 w 70680"/>
                <a:gd name="connsiteY3" fmla="*/ 13240 h 36811"/>
                <a:gd name="connsiteX4" fmla="*/ 2901 w 70680"/>
                <a:gd name="connsiteY4" fmla="*/ 10768 h 36811"/>
                <a:gd name="connsiteX5" fmla="*/ 48790 w 70680"/>
                <a:gd name="connsiteY5" fmla="*/ 144 h 36811"/>
                <a:gd name="connsiteX6" fmla="*/ 52479 w 70680"/>
                <a:gd name="connsiteY6" fmla="*/ 1140 h 36811"/>
                <a:gd name="connsiteX7" fmla="*/ 69595 w 70680"/>
                <a:gd name="connsiteY7" fmla="*/ 18552 h 36811"/>
                <a:gd name="connsiteX8" fmla="*/ 69604 w 70680"/>
                <a:gd name="connsiteY8" fmla="*/ 23768 h 36811"/>
                <a:gd name="connsiteX9" fmla="*/ 67862 w 70680"/>
                <a:gd name="connsiteY9" fmla="*/ 24749 h 36811"/>
                <a:gd name="connsiteX10" fmla="*/ 21235 w 70680"/>
                <a:gd name="connsiteY10" fmla="*/ 36627 h 36811"/>
                <a:gd name="connsiteX11" fmla="*/ 20128 w 70680"/>
                <a:gd name="connsiteY11" fmla="*/ 36811 h 36811"/>
                <a:gd name="connsiteX12" fmla="*/ 10648 w 70680"/>
                <a:gd name="connsiteY12" fmla="*/ 16670 h 36811"/>
                <a:gd name="connsiteX13" fmla="*/ 21419 w 70680"/>
                <a:gd name="connsiteY13" fmla="*/ 28954 h 36811"/>
                <a:gd name="connsiteX14" fmla="*/ 59562 w 70680"/>
                <a:gd name="connsiteY14" fmla="*/ 19216 h 36811"/>
                <a:gd name="connsiteX15" fmla="*/ 48495 w 70680"/>
                <a:gd name="connsiteY15" fmla="*/ 7928 h 36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80" h="36811">
                  <a:moveTo>
                    <a:pt x="20128" y="36811"/>
                  </a:moveTo>
                  <a:cubicBezTo>
                    <a:pt x="19069" y="36811"/>
                    <a:pt x="18061" y="36354"/>
                    <a:pt x="17362" y="35557"/>
                  </a:cubicBezTo>
                  <a:lnTo>
                    <a:pt x="946" y="16928"/>
                  </a:lnTo>
                  <a:cubicBezTo>
                    <a:pt x="45" y="15925"/>
                    <a:pt x="-238" y="14512"/>
                    <a:pt x="208" y="13240"/>
                  </a:cubicBezTo>
                  <a:cubicBezTo>
                    <a:pt x="606" y="11997"/>
                    <a:pt x="1630" y="11060"/>
                    <a:pt x="2901" y="10768"/>
                  </a:cubicBezTo>
                  <a:lnTo>
                    <a:pt x="48790" y="144"/>
                  </a:lnTo>
                  <a:cubicBezTo>
                    <a:pt x="50110" y="-236"/>
                    <a:pt x="51531" y="148"/>
                    <a:pt x="52479" y="1140"/>
                  </a:cubicBezTo>
                  <a:lnTo>
                    <a:pt x="69595" y="18552"/>
                  </a:lnTo>
                  <a:cubicBezTo>
                    <a:pt x="71038" y="19990"/>
                    <a:pt x="71042" y="22325"/>
                    <a:pt x="69604" y="23768"/>
                  </a:cubicBezTo>
                  <a:cubicBezTo>
                    <a:pt x="69124" y="24251"/>
                    <a:pt x="68522" y="24590"/>
                    <a:pt x="67862" y="24749"/>
                  </a:cubicBezTo>
                  <a:lnTo>
                    <a:pt x="21235" y="36627"/>
                  </a:lnTo>
                  <a:cubicBezTo>
                    <a:pt x="20877" y="36745"/>
                    <a:pt x="20504" y="36808"/>
                    <a:pt x="20128" y="36811"/>
                  </a:cubicBezTo>
                  <a:close/>
                  <a:moveTo>
                    <a:pt x="10648" y="16670"/>
                  </a:moveTo>
                  <a:lnTo>
                    <a:pt x="21419" y="28954"/>
                  </a:lnTo>
                  <a:lnTo>
                    <a:pt x="59562" y="19216"/>
                  </a:lnTo>
                  <a:lnTo>
                    <a:pt x="48495" y="7928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60" name="Freeform 359">
              <a:extLst>
                <a:ext uri="{FF2B5EF4-FFF2-40B4-BE49-F238E27FC236}">
                  <a16:creationId xmlns:a16="http://schemas.microsoft.com/office/drawing/2014/main" id="{68EF63FA-EA88-1E4F-08BE-17D142957F04}"/>
                </a:ext>
              </a:extLst>
            </p:cNvPr>
            <p:cNvSpPr/>
            <p:nvPr/>
          </p:nvSpPr>
          <p:spPr>
            <a:xfrm>
              <a:off x="10301726" y="4419077"/>
              <a:ext cx="70624" cy="36691"/>
            </a:xfrm>
            <a:custGeom>
              <a:avLst/>
              <a:gdLst>
                <a:gd name="connsiteX0" fmla="*/ 20155 w 70624"/>
                <a:gd name="connsiteY0" fmla="*/ 36692 h 36691"/>
                <a:gd name="connsiteX1" fmla="*/ 17351 w 70624"/>
                <a:gd name="connsiteY1" fmla="*/ 35437 h 36691"/>
                <a:gd name="connsiteX2" fmla="*/ 973 w 70624"/>
                <a:gd name="connsiteY2" fmla="*/ 16993 h 36691"/>
                <a:gd name="connsiteX3" fmla="*/ 198 w 70624"/>
                <a:gd name="connsiteY3" fmla="*/ 13304 h 36691"/>
                <a:gd name="connsiteX4" fmla="*/ 2891 w 70624"/>
                <a:gd name="connsiteY4" fmla="*/ 10796 h 36691"/>
                <a:gd name="connsiteX5" fmla="*/ 48928 w 70624"/>
                <a:gd name="connsiteY5" fmla="*/ 98 h 36691"/>
                <a:gd name="connsiteX6" fmla="*/ 52395 w 70624"/>
                <a:gd name="connsiteY6" fmla="*/ 1094 h 36691"/>
                <a:gd name="connsiteX7" fmla="*/ 69511 w 70624"/>
                <a:gd name="connsiteY7" fmla="*/ 18506 h 36691"/>
                <a:gd name="connsiteX8" fmla="*/ 70471 w 70624"/>
                <a:gd name="connsiteY8" fmla="*/ 22194 h 36691"/>
                <a:gd name="connsiteX9" fmla="*/ 67778 w 70624"/>
                <a:gd name="connsiteY9" fmla="*/ 24777 h 36691"/>
                <a:gd name="connsiteX10" fmla="*/ 21188 w 70624"/>
                <a:gd name="connsiteY10" fmla="*/ 36655 h 36691"/>
                <a:gd name="connsiteX11" fmla="*/ 10638 w 70624"/>
                <a:gd name="connsiteY11" fmla="*/ 16550 h 36691"/>
                <a:gd name="connsiteX12" fmla="*/ 21446 w 70624"/>
                <a:gd name="connsiteY12" fmla="*/ 28834 h 36691"/>
                <a:gd name="connsiteX13" fmla="*/ 59588 w 70624"/>
                <a:gd name="connsiteY13" fmla="*/ 19096 h 36691"/>
                <a:gd name="connsiteX14" fmla="*/ 48522 w 70624"/>
                <a:gd name="connsiteY14" fmla="*/ 7808 h 36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624" h="36691">
                  <a:moveTo>
                    <a:pt x="20155" y="36692"/>
                  </a:moveTo>
                  <a:cubicBezTo>
                    <a:pt x="19082" y="36703"/>
                    <a:pt x="18059" y="36241"/>
                    <a:pt x="17351" y="35437"/>
                  </a:cubicBezTo>
                  <a:lnTo>
                    <a:pt x="973" y="16993"/>
                  </a:lnTo>
                  <a:cubicBezTo>
                    <a:pt x="58" y="15997"/>
                    <a:pt x="-239" y="14584"/>
                    <a:pt x="198" y="13304"/>
                  </a:cubicBezTo>
                  <a:cubicBezTo>
                    <a:pt x="585" y="12046"/>
                    <a:pt x="1611" y="11092"/>
                    <a:pt x="2891" y="10796"/>
                  </a:cubicBezTo>
                  <a:lnTo>
                    <a:pt x="48928" y="98"/>
                  </a:lnTo>
                  <a:cubicBezTo>
                    <a:pt x="50178" y="-196"/>
                    <a:pt x="51492" y="181"/>
                    <a:pt x="52395" y="1094"/>
                  </a:cubicBezTo>
                  <a:lnTo>
                    <a:pt x="69511" y="18506"/>
                  </a:lnTo>
                  <a:cubicBezTo>
                    <a:pt x="70493" y="19461"/>
                    <a:pt x="70862" y="20881"/>
                    <a:pt x="70471" y="22194"/>
                  </a:cubicBezTo>
                  <a:cubicBezTo>
                    <a:pt x="70105" y="23478"/>
                    <a:pt x="69076" y="24467"/>
                    <a:pt x="67778" y="24777"/>
                  </a:cubicBezTo>
                  <a:lnTo>
                    <a:pt x="21188" y="36655"/>
                  </a:lnTo>
                  <a:close/>
                  <a:moveTo>
                    <a:pt x="10638" y="16550"/>
                  </a:moveTo>
                  <a:lnTo>
                    <a:pt x="21446" y="28834"/>
                  </a:lnTo>
                  <a:lnTo>
                    <a:pt x="59588" y="19096"/>
                  </a:lnTo>
                  <a:lnTo>
                    <a:pt x="48522" y="7808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61" name="Freeform 360">
              <a:extLst>
                <a:ext uri="{FF2B5EF4-FFF2-40B4-BE49-F238E27FC236}">
                  <a16:creationId xmlns:a16="http://schemas.microsoft.com/office/drawing/2014/main" id="{C70C7405-31DF-1389-8977-1A935C719DCD}"/>
                </a:ext>
              </a:extLst>
            </p:cNvPr>
            <p:cNvSpPr/>
            <p:nvPr/>
          </p:nvSpPr>
          <p:spPr>
            <a:xfrm>
              <a:off x="10361412" y="4404580"/>
              <a:ext cx="70512" cy="36654"/>
            </a:xfrm>
            <a:custGeom>
              <a:avLst/>
              <a:gdLst>
                <a:gd name="connsiteX0" fmla="*/ 20154 w 70512"/>
                <a:gd name="connsiteY0" fmla="*/ 36544 h 36654"/>
                <a:gd name="connsiteX1" fmla="*/ 17351 w 70512"/>
                <a:gd name="connsiteY1" fmla="*/ 35290 h 36654"/>
                <a:gd name="connsiteX2" fmla="*/ 972 w 70512"/>
                <a:gd name="connsiteY2" fmla="*/ 16846 h 36654"/>
                <a:gd name="connsiteX3" fmla="*/ 198 w 70512"/>
                <a:gd name="connsiteY3" fmla="*/ 13157 h 36654"/>
                <a:gd name="connsiteX4" fmla="*/ 2927 w 70512"/>
                <a:gd name="connsiteY4" fmla="*/ 10685 h 36654"/>
                <a:gd name="connsiteX5" fmla="*/ 48816 w 70512"/>
                <a:gd name="connsiteY5" fmla="*/ 98 h 36654"/>
                <a:gd name="connsiteX6" fmla="*/ 52284 w 70512"/>
                <a:gd name="connsiteY6" fmla="*/ 1094 h 36654"/>
                <a:gd name="connsiteX7" fmla="*/ 69400 w 70512"/>
                <a:gd name="connsiteY7" fmla="*/ 18506 h 36654"/>
                <a:gd name="connsiteX8" fmla="*/ 70359 w 70512"/>
                <a:gd name="connsiteY8" fmla="*/ 22194 h 36654"/>
                <a:gd name="connsiteX9" fmla="*/ 67703 w 70512"/>
                <a:gd name="connsiteY9" fmla="*/ 24813 h 36654"/>
                <a:gd name="connsiteX10" fmla="*/ 21076 w 70512"/>
                <a:gd name="connsiteY10" fmla="*/ 36655 h 36654"/>
                <a:gd name="connsiteX11" fmla="*/ 20154 w 70512"/>
                <a:gd name="connsiteY11" fmla="*/ 36544 h 36654"/>
                <a:gd name="connsiteX12" fmla="*/ 10637 w 70512"/>
                <a:gd name="connsiteY12" fmla="*/ 16440 h 36654"/>
                <a:gd name="connsiteX13" fmla="*/ 21445 w 70512"/>
                <a:gd name="connsiteY13" fmla="*/ 28687 h 36654"/>
                <a:gd name="connsiteX14" fmla="*/ 59588 w 70512"/>
                <a:gd name="connsiteY14" fmla="*/ 18985 h 36654"/>
                <a:gd name="connsiteX15" fmla="*/ 48521 w 70512"/>
                <a:gd name="connsiteY15" fmla="*/ 7660 h 36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512" h="36654">
                  <a:moveTo>
                    <a:pt x="20154" y="36544"/>
                  </a:moveTo>
                  <a:cubicBezTo>
                    <a:pt x="19081" y="36555"/>
                    <a:pt x="18059" y="36094"/>
                    <a:pt x="17351" y="35290"/>
                  </a:cubicBezTo>
                  <a:lnTo>
                    <a:pt x="972" y="16846"/>
                  </a:lnTo>
                  <a:cubicBezTo>
                    <a:pt x="57" y="15851"/>
                    <a:pt x="-238" y="14435"/>
                    <a:pt x="198" y="13157"/>
                  </a:cubicBezTo>
                  <a:cubicBezTo>
                    <a:pt x="603" y="11905"/>
                    <a:pt x="1644" y="10963"/>
                    <a:pt x="2927" y="10685"/>
                  </a:cubicBezTo>
                  <a:lnTo>
                    <a:pt x="48816" y="98"/>
                  </a:lnTo>
                  <a:cubicBezTo>
                    <a:pt x="50067" y="-196"/>
                    <a:pt x="51380" y="181"/>
                    <a:pt x="52284" y="1094"/>
                  </a:cubicBezTo>
                  <a:lnTo>
                    <a:pt x="69400" y="18506"/>
                  </a:lnTo>
                  <a:cubicBezTo>
                    <a:pt x="70378" y="19462"/>
                    <a:pt x="70750" y="20882"/>
                    <a:pt x="70359" y="22194"/>
                  </a:cubicBezTo>
                  <a:cubicBezTo>
                    <a:pt x="70013" y="23484"/>
                    <a:pt x="68998" y="24486"/>
                    <a:pt x="67703" y="24813"/>
                  </a:cubicBezTo>
                  <a:lnTo>
                    <a:pt x="21076" y="36655"/>
                  </a:lnTo>
                  <a:cubicBezTo>
                    <a:pt x="20767" y="36655"/>
                    <a:pt x="20457" y="36618"/>
                    <a:pt x="20154" y="36544"/>
                  </a:cubicBezTo>
                  <a:close/>
                  <a:moveTo>
                    <a:pt x="10637" y="16440"/>
                  </a:moveTo>
                  <a:lnTo>
                    <a:pt x="21445" y="28687"/>
                  </a:lnTo>
                  <a:lnTo>
                    <a:pt x="59588" y="18985"/>
                  </a:lnTo>
                  <a:lnTo>
                    <a:pt x="48521" y="7660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62" name="Freeform 361">
              <a:extLst>
                <a:ext uri="{FF2B5EF4-FFF2-40B4-BE49-F238E27FC236}">
                  <a16:creationId xmlns:a16="http://schemas.microsoft.com/office/drawing/2014/main" id="{478E0ABA-E540-90D9-36C1-3CAC16AA1B7A}"/>
                </a:ext>
              </a:extLst>
            </p:cNvPr>
            <p:cNvSpPr/>
            <p:nvPr/>
          </p:nvSpPr>
          <p:spPr>
            <a:xfrm>
              <a:off x="10207872" y="4476837"/>
              <a:ext cx="70525" cy="36847"/>
            </a:xfrm>
            <a:custGeom>
              <a:avLst/>
              <a:gdLst>
                <a:gd name="connsiteX0" fmla="*/ 20202 w 70525"/>
                <a:gd name="connsiteY0" fmla="*/ 36847 h 36847"/>
                <a:gd name="connsiteX1" fmla="*/ 17362 w 70525"/>
                <a:gd name="connsiteY1" fmla="*/ 35556 h 36847"/>
                <a:gd name="connsiteX2" fmla="*/ 946 w 70525"/>
                <a:gd name="connsiteY2" fmla="*/ 16927 h 36847"/>
                <a:gd name="connsiteX3" fmla="*/ 208 w 70525"/>
                <a:gd name="connsiteY3" fmla="*/ 13238 h 36847"/>
                <a:gd name="connsiteX4" fmla="*/ 2901 w 70525"/>
                <a:gd name="connsiteY4" fmla="*/ 10767 h 36847"/>
                <a:gd name="connsiteX5" fmla="*/ 48790 w 70525"/>
                <a:gd name="connsiteY5" fmla="*/ 106 h 36847"/>
                <a:gd name="connsiteX6" fmla="*/ 52295 w 70525"/>
                <a:gd name="connsiteY6" fmla="*/ 1102 h 36847"/>
                <a:gd name="connsiteX7" fmla="*/ 69411 w 70525"/>
                <a:gd name="connsiteY7" fmla="*/ 18513 h 36847"/>
                <a:gd name="connsiteX8" fmla="*/ 69479 w 70525"/>
                <a:gd name="connsiteY8" fmla="*/ 23729 h 36847"/>
                <a:gd name="connsiteX9" fmla="*/ 67677 w 70525"/>
                <a:gd name="connsiteY9" fmla="*/ 24748 h 36847"/>
                <a:gd name="connsiteX10" fmla="*/ 21050 w 70525"/>
                <a:gd name="connsiteY10" fmla="*/ 36699 h 36847"/>
                <a:gd name="connsiteX11" fmla="*/ 20202 w 70525"/>
                <a:gd name="connsiteY11" fmla="*/ 36847 h 36847"/>
                <a:gd name="connsiteX12" fmla="*/ 10685 w 70525"/>
                <a:gd name="connsiteY12" fmla="*/ 16706 h 36847"/>
                <a:gd name="connsiteX13" fmla="*/ 21493 w 70525"/>
                <a:gd name="connsiteY13" fmla="*/ 28953 h 36847"/>
                <a:gd name="connsiteX14" fmla="*/ 59636 w 70525"/>
                <a:gd name="connsiteY14" fmla="*/ 19251 h 36847"/>
                <a:gd name="connsiteX15" fmla="*/ 48569 w 70525"/>
                <a:gd name="connsiteY15" fmla="*/ 7926 h 36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525" h="36847">
                  <a:moveTo>
                    <a:pt x="20202" y="36847"/>
                  </a:moveTo>
                  <a:cubicBezTo>
                    <a:pt x="19111" y="36858"/>
                    <a:pt x="18071" y="36386"/>
                    <a:pt x="17362" y="35556"/>
                  </a:cubicBezTo>
                  <a:lnTo>
                    <a:pt x="946" y="16927"/>
                  </a:lnTo>
                  <a:cubicBezTo>
                    <a:pt x="45" y="15924"/>
                    <a:pt x="-238" y="14511"/>
                    <a:pt x="208" y="13238"/>
                  </a:cubicBezTo>
                  <a:cubicBezTo>
                    <a:pt x="606" y="11995"/>
                    <a:pt x="1630" y="11058"/>
                    <a:pt x="2901" y="10767"/>
                  </a:cubicBezTo>
                  <a:lnTo>
                    <a:pt x="48790" y="106"/>
                  </a:lnTo>
                  <a:cubicBezTo>
                    <a:pt x="50052" y="-204"/>
                    <a:pt x="51384" y="176"/>
                    <a:pt x="52295" y="1102"/>
                  </a:cubicBezTo>
                  <a:lnTo>
                    <a:pt x="69411" y="18513"/>
                  </a:lnTo>
                  <a:cubicBezTo>
                    <a:pt x="70870" y="19934"/>
                    <a:pt x="70901" y="22269"/>
                    <a:pt x="69479" y="23729"/>
                  </a:cubicBezTo>
                  <a:cubicBezTo>
                    <a:pt x="68988" y="24235"/>
                    <a:pt x="68363" y="24589"/>
                    <a:pt x="67677" y="24748"/>
                  </a:cubicBezTo>
                  <a:lnTo>
                    <a:pt x="21050" y="36699"/>
                  </a:lnTo>
                  <a:cubicBezTo>
                    <a:pt x="20777" y="36792"/>
                    <a:pt x="20491" y="36840"/>
                    <a:pt x="20202" y="36847"/>
                  </a:cubicBezTo>
                  <a:close/>
                  <a:moveTo>
                    <a:pt x="10685" y="16706"/>
                  </a:moveTo>
                  <a:lnTo>
                    <a:pt x="21493" y="28953"/>
                  </a:lnTo>
                  <a:lnTo>
                    <a:pt x="59636" y="19251"/>
                  </a:lnTo>
                  <a:lnTo>
                    <a:pt x="48569" y="7926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63" name="Freeform 362">
              <a:extLst>
                <a:ext uri="{FF2B5EF4-FFF2-40B4-BE49-F238E27FC236}">
                  <a16:creationId xmlns:a16="http://schemas.microsoft.com/office/drawing/2014/main" id="{B12B779A-920B-717E-46BD-C623E15F7169}"/>
                </a:ext>
              </a:extLst>
            </p:cNvPr>
            <p:cNvSpPr/>
            <p:nvPr/>
          </p:nvSpPr>
          <p:spPr>
            <a:xfrm>
              <a:off x="10267794" y="4462310"/>
              <a:ext cx="70480" cy="36728"/>
            </a:xfrm>
            <a:custGeom>
              <a:avLst/>
              <a:gdLst>
                <a:gd name="connsiteX0" fmla="*/ 20149 w 70480"/>
                <a:gd name="connsiteY0" fmla="*/ 36729 h 36728"/>
                <a:gd name="connsiteX1" fmla="*/ 17346 w 70480"/>
                <a:gd name="connsiteY1" fmla="*/ 35475 h 36728"/>
                <a:gd name="connsiteX2" fmla="*/ 931 w 70480"/>
                <a:gd name="connsiteY2" fmla="*/ 16809 h 36728"/>
                <a:gd name="connsiteX3" fmla="*/ 1239 w 70480"/>
                <a:gd name="connsiteY3" fmla="*/ 11600 h 36728"/>
                <a:gd name="connsiteX4" fmla="*/ 2886 w 70480"/>
                <a:gd name="connsiteY4" fmla="*/ 10759 h 36728"/>
                <a:gd name="connsiteX5" fmla="*/ 48775 w 70480"/>
                <a:gd name="connsiteY5" fmla="*/ 99 h 36728"/>
                <a:gd name="connsiteX6" fmla="*/ 52279 w 70480"/>
                <a:gd name="connsiteY6" fmla="*/ 1131 h 36728"/>
                <a:gd name="connsiteX7" fmla="*/ 69395 w 70480"/>
                <a:gd name="connsiteY7" fmla="*/ 18543 h 36728"/>
                <a:gd name="connsiteX8" fmla="*/ 69404 w 70480"/>
                <a:gd name="connsiteY8" fmla="*/ 23759 h 36728"/>
                <a:gd name="connsiteX9" fmla="*/ 67662 w 70480"/>
                <a:gd name="connsiteY9" fmla="*/ 24740 h 36728"/>
                <a:gd name="connsiteX10" fmla="*/ 21072 w 70480"/>
                <a:gd name="connsiteY10" fmla="*/ 36618 h 36728"/>
                <a:gd name="connsiteX11" fmla="*/ 10632 w 70480"/>
                <a:gd name="connsiteY11" fmla="*/ 16588 h 36728"/>
                <a:gd name="connsiteX12" fmla="*/ 21441 w 70480"/>
                <a:gd name="connsiteY12" fmla="*/ 28835 h 36728"/>
                <a:gd name="connsiteX13" fmla="*/ 59583 w 70480"/>
                <a:gd name="connsiteY13" fmla="*/ 19133 h 36728"/>
                <a:gd name="connsiteX14" fmla="*/ 48517 w 70480"/>
                <a:gd name="connsiteY14" fmla="*/ 7808 h 36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480" h="36728">
                  <a:moveTo>
                    <a:pt x="20149" y="36729"/>
                  </a:moveTo>
                  <a:cubicBezTo>
                    <a:pt x="19077" y="36740"/>
                    <a:pt x="18054" y="36279"/>
                    <a:pt x="17346" y="35475"/>
                  </a:cubicBezTo>
                  <a:lnTo>
                    <a:pt x="931" y="16809"/>
                  </a:lnTo>
                  <a:cubicBezTo>
                    <a:pt x="-422" y="15285"/>
                    <a:pt x="-284" y="12954"/>
                    <a:pt x="1239" y="11600"/>
                  </a:cubicBezTo>
                  <a:cubicBezTo>
                    <a:pt x="1708" y="11187"/>
                    <a:pt x="2274" y="10896"/>
                    <a:pt x="2886" y="10759"/>
                  </a:cubicBezTo>
                  <a:lnTo>
                    <a:pt x="48775" y="99"/>
                  </a:lnTo>
                  <a:cubicBezTo>
                    <a:pt x="50043" y="-200"/>
                    <a:pt x="51375" y="191"/>
                    <a:pt x="52279" y="1131"/>
                  </a:cubicBezTo>
                  <a:lnTo>
                    <a:pt x="69395" y="18543"/>
                  </a:lnTo>
                  <a:cubicBezTo>
                    <a:pt x="70838" y="19981"/>
                    <a:pt x="70842" y="22316"/>
                    <a:pt x="69404" y="23759"/>
                  </a:cubicBezTo>
                  <a:cubicBezTo>
                    <a:pt x="68924" y="24242"/>
                    <a:pt x="68322" y="24581"/>
                    <a:pt x="67662" y="24740"/>
                  </a:cubicBezTo>
                  <a:lnTo>
                    <a:pt x="21072" y="36618"/>
                  </a:lnTo>
                  <a:close/>
                  <a:moveTo>
                    <a:pt x="10632" y="16588"/>
                  </a:moveTo>
                  <a:lnTo>
                    <a:pt x="21441" y="28835"/>
                  </a:lnTo>
                  <a:lnTo>
                    <a:pt x="59583" y="19133"/>
                  </a:lnTo>
                  <a:lnTo>
                    <a:pt x="48517" y="7808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64" name="Freeform 363">
              <a:extLst>
                <a:ext uri="{FF2B5EF4-FFF2-40B4-BE49-F238E27FC236}">
                  <a16:creationId xmlns:a16="http://schemas.microsoft.com/office/drawing/2014/main" id="{5E1DEADA-C590-8718-7C2E-15A9C238BB85}"/>
                </a:ext>
              </a:extLst>
            </p:cNvPr>
            <p:cNvSpPr/>
            <p:nvPr/>
          </p:nvSpPr>
          <p:spPr>
            <a:xfrm>
              <a:off x="10325792" y="4447857"/>
              <a:ext cx="70506" cy="36537"/>
            </a:xfrm>
            <a:custGeom>
              <a:avLst/>
              <a:gdLst>
                <a:gd name="connsiteX0" fmla="*/ 20140 w 70506"/>
                <a:gd name="connsiteY0" fmla="*/ 36537 h 36537"/>
                <a:gd name="connsiteX1" fmla="*/ 17337 w 70506"/>
                <a:gd name="connsiteY1" fmla="*/ 35283 h 36537"/>
                <a:gd name="connsiteX2" fmla="*/ 958 w 70506"/>
                <a:gd name="connsiteY2" fmla="*/ 16838 h 36537"/>
                <a:gd name="connsiteX3" fmla="*/ 1209 w 70506"/>
                <a:gd name="connsiteY3" fmla="*/ 11626 h 36537"/>
                <a:gd name="connsiteX4" fmla="*/ 2913 w 70506"/>
                <a:gd name="connsiteY4" fmla="*/ 10752 h 36537"/>
                <a:gd name="connsiteX5" fmla="*/ 48802 w 70506"/>
                <a:gd name="connsiteY5" fmla="*/ 91 h 36537"/>
                <a:gd name="connsiteX6" fmla="*/ 52270 w 70506"/>
                <a:gd name="connsiteY6" fmla="*/ 1124 h 36537"/>
                <a:gd name="connsiteX7" fmla="*/ 69423 w 70506"/>
                <a:gd name="connsiteY7" fmla="*/ 18535 h 36537"/>
                <a:gd name="connsiteX8" fmla="*/ 70345 w 70506"/>
                <a:gd name="connsiteY8" fmla="*/ 22224 h 36537"/>
                <a:gd name="connsiteX9" fmla="*/ 67689 w 70506"/>
                <a:gd name="connsiteY9" fmla="*/ 24843 h 36537"/>
                <a:gd name="connsiteX10" fmla="*/ 21173 w 70506"/>
                <a:gd name="connsiteY10" fmla="*/ 36426 h 36537"/>
                <a:gd name="connsiteX11" fmla="*/ 20140 w 70506"/>
                <a:gd name="connsiteY11" fmla="*/ 36537 h 36537"/>
                <a:gd name="connsiteX12" fmla="*/ 10660 w 70506"/>
                <a:gd name="connsiteY12" fmla="*/ 16396 h 36537"/>
                <a:gd name="connsiteX13" fmla="*/ 21431 w 70506"/>
                <a:gd name="connsiteY13" fmla="*/ 28643 h 36537"/>
                <a:gd name="connsiteX14" fmla="*/ 59574 w 70506"/>
                <a:gd name="connsiteY14" fmla="*/ 18941 h 36537"/>
                <a:gd name="connsiteX15" fmla="*/ 48507 w 70506"/>
                <a:gd name="connsiteY15" fmla="*/ 7616 h 36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506" h="36537">
                  <a:moveTo>
                    <a:pt x="20140" y="36537"/>
                  </a:moveTo>
                  <a:cubicBezTo>
                    <a:pt x="19068" y="36548"/>
                    <a:pt x="18044" y="36087"/>
                    <a:pt x="17337" y="35283"/>
                  </a:cubicBezTo>
                  <a:lnTo>
                    <a:pt x="958" y="16838"/>
                  </a:lnTo>
                  <a:cubicBezTo>
                    <a:pt x="-412" y="15330"/>
                    <a:pt x="-299" y="12998"/>
                    <a:pt x="1209" y="11626"/>
                  </a:cubicBezTo>
                  <a:cubicBezTo>
                    <a:pt x="1690" y="11191"/>
                    <a:pt x="2278" y="10888"/>
                    <a:pt x="2913" y="10752"/>
                  </a:cubicBezTo>
                  <a:lnTo>
                    <a:pt x="48802" y="91"/>
                  </a:lnTo>
                  <a:cubicBezTo>
                    <a:pt x="50060" y="-193"/>
                    <a:pt x="51373" y="198"/>
                    <a:pt x="52270" y="1124"/>
                  </a:cubicBezTo>
                  <a:lnTo>
                    <a:pt x="69423" y="18535"/>
                  </a:lnTo>
                  <a:cubicBezTo>
                    <a:pt x="70389" y="19498"/>
                    <a:pt x="70744" y="20918"/>
                    <a:pt x="70345" y="22224"/>
                  </a:cubicBezTo>
                  <a:cubicBezTo>
                    <a:pt x="69998" y="23515"/>
                    <a:pt x="68984" y="24515"/>
                    <a:pt x="67689" y="24843"/>
                  </a:cubicBezTo>
                  <a:lnTo>
                    <a:pt x="21173" y="36426"/>
                  </a:lnTo>
                  <a:cubicBezTo>
                    <a:pt x="20835" y="36507"/>
                    <a:pt x="20488" y="36544"/>
                    <a:pt x="20140" y="36537"/>
                  </a:cubicBezTo>
                  <a:close/>
                  <a:moveTo>
                    <a:pt x="10660" y="16396"/>
                  </a:moveTo>
                  <a:lnTo>
                    <a:pt x="21431" y="28643"/>
                  </a:lnTo>
                  <a:lnTo>
                    <a:pt x="59574" y="18941"/>
                  </a:lnTo>
                  <a:lnTo>
                    <a:pt x="48507" y="7616"/>
                  </a:lnTo>
                  <a:close/>
                </a:path>
              </a:pathLst>
            </a:custGeom>
            <a:grpFill/>
            <a:ln w="3631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65" name="Graphic 25">
            <a:extLst>
              <a:ext uri="{FF2B5EF4-FFF2-40B4-BE49-F238E27FC236}">
                <a16:creationId xmlns:a16="http://schemas.microsoft.com/office/drawing/2014/main" id="{7D4A398C-9D4C-1B6F-D337-AF2CDCBDC5DF}"/>
              </a:ext>
            </a:extLst>
          </p:cNvPr>
          <p:cNvGrpSpPr/>
          <p:nvPr/>
        </p:nvGrpSpPr>
        <p:grpSpPr>
          <a:xfrm>
            <a:off x="4849731" y="5074965"/>
            <a:ext cx="337795" cy="330589"/>
            <a:chOff x="6356250" y="5999009"/>
            <a:chExt cx="471597" cy="471597"/>
          </a:xfrm>
          <a:solidFill>
            <a:schemeClr val="bg1"/>
          </a:solidFill>
        </p:grpSpPr>
        <p:sp>
          <p:nvSpPr>
            <p:cNvPr id="366" name="Freeform 365">
              <a:extLst>
                <a:ext uri="{FF2B5EF4-FFF2-40B4-BE49-F238E27FC236}">
                  <a16:creationId xmlns:a16="http://schemas.microsoft.com/office/drawing/2014/main" id="{31754591-115B-DEED-1A0C-D6AE1158E319}"/>
                </a:ext>
              </a:extLst>
            </p:cNvPr>
            <p:cNvSpPr/>
            <p:nvPr/>
          </p:nvSpPr>
          <p:spPr>
            <a:xfrm>
              <a:off x="6383720" y="6004903"/>
              <a:ext cx="420546" cy="467529"/>
            </a:xfrm>
            <a:custGeom>
              <a:avLst/>
              <a:gdLst>
                <a:gd name="connsiteX0" fmla="*/ 386356 w 420546"/>
                <a:gd name="connsiteY0" fmla="*/ 31391 h 467529"/>
                <a:gd name="connsiteX1" fmla="*/ 357087 w 420546"/>
                <a:gd name="connsiteY1" fmla="*/ 31391 h 467529"/>
                <a:gd name="connsiteX2" fmla="*/ 357087 w 420546"/>
                <a:gd name="connsiteY2" fmla="*/ 20927 h 467529"/>
                <a:gd name="connsiteX3" fmla="*/ 336278 w 420546"/>
                <a:gd name="connsiteY3" fmla="*/ 0 h 467529"/>
                <a:gd name="connsiteX4" fmla="*/ 333124 w 420546"/>
                <a:gd name="connsiteY4" fmla="*/ 0 h 467529"/>
                <a:gd name="connsiteX5" fmla="*/ 312286 w 420546"/>
                <a:gd name="connsiteY5" fmla="*/ 20839 h 467529"/>
                <a:gd name="connsiteX6" fmla="*/ 312286 w 420546"/>
                <a:gd name="connsiteY6" fmla="*/ 31303 h 467529"/>
                <a:gd name="connsiteX7" fmla="*/ 108349 w 420546"/>
                <a:gd name="connsiteY7" fmla="*/ 31303 h 467529"/>
                <a:gd name="connsiteX8" fmla="*/ 108349 w 420546"/>
                <a:gd name="connsiteY8" fmla="*/ 20927 h 467529"/>
                <a:gd name="connsiteX9" fmla="*/ 87540 w 420546"/>
                <a:gd name="connsiteY9" fmla="*/ 0 h 467529"/>
                <a:gd name="connsiteX10" fmla="*/ 87481 w 420546"/>
                <a:gd name="connsiteY10" fmla="*/ 0 h 467529"/>
                <a:gd name="connsiteX11" fmla="*/ 84534 w 420546"/>
                <a:gd name="connsiteY11" fmla="*/ 0 h 467529"/>
                <a:gd name="connsiteX12" fmla="*/ 63548 w 420546"/>
                <a:gd name="connsiteY12" fmla="*/ 20633 h 467529"/>
                <a:gd name="connsiteX13" fmla="*/ 63548 w 420546"/>
                <a:gd name="connsiteY13" fmla="*/ 31273 h 467529"/>
                <a:gd name="connsiteX14" fmla="*/ 34427 w 420546"/>
                <a:gd name="connsiteY14" fmla="*/ 31273 h 467529"/>
                <a:gd name="connsiteX15" fmla="*/ 0 w 420546"/>
                <a:gd name="connsiteY15" fmla="*/ 65582 h 467529"/>
                <a:gd name="connsiteX16" fmla="*/ 0 w 420546"/>
                <a:gd name="connsiteY16" fmla="*/ 65641 h 467529"/>
                <a:gd name="connsiteX17" fmla="*/ 0 w 420546"/>
                <a:gd name="connsiteY17" fmla="*/ 65641 h 467529"/>
                <a:gd name="connsiteX18" fmla="*/ 0 w 420546"/>
                <a:gd name="connsiteY18" fmla="*/ 433280 h 467529"/>
                <a:gd name="connsiteX19" fmla="*/ 34220 w 420546"/>
                <a:gd name="connsiteY19" fmla="*/ 467530 h 467529"/>
                <a:gd name="connsiteX20" fmla="*/ 386415 w 420546"/>
                <a:gd name="connsiteY20" fmla="*/ 467530 h 467529"/>
                <a:gd name="connsiteX21" fmla="*/ 420547 w 420546"/>
                <a:gd name="connsiteY21" fmla="*/ 433280 h 467529"/>
                <a:gd name="connsiteX22" fmla="*/ 420547 w 420546"/>
                <a:gd name="connsiteY22" fmla="*/ 65670 h 467529"/>
                <a:gd name="connsiteX23" fmla="*/ 386356 w 420546"/>
                <a:gd name="connsiteY23" fmla="*/ 31391 h 467529"/>
                <a:gd name="connsiteX24" fmla="*/ 325991 w 420546"/>
                <a:gd name="connsiteY24" fmla="*/ 20927 h 467529"/>
                <a:gd name="connsiteX25" fmla="*/ 333124 w 420546"/>
                <a:gd name="connsiteY25" fmla="*/ 13795 h 467529"/>
                <a:gd name="connsiteX26" fmla="*/ 336249 w 420546"/>
                <a:gd name="connsiteY26" fmla="*/ 13795 h 467529"/>
                <a:gd name="connsiteX27" fmla="*/ 343382 w 420546"/>
                <a:gd name="connsiteY27" fmla="*/ 20927 h 467529"/>
                <a:gd name="connsiteX28" fmla="*/ 343382 w 420546"/>
                <a:gd name="connsiteY28" fmla="*/ 31391 h 467529"/>
                <a:gd name="connsiteX29" fmla="*/ 325991 w 420546"/>
                <a:gd name="connsiteY29" fmla="*/ 31391 h 467529"/>
                <a:gd name="connsiteX30" fmla="*/ 84534 w 420546"/>
                <a:gd name="connsiteY30" fmla="*/ 13795 h 467529"/>
                <a:gd name="connsiteX31" fmla="*/ 87481 w 420546"/>
                <a:gd name="connsiteY31" fmla="*/ 13795 h 467529"/>
                <a:gd name="connsiteX32" fmla="*/ 94644 w 420546"/>
                <a:gd name="connsiteY32" fmla="*/ 20898 h 467529"/>
                <a:gd name="connsiteX33" fmla="*/ 94644 w 420546"/>
                <a:gd name="connsiteY33" fmla="*/ 20898 h 467529"/>
                <a:gd name="connsiteX34" fmla="*/ 94644 w 420546"/>
                <a:gd name="connsiteY34" fmla="*/ 20898 h 467529"/>
                <a:gd name="connsiteX35" fmla="*/ 94644 w 420546"/>
                <a:gd name="connsiteY35" fmla="*/ 31362 h 467529"/>
                <a:gd name="connsiteX36" fmla="*/ 77253 w 420546"/>
                <a:gd name="connsiteY36" fmla="*/ 31362 h 467529"/>
                <a:gd name="connsiteX37" fmla="*/ 77253 w 420546"/>
                <a:gd name="connsiteY37" fmla="*/ 20927 h 467529"/>
                <a:gd name="connsiteX38" fmla="*/ 77253 w 420546"/>
                <a:gd name="connsiteY38" fmla="*/ 20927 h 467529"/>
                <a:gd name="connsiteX39" fmla="*/ 84385 w 420546"/>
                <a:gd name="connsiteY39" fmla="*/ 13793 h 467529"/>
                <a:gd name="connsiteX40" fmla="*/ 84534 w 420546"/>
                <a:gd name="connsiteY40" fmla="*/ 13795 h 467529"/>
                <a:gd name="connsiteX41" fmla="*/ 406929 w 420546"/>
                <a:gd name="connsiteY41" fmla="*/ 433280 h 467529"/>
                <a:gd name="connsiteX42" fmla="*/ 386297 w 420546"/>
                <a:gd name="connsiteY42" fmla="*/ 453912 h 467529"/>
                <a:gd name="connsiteX43" fmla="*/ 34220 w 420546"/>
                <a:gd name="connsiteY43" fmla="*/ 453912 h 467529"/>
                <a:gd name="connsiteX44" fmla="*/ 13588 w 420546"/>
                <a:gd name="connsiteY44" fmla="*/ 433280 h 467529"/>
                <a:gd name="connsiteX45" fmla="*/ 13588 w 420546"/>
                <a:gd name="connsiteY45" fmla="*/ 433280 h 467529"/>
                <a:gd name="connsiteX46" fmla="*/ 34220 w 420546"/>
                <a:gd name="connsiteY46" fmla="*/ 440177 h 467529"/>
                <a:gd name="connsiteX47" fmla="*/ 311844 w 420546"/>
                <a:gd name="connsiteY47" fmla="*/ 440177 h 467529"/>
                <a:gd name="connsiteX48" fmla="*/ 336072 w 420546"/>
                <a:gd name="connsiteY48" fmla="*/ 430126 h 467529"/>
                <a:gd name="connsiteX49" fmla="*/ 406811 w 420546"/>
                <a:gd name="connsiteY49" fmla="*/ 359387 h 467529"/>
                <a:gd name="connsiteX50" fmla="*/ 329175 w 420546"/>
                <a:gd name="connsiteY50" fmla="*/ 417717 h 467529"/>
                <a:gd name="connsiteX51" fmla="*/ 330000 w 420546"/>
                <a:gd name="connsiteY51" fmla="*/ 410820 h 467529"/>
                <a:gd name="connsiteX52" fmla="*/ 330000 w 420546"/>
                <a:gd name="connsiteY52" fmla="*/ 365105 h 467529"/>
                <a:gd name="connsiteX53" fmla="*/ 345622 w 420546"/>
                <a:gd name="connsiteY53" fmla="*/ 349483 h 467529"/>
                <a:gd name="connsiteX54" fmla="*/ 391337 w 420546"/>
                <a:gd name="connsiteY54" fmla="*/ 349483 h 467529"/>
                <a:gd name="connsiteX55" fmla="*/ 398234 w 420546"/>
                <a:gd name="connsiteY55" fmla="*/ 348658 h 467529"/>
                <a:gd name="connsiteX56" fmla="*/ 406959 w 420546"/>
                <a:gd name="connsiteY56" fmla="*/ 129247 h 467529"/>
                <a:gd name="connsiteX57" fmla="*/ 348392 w 420546"/>
                <a:gd name="connsiteY57" fmla="*/ 129247 h 467529"/>
                <a:gd name="connsiteX58" fmla="*/ 341554 w 420546"/>
                <a:gd name="connsiteY58" fmla="*/ 136086 h 467529"/>
                <a:gd name="connsiteX59" fmla="*/ 348392 w 420546"/>
                <a:gd name="connsiteY59" fmla="*/ 142924 h 467529"/>
                <a:gd name="connsiteX60" fmla="*/ 406929 w 420546"/>
                <a:gd name="connsiteY60" fmla="*/ 142924 h 467529"/>
                <a:gd name="connsiteX61" fmla="*/ 406929 w 420546"/>
                <a:gd name="connsiteY61" fmla="*/ 320156 h 467529"/>
                <a:gd name="connsiteX62" fmla="*/ 391308 w 420546"/>
                <a:gd name="connsiteY62" fmla="*/ 335777 h 467529"/>
                <a:gd name="connsiteX63" fmla="*/ 345592 w 420546"/>
                <a:gd name="connsiteY63" fmla="*/ 335777 h 467529"/>
                <a:gd name="connsiteX64" fmla="*/ 316294 w 420546"/>
                <a:gd name="connsiteY64" fmla="*/ 365105 h 467529"/>
                <a:gd name="connsiteX65" fmla="*/ 316294 w 420546"/>
                <a:gd name="connsiteY65" fmla="*/ 410820 h 467529"/>
                <a:gd name="connsiteX66" fmla="*/ 300643 w 420546"/>
                <a:gd name="connsiteY66" fmla="*/ 426442 h 467529"/>
                <a:gd name="connsiteX67" fmla="*/ 34427 w 420546"/>
                <a:gd name="connsiteY67" fmla="*/ 426442 h 467529"/>
                <a:gd name="connsiteX68" fmla="*/ 13794 w 420546"/>
                <a:gd name="connsiteY68" fmla="*/ 405810 h 467529"/>
                <a:gd name="connsiteX69" fmla="*/ 13794 w 420546"/>
                <a:gd name="connsiteY69" fmla="*/ 142924 h 467529"/>
                <a:gd name="connsiteX70" fmla="*/ 320981 w 420546"/>
                <a:gd name="connsiteY70" fmla="*/ 142924 h 467529"/>
                <a:gd name="connsiteX71" fmla="*/ 327819 w 420546"/>
                <a:gd name="connsiteY71" fmla="*/ 136086 h 467529"/>
                <a:gd name="connsiteX72" fmla="*/ 320981 w 420546"/>
                <a:gd name="connsiteY72" fmla="*/ 129247 h 467529"/>
                <a:gd name="connsiteX73" fmla="*/ 13794 w 420546"/>
                <a:gd name="connsiteY73" fmla="*/ 129247 h 467529"/>
                <a:gd name="connsiteX74" fmla="*/ 13794 w 420546"/>
                <a:gd name="connsiteY74" fmla="*/ 65670 h 467529"/>
                <a:gd name="connsiteX75" fmla="*/ 34427 w 420546"/>
                <a:gd name="connsiteY75" fmla="*/ 45038 h 467529"/>
                <a:gd name="connsiteX76" fmla="*/ 63695 w 420546"/>
                <a:gd name="connsiteY76" fmla="*/ 45038 h 467529"/>
                <a:gd name="connsiteX77" fmla="*/ 63695 w 420546"/>
                <a:gd name="connsiteY77" fmla="*/ 65169 h 467529"/>
                <a:gd name="connsiteX78" fmla="*/ 84534 w 420546"/>
                <a:gd name="connsiteY78" fmla="*/ 86008 h 467529"/>
                <a:gd name="connsiteX79" fmla="*/ 90937 w 420546"/>
                <a:gd name="connsiteY79" fmla="*/ 78705 h 467529"/>
                <a:gd name="connsiteX80" fmla="*/ 84534 w 420546"/>
                <a:gd name="connsiteY80" fmla="*/ 72302 h 467529"/>
                <a:gd name="connsiteX81" fmla="*/ 77401 w 420546"/>
                <a:gd name="connsiteY81" fmla="*/ 65169 h 467529"/>
                <a:gd name="connsiteX82" fmla="*/ 77401 w 420546"/>
                <a:gd name="connsiteY82" fmla="*/ 65169 h 467529"/>
                <a:gd name="connsiteX83" fmla="*/ 77401 w 420546"/>
                <a:gd name="connsiteY83" fmla="*/ 45067 h 467529"/>
                <a:gd name="connsiteX84" fmla="*/ 312433 w 420546"/>
                <a:gd name="connsiteY84" fmla="*/ 45067 h 467529"/>
                <a:gd name="connsiteX85" fmla="*/ 312433 w 420546"/>
                <a:gd name="connsiteY85" fmla="*/ 65199 h 467529"/>
                <a:gd name="connsiteX86" fmla="*/ 333272 w 420546"/>
                <a:gd name="connsiteY86" fmla="*/ 86037 h 467529"/>
                <a:gd name="connsiteX87" fmla="*/ 339674 w 420546"/>
                <a:gd name="connsiteY87" fmla="*/ 78735 h 467529"/>
                <a:gd name="connsiteX88" fmla="*/ 333272 w 420546"/>
                <a:gd name="connsiteY88" fmla="*/ 72332 h 467529"/>
                <a:gd name="connsiteX89" fmla="*/ 326227 w 420546"/>
                <a:gd name="connsiteY89" fmla="*/ 65199 h 467529"/>
                <a:gd name="connsiteX90" fmla="*/ 326227 w 420546"/>
                <a:gd name="connsiteY90" fmla="*/ 45067 h 467529"/>
                <a:gd name="connsiteX91" fmla="*/ 386356 w 420546"/>
                <a:gd name="connsiteY91" fmla="*/ 45067 h 467529"/>
                <a:gd name="connsiteX92" fmla="*/ 406988 w 420546"/>
                <a:gd name="connsiteY92" fmla="*/ 65700 h 46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420546" h="467529">
                  <a:moveTo>
                    <a:pt x="386356" y="31391"/>
                  </a:moveTo>
                  <a:lnTo>
                    <a:pt x="357087" y="31391"/>
                  </a:lnTo>
                  <a:lnTo>
                    <a:pt x="357087" y="20927"/>
                  </a:lnTo>
                  <a:cubicBezTo>
                    <a:pt x="357120" y="9402"/>
                    <a:pt x="347803" y="33"/>
                    <a:pt x="336278" y="0"/>
                  </a:cubicBezTo>
                  <a:lnTo>
                    <a:pt x="333124" y="0"/>
                  </a:lnTo>
                  <a:cubicBezTo>
                    <a:pt x="321629" y="33"/>
                    <a:pt x="312318" y="9344"/>
                    <a:pt x="312286" y="20839"/>
                  </a:cubicBezTo>
                  <a:lnTo>
                    <a:pt x="312286" y="31303"/>
                  </a:lnTo>
                  <a:lnTo>
                    <a:pt x="108349" y="31303"/>
                  </a:lnTo>
                  <a:lnTo>
                    <a:pt x="108349" y="20927"/>
                  </a:lnTo>
                  <a:cubicBezTo>
                    <a:pt x="108382" y="9402"/>
                    <a:pt x="99065" y="33"/>
                    <a:pt x="87540" y="0"/>
                  </a:cubicBezTo>
                  <a:cubicBezTo>
                    <a:pt x="87521" y="0"/>
                    <a:pt x="87501" y="0"/>
                    <a:pt x="87481" y="0"/>
                  </a:cubicBezTo>
                  <a:lnTo>
                    <a:pt x="84534" y="0"/>
                  </a:lnTo>
                  <a:cubicBezTo>
                    <a:pt x="73054" y="-65"/>
                    <a:pt x="63677" y="9154"/>
                    <a:pt x="63548" y="20633"/>
                  </a:cubicBezTo>
                  <a:lnTo>
                    <a:pt x="63548" y="31273"/>
                  </a:lnTo>
                  <a:lnTo>
                    <a:pt x="34427" y="31273"/>
                  </a:lnTo>
                  <a:cubicBezTo>
                    <a:pt x="15446" y="31241"/>
                    <a:pt x="33" y="46601"/>
                    <a:pt x="0" y="65582"/>
                  </a:cubicBezTo>
                  <a:cubicBezTo>
                    <a:pt x="0" y="65602"/>
                    <a:pt x="0" y="65621"/>
                    <a:pt x="0" y="65641"/>
                  </a:cubicBezTo>
                  <a:lnTo>
                    <a:pt x="0" y="65641"/>
                  </a:lnTo>
                  <a:lnTo>
                    <a:pt x="0" y="433280"/>
                  </a:lnTo>
                  <a:cubicBezTo>
                    <a:pt x="16" y="452176"/>
                    <a:pt x="15323" y="467497"/>
                    <a:pt x="34220" y="467530"/>
                  </a:cubicBezTo>
                  <a:lnTo>
                    <a:pt x="386415" y="467530"/>
                  </a:lnTo>
                  <a:cubicBezTo>
                    <a:pt x="405279" y="467447"/>
                    <a:pt x="420532" y="452144"/>
                    <a:pt x="420547" y="433280"/>
                  </a:cubicBezTo>
                  <a:lnTo>
                    <a:pt x="420547" y="65670"/>
                  </a:lnTo>
                  <a:cubicBezTo>
                    <a:pt x="420514" y="46786"/>
                    <a:pt x="405240" y="31472"/>
                    <a:pt x="386356" y="31391"/>
                  </a:cubicBezTo>
                  <a:close/>
                  <a:moveTo>
                    <a:pt x="325991" y="20927"/>
                  </a:moveTo>
                  <a:cubicBezTo>
                    <a:pt x="325991" y="16988"/>
                    <a:pt x="329184" y="13795"/>
                    <a:pt x="333124" y="13795"/>
                  </a:cubicBezTo>
                  <a:lnTo>
                    <a:pt x="336249" y="13795"/>
                  </a:lnTo>
                  <a:cubicBezTo>
                    <a:pt x="340189" y="13795"/>
                    <a:pt x="343382" y="16988"/>
                    <a:pt x="343382" y="20927"/>
                  </a:cubicBezTo>
                  <a:lnTo>
                    <a:pt x="343382" y="31391"/>
                  </a:lnTo>
                  <a:lnTo>
                    <a:pt x="325991" y="31391"/>
                  </a:lnTo>
                  <a:close/>
                  <a:moveTo>
                    <a:pt x="84534" y="13795"/>
                  </a:moveTo>
                  <a:lnTo>
                    <a:pt x="87481" y="13795"/>
                  </a:lnTo>
                  <a:cubicBezTo>
                    <a:pt x="91421" y="13778"/>
                    <a:pt x="94627" y="16959"/>
                    <a:pt x="94644" y="20898"/>
                  </a:cubicBezTo>
                  <a:cubicBezTo>
                    <a:pt x="94644" y="20898"/>
                    <a:pt x="94644" y="20898"/>
                    <a:pt x="94644" y="20898"/>
                  </a:cubicBezTo>
                  <a:lnTo>
                    <a:pt x="94644" y="20898"/>
                  </a:lnTo>
                  <a:lnTo>
                    <a:pt x="94644" y="31362"/>
                  </a:lnTo>
                  <a:lnTo>
                    <a:pt x="77253" y="31362"/>
                  </a:lnTo>
                  <a:lnTo>
                    <a:pt x="77253" y="20927"/>
                  </a:lnTo>
                  <a:lnTo>
                    <a:pt x="77253" y="20927"/>
                  </a:lnTo>
                  <a:cubicBezTo>
                    <a:pt x="77253" y="16988"/>
                    <a:pt x="80446" y="13794"/>
                    <a:pt x="84385" y="13793"/>
                  </a:cubicBezTo>
                  <a:cubicBezTo>
                    <a:pt x="84434" y="13793"/>
                    <a:pt x="84484" y="13794"/>
                    <a:pt x="84534" y="13795"/>
                  </a:cubicBezTo>
                  <a:close/>
                  <a:moveTo>
                    <a:pt x="406929" y="433280"/>
                  </a:moveTo>
                  <a:cubicBezTo>
                    <a:pt x="406929" y="444675"/>
                    <a:pt x="397692" y="453912"/>
                    <a:pt x="386297" y="453912"/>
                  </a:cubicBezTo>
                  <a:lnTo>
                    <a:pt x="34220" y="453912"/>
                  </a:lnTo>
                  <a:cubicBezTo>
                    <a:pt x="22825" y="453912"/>
                    <a:pt x="13588" y="444675"/>
                    <a:pt x="13588" y="433280"/>
                  </a:cubicBezTo>
                  <a:lnTo>
                    <a:pt x="13588" y="433280"/>
                  </a:lnTo>
                  <a:cubicBezTo>
                    <a:pt x="19527" y="437772"/>
                    <a:pt x="26774" y="440195"/>
                    <a:pt x="34220" y="440177"/>
                  </a:cubicBezTo>
                  <a:lnTo>
                    <a:pt x="311844" y="440177"/>
                  </a:lnTo>
                  <a:cubicBezTo>
                    <a:pt x="320939" y="440207"/>
                    <a:pt x="329667" y="436587"/>
                    <a:pt x="336072" y="430126"/>
                  </a:cubicBezTo>
                  <a:lnTo>
                    <a:pt x="406811" y="359387"/>
                  </a:lnTo>
                  <a:close/>
                  <a:moveTo>
                    <a:pt x="329175" y="417717"/>
                  </a:moveTo>
                  <a:cubicBezTo>
                    <a:pt x="329714" y="415457"/>
                    <a:pt x="329991" y="413143"/>
                    <a:pt x="330000" y="410820"/>
                  </a:cubicBezTo>
                  <a:lnTo>
                    <a:pt x="330000" y="365105"/>
                  </a:lnTo>
                  <a:cubicBezTo>
                    <a:pt x="330032" y="356489"/>
                    <a:pt x="337006" y="349516"/>
                    <a:pt x="345622" y="349483"/>
                  </a:cubicBezTo>
                  <a:lnTo>
                    <a:pt x="391337" y="349483"/>
                  </a:lnTo>
                  <a:cubicBezTo>
                    <a:pt x="393660" y="349489"/>
                    <a:pt x="395976" y="349212"/>
                    <a:pt x="398234" y="348658"/>
                  </a:cubicBezTo>
                  <a:close/>
                  <a:moveTo>
                    <a:pt x="406959" y="129247"/>
                  </a:moveTo>
                  <a:lnTo>
                    <a:pt x="348392" y="129247"/>
                  </a:lnTo>
                  <a:cubicBezTo>
                    <a:pt x="344617" y="129247"/>
                    <a:pt x="341554" y="132309"/>
                    <a:pt x="341554" y="136086"/>
                  </a:cubicBezTo>
                  <a:cubicBezTo>
                    <a:pt x="341554" y="139862"/>
                    <a:pt x="344617" y="142924"/>
                    <a:pt x="348392" y="142924"/>
                  </a:cubicBezTo>
                  <a:lnTo>
                    <a:pt x="406929" y="142924"/>
                  </a:lnTo>
                  <a:lnTo>
                    <a:pt x="406929" y="320156"/>
                  </a:lnTo>
                  <a:cubicBezTo>
                    <a:pt x="406929" y="328783"/>
                    <a:pt x="399935" y="335777"/>
                    <a:pt x="391308" y="335777"/>
                  </a:cubicBezTo>
                  <a:lnTo>
                    <a:pt x="345592" y="335777"/>
                  </a:lnTo>
                  <a:cubicBezTo>
                    <a:pt x="329440" y="335875"/>
                    <a:pt x="316374" y="348953"/>
                    <a:pt x="316294" y="365105"/>
                  </a:cubicBezTo>
                  <a:lnTo>
                    <a:pt x="316294" y="410820"/>
                  </a:lnTo>
                  <a:cubicBezTo>
                    <a:pt x="316277" y="419453"/>
                    <a:pt x="309276" y="426442"/>
                    <a:pt x="300643" y="426442"/>
                  </a:cubicBezTo>
                  <a:lnTo>
                    <a:pt x="34427" y="426442"/>
                  </a:lnTo>
                  <a:cubicBezTo>
                    <a:pt x="23032" y="426442"/>
                    <a:pt x="13794" y="417205"/>
                    <a:pt x="13794" y="405810"/>
                  </a:cubicBezTo>
                  <a:lnTo>
                    <a:pt x="13794" y="142924"/>
                  </a:lnTo>
                  <a:lnTo>
                    <a:pt x="320981" y="142924"/>
                  </a:lnTo>
                  <a:cubicBezTo>
                    <a:pt x="324756" y="142924"/>
                    <a:pt x="327819" y="139862"/>
                    <a:pt x="327819" y="136086"/>
                  </a:cubicBezTo>
                  <a:cubicBezTo>
                    <a:pt x="327819" y="132309"/>
                    <a:pt x="324756" y="129247"/>
                    <a:pt x="320981" y="129247"/>
                  </a:cubicBezTo>
                  <a:lnTo>
                    <a:pt x="13794" y="129247"/>
                  </a:lnTo>
                  <a:lnTo>
                    <a:pt x="13794" y="65670"/>
                  </a:lnTo>
                  <a:cubicBezTo>
                    <a:pt x="13794" y="54275"/>
                    <a:pt x="23032" y="45038"/>
                    <a:pt x="34427" y="45038"/>
                  </a:cubicBezTo>
                  <a:lnTo>
                    <a:pt x="63695" y="45038"/>
                  </a:lnTo>
                  <a:lnTo>
                    <a:pt x="63695" y="65169"/>
                  </a:lnTo>
                  <a:cubicBezTo>
                    <a:pt x="63727" y="76665"/>
                    <a:pt x="73038" y="85975"/>
                    <a:pt x="84534" y="86008"/>
                  </a:cubicBezTo>
                  <a:cubicBezTo>
                    <a:pt x="88319" y="85759"/>
                    <a:pt x="91185" y="82490"/>
                    <a:pt x="90937" y="78705"/>
                  </a:cubicBezTo>
                  <a:cubicBezTo>
                    <a:pt x="90711" y="75267"/>
                    <a:pt x="87972" y="72528"/>
                    <a:pt x="84534" y="72302"/>
                  </a:cubicBezTo>
                  <a:cubicBezTo>
                    <a:pt x="80594" y="72302"/>
                    <a:pt x="77401" y="69108"/>
                    <a:pt x="77401" y="65169"/>
                  </a:cubicBezTo>
                  <a:lnTo>
                    <a:pt x="77401" y="65169"/>
                  </a:lnTo>
                  <a:lnTo>
                    <a:pt x="77401" y="45067"/>
                  </a:lnTo>
                  <a:lnTo>
                    <a:pt x="312433" y="45067"/>
                  </a:lnTo>
                  <a:lnTo>
                    <a:pt x="312433" y="65199"/>
                  </a:lnTo>
                  <a:cubicBezTo>
                    <a:pt x="312465" y="76694"/>
                    <a:pt x="321777" y="86005"/>
                    <a:pt x="333272" y="86037"/>
                  </a:cubicBezTo>
                  <a:cubicBezTo>
                    <a:pt x="337056" y="85789"/>
                    <a:pt x="339924" y="82520"/>
                    <a:pt x="339674" y="78735"/>
                  </a:cubicBezTo>
                  <a:cubicBezTo>
                    <a:pt x="339450" y="75296"/>
                    <a:pt x="336711" y="72557"/>
                    <a:pt x="333272" y="72332"/>
                  </a:cubicBezTo>
                  <a:cubicBezTo>
                    <a:pt x="329366" y="72283"/>
                    <a:pt x="326227" y="69104"/>
                    <a:pt x="326227" y="65199"/>
                  </a:cubicBezTo>
                  <a:lnTo>
                    <a:pt x="326227" y="45067"/>
                  </a:lnTo>
                  <a:lnTo>
                    <a:pt x="386356" y="45067"/>
                  </a:lnTo>
                  <a:cubicBezTo>
                    <a:pt x="397751" y="45067"/>
                    <a:pt x="406988" y="54305"/>
                    <a:pt x="406988" y="65700"/>
                  </a:cubicBezTo>
                  <a:close/>
                </a:path>
              </a:pathLst>
            </a:custGeom>
            <a:grpFill/>
            <a:ln w="29170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67" name="Freeform 366">
              <a:extLst>
                <a:ext uri="{FF2B5EF4-FFF2-40B4-BE49-F238E27FC236}">
                  <a16:creationId xmlns:a16="http://schemas.microsoft.com/office/drawing/2014/main" id="{95F211C1-F32D-C900-9E26-31F79147A39B}"/>
                </a:ext>
              </a:extLst>
            </p:cNvPr>
            <p:cNvSpPr/>
            <p:nvPr/>
          </p:nvSpPr>
          <p:spPr>
            <a:xfrm>
              <a:off x="6477221" y="6172398"/>
              <a:ext cx="232599" cy="222899"/>
            </a:xfrm>
            <a:custGeom>
              <a:avLst/>
              <a:gdLst>
                <a:gd name="connsiteX0" fmla="*/ 54109 w 232599"/>
                <a:gd name="connsiteY0" fmla="*/ 222899 h 222899"/>
                <a:gd name="connsiteX1" fmla="*/ 38627 w 232599"/>
                <a:gd name="connsiteY1" fmla="*/ 207372 h 222899"/>
                <a:gd name="connsiteX2" fmla="*/ 39371 w 232599"/>
                <a:gd name="connsiteY2" fmla="*/ 202650 h 222899"/>
                <a:gd name="connsiteX3" fmla="*/ 59591 w 232599"/>
                <a:gd name="connsiteY3" fmla="*/ 140046 h 222899"/>
                <a:gd name="connsiteX4" fmla="*/ 6330 w 232599"/>
                <a:gd name="connsiteY4" fmla="*/ 101375 h 222899"/>
                <a:gd name="connsiteX5" fmla="*/ 3007 w 232599"/>
                <a:gd name="connsiteY5" fmla="*/ 79703 h 222899"/>
                <a:gd name="connsiteX6" fmla="*/ 15408 w 232599"/>
                <a:gd name="connsiteY6" fmla="*/ 73374 h 222899"/>
                <a:gd name="connsiteX7" fmla="*/ 81343 w 232599"/>
                <a:gd name="connsiteY7" fmla="*/ 73374 h 222899"/>
                <a:gd name="connsiteX8" fmla="*/ 101976 w 232599"/>
                <a:gd name="connsiteY8" fmla="*/ 10828 h 222899"/>
                <a:gd name="connsiteX9" fmla="*/ 121334 w 232599"/>
                <a:gd name="connsiteY9" fmla="*/ 712 h 222899"/>
                <a:gd name="connsiteX10" fmla="*/ 131451 w 232599"/>
                <a:gd name="connsiteY10" fmla="*/ 10828 h 222899"/>
                <a:gd name="connsiteX11" fmla="*/ 151877 w 232599"/>
                <a:gd name="connsiteY11" fmla="*/ 73374 h 222899"/>
                <a:gd name="connsiteX12" fmla="*/ 217134 w 232599"/>
                <a:gd name="connsiteY12" fmla="*/ 73374 h 222899"/>
                <a:gd name="connsiteX13" fmla="*/ 232599 w 232599"/>
                <a:gd name="connsiteY13" fmla="*/ 88915 h 222899"/>
                <a:gd name="connsiteX14" fmla="*/ 226271 w 232599"/>
                <a:gd name="connsiteY14" fmla="*/ 101375 h 222899"/>
                <a:gd name="connsiteX15" fmla="*/ 172922 w 232599"/>
                <a:gd name="connsiteY15" fmla="*/ 140046 h 222899"/>
                <a:gd name="connsiteX16" fmla="*/ 193554 w 232599"/>
                <a:gd name="connsiteY16" fmla="*/ 202650 h 222899"/>
                <a:gd name="connsiteX17" fmla="*/ 183671 w 232599"/>
                <a:gd name="connsiteY17" fmla="*/ 222127 h 222899"/>
                <a:gd name="connsiteX18" fmla="*/ 169768 w 232599"/>
                <a:gd name="connsiteY18" fmla="*/ 219922 h 222899"/>
                <a:gd name="connsiteX19" fmla="*/ 116418 w 232599"/>
                <a:gd name="connsiteY19" fmla="*/ 181222 h 222899"/>
                <a:gd name="connsiteX20" fmla="*/ 63128 w 232599"/>
                <a:gd name="connsiteY20" fmla="*/ 219922 h 222899"/>
                <a:gd name="connsiteX21" fmla="*/ 54109 w 232599"/>
                <a:gd name="connsiteY21" fmla="*/ 222899 h 222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32599" h="222899">
                  <a:moveTo>
                    <a:pt x="54109" y="222899"/>
                  </a:moveTo>
                  <a:cubicBezTo>
                    <a:pt x="45546" y="222888"/>
                    <a:pt x="38615" y="215935"/>
                    <a:pt x="38627" y="207372"/>
                  </a:cubicBezTo>
                  <a:cubicBezTo>
                    <a:pt x="38629" y="205769"/>
                    <a:pt x="38881" y="204177"/>
                    <a:pt x="39371" y="202650"/>
                  </a:cubicBezTo>
                  <a:lnTo>
                    <a:pt x="59591" y="140046"/>
                  </a:lnTo>
                  <a:lnTo>
                    <a:pt x="6330" y="101375"/>
                  </a:lnTo>
                  <a:cubicBezTo>
                    <a:pt x="-572" y="96308"/>
                    <a:pt x="-2060" y="86605"/>
                    <a:pt x="3007" y="79703"/>
                  </a:cubicBezTo>
                  <a:cubicBezTo>
                    <a:pt x="5908" y="75751"/>
                    <a:pt x="10507" y="73404"/>
                    <a:pt x="15408" y="73374"/>
                  </a:cubicBezTo>
                  <a:lnTo>
                    <a:pt x="81343" y="73374"/>
                  </a:lnTo>
                  <a:lnTo>
                    <a:pt x="101976" y="10828"/>
                  </a:lnTo>
                  <a:cubicBezTo>
                    <a:pt x="104528" y="2689"/>
                    <a:pt x="113195" y="-1840"/>
                    <a:pt x="121334" y="712"/>
                  </a:cubicBezTo>
                  <a:cubicBezTo>
                    <a:pt x="126159" y="2224"/>
                    <a:pt x="129938" y="6003"/>
                    <a:pt x="131451" y="10828"/>
                  </a:cubicBezTo>
                  <a:lnTo>
                    <a:pt x="151877" y="73374"/>
                  </a:lnTo>
                  <a:lnTo>
                    <a:pt x="217134" y="73374"/>
                  </a:lnTo>
                  <a:cubicBezTo>
                    <a:pt x="225696" y="73395"/>
                    <a:pt x="232620" y="80353"/>
                    <a:pt x="232599" y="88915"/>
                  </a:cubicBezTo>
                  <a:cubicBezTo>
                    <a:pt x="232588" y="93838"/>
                    <a:pt x="230238" y="98462"/>
                    <a:pt x="226271" y="101375"/>
                  </a:cubicBezTo>
                  <a:lnTo>
                    <a:pt x="172922" y="140046"/>
                  </a:lnTo>
                  <a:lnTo>
                    <a:pt x="193554" y="202650"/>
                  </a:lnTo>
                  <a:cubicBezTo>
                    <a:pt x="196204" y="210759"/>
                    <a:pt x="191777" y="219477"/>
                    <a:pt x="183671" y="222127"/>
                  </a:cubicBezTo>
                  <a:cubicBezTo>
                    <a:pt x="178949" y="223669"/>
                    <a:pt x="173779" y="222849"/>
                    <a:pt x="169768" y="219922"/>
                  </a:cubicBezTo>
                  <a:lnTo>
                    <a:pt x="116418" y="181222"/>
                  </a:lnTo>
                  <a:lnTo>
                    <a:pt x="63128" y="219922"/>
                  </a:lnTo>
                  <a:cubicBezTo>
                    <a:pt x="60520" y="221859"/>
                    <a:pt x="57357" y="222902"/>
                    <a:pt x="54109" y="222899"/>
                  </a:cubicBezTo>
                  <a:close/>
                </a:path>
              </a:pathLst>
            </a:custGeom>
            <a:noFill/>
            <a:ln w="14585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68" name="Graphic 27">
            <a:extLst>
              <a:ext uri="{FF2B5EF4-FFF2-40B4-BE49-F238E27FC236}">
                <a16:creationId xmlns:a16="http://schemas.microsoft.com/office/drawing/2014/main" id="{CA44F509-13BD-667D-D64F-0F68720424A0}"/>
              </a:ext>
            </a:extLst>
          </p:cNvPr>
          <p:cNvGrpSpPr/>
          <p:nvPr/>
        </p:nvGrpSpPr>
        <p:grpSpPr>
          <a:xfrm>
            <a:off x="7459798" y="5059191"/>
            <a:ext cx="384027" cy="375835"/>
            <a:chOff x="10000178" y="5976506"/>
            <a:chExt cx="536142" cy="536142"/>
          </a:xfrm>
          <a:solidFill>
            <a:schemeClr val="bg1"/>
          </a:solidFill>
        </p:grpSpPr>
        <p:sp>
          <p:nvSpPr>
            <p:cNvPr id="369" name="Freeform 368">
              <a:extLst>
                <a:ext uri="{FF2B5EF4-FFF2-40B4-BE49-F238E27FC236}">
                  <a16:creationId xmlns:a16="http://schemas.microsoft.com/office/drawing/2014/main" id="{D2FA6CA4-FB5C-5ADF-C03E-95D61C3210C9}"/>
                </a:ext>
              </a:extLst>
            </p:cNvPr>
            <p:cNvSpPr/>
            <p:nvPr/>
          </p:nvSpPr>
          <p:spPr>
            <a:xfrm>
              <a:off x="10014955" y="5988870"/>
              <a:ext cx="520292" cy="520295"/>
            </a:xfrm>
            <a:custGeom>
              <a:avLst/>
              <a:gdLst>
                <a:gd name="connsiteX0" fmla="*/ 485845 w 520292"/>
                <a:gd name="connsiteY0" fmla="*/ 429550 h 520295"/>
                <a:gd name="connsiteX1" fmla="*/ 520292 w 520292"/>
                <a:gd name="connsiteY1" fmla="*/ 338205 h 520295"/>
                <a:gd name="connsiteX2" fmla="*/ 361326 w 520292"/>
                <a:gd name="connsiteY2" fmla="*/ 183595 h 520295"/>
                <a:gd name="connsiteX3" fmla="*/ 364208 w 520292"/>
                <a:gd name="connsiteY3" fmla="*/ 156084 h 520295"/>
                <a:gd name="connsiteX4" fmla="*/ 182087 w 520292"/>
                <a:gd name="connsiteY4" fmla="*/ 0 h 520295"/>
                <a:gd name="connsiteX5" fmla="*/ 0 w 520292"/>
                <a:gd name="connsiteY5" fmla="*/ 156084 h 520295"/>
                <a:gd name="connsiteX6" fmla="*/ 29588 w 520292"/>
                <a:gd name="connsiteY6" fmla="*/ 241297 h 520295"/>
                <a:gd name="connsiteX7" fmla="*/ 570 w 520292"/>
                <a:gd name="connsiteY7" fmla="*/ 317765 h 520295"/>
                <a:gd name="connsiteX8" fmla="*/ 5738 w 520292"/>
                <a:gd name="connsiteY8" fmla="*/ 328896 h 520295"/>
                <a:gd name="connsiteX9" fmla="*/ 8679 w 520292"/>
                <a:gd name="connsiteY9" fmla="*/ 329426 h 520295"/>
                <a:gd name="connsiteX10" fmla="*/ 12030 w 520292"/>
                <a:gd name="connsiteY10" fmla="*/ 328689 h 520295"/>
                <a:gd name="connsiteX11" fmla="*/ 94059 w 520292"/>
                <a:gd name="connsiteY11" fmla="*/ 292767 h 520295"/>
                <a:gd name="connsiteX12" fmla="*/ 158966 w 520292"/>
                <a:gd name="connsiteY12" fmla="*/ 310661 h 520295"/>
                <a:gd name="connsiteX13" fmla="*/ 156084 w 520292"/>
                <a:gd name="connsiteY13" fmla="*/ 338205 h 520295"/>
                <a:gd name="connsiteX14" fmla="*/ 338205 w 520292"/>
                <a:gd name="connsiteY14" fmla="*/ 494289 h 520295"/>
                <a:gd name="connsiteX15" fmla="*/ 419163 w 520292"/>
                <a:gd name="connsiteY15" fmla="*/ 478038 h 520295"/>
                <a:gd name="connsiteX16" fmla="*/ 507961 w 520292"/>
                <a:gd name="connsiteY16" fmla="*/ 519488 h 520295"/>
                <a:gd name="connsiteX17" fmla="*/ 519485 w 520292"/>
                <a:gd name="connsiteY17" fmla="*/ 515266 h 520295"/>
                <a:gd name="connsiteX18" fmla="*/ 519589 w 520292"/>
                <a:gd name="connsiteY18" fmla="*/ 508196 h 520295"/>
                <a:gd name="connsiteX19" fmla="*/ 90776 w 520292"/>
                <a:gd name="connsiteY19" fmla="*/ 275275 h 520295"/>
                <a:gd name="connsiteX20" fmla="*/ 24126 w 520292"/>
                <a:gd name="connsiteY20" fmla="*/ 304596 h 520295"/>
                <a:gd name="connsiteX21" fmla="*/ 47583 w 520292"/>
                <a:gd name="connsiteY21" fmla="*/ 242839 h 520295"/>
                <a:gd name="connsiteX22" fmla="*/ 46175 w 520292"/>
                <a:gd name="connsiteY22" fmla="*/ 234294 h 520295"/>
                <a:gd name="connsiteX23" fmla="*/ 17358 w 520292"/>
                <a:gd name="connsiteY23" fmla="*/ 156084 h 520295"/>
                <a:gd name="connsiteX24" fmla="*/ 182087 w 520292"/>
                <a:gd name="connsiteY24" fmla="*/ 17324 h 520295"/>
                <a:gd name="connsiteX25" fmla="*/ 346850 w 520292"/>
                <a:gd name="connsiteY25" fmla="*/ 156084 h 520295"/>
                <a:gd name="connsiteX26" fmla="*/ 342159 w 520292"/>
                <a:gd name="connsiteY26" fmla="*/ 188823 h 520295"/>
                <a:gd name="connsiteX27" fmla="*/ 182087 w 520292"/>
                <a:gd name="connsiteY27" fmla="*/ 294845 h 520295"/>
                <a:gd name="connsiteX28" fmla="*/ 170292 w 520292"/>
                <a:gd name="connsiteY28" fmla="*/ 294409 h 520295"/>
                <a:gd name="connsiteX29" fmla="*/ 98147 w 520292"/>
                <a:gd name="connsiteY29" fmla="*/ 275476 h 520295"/>
                <a:gd name="connsiteX30" fmla="*/ 90776 w 520292"/>
                <a:gd name="connsiteY30" fmla="*/ 275275 h 520295"/>
                <a:gd name="connsiteX31" fmla="*/ 422949 w 520292"/>
                <a:gd name="connsiteY31" fmla="*/ 460680 h 520295"/>
                <a:gd name="connsiteX32" fmla="*/ 415711 w 520292"/>
                <a:gd name="connsiteY32" fmla="*/ 460680 h 520295"/>
                <a:gd name="connsiteX33" fmla="*/ 338205 w 520292"/>
                <a:gd name="connsiteY33" fmla="*/ 476999 h 520295"/>
                <a:gd name="connsiteX34" fmla="*/ 173442 w 520292"/>
                <a:gd name="connsiteY34" fmla="*/ 338272 h 520295"/>
                <a:gd name="connsiteX35" fmla="*/ 176391 w 520292"/>
                <a:gd name="connsiteY35" fmla="*/ 312169 h 520295"/>
                <a:gd name="connsiteX36" fmla="*/ 182087 w 520292"/>
                <a:gd name="connsiteY36" fmla="*/ 312169 h 520295"/>
                <a:gd name="connsiteX37" fmla="*/ 197468 w 520292"/>
                <a:gd name="connsiteY37" fmla="*/ 311633 h 520295"/>
                <a:gd name="connsiteX38" fmla="*/ 202561 w 520292"/>
                <a:gd name="connsiteY38" fmla="*/ 311096 h 520295"/>
                <a:gd name="connsiteX39" fmla="*/ 212614 w 520292"/>
                <a:gd name="connsiteY39" fmla="*/ 309991 h 520295"/>
                <a:gd name="connsiteX40" fmla="*/ 218612 w 520292"/>
                <a:gd name="connsiteY40" fmla="*/ 308952 h 520295"/>
                <a:gd name="connsiteX41" fmla="*/ 227257 w 520292"/>
                <a:gd name="connsiteY41" fmla="*/ 307343 h 520295"/>
                <a:gd name="connsiteX42" fmla="*/ 233557 w 520292"/>
                <a:gd name="connsiteY42" fmla="*/ 305769 h 520295"/>
                <a:gd name="connsiteX43" fmla="*/ 241498 w 520292"/>
                <a:gd name="connsiteY43" fmla="*/ 303724 h 520295"/>
                <a:gd name="connsiteX44" fmla="*/ 247832 w 520292"/>
                <a:gd name="connsiteY44" fmla="*/ 301647 h 520295"/>
                <a:gd name="connsiteX45" fmla="*/ 255271 w 520292"/>
                <a:gd name="connsiteY45" fmla="*/ 299134 h 520295"/>
                <a:gd name="connsiteX46" fmla="*/ 261470 w 520292"/>
                <a:gd name="connsiteY46" fmla="*/ 296587 h 520295"/>
                <a:gd name="connsiteX47" fmla="*/ 268406 w 520292"/>
                <a:gd name="connsiteY47" fmla="*/ 293638 h 520295"/>
                <a:gd name="connsiteX48" fmla="*/ 274471 w 520292"/>
                <a:gd name="connsiteY48" fmla="*/ 290622 h 520295"/>
                <a:gd name="connsiteX49" fmla="*/ 281173 w 520292"/>
                <a:gd name="connsiteY49" fmla="*/ 287272 h 520295"/>
                <a:gd name="connsiteX50" fmla="*/ 287037 w 520292"/>
                <a:gd name="connsiteY50" fmla="*/ 283921 h 520295"/>
                <a:gd name="connsiteX51" fmla="*/ 293102 w 520292"/>
                <a:gd name="connsiteY51" fmla="*/ 280201 h 520295"/>
                <a:gd name="connsiteX52" fmla="*/ 298698 w 520292"/>
                <a:gd name="connsiteY52" fmla="*/ 276314 h 520295"/>
                <a:gd name="connsiteX53" fmla="*/ 304294 w 520292"/>
                <a:gd name="connsiteY53" fmla="*/ 272226 h 520295"/>
                <a:gd name="connsiteX54" fmla="*/ 309589 w 520292"/>
                <a:gd name="connsiteY54" fmla="*/ 267870 h 520295"/>
                <a:gd name="connsiteX55" fmla="*/ 314749 w 520292"/>
                <a:gd name="connsiteY55" fmla="*/ 263447 h 520295"/>
                <a:gd name="connsiteX56" fmla="*/ 319641 w 520292"/>
                <a:gd name="connsiteY56" fmla="*/ 258756 h 520295"/>
                <a:gd name="connsiteX57" fmla="*/ 324366 w 520292"/>
                <a:gd name="connsiteY57" fmla="*/ 253997 h 520295"/>
                <a:gd name="connsiteX58" fmla="*/ 328823 w 520292"/>
                <a:gd name="connsiteY58" fmla="*/ 248937 h 520295"/>
                <a:gd name="connsiteX59" fmla="*/ 333078 w 520292"/>
                <a:gd name="connsiteY59" fmla="*/ 243844 h 520295"/>
                <a:gd name="connsiteX60" fmla="*/ 337099 w 520292"/>
                <a:gd name="connsiteY60" fmla="*/ 238449 h 520295"/>
                <a:gd name="connsiteX61" fmla="*/ 340852 w 520292"/>
                <a:gd name="connsiteY61" fmla="*/ 233021 h 520295"/>
                <a:gd name="connsiteX62" fmla="*/ 344203 w 520292"/>
                <a:gd name="connsiteY62" fmla="*/ 227391 h 520295"/>
                <a:gd name="connsiteX63" fmla="*/ 347554 w 520292"/>
                <a:gd name="connsiteY63" fmla="*/ 221594 h 520295"/>
                <a:gd name="connsiteX64" fmla="*/ 350503 w 520292"/>
                <a:gd name="connsiteY64" fmla="*/ 215730 h 520295"/>
                <a:gd name="connsiteX65" fmla="*/ 353284 w 520292"/>
                <a:gd name="connsiteY65" fmla="*/ 209598 h 520295"/>
                <a:gd name="connsiteX66" fmla="*/ 355663 w 520292"/>
                <a:gd name="connsiteY66" fmla="*/ 203533 h 520295"/>
                <a:gd name="connsiteX67" fmla="*/ 356870 w 520292"/>
                <a:gd name="connsiteY67" fmla="*/ 200450 h 520295"/>
                <a:gd name="connsiteX68" fmla="*/ 503203 w 520292"/>
                <a:gd name="connsiteY68" fmla="*/ 338339 h 520295"/>
                <a:gd name="connsiteX69" fmla="*/ 469526 w 520292"/>
                <a:gd name="connsiteY69" fmla="*/ 422111 h 520295"/>
                <a:gd name="connsiteX70" fmla="*/ 467985 w 520292"/>
                <a:gd name="connsiteY70" fmla="*/ 431360 h 520295"/>
                <a:gd name="connsiteX71" fmla="*/ 494792 w 520292"/>
                <a:gd name="connsiteY71" fmla="*/ 494155 h 520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20292" h="520295">
                  <a:moveTo>
                    <a:pt x="485845" y="429550"/>
                  </a:moveTo>
                  <a:cubicBezTo>
                    <a:pt x="507924" y="404224"/>
                    <a:pt x="520152" y="371801"/>
                    <a:pt x="520292" y="338205"/>
                  </a:cubicBezTo>
                  <a:cubicBezTo>
                    <a:pt x="520292" y="259493"/>
                    <a:pt x="451231" y="193380"/>
                    <a:pt x="361326" y="183595"/>
                  </a:cubicBezTo>
                  <a:cubicBezTo>
                    <a:pt x="363240" y="174550"/>
                    <a:pt x="364205" y="165330"/>
                    <a:pt x="364208" y="156084"/>
                  </a:cubicBezTo>
                  <a:cubicBezTo>
                    <a:pt x="364208" y="70034"/>
                    <a:pt x="282513" y="0"/>
                    <a:pt x="182087" y="0"/>
                  </a:cubicBezTo>
                  <a:cubicBezTo>
                    <a:pt x="81661" y="0"/>
                    <a:pt x="0" y="70034"/>
                    <a:pt x="0" y="156084"/>
                  </a:cubicBezTo>
                  <a:cubicBezTo>
                    <a:pt x="138" y="186984"/>
                    <a:pt x="10547" y="216961"/>
                    <a:pt x="29588" y="241297"/>
                  </a:cubicBezTo>
                  <a:lnTo>
                    <a:pt x="570" y="317765"/>
                  </a:lnTo>
                  <a:cubicBezTo>
                    <a:pt x="-1077" y="322266"/>
                    <a:pt x="1236" y="327251"/>
                    <a:pt x="5738" y="328896"/>
                  </a:cubicBezTo>
                  <a:cubicBezTo>
                    <a:pt x="6680" y="329241"/>
                    <a:pt x="7675" y="329422"/>
                    <a:pt x="8679" y="329426"/>
                  </a:cubicBezTo>
                  <a:cubicBezTo>
                    <a:pt x="9833" y="329402"/>
                    <a:pt x="10972" y="329154"/>
                    <a:pt x="12030" y="328689"/>
                  </a:cubicBezTo>
                  <a:lnTo>
                    <a:pt x="94059" y="292767"/>
                  </a:lnTo>
                  <a:cubicBezTo>
                    <a:pt x="114514" y="302395"/>
                    <a:pt x="136467" y="308447"/>
                    <a:pt x="158966" y="310661"/>
                  </a:cubicBezTo>
                  <a:cubicBezTo>
                    <a:pt x="157053" y="319718"/>
                    <a:pt x="156087" y="328950"/>
                    <a:pt x="156084" y="338205"/>
                  </a:cubicBezTo>
                  <a:cubicBezTo>
                    <a:pt x="156084" y="424256"/>
                    <a:pt x="237779" y="494289"/>
                    <a:pt x="338205" y="494289"/>
                  </a:cubicBezTo>
                  <a:cubicBezTo>
                    <a:pt x="366007" y="494353"/>
                    <a:pt x="393538" y="488824"/>
                    <a:pt x="419163" y="478038"/>
                  </a:cubicBezTo>
                  <a:lnTo>
                    <a:pt x="507961" y="519488"/>
                  </a:lnTo>
                  <a:cubicBezTo>
                    <a:pt x="512311" y="521505"/>
                    <a:pt x="517468" y="519612"/>
                    <a:pt x="519485" y="515266"/>
                  </a:cubicBezTo>
                  <a:cubicBezTo>
                    <a:pt x="520520" y="513031"/>
                    <a:pt x="520560" y="510461"/>
                    <a:pt x="519589" y="508196"/>
                  </a:cubicBezTo>
                  <a:close/>
                  <a:moveTo>
                    <a:pt x="90776" y="275275"/>
                  </a:moveTo>
                  <a:lnTo>
                    <a:pt x="24126" y="304596"/>
                  </a:lnTo>
                  <a:lnTo>
                    <a:pt x="47583" y="242839"/>
                  </a:lnTo>
                  <a:cubicBezTo>
                    <a:pt x="48670" y="239943"/>
                    <a:pt x="48133" y="236688"/>
                    <a:pt x="46175" y="234294"/>
                  </a:cubicBezTo>
                  <a:cubicBezTo>
                    <a:pt x="27751" y="212378"/>
                    <a:pt x="17558" y="184715"/>
                    <a:pt x="17358" y="156084"/>
                  </a:cubicBezTo>
                  <a:cubicBezTo>
                    <a:pt x="17324" y="79584"/>
                    <a:pt x="91245" y="17324"/>
                    <a:pt x="182087" y="17324"/>
                  </a:cubicBezTo>
                  <a:cubicBezTo>
                    <a:pt x="272930" y="17324"/>
                    <a:pt x="346850" y="79584"/>
                    <a:pt x="346850" y="156084"/>
                  </a:cubicBezTo>
                  <a:cubicBezTo>
                    <a:pt x="346854" y="167165"/>
                    <a:pt x="345275" y="178189"/>
                    <a:pt x="342159" y="188823"/>
                  </a:cubicBezTo>
                  <a:cubicBezTo>
                    <a:pt x="317996" y="255577"/>
                    <a:pt x="252978" y="298640"/>
                    <a:pt x="182087" y="294845"/>
                  </a:cubicBezTo>
                  <a:cubicBezTo>
                    <a:pt x="178200" y="294845"/>
                    <a:pt x="174347" y="294845"/>
                    <a:pt x="170292" y="294409"/>
                  </a:cubicBezTo>
                  <a:cubicBezTo>
                    <a:pt x="145200" y="293110"/>
                    <a:pt x="120644" y="286665"/>
                    <a:pt x="98147" y="275476"/>
                  </a:cubicBezTo>
                  <a:cubicBezTo>
                    <a:pt x="95845" y="274307"/>
                    <a:pt x="93139" y="274234"/>
                    <a:pt x="90776" y="275275"/>
                  </a:cubicBezTo>
                  <a:close/>
                  <a:moveTo>
                    <a:pt x="422949" y="460680"/>
                  </a:moveTo>
                  <a:cubicBezTo>
                    <a:pt x="420650" y="459624"/>
                    <a:pt x="418010" y="459624"/>
                    <a:pt x="415711" y="460680"/>
                  </a:cubicBezTo>
                  <a:cubicBezTo>
                    <a:pt x="391320" y="471534"/>
                    <a:pt x="364902" y="477096"/>
                    <a:pt x="338205" y="476999"/>
                  </a:cubicBezTo>
                  <a:cubicBezTo>
                    <a:pt x="247329" y="476999"/>
                    <a:pt x="173442" y="414773"/>
                    <a:pt x="173442" y="338272"/>
                  </a:cubicBezTo>
                  <a:cubicBezTo>
                    <a:pt x="173433" y="329486"/>
                    <a:pt x="174422" y="320730"/>
                    <a:pt x="176391" y="312169"/>
                  </a:cubicBezTo>
                  <a:cubicBezTo>
                    <a:pt x="178301" y="312169"/>
                    <a:pt x="180177" y="312169"/>
                    <a:pt x="182087" y="312169"/>
                  </a:cubicBezTo>
                  <a:cubicBezTo>
                    <a:pt x="187281" y="312169"/>
                    <a:pt x="192408" y="312001"/>
                    <a:pt x="197468" y="311633"/>
                  </a:cubicBezTo>
                  <a:cubicBezTo>
                    <a:pt x="199210" y="311633"/>
                    <a:pt x="200819" y="311264"/>
                    <a:pt x="202561" y="311096"/>
                  </a:cubicBezTo>
                  <a:cubicBezTo>
                    <a:pt x="205912" y="310761"/>
                    <a:pt x="209263" y="310460"/>
                    <a:pt x="212614" y="309991"/>
                  </a:cubicBezTo>
                  <a:cubicBezTo>
                    <a:pt x="214624" y="309689"/>
                    <a:pt x="216601" y="309287"/>
                    <a:pt x="218612" y="308952"/>
                  </a:cubicBezTo>
                  <a:cubicBezTo>
                    <a:pt x="221494" y="308449"/>
                    <a:pt x="224442" y="307980"/>
                    <a:pt x="227257" y="307343"/>
                  </a:cubicBezTo>
                  <a:cubicBezTo>
                    <a:pt x="229402" y="306874"/>
                    <a:pt x="231446" y="306305"/>
                    <a:pt x="233557" y="305769"/>
                  </a:cubicBezTo>
                  <a:cubicBezTo>
                    <a:pt x="236204" y="305098"/>
                    <a:pt x="238885" y="304462"/>
                    <a:pt x="241498" y="303724"/>
                  </a:cubicBezTo>
                  <a:cubicBezTo>
                    <a:pt x="244112" y="302987"/>
                    <a:pt x="245721" y="302351"/>
                    <a:pt x="247832" y="301647"/>
                  </a:cubicBezTo>
                  <a:cubicBezTo>
                    <a:pt x="249943" y="300943"/>
                    <a:pt x="252824" y="300038"/>
                    <a:pt x="255271" y="299134"/>
                  </a:cubicBezTo>
                  <a:cubicBezTo>
                    <a:pt x="257717" y="298229"/>
                    <a:pt x="259392" y="297458"/>
                    <a:pt x="261470" y="296587"/>
                  </a:cubicBezTo>
                  <a:cubicBezTo>
                    <a:pt x="263547" y="295716"/>
                    <a:pt x="266161" y="294677"/>
                    <a:pt x="268406" y="293638"/>
                  </a:cubicBezTo>
                  <a:cubicBezTo>
                    <a:pt x="270651" y="292600"/>
                    <a:pt x="272461" y="291628"/>
                    <a:pt x="274471" y="290622"/>
                  </a:cubicBezTo>
                  <a:cubicBezTo>
                    <a:pt x="276482" y="289617"/>
                    <a:pt x="278861" y="288444"/>
                    <a:pt x="281173" y="287272"/>
                  </a:cubicBezTo>
                  <a:cubicBezTo>
                    <a:pt x="283485" y="286099"/>
                    <a:pt x="285094" y="284959"/>
                    <a:pt x="287037" y="283921"/>
                  </a:cubicBezTo>
                  <a:cubicBezTo>
                    <a:pt x="288981" y="282882"/>
                    <a:pt x="291125" y="281508"/>
                    <a:pt x="293102" y="280201"/>
                  </a:cubicBezTo>
                  <a:cubicBezTo>
                    <a:pt x="295079" y="278894"/>
                    <a:pt x="296855" y="277621"/>
                    <a:pt x="298698" y="276314"/>
                  </a:cubicBezTo>
                  <a:cubicBezTo>
                    <a:pt x="300541" y="275007"/>
                    <a:pt x="302485" y="273633"/>
                    <a:pt x="304294" y="272226"/>
                  </a:cubicBezTo>
                  <a:cubicBezTo>
                    <a:pt x="306104" y="270819"/>
                    <a:pt x="307846" y="269344"/>
                    <a:pt x="309589" y="267870"/>
                  </a:cubicBezTo>
                  <a:cubicBezTo>
                    <a:pt x="311331" y="266396"/>
                    <a:pt x="312939" y="264988"/>
                    <a:pt x="314749" y="263447"/>
                  </a:cubicBezTo>
                  <a:cubicBezTo>
                    <a:pt x="316558" y="261905"/>
                    <a:pt x="318100" y="260330"/>
                    <a:pt x="319641" y="258756"/>
                  </a:cubicBezTo>
                  <a:cubicBezTo>
                    <a:pt x="321183" y="257181"/>
                    <a:pt x="322992" y="255606"/>
                    <a:pt x="324366" y="253997"/>
                  </a:cubicBezTo>
                  <a:cubicBezTo>
                    <a:pt x="325740" y="252389"/>
                    <a:pt x="327382" y="250646"/>
                    <a:pt x="328823" y="248937"/>
                  </a:cubicBezTo>
                  <a:cubicBezTo>
                    <a:pt x="330263" y="247228"/>
                    <a:pt x="331704" y="245587"/>
                    <a:pt x="333078" y="243844"/>
                  </a:cubicBezTo>
                  <a:cubicBezTo>
                    <a:pt x="334452" y="242102"/>
                    <a:pt x="335792" y="240259"/>
                    <a:pt x="337099" y="238449"/>
                  </a:cubicBezTo>
                  <a:cubicBezTo>
                    <a:pt x="338406" y="236640"/>
                    <a:pt x="339679" y="234864"/>
                    <a:pt x="340852" y="233021"/>
                  </a:cubicBezTo>
                  <a:cubicBezTo>
                    <a:pt x="342025" y="231178"/>
                    <a:pt x="343231" y="229301"/>
                    <a:pt x="344203" y="227391"/>
                  </a:cubicBezTo>
                  <a:cubicBezTo>
                    <a:pt x="345175" y="225481"/>
                    <a:pt x="346415" y="223571"/>
                    <a:pt x="347554" y="221594"/>
                  </a:cubicBezTo>
                  <a:cubicBezTo>
                    <a:pt x="348693" y="219617"/>
                    <a:pt x="349565" y="217707"/>
                    <a:pt x="350503" y="215730"/>
                  </a:cubicBezTo>
                  <a:cubicBezTo>
                    <a:pt x="351441" y="213753"/>
                    <a:pt x="352413" y="211676"/>
                    <a:pt x="353284" y="209598"/>
                  </a:cubicBezTo>
                  <a:cubicBezTo>
                    <a:pt x="354155" y="207520"/>
                    <a:pt x="354926" y="205610"/>
                    <a:pt x="355663" y="203533"/>
                  </a:cubicBezTo>
                  <a:cubicBezTo>
                    <a:pt x="356065" y="202494"/>
                    <a:pt x="356534" y="201489"/>
                    <a:pt x="356870" y="200450"/>
                  </a:cubicBezTo>
                  <a:cubicBezTo>
                    <a:pt x="439502" y="208258"/>
                    <a:pt x="503203" y="267702"/>
                    <a:pt x="503203" y="338339"/>
                  </a:cubicBezTo>
                  <a:cubicBezTo>
                    <a:pt x="502945" y="369512"/>
                    <a:pt x="490915" y="399433"/>
                    <a:pt x="469526" y="422111"/>
                  </a:cubicBezTo>
                  <a:cubicBezTo>
                    <a:pt x="467248" y="424628"/>
                    <a:pt x="466645" y="428240"/>
                    <a:pt x="467985" y="431360"/>
                  </a:cubicBezTo>
                  <a:lnTo>
                    <a:pt x="494792" y="494155"/>
                  </a:lnTo>
                  <a:close/>
                </a:path>
              </a:pathLst>
            </a:custGeom>
            <a:grpFill/>
            <a:ln w="3333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70" name="Freeform 369">
              <a:extLst>
                <a:ext uri="{FF2B5EF4-FFF2-40B4-BE49-F238E27FC236}">
                  <a16:creationId xmlns:a16="http://schemas.microsoft.com/office/drawing/2014/main" id="{C1E39EB3-4AC2-1043-20E3-D3743DDD3F76}"/>
                </a:ext>
              </a:extLst>
            </p:cNvPr>
            <p:cNvSpPr/>
            <p:nvPr/>
          </p:nvSpPr>
          <p:spPr>
            <a:xfrm>
              <a:off x="10132865" y="6069246"/>
              <a:ext cx="132939" cy="146308"/>
            </a:xfrm>
            <a:custGeom>
              <a:avLst/>
              <a:gdLst>
                <a:gd name="connsiteX0" fmla="*/ 103985 w 132939"/>
                <a:gd name="connsiteY0" fmla="*/ 128954 h 146308"/>
                <a:gd name="connsiteX1" fmla="*/ 86226 w 132939"/>
                <a:gd name="connsiteY1" fmla="*/ 140414 h 146308"/>
                <a:gd name="connsiteX2" fmla="*/ 63574 w 132939"/>
                <a:gd name="connsiteY2" fmla="*/ 144602 h 146308"/>
                <a:gd name="connsiteX3" fmla="*/ 36230 w 132939"/>
                <a:gd name="connsiteY3" fmla="*/ 138470 h 146308"/>
                <a:gd name="connsiteX4" fmla="*/ 16125 w 132939"/>
                <a:gd name="connsiteY4" fmla="*/ 122252 h 146308"/>
                <a:gd name="connsiteX5" fmla="*/ 4028 w 132939"/>
                <a:gd name="connsiteY5" fmla="*/ 99097 h 146308"/>
                <a:gd name="connsiteX6" fmla="*/ 4028 w 132939"/>
                <a:gd name="connsiteY6" fmla="*/ 45483 h 146308"/>
                <a:gd name="connsiteX7" fmla="*/ 16125 w 132939"/>
                <a:gd name="connsiteY7" fmla="*/ 22295 h 146308"/>
                <a:gd name="connsiteX8" fmla="*/ 36230 w 132939"/>
                <a:gd name="connsiteY8" fmla="*/ 6110 h 146308"/>
                <a:gd name="connsiteX9" fmla="*/ 63574 w 132939"/>
                <a:gd name="connsiteY9" fmla="*/ 12 h 146308"/>
                <a:gd name="connsiteX10" fmla="*/ 90883 w 132939"/>
                <a:gd name="connsiteY10" fmla="*/ 6110 h 146308"/>
                <a:gd name="connsiteX11" fmla="*/ 110989 w 132939"/>
                <a:gd name="connsiteY11" fmla="*/ 22295 h 146308"/>
                <a:gd name="connsiteX12" fmla="*/ 123085 w 132939"/>
                <a:gd name="connsiteY12" fmla="*/ 45517 h 146308"/>
                <a:gd name="connsiteX13" fmla="*/ 123990 w 132939"/>
                <a:gd name="connsiteY13" fmla="*/ 96283 h 146308"/>
                <a:gd name="connsiteX14" fmla="*/ 114541 w 132939"/>
                <a:gd name="connsiteY14" fmla="*/ 117360 h 146308"/>
                <a:gd name="connsiteX15" fmla="*/ 129553 w 132939"/>
                <a:gd name="connsiteY15" fmla="*/ 131970 h 146308"/>
                <a:gd name="connsiteX16" fmla="*/ 132032 w 132939"/>
                <a:gd name="connsiteY16" fmla="*/ 135119 h 146308"/>
                <a:gd name="connsiteX17" fmla="*/ 132937 w 132939"/>
                <a:gd name="connsiteY17" fmla="*/ 138906 h 146308"/>
                <a:gd name="connsiteX18" fmla="*/ 130792 w 132939"/>
                <a:gd name="connsiteY18" fmla="*/ 144033 h 146308"/>
                <a:gd name="connsiteX19" fmla="*/ 120941 w 132939"/>
                <a:gd name="connsiteY19" fmla="*/ 145206 h 146308"/>
                <a:gd name="connsiteX20" fmla="*/ 118294 w 132939"/>
                <a:gd name="connsiteY20" fmla="*/ 143061 h 146308"/>
                <a:gd name="connsiteX21" fmla="*/ 80529 w 132939"/>
                <a:gd name="connsiteY21" fmla="*/ 106402 h 146308"/>
                <a:gd name="connsiteX22" fmla="*/ 77882 w 132939"/>
                <a:gd name="connsiteY22" fmla="*/ 103286 h 146308"/>
                <a:gd name="connsiteX23" fmla="*/ 76877 w 132939"/>
                <a:gd name="connsiteY23" fmla="*/ 99734 h 146308"/>
                <a:gd name="connsiteX24" fmla="*/ 79122 w 132939"/>
                <a:gd name="connsiteY24" fmla="*/ 93937 h 146308"/>
                <a:gd name="connsiteX25" fmla="*/ 84785 w 132939"/>
                <a:gd name="connsiteY25" fmla="*/ 91591 h 146308"/>
                <a:gd name="connsiteX26" fmla="*/ 91487 w 132939"/>
                <a:gd name="connsiteY26" fmla="*/ 94942 h 146308"/>
                <a:gd name="connsiteX27" fmla="*/ 101539 w 132939"/>
                <a:gd name="connsiteY27" fmla="*/ 104693 h 146308"/>
                <a:gd name="connsiteX28" fmla="*/ 106532 w 132939"/>
                <a:gd name="connsiteY28" fmla="*/ 89145 h 146308"/>
                <a:gd name="connsiteX29" fmla="*/ 105728 w 132939"/>
                <a:gd name="connsiteY29" fmla="*/ 52051 h 146308"/>
                <a:gd name="connsiteX30" fmla="*/ 98088 w 132939"/>
                <a:gd name="connsiteY30" fmla="*/ 33722 h 146308"/>
                <a:gd name="connsiteX31" fmla="*/ 84383 w 132939"/>
                <a:gd name="connsiteY31" fmla="*/ 20486 h 146308"/>
                <a:gd name="connsiteX32" fmla="*/ 63775 w 132939"/>
                <a:gd name="connsiteY32" fmla="*/ 15392 h 146308"/>
                <a:gd name="connsiteX33" fmla="*/ 43133 w 132939"/>
                <a:gd name="connsiteY33" fmla="*/ 20452 h 146308"/>
                <a:gd name="connsiteX34" fmla="*/ 29395 w 132939"/>
                <a:gd name="connsiteY34" fmla="*/ 33856 h 146308"/>
                <a:gd name="connsiteX35" fmla="*/ 21788 w 132939"/>
                <a:gd name="connsiteY35" fmla="*/ 52185 h 146308"/>
                <a:gd name="connsiteX36" fmla="*/ 21788 w 132939"/>
                <a:gd name="connsiteY36" fmla="*/ 92764 h 146308"/>
                <a:gd name="connsiteX37" fmla="*/ 29395 w 132939"/>
                <a:gd name="connsiteY37" fmla="*/ 111060 h 146308"/>
                <a:gd name="connsiteX38" fmla="*/ 43133 w 132939"/>
                <a:gd name="connsiteY38" fmla="*/ 124296 h 146308"/>
                <a:gd name="connsiteX39" fmla="*/ 63775 w 132939"/>
                <a:gd name="connsiteY39" fmla="*/ 129389 h 146308"/>
                <a:gd name="connsiteX40" fmla="*/ 80228 w 132939"/>
                <a:gd name="connsiteY40" fmla="*/ 126407 h 146308"/>
                <a:gd name="connsiteX41" fmla="*/ 92626 w 132939"/>
                <a:gd name="connsiteY41" fmla="*/ 118097 h 146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32939" h="146308">
                  <a:moveTo>
                    <a:pt x="103985" y="128954"/>
                  </a:moveTo>
                  <a:cubicBezTo>
                    <a:pt x="98829" y="133844"/>
                    <a:pt x="92806" y="137731"/>
                    <a:pt x="86226" y="140414"/>
                  </a:cubicBezTo>
                  <a:cubicBezTo>
                    <a:pt x="79025" y="143290"/>
                    <a:pt x="71327" y="144713"/>
                    <a:pt x="63574" y="144602"/>
                  </a:cubicBezTo>
                  <a:cubicBezTo>
                    <a:pt x="54099" y="144780"/>
                    <a:pt x="44722" y="142676"/>
                    <a:pt x="36230" y="138470"/>
                  </a:cubicBezTo>
                  <a:cubicBezTo>
                    <a:pt x="28432" y="134586"/>
                    <a:pt x="21572" y="129052"/>
                    <a:pt x="16125" y="122252"/>
                  </a:cubicBezTo>
                  <a:cubicBezTo>
                    <a:pt x="10676" y="115361"/>
                    <a:pt x="6572" y="107506"/>
                    <a:pt x="4028" y="99097"/>
                  </a:cubicBezTo>
                  <a:cubicBezTo>
                    <a:pt x="-1343" y="81630"/>
                    <a:pt x="-1343" y="62951"/>
                    <a:pt x="4028" y="45483"/>
                  </a:cubicBezTo>
                  <a:cubicBezTo>
                    <a:pt x="6576" y="37066"/>
                    <a:pt x="10679" y="29201"/>
                    <a:pt x="16125" y="22295"/>
                  </a:cubicBezTo>
                  <a:cubicBezTo>
                    <a:pt x="21573" y="15505"/>
                    <a:pt x="28434" y="9982"/>
                    <a:pt x="36230" y="6110"/>
                  </a:cubicBezTo>
                  <a:cubicBezTo>
                    <a:pt x="44725" y="1916"/>
                    <a:pt x="54102" y="-176"/>
                    <a:pt x="63574" y="12"/>
                  </a:cubicBezTo>
                  <a:cubicBezTo>
                    <a:pt x="73034" y="-168"/>
                    <a:pt x="82399" y="1923"/>
                    <a:pt x="90883" y="6110"/>
                  </a:cubicBezTo>
                  <a:cubicBezTo>
                    <a:pt x="98680" y="9982"/>
                    <a:pt x="105541" y="15505"/>
                    <a:pt x="110989" y="22295"/>
                  </a:cubicBezTo>
                  <a:cubicBezTo>
                    <a:pt x="116426" y="29218"/>
                    <a:pt x="120528" y="37093"/>
                    <a:pt x="123085" y="45517"/>
                  </a:cubicBezTo>
                  <a:cubicBezTo>
                    <a:pt x="128164" y="62015"/>
                    <a:pt x="128478" y="79613"/>
                    <a:pt x="123990" y="96283"/>
                  </a:cubicBezTo>
                  <a:cubicBezTo>
                    <a:pt x="121956" y="103757"/>
                    <a:pt x="118768" y="110868"/>
                    <a:pt x="114541" y="117360"/>
                  </a:cubicBezTo>
                  <a:lnTo>
                    <a:pt x="129553" y="131970"/>
                  </a:lnTo>
                  <a:cubicBezTo>
                    <a:pt x="130521" y="132900"/>
                    <a:pt x="131355" y="133960"/>
                    <a:pt x="132032" y="135119"/>
                  </a:cubicBezTo>
                  <a:cubicBezTo>
                    <a:pt x="132656" y="136282"/>
                    <a:pt x="132967" y="137587"/>
                    <a:pt x="132937" y="138906"/>
                  </a:cubicBezTo>
                  <a:cubicBezTo>
                    <a:pt x="132908" y="140827"/>
                    <a:pt x="132140" y="142663"/>
                    <a:pt x="130792" y="144033"/>
                  </a:cubicBezTo>
                  <a:cubicBezTo>
                    <a:pt x="128128" y="146556"/>
                    <a:pt x="124123" y="147033"/>
                    <a:pt x="120941" y="145206"/>
                  </a:cubicBezTo>
                  <a:cubicBezTo>
                    <a:pt x="119990" y="144579"/>
                    <a:pt x="119104" y="143861"/>
                    <a:pt x="118294" y="143061"/>
                  </a:cubicBezTo>
                  <a:close/>
                  <a:moveTo>
                    <a:pt x="80529" y="106402"/>
                  </a:moveTo>
                  <a:cubicBezTo>
                    <a:pt x="79539" y="105460"/>
                    <a:pt x="78652" y="104416"/>
                    <a:pt x="77882" y="103286"/>
                  </a:cubicBezTo>
                  <a:cubicBezTo>
                    <a:pt x="77200" y="102229"/>
                    <a:pt x="76850" y="100992"/>
                    <a:pt x="76877" y="99734"/>
                  </a:cubicBezTo>
                  <a:cubicBezTo>
                    <a:pt x="76814" y="97578"/>
                    <a:pt x="77623" y="95488"/>
                    <a:pt x="79122" y="93937"/>
                  </a:cubicBezTo>
                  <a:cubicBezTo>
                    <a:pt x="80589" y="92385"/>
                    <a:pt x="82649" y="91532"/>
                    <a:pt x="84785" y="91591"/>
                  </a:cubicBezTo>
                  <a:cubicBezTo>
                    <a:pt x="87384" y="91741"/>
                    <a:pt x="89807" y="92953"/>
                    <a:pt x="91487" y="94942"/>
                  </a:cubicBezTo>
                  <a:lnTo>
                    <a:pt x="101539" y="104693"/>
                  </a:lnTo>
                  <a:cubicBezTo>
                    <a:pt x="103901" y="99761"/>
                    <a:pt x="105580" y="94530"/>
                    <a:pt x="106532" y="89145"/>
                  </a:cubicBezTo>
                  <a:cubicBezTo>
                    <a:pt x="108829" y="76858"/>
                    <a:pt x="108556" y="64227"/>
                    <a:pt x="105728" y="52051"/>
                  </a:cubicBezTo>
                  <a:cubicBezTo>
                    <a:pt x="104261" y="45545"/>
                    <a:pt x="101676" y="39343"/>
                    <a:pt x="98088" y="33722"/>
                  </a:cubicBezTo>
                  <a:cubicBezTo>
                    <a:pt x="94600" y="28312"/>
                    <a:pt x="89910" y="23782"/>
                    <a:pt x="84383" y="20486"/>
                  </a:cubicBezTo>
                  <a:cubicBezTo>
                    <a:pt x="78110" y="16930"/>
                    <a:pt x="70981" y="15168"/>
                    <a:pt x="63775" y="15392"/>
                  </a:cubicBezTo>
                  <a:cubicBezTo>
                    <a:pt x="56562" y="15165"/>
                    <a:pt x="49424" y="16915"/>
                    <a:pt x="43133" y="20452"/>
                  </a:cubicBezTo>
                  <a:cubicBezTo>
                    <a:pt x="37584" y="23805"/>
                    <a:pt x="32884" y="28392"/>
                    <a:pt x="29395" y="33856"/>
                  </a:cubicBezTo>
                  <a:cubicBezTo>
                    <a:pt x="25806" y="39473"/>
                    <a:pt x="23232" y="45677"/>
                    <a:pt x="21788" y="52185"/>
                  </a:cubicBezTo>
                  <a:cubicBezTo>
                    <a:pt x="18661" y="65531"/>
                    <a:pt x="18661" y="79419"/>
                    <a:pt x="21788" y="92764"/>
                  </a:cubicBezTo>
                  <a:cubicBezTo>
                    <a:pt x="23223" y="99264"/>
                    <a:pt x="25798" y="105459"/>
                    <a:pt x="29395" y="111060"/>
                  </a:cubicBezTo>
                  <a:cubicBezTo>
                    <a:pt x="32885" y="116479"/>
                    <a:pt x="37589" y="121010"/>
                    <a:pt x="43133" y="124296"/>
                  </a:cubicBezTo>
                  <a:cubicBezTo>
                    <a:pt x="49414" y="127859"/>
                    <a:pt x="56557" y="129622"/>
                    <a:pt x="63775" y="129389"/>
                  </a:cubicBezTo>
                  <a:cubicBezTo>
                    <a:pt x="69402" y="129491"/>
                    <a:pt x="74994" y="128478"/>
                    <a:pt x="80228" y="126407"/>
                  </a:cubicBezTo>
                  <a:cubicBezTo>
                    <a:pt x="84871" y="124487"/>
                    <a:pt x="89085" y="121662"/>
                    <a:pt x="92626" y="118097"/>
                  </a:cubicBezTo>
                  <a:close/>
                </a:path>
              </a:pathLst>
            </a:custGeom>
            <a:grpFill/>
            <a:ln w="3333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71" name="Freeform 370">
              <a:extLst>
                <a:ext uri="{FF2B5EF4-FFF2-40B4-BE49-F238E27FC236}">
                  <a16:creationId xmlns:a16="http://schemas.microsoft.com/office/drawing/2014/main" id="{1D1A538D-E71A-2DF8-ACD7-EE36587AE2E9}"/>
                </a:ext>
              </a:extLst>
            </p:cNvPr>
            <p:cNvSpPr/>
            <p:nvPr/>
          </p:nvSpPr>
          <p:spPr>
            <a:xfrm>
              <a:off x="10293007" y="6269073"/>
              <a:ext cx="120303" cy="144737"/>
            </a:xfrm>
            <a:custGeom>
              <a:avLst/>
              <a:gdLst>
                <a:gd name="connsiteX0" fmla="*/ 17262 w 120303"/>
                <a:gd name="connsiteY0" fmla="*/ 138256 h 144737"/>
                <a:gd name="connsiteX1" fmla="*/ 14246 w 120303"/>
                <a:gd name="connsiteY1" fmla="*/ 142847 h 144737"/>
                <a:gd name="connsiteX2" fmla="*/ 8550 w 120303"/>
                <a:gd name="connsiteY2" fmla="*/ 144723 h 144737"/>
                <a:gd name="connsiteX3" fmla="*/ 2551 w 120303"/>
                <a:gd name="connsiteY3" fmla="*/ 142713 h 144737"/>
                <a:gd name="connsiteX4" fmla="*/ 5 w 120303"/>
                <a:gd name="connsiteY4" fmla="*/ 137318 h 144737"/>
                <a:gd name="connsiteX5" fmla="*/ 1010 w 120303"/>
                <a:gd name="connsiteY5" fmla="*/ 132727 h 144737"/>
                <a:gd name="connsiteX6" fmla="*/ 2451 w 120303"/>
                <a:gd name="connsiteY6" fmla="*/ 128505 h 144737"/>
                <a:gd name="connsiteX7" fmla="*/ 47353 w 120303"/>
                <a:gd name="connsiteY7" fmla="*/ 10788 h 144737"/>
                <a:gd name="connsiteX8" fmla="*/ 51910 w 120303"/>
                <a:gd name="connsiteY8" fmla="*/ 3115 h 144737"/>
                <a:gd name="connsiteX9" fmla="*/ 68396 w 120303"/>
                <a:gd name="connsiteY9" fmla="*/ 3115 h 144737"/>
                <a:gd name="connsiteX10" fmla="*/ 72954 w 120303"/>
                <a:gd name="connsiteY10" fmla="*/ 10788 h 144737"/>
                <a:gd name="connsiteX11" fmla="*/ 117889 w 120303"/>
                <a:gd name="connsiteY11" fmla="*/ 128505 h 144737"/>
                <a:gd name="connsiteX12" fmla="*/ 119296 w 120303"/>
                <a:gd name="connsiteY12" fmla="*/ 132727 h 144737"/>
                <a:gd name="connsiteX13" fmla="*/ 120302 w 120303"/>
                <a:gd name="connsiteY13" fmla="*/ 137318 h 144737"/>
                <a:gd name="connsiteX14" fmla="*/ 117788 w 120303"/>
                <a:gd name="connsiteY14" fmla="*/ 142713 h 144737"/>
                <a:gd name="connsiteX15" fmla="*/ 111790 w 120303"/>
                <a:gd name="connsiteY15" fmla="*/ 144723 h 144737"/>
                <a:gd name="connsiteX16" fmla="*/ 106094 w 120303"/>
                <a:gd name="connsiteY16" fmla="*/ 142847 h 144737"/>
                <a:gd name="connsiteX17" fmla="*/ 103045 w 120303"/>
                <a:gd name="connsiteY17" fmla="*/ 138256 h 144737"/>
                <a:gd name="connsiteX18" fmla="*/ 93696 w 120303"/>
                <a:gd name="connsiteY18" fmla="*/ 113191 h 144737"/>
                <a:gd name="connsiteX19" fmla="*/ 26678 w 120303"/>
                <a:gd name="connsiteY19" fmla="*/ 113191 h 144737"/>
                <a:gd name="connsiteX20" fmla="*/ 60354 w 120303"/>
                <a:gd name="connsiteY20" fmla="*/ 19501 h 144737"/>
                <a:gd name="connsiteX21" fmla="*/ 59952 w 120303"/>
                <a:gd name="connsiteY21" fmla="*/ 19501 h 144737"/>
                <a:gd name="connsiteX22" fmla="*/ 32207 w 120303"/>
                <a:gd name="connsiteY22" fmla="*/ 97744 h 144737"/>
                <a:gd name="connsiteX23" fmla="*/ 88301 w 120303"/>
                <a:gd name="connsiteY23" fmla="*/ 97744 h 144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0303" h="144737">
                  <a:moveTo>
                    <a:pt x="17262" y="138256"/>
                  </a:moveTo>
                  <a:cubicBezTo>
                    <a:pt x="16635" y="140005"/>
                    <a:pt x="15601" y="141577"/>
                    <a:pt x="14246" y="142847"/>
                  </a:cubicBezTo>
                  <a:cubicBezTo>
                    <a:pt x="12652" y="144167"/>
                    <a:pt x="10617" y="144837"/>
                    <a:pt x="8550" y="144723"/>
                  </a:cubicBezTo>
                  <a:cubicBezTo>
                    <a:pt x="6377" y="144774"/>
                    <a:pt x="4255" y="144063"/>
                    <a:pt x="2551" y="142713"/>
                  </a:cubicBezTo>
                  <a:cubicBezTo>
                    <a:pt x="874" y="141436"/>
                    <a:pt x="-76" y="139422"/>
                    <a:pt x="5" y="137318"/>
                  </a:cubicBezTo>
                  <a:cubicBezTo>
                    <a:pt x="80" y="135743"/>
                    <a:pt x="420" y="134191"/>
                    <a:pt x="1010" y="132727"/>
                  </a:cubicBezTo>
                  <a:cubicBezTo>
                    <a:pt x="1680" y="130851"/>
                    <a:pt x="2183" y="129376"/>
                    <a:pt x="2451" y="128505"/>
                  </a:cubicBezTo>
                  <a:lnTo>
                    <a:pt x="47353" y="10788"/>
                  </a:lnTo>
                  <a:cubicBezTo>
                    <a:pt x="48311" y="7937"/>
                    <a:pt x="49866" y="5321"/>
                    <a:pt x="51910" y="3115"/>
                  </a:cubicBezTo>
                  <a:cubicBezTo>
                    <a:pt x="56621" y="-1038"/>
                    <a:pt x="63685" y="-1038"/>
                    <a:pt x="68396" y="3115"/>
                  </a:cubicBezTo>
                  <a:cubicBezTo>
                    <a:pt x="70440" y="5321"/>
                    <a:pt x="71995" y="7937"/>
                    <a:pt x="72954" y="10788"/>
                  </a:cubicBezTo>
                  <a:lnTo>
                    <a:pt x="117889" y="128505"/>
                  </a:lnTo>
                  <a:cubicBezTo>
                    <a:pt x="118157" y="129443"/>
                    <a:pt x="118626" y="130851"/>
                    <a:pt x="119296" y="132727"/>
                  </a:cubicBezTo>
                  <a:cubicBezTo>
                    <a:pt x="119900" y="134185"/>
                    <a:pt x="120238" y="135740"/>
                    <a:pt x="120302" y="137318"/>
                  </a:cubicBezTo>
                  <a:cubicBezTo>
                    <a:pt x="120352" y="139409"/>
                    <a:pt x="119424" y="141406"/>
                    <a:pt x="117788" y="142713"/>
                  </a:cubicBezTo>
                  <a:cubicBezTo>
                    <a:pt x="116080" y="144053"/>
                    <a:pt x="113962" y="144764"/>
                    <a:pt x="111790" y="144723"/>
                  </a:cubicBezTo>
                  <a:cubicBezTo>
                    <a:pt x="109723" y="144847"/>
                    <a:pt x="107682" y="144177"/>
                    <a:pt x="106094" y="142847"/>
                  </a:cubicBezTo>
                  <a:cubicBezTo>
                    <a:pt x="104727" y="141580"/>
                    <a:pt x="103685" y="140005"/>
                    <a:pt x="103045" y="138256"/>
                  </a:cubicBezTo>
                  <a:lnTo>
                    <a:pt x="93696" y="113191"/>
                  </a:lnTo>
                  <a:lnTo>
                    <a:pt x="26678" y="113191"/>
                  </a:lnTo>
                  <a:close/>
                  <a:moveTo>
                    <a:pt x="60354" y="19501"/>
                  </a:moveTo>
                  <a:lnTo>
                    <a:pt x="59952" y="19501"/>
                  </a:lnTo>
                  <a:lnTo>
                    <a:pt x="32207" y="97744"/>
                  </a:lnTo>
                  <a:lnTo>
                    <a:pt x="88301" y="97744"/>
                  </a:lnTo>
                  <a:close/>
                </a:path>
              </a:pathLst>
            </a:custGeom>
            <a:grpFill/>
            <a:ln w="3333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72" name="Graphic 29">
            <a:extLst>
              <a:ext uri="{FF2B5EF4-FFF2-40B4-BE49-F238E27FC236}">
                <a16:creationId xmlns:a16="http://schemas.microsoft.com/office/drawing/2014/main" id="{78180EE7-1282-5572-F455-7BCF2368F8BC}"/>
              </a:ext>
            </a:extLst>
          </p:cNvPr>
          <p:cNvGrpSpPr/>
          <p:nvPr/>
        </p:nvGrpSpPr>
        <p:grpSpPr>
          <a:xfrm>
            <a:off x="5707303" y="1888123"/>
            <a:ext cx="311374" cy="304732"/>
            <a:chOff x="7553511" y="1452871"/>
            <a:chExt cx="434711" cy="434711"/>
          </a:xfrm>
          <a:solidFill>
            <a:schemeClr val="bg1"/>
          </a:solidFill>
        </p:grpSpPr>
        <p:sp>
          <p:nvSpPr>
            <p:cNvPr id="373" name="Freeform 372">
              <a:extLst>
                <a:ext uri="{FF2B5EF4-FFF2-40B4-BE49-F238E27FC236}">
                  <a16:creationId xmlns:a16="http://schemas.microsoft.com/office/drawing/2014/main" id="{09A9E76D-B6E0-947F-3C74-CC1CA5DBCD2E}"/>
                </a:ext>
              </a:extLst>
            </p:cNvPr>
            <p:cNvSpPr/>
            <p:nvPr/>
          </p:nvSpPr>
          <p:spPr>
            <a:xfrm>
              <a:off x="7582995" y="1794934"/>
              <a:ext cx="383186" cy="71319"/>
            </a:xfrm>
            <a:custGeom>
              <a:avLst/>
              <a:gdLst>
                <a:gd name="connsiteX0" fmla="*/ 369906 w 383186"/>
                <a:gd name="connsiteY0" fmla="*/ 35592 h 71319"/>
                <a:gd name="connsiteX1" fmla="*/ 348496 w 383186"/>
                <a:gd name="connsiteY1" fmla="*/ 56947 h 71319"/>
                <a:gd name="connsiteX2" fmla="*/ 327141 w 383186"/>
                <a:gd name="connsiteY2" fmla="*/ 35538 h 71319"/>
                <a:gd name="connsiteX3" fmla="*/ 348524 w 383186"/>
                <a:gd name="connsiteY3" fmla="*/ 14182 h 71319"/>
                <a:gd name="connsiteX4" fmla="*/ 369906 w 383186"/>
                <a:gd name="connsiteY4" fmla="*/ 35592 h 71319"/>
                <a:gd name="connsiteX5" fmla="*/ 13334 w 383186"/>
                <a:gd name="connsiteY5" fmla="*/ 35592 h 71319"/>
                <a:gd name="connsiteX6" fmla="*/ 34717 w 383186"/>
                <a:gd name="connsiteY6" fmla="*/ 14155 h 71319"/>
                <a:gd name="connsiteX7" fmla="*/ 56153 w 383186"/>
                <a:gd name="connsiteY7" fmla="*/ 35538 h 71319"/>
                <a:gd name="connsiteX8" fmla="*/ 34771 w 383186"/>
                <a:gd name="connsiteY8" fmla="*/ 56974 h 71319"/>
                <a:gd name="connsiteX9" fmla="*/ 34717 w 383186"/>
                <a:gd name="connsiteY9" fmla="*/ 56974 h 71319"/>
                <a:gd name="connsiteX10" fmla="*/ 13334 w 383186"/>
                <a:gd name="connsiteY10" fmla="*/ 35592 h 71319"/>
                <a:gd name="connsiteX11" fmla="*/ 163282 w 383186"/>
                <a:gd name="connsiteY11" fmla="*/ 56974 h 71319"/>
                <a:gd name="connsiteX12" fmla="*/ 63054 w 383186"/>
                <a:gd name="connsiteY12" fmla="*/ 56974 h 71319"/>
                <a:gd name="connsiteX13" fmla="*/ 63054 w 383186"/>
                <a:gd name="connsiteY13" fmla="*/ 14182 h 71319"/>
                <a:gd name="connsiteX14" fmla="*/ 163228 w 383186"/>
                <a:gd name="connsiteY14" fmla="*/ 14182 h 71319"/>
                <a:gd name="connsiteX15" fmla="*/ 163228 w 383186"/>
                <a:gd name="connsiteY15" fmla="*/ 56974 h 71319"/>
                <a:gd name="connsiteX16" fmla="*/ 219931 w 383186"/>
                <a:gd name="connsiteY16" fmla="*/ 14264 h 71319"/>
                <a:gd name="connsiteX17" fmla="*/ 320159 w 383186"/>
                <a:gd name="connsiteY17" fmla="*/ 14264 h 71319"/>
                <a:gd name="connsiteX18" fmla="*/ 320159 w 383186"/>
                <a:gd name="connsiteY18" fmla="*/ 57056 h 71319"/>
                <a:gd name="connsiteX19" fmla="*/ 219931 w 383186"/>
                <a:gd name="connsiteY19" fmla="*/ 57056 h 71319"/>
                <a:gd name="connsiteX20" fmla="*/ 219931 w 383186"/>
                <a:gd name="connsiteY20" fmla="*/ 14264 h 71319"/>
                <a:gd name="connsiteX21" fmla="*/ 213002 w 383186"/>
                <a:gd name="connsiteY21" fmla="*/ 35673 h 71319"/>
                <a:gd name="connsiteX22" fmla="*/ 191593 w 383186"/>
                <a:gd name="connsiteY22" fmla="*/ 57083 h 71319"/>
                <a:gd name="connsiteX23" fmla="*/ 170183 w 383186"/>
                <a:gd name="connsiteY23" fmla="*/ 35673 h 71319"/>
                <a:gd name="connsiteX24" fmla="*/ 191593 w 383186"/>
                <a:gd name="connsiteY24" fmla="*/ 14264 h 71319"/>
                <a:gd name="connsiteX25" fmla="*/ 213002 w 383186"/>
                <a:gd name="connsiteY25" fmla="*/ 35673 h 71319"/>
                <a:gd name="connsiteX26" fmla="*/ 34689 w 383186"/>
                <a:gd name="connsiteY26" fmla="*/ 0 h 71319"/>
                <a:gd name="connsiteX27" fmla="*/ 14 w 383186"/>
                <a:gd name="connsiteY27" fmla="*/ 36643 h 71319"/>
                <a:gd name="connsiteX28" fmla="*/ 34689 w 383186"/>
                <a:gd name="connsiteY28" fmla="*/ 71320 h 71319"/>
                <a:gd name="connsiteX29" fmla="*/ 348496 w 383186"/>
                <a:gd name="connsiteY29" fmla="*/ 71320 h 71319"/>
                <a:gd name="connsiteX30" fmla="*/ 383173 w 383186"/>
                <a:gd name="connsiteY30" fmla="*/ 34676 h 71319"/>
                <a:gd name="connsiteX31" fmla="*/ 348496 w 383186"/>
                <a:gd name="connsiteY31" fmla="*/ 0 h 7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83186" h="71319">
                  <a:moveTo>
                    <a:pt x="369906" y="35592"/>
                  </a:moveTo>
                  <a:cubicBezTo>
                    <a:pt x="369890" y="47400"/>
                    <a:pt x="360304" y="56963"/>
                    <a:pt x="348496" y="56947"/>
                  </a:cubicBezTo>
                  <a:cubicBezTo>
                    <a:pt x="336689" y="56931"/>
                    <a:pt x="327125" y="47345"/>
                    <a:pt x="327141" y="35538"/>
                  </a:cubicBezTo>
                  <a:cubicBezTo>
                    <a:pt x="327158" y="23738"/>
                    <a:pt x="336724" y="14182"/>
                    <a:pt x="348524" y="14182"/>
                  </a:cubicBezTo>
                  <a:cubicBezTo>
                    <a:pt x="360337" y="14199"/>
                    <a:pt x="369906" y="23779"/>
                    <a:pt x="369906" y="35592"/>
                  </a:cubicBezTo>
                  <a:moveTo>
                    <a:pt x="13334" y="35592"/>
                  </a:moveTo>
                  <a:cubicBezTo>
                    <a:pt x="13319" y="23768"/>
                    <a:pt x="22892" y="14172"/>
                    <a:pt x="34717" y="14155"/>
                  </a:cubicBezTo>
                  <a:cubicBezTo>
                    <a:pt x="46541" y="14139"/>
                    <a:pt x="56138" y="23713"/>
                    <a:pt x="56153" y="35538"/>
                  </a:cubicBezTo>
                  <a:cubicBezTo>
                    <a:pt x="56168" y="47362"/>
                    <a:pt x="46595" y="56958"/>
                    <a:pt x="34771" y="56974"/>
                  </a:cubicBezTo>
                  <a:cubicBezTo>
                    <a:pt x="34753" y="56974"/>
                    <a:pt x="34735" y="56974"/>
                    <a:pt x="34717" y="56974"/>
                  </a:cubicBezTo>
                  <a:cubicBezTo>
                    <a:pt x="22914" y="56958"/>
                    <a:pt x="13349" y="47394"/>
                    <a:pt x="13334" y="35592"/>
                  </a:cubicBezTo>
                  <a:moveTo>
                    <a:pt x="163282" y="56974"/>
                  </a:moveTo>
                  <a:lnTo>
                    <a:pt x="63054" y="56974"/>
                  </a:lnTo>
                  <a:cubicBezTo>
                    <a:pt x="72801" y="44376"/>
                    <a:pt x="72801" y="26781"/>
                    <a:pt x="63054" y="14182"/>
                  </a:cubicBezTo>
                  <a:lnTo>
                    <a:pt x="163228" y="14182"/>
                  </a:lnTo>
                  <a:cubicBezTo>
                    <a:pt x="153500" y="26789"/>
                    <a:pt x="153500" y="44368"/>
                    <a:pt x="163228" y="56974"/>
                  </a:cubicBezTo>
                  <a:moveTo>
                    <a:pt x="219931" y="14264"/>
                  </a:moveTo>
                  <a:lnTo>
                    <a:pt x="320159" y="14264"/>
                  </a:lnTo>
                  <a:cubicBezTo>
                    <a:pt x="310372" y="26849"/>
                    <a:pt x="310372" y="44471"/>
                    <a:pt x="320159" y="57056"/>
                  </a:cubicBezTo>
                  <a:lnTo>
                    <a:pt x="219931" y="57056"/>
                  </a:lnTo>
                  <a:cubicBezTo>
                    <a:pt x="229716" y="44471"/>
                    <a:pt x="229716" y="26849"/>
                    <a:pt x="219931" y="14264"/>
                  </a:cubicBezTo>
                  <a:moveTo>
                    <a:pt x="213002" y="35673"/>
                  </a:moveTo>
                  <a:cubicBezTo>
                    <a:pt x="213002" y="47498"/>
                    <a:pt x="203417" y="57083"/>
                    <a:pt x="191593" y="57083"/>
                  </a:cubicBezTo>
                  <a:cubicBezTo>
                    <a:pt x="179769" y="57083"/>
                    <a:pt x="170183" y="47498"/>
                    <a:pt x="170183" y="35673"/>
                  </a:cubicBezTo>
                  <a:cubicBezTo>
                    <a:pt x="170183" y="23849"/>
                    <a:pt x="179769" y="14264"/>
                    <a:pt x="191593" y="14264"/>
                  </a:cubicBezTo>
                  <a:cubicBezTo>
                    <a:pt x="203417" y="14264"/>
                    <a:pt x="213002" y="23849"/>
                    <a:pt x="213002" y="35673"/>
                  </a:cubicBezTo>
                  <a:moveTo>
                    <a:pt x="34689" y="0"/>
                  </a:moveTo>
                  <a:cubicBezTo>
                    <a:pt x="14995" y="543"/>
                    <a:pt x="-530" y="16951"/>
                    <a:pt x="14" y="36643"/>
                  </a:cubicBezTo>
                  <a:cubicBezTo>
                    <a:pt x="537" y="55575"/>
                    <a:pt x="15759" y="70798"/>
                    <a:pt x="34689" y="71320"/>
                  </a:cubicBezTo>
                  <a:lnTo>
                    <a:pt x="348496" y="71320"/>
                  </a:lnTo>
                  <a:cubicBezTo>
                    <a:pt x="368192" y="70776"/>
                    <a:pt x="383716" y="54369"/>
                    <a:pt x="383173" y="34676"/>
                  </a:cubicBezTo>
                  <a:cubicBezTo>
                    <a:pt x="382648" y="15745"/>
                    <a:pt x="367425" y="522"/>
                    <a:pt x="348496" y="0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74" name="Freeform 373">
              <a:extLst>
                <a:ext uri="{FF2B5EF4-FFF2-40B4-BE49-F238E27FC236}">
                  <a16:creationId xmlns:a16="http://schemas.microsoft.com/office/drawing/2014/main" id="{0E85CD6C-8B92-FE12-CD72-0154A6DC7819}"/>
                </a:ext>
              </a:extLst>
            </p:cNvPr>
            <p:cNvSpPr/>
            <p:nvPr/>
          </p:nvSpPr>
          <p:spPr>
            <a:xfrm>
              <a:off x="7553510" y="1452599"/>
              <a:ext cx="443503" cy="442359"/>
            </a:xfrm>
            <a:custGeom>
              <a:avLst/>
              <a:gdLst>
                <a:gd name="connsiteX0" fmla="*/ 128376 w 443503"/>
                <a:gd name="connsiteY0" fmla="*/ 85611 h 442359"/>
                <a:gd name="connsiteX1" fmla="*/ 114112 w 443503"/>
                <a:gd name="connsiteY1" fmla="*/ 85611 h 442359"/>
                <a:gd name="connsiteX2" fmla="*/ 114112 w 443503"/>
                <a:gd name="connsiteY2" fmla="*/ 71347 h 442359"/>
                <a:gd name="connsiteX3" fmla="*/ 128376 w 443503"/>
                <a:gd name="connsiteY3" fmla="*/ 71347 h 442359"/>
                <a:gd name="connsiteX4" fmla="*/ 92702 w 443503"/>
                <a:gd name="connsiteY4" fmla="*/ 14291 h 442359"/>
                <a:gd name="connsiteX5" fmla="*/ 149758 w 443503"/>
                <a:gd name="connsiteY5" fmla="*/ 14291 h 442359"/>
                <a:gd name="connsiteX6" fmla="*/ 149758 w 443503"/>
                <a:gd name="connsiteY6" fmla="*/ 57083 h 442359"/>
                <a:gd name="connsiteX7" fmla="*/ 92702 w 443503"/>
                <a:gd name="connsiteY7" fmla="*/ 57083 h 442359"/>
                <a:gd name="connsiteX8" fmla="*/ 143998 w 443503"/>
                <a:gd name="connsiteY8" fmla="*/ 195348 h 442359"/>
                <a:gd name="connsiteX9" fmla="*/ 149812 w 443503"/>
                <a:gd name="connsiteY9" fmla="*/ 203499 h 442359"/>
                <a:gd name="connsiteX10" fmla="*/ 149812 w 443503"/>
                <a:gd name="connsiteY10" fmla="*/ 306743 h 442359"/>
                <a:gd name="connsiteX11" fmla="*/ 142694 w 443503"/>
                <a:gd name="connsiteY11" fmla="*/ 313861 h 442359"/>
                <a:gd name="connsiteX12" fmla="*/ 99821 w 443503"/>
                <a:gd name="connsiteY12" fmla="*/ 313861 h 442359"/>
                <a:gd name="connsiteX13" fmla="*/ 92702 w 443503"/>
                <a:gd name="connsiteY13" fmla="*/ 306743 h 442359"/>
                <a:gd name="connsiteX14" fmla="*/ 92702 w 443503"/>
                <a:gd name="connsiteY14" fmla="*/ 299597 h 442359"/>
                <a:gd name="connsiteX15" fmla="*/ 128376 w 443503"/>
                <a:gd name="connsiteY15" fmla="*/ 299597 h 442359"/>
                <a:gd name="connsiteX16" fmla="*/ 135494 w 443503"/>
                <a:gd name="connsiteY16" fmla="*/ 292479 h 442359"/>
                <a:gd name="connsiteX17" fmla="*/ 135494 w 443503"/>
                <a:gd name="connsiteY17" fmla="*/ 221105 h 442359"/>
                <a:gd name="connsiteX18" fmla="*/ 128376 w 443503"/>
                <a:gd name="connsiteY18" fmla="*/ 213987 h 442359"/>
                <a:gd name="connsiteX19" fmla="*/ 92702 w 443503"/>
                <a:gd name="connsiteY19" fmla="*/ 213987 h 442359"/>
                <a:gd name="connsiteX20" fmla="*/ 92702 w 443503"/>
                <a:gd name="connsiteY20" fmla="*/ 203418 h 442359"/>
                <a:gd name="connsiteX21" fmla="*/ 98544 w 443503"/>
                <a:gd name="connsiteY21" fmla="*/ 195267 h 442359"/>
                <a:gd name="connsiteX22" fmla="*/ 114112 w 443503"/>
                <a:gd name="connsiteY22" fmla="*/ 173531 h 442359"/>
                <a:gd name="connsiteX23" fmla="*/ 114112 w 443503"/>
                <a:gd name="connsiteY23" fmla="*/ 142667 h 442359"/>
                <a:gd name="connsiteX24" fmla="*/ 128376 w 443503"/>
                <a:gd name="connsiteY24" fmla="*/ 142667 h 442359"/>
                <a:gd name="connsiteX25" fmla="*/ 128376 w 443503"/>
                <a:gd name="connsiteY25" fmla="*/ 173721 h 442359"/>
                <a:gd name="connsiteX26" fmla="*/ 143944 w 443503"/>
                <a:gd name="connsiteY26" fmla="*/ 195457 h 442359"/>
                <a:gd name="connsiteX27" fmla="*/ 192550 w 443503"/>
                <a:gd name="connsiteY27" fmla="*/ 306852 h 442359"/>
                <a:gd name="connsiteX28" fmla="*/ 192550 w 443503"/>
                <a:gd name="connsiteY28" fmla="*/ 299706 h 442359"/>
                <a:gd name="connsiteX29" fmla="*/ 228223 w 443503"/>
                <a:gd name="connsiteY29" fmla="*/ 299706 h 442359"/>
                <a:gd name="connsiteX30" fmla="*/ 235396 w 443503"/>
                <a:gd name="connsiteY30" fmla="*/ 292588 h 442359"/>
                <a:gd name="connsiteX31" fmla="*/ 235396 w 443503"/>
                <a:gd name="connsiteY31" fmla="*/ 292588 h 442359"/>
                <a:gd name="connsiteX32" fmla="*/ 235396 w 443503"/>
                <a:gd name="connsiteY32" fmla="*/ 221105 h 442359"/>
                <a:gd name="connsiteX33" fmla="*/ 228223 w 443503"/>
                <a:gd name="connsiteY33" fmla="*/ 213987 h 442359"/>
                <a:gd name="connsiteX34" fmla="*/ 228223 w 443503"/>
                <a:gd name="connsiteY34" fmla="*/ 213987 h 442359"/>
                <a:gd name="connsiteX35" fmla="*/ 192550 w 443503"/>
                <a:gd name="connsiteY35" fmla="*/ 213987 h 442359"/>
                <a:gd name="connsiteX36" fmla="*/ 192550 w 443503"/>
                <a:gd name="connsiteY36" fmla="*/ 203418 h 442359"/>
                <a:gd name="connsiteX37" fmla="*/ 198364 w 443503"/>
                <a:gd name="connsiteY37" fmla="*/ 195267 h 442359"/>
                <a:gd name="connsiteX38" fmla="*/ 213932 w 443503"/>
                <a:gd name="connsiteY38" fmla="*/ 173531 h 442359"/>
                <a:gd name="connsiteX39" fmla="*/ 213932 w 443503"/>
                <a:gd name="connsiteY39" fmla="*/ 142667 h 442359"/>
                <a:gd name="connsiteX40" fmla="*/ 228223 w 443503"/>
                <a:gd name="connsiteY40" fmla="*/ 142667 h 442359"/>
                <a:gd name="connsiteX41" fmla="*/ 228223 w 443503"/>
                <a:gd name="connsiteY41" fmla="*/ 173721 h 442359"/>
                <a:gd name="connsiteX42" fmla="*/ 243819 w 443503"/>
                <a:gd name="connsiteY42" fmla="*/ 195457 h 442359"/>
                <a:gd name="connsiteX43" fmla="*/ 249633 w 443503"/>
                <a:gd name="connsiteY43" fmla="*/ 203608 h 442359"/>
                <a:gd name="connsiteX44" fmla="*/ 249633 w 443503"/>
                <a:gd name="connsiteY44" fmla="*/ 306852 h 442359"/>
                <a:gd name="connsiteX45" fmla="*/ 242514 w 443503"/>
                <a:gd name="connsiteY45" fmla="*/ 313970 h 442359"/>
                <a:gd name="connsiteX46" fmla="*/ 199695 w 443503"/>
                <a:gd name="connsiteY46" fmla="*/ 313970 h 442359"/>
                <a:gd name="connsiteX47" fmla="*/ 192550 w 443503"/>
                <a:gd name="connsiteY47" fmla="*/ 306852 h 442359"/>
                <a:gd name="connsiteX48" fmla="*/ 192550 w 443503"/>
                <a:gd name="connsiteY48" fmla="*/ 228386 h 442359"/>
                <a:gd name="connsiteX49" fmla="*/ 221078 w 443503"/>
                <a:gd name="connsiteY49" fmla="*/ 228386 h 442359"/>
                <a:gd name="connsiteX50" fmla="*/ 221078 w 443503"/>
                <a:gd name="connsiteY50" fmla="*/ 285442 h 442359"/>
                <a:gd name="connsiteX51" fmla="*/ 192550 w 443503"/>
                <a:gd name="connsiteY51" fmla="*/ 285442 h 442359"/>
                <a:gd name="connsiteX52" fmla="*/ 292398 w 443503"/>
                <a:gd name="connsiteY52" fmla="*/ 306852 h 442359"/>
                <a:gd name="connsiteX53" fmla="*/ 292398 w 443503"/>
                <a:gd name="connsiteY53" fmla="*/ 299706 h 442359"/>
                <a:gd name="connsiteX54" fmla="*/ 328044 w 443503"/>
                <a:gd name="connsiteY54" fmla="*/ 299706 h 442359"/>
                <a:gd name="connsiteX55" fmla="*/ 335189 w 443503"/>
                <a:gd name="connsiteY55" fmla="*/ 292615 h 442359"/>
                <a:gd name="connsiteX56" fmla="*/ 335189 w 443503"/>
                <a:gd name="connsiteY56" fmla="*/ 292588 h 442359"/>
                <a:gd name="connsiteX57" fmla="*/ 335189 w 443503"/>
                <a:gd name="connsiteY57" fmla="*/ 221105 h 442359"/>
                <a:gd name="connsiteX58" fmla="*/ 328071 w 443503"/>
                <a:gd name="connsiteY58" fmla="*/ 213987 h 442359"/>
                <a:gd name="connsiteX59" fmla="*/ 328044 w 443503"/>
                <a:gd name="connsiteY59" fmla="*/ 213987 h 442359"/>
                <a:gd name="connsiteX60" fmla="*/ 292398 w 443503"/>
                <a:gd name="connsiteY60" fmla="*/ 213987 h 442359"/>
                <a:gd name="connsiteX61" fmla="*/ 292398 w 443503"/>
                <a:gd name="connsiteY61" fmla="*/ 203418 h 442359"/>
                <a:gd name="connsiteX62" fmla="*/ 298239 w 443503"/>
                <a:gd name="connsiteY62" fmla="*/ 195267 h 442359"/>
                <a:gd name="connsiteX63" fmla="*/ 313807 w 443503"/>
                <a:gd name="connsiteY63" fmla="*/ 173531 h 442359"/>
                <a:gd name="connsiteX64" fmla="*/ 313807 w 443503"/>
                <a:gd name="connsiteY64" fmla="*/ 142667 h 442359"/>
                <a:gd name="connsiteX65" fmla="*/ 328044 w 443503"/>
                <a:gd name="connsiteY65" fmla="*/ 142667 h 442359"/>
                <a:gd name="connsiteX66" fmla="*/ 328044 w 443503"/>
                <a:gd name="connsiteY66" fmla="*/ 173721 h 442359"/>
                <a:gd name="connsiteX67" fmla="*/ 343639 w 443503"/>
                <a:gd name="connsiteY67" fmla="*/ 195457 h 442359"/>
                <a:gd name="connsiteX68" fmla="*/ 349453 w 443503"/>
                <a:gd name="connsiteY68" fmla="*/ 203608 h 442359"/>
                <a:gd name="connsiteX69" fmla="*/ 349453 w 443503"/>
                <a:gd name="connsiteY69" fmla="*/ 306852 h 442359"/>
                <a:gd name="connsiteX70" fmla="*/ 342308 w 443503"/>
                <a:gd name="connsiteY70" fmla="*/ 313970 h 442359"/>
                <a:gd name="connsiteX71" fmla="*/ 299543 w 443503"/>
                <a:gd name="connsiteY71" fmla="*/ 313970 h 442359"/>
                <a:gd name="connsiteX72" fmla="*/ 292398 w 443503"/>
                <a:gd name="connsiteY72" fmla="*/ 306852 h 442359"/>
                <a:gd name="connsiteX73" fmla="*/ 292398 w 443503"/>
                <a:gd name="connsiteY73" fmla="*/ 228386 h 442359"/>
                <a:gd name="connsiteX74" fmla="*/ 320898 w 443503"/>
                <a:gd name="connsiteY74" fmla="*/ 228386 h 442359"/>
                <a:gd name="connsiteX75" fmla="*/ 320898 w 443503"/>
                <a:gd name="connsiteY75" fmla="*/ 285442 h 442359"/>
                <a:gd name="connsiteX76" fmla="*/ 292398 w 443503"/>
                <a:gd name="connsiteY76" fmla="*/ 285442 h 442359"/>
                <a:gd name="connsiteX77" fmla="*/ 377981 w 443503"/>
                <a:gd name="connsiteY77" fmla="*/ 328234 h 442359"/>
                <a:gd name="connsiteX78" fmla="*/ 426740 w 443503"/>
                <a:gd name="connsiteY78" fmla="*/ 379323 h 442359"/>
                <a:gd name="connsiteX79" fmla="*/ 377981 w 443503"/>
                <a:gd name="connsiteY79" fmla="*/ 428082 h 442359"/>
                <a:gd name="connsiteX80" fmla="*/ 64174 w 443503"/>
                <a:gd name="connsiteY80" fmla="*/ 428082 h 442359"/>
                <a:gd name="connsiteX81" fmla="*/ 15415 w 443503"/>
                <a:gd name="connsiteY81" fmla="*/ 376992 h 442359"/>
                <a:gd name="connsiteX82" fmla="*/ 64174 w 443503"/>
                <a:gd name="connsiteY82" fmla="*/ 328234 h 442359"/>
                <a:gd name="connsiteX83" fmla="*/ 92702 w 443503"/>
                <a:gd name="connsiteY83" fmla="*/ 228223 h 442359"/>
                <a:gd name="connsiteX84" fmla="*/ 121230 w 443503"/>
                <a:gd name="connsiteY84" fmla="*/ 228223 h 442359"/>
                <a:gd name="connsiteX85" fmla="*/ 121230 w 443503"/>
                <a:gd name="connsiteY85" fmla="*/ 285279 h 442359"/>
                <a:gd name="connsiteX86" fmla="*/ 92702 w 443503"/>
                <a:gd name="connsiteY86" fmla="*/ 285279 h 442359"/>
                <a:gd name="connsiteX87" fmla="*/ 14264 w 443503"/>
                <a:gd name="connsiteY87" fmla="*/ 28555 h 442359"/>
                <a:gd name="connsiteX88" fmla="*/ 78438 w 443503"/>
                <a:gd name="connsiteY88" fmla="*/ 28555 h 442359"/>
                <a:gd name="connsiteX89" fmla="*/ 78438 w 443503"/>
                <a:gd name="connsiteY89" fmla="*/ 42819 h 442359"/>
                <a:gd name="connsiteX90" fmla="*/ 14264 w 443503"/>
                <a:gd name="connsiteY90" fmla="*/ 42819 h 442359"/>
                <a:gd name="connsiteX91" fmla="*/ 427891 w 443503"/>
                <a:gd name="connsiteY91" fmla="*/ 42819 h 442359"/>
                <a:gd name="connsiteX92" fmla="*/ 164022 w 443503"/>
                <a:gd name="connsiteY92" fmla="*/ 42819 h 442359"/>
                <a:gd name="connsiteX93" fmla="*/ 164022 w 443503"/>
                <a:gd name="connsiteY93" fmla="*/ 28555 h 442359"/>
                <a:gd name="connsiteX94" fmla="*/ 427891 w 443503"/>
                <a:gd name="connsiteY94" fmla="*/ 28555 h 442359"/>
                <a:gd name="connsiteX95" fmla="*/ 135494 w 443503"/>
                <a:gd name="connsiteY95" fmla="*/ 99875 h 442359"/>
                <a:gd name="connsiteX96" fmla="*/ 142640 w 443503"/>
                <a:gd name="connsiteY96" fmla="*/ 92730 h 442359"/>
                <a:gd name="connsiteX97" fmla="*/ 142640 w 443503"/>
                <a:gd name="connsiteY97" fmla="*/ 92648 h 442359"/>
                <a:gd name="connsiteX98" fmla="*/ 142640 w 443503"/>
                <a:gd name="connsiteY98" fmla="*/ 71347 h 442359"/>
                <a:gd name="connsiteX99" fmla="*/ 156876 w 443503"/>
                <a:gd name="connsiteY99" fmla="*/ 71347 h 442359"/>
                <a:gd name="connsiteX100" fmla="*/ 164022 w 443503"/>
                <a:gd name="connsiteY100" fmla="*/ 64201 h 442359"/>
                <a:gd name="connsiteX101" fmla="*/ 164022 w 443503"/>
                <a:gd name="connsiteY101" fmla="*/ 57056 h 442359"/>
                <a:gd name="connsiteX102" fmla="*/ 435037 w 443503"/>
                <a:gd name="connsiteY102" fmla="*/ 57056 h 442359"/>
                <a:gd name="connsiteX103" fmla="*/ 442183 w 443503"/>
                <a:gd name="connsiteY103" fmla="*/ 49965 h 442359"/>
                <a:gd name="connsiteX104" fmla="*/ 442183 w 443503"/>
                <a:gd name="connsiteY104" fmla="*/ 49937 h 442359"/>
                <a:gd name="connsiteX105" fmla="*/ 442183 w 443503"/>
                <a:gd name="connsiteY105" fmla="*/ 21410 h 442359"/>
                <a:gd name="connsiteX106" fmla="*/ 435064 w 443503"/>
                <a:gd name="connsiteY106" fmla="*/ 14291 h 442359"/>
                <a:gd name="connsiteX107" fmla="*/ 435037 w 443503"/>
                <a:gd name="connsiteY107" fmla="*/ 14291 h 442359"/>
                <a:gd name="connsiteX108" fmla="*/ 164022 w 443503"/>
                <a:gd name="connsiteY108" fmla="*/ 14291 h 442359"/>
                <a:gd name="connsiteX109" fmla="*/ 164022 w 443503"/>
                <a:gd name="connsiteY109" fmla="*/ 7173 h 442359"/>
                <a:gd name="connsiteX110" fmla="*/ 156904 w 443503"/>
                <a:gd name="connsiteY110" fmla="*/ 0 h 442359"/>
                <a:gd name="connsiteX111" fmla="*/ 156876 w 443503"/>
                <a:gd name="connsiteY111" fmla="*/ 0 h 442359"/>
                <a:gd name="connsiteX112" fmla="*/ 85584 w 443503"/>
                <a:gd name="connsiteY112" fmla="*/ 0 h 442359"/>
                <a:gd name="connsiteX113" fmla="*/ 78438 w 443503"/>
                <a:gd name="connsiteY113" fmla="*/ 7173 h 442359"/>
                <a:gd name="connsiteX114" fmla="*/ 78438 w 443503"/>
                <a:gd name="connsiteY114" fmla="*/ 14291 h 442359"/>
                <a:gd name="connsiteX115" fmla="*/ 7118 w 443503"/>
                <a:gd name="connsiteY115" fmla="*/ 14291 h 442359"/>
                <a:gd name="connsiteX116" fmla="*/ 0 w 443503"/>
                <a:gd name="connsiteY116" fmla="*/ 21410 h 442359"/>
                <a:gd name="connsiteX117" fmla="*/ 0 w 443503"/>
                <a:gd name="connsiteY117" fmla="*/ 49937 h 442359"/>
                <a:gd name="connsiteX118" fmla="*/ 7118 w 443503"/>
                <a:gd name="connsiteY118" fmla="*/ 57056 h 442359"/>
                <a:gd name="connsiteX119" fmla="*/ 78438 w 443503"/>
                <a:gd name="connsiteY119" fmla="*/ 57056 h 442359"/>
                <a:gd name="connsiteX120" fmla="*/ 78438 w 443503"/>
                <a:gd name="connsiteY120" fmla="*/ 64201 h 442359"/>
                <a:gd name="connsiteX121" fmla="*/ 85584 w 443503"/>
                <a:gd name="connsiteY121" fmla="*/ 71347 h 442359"/>
                <a:gd name="connsiteX122" fmla="*/ 99821 w 443503"/>
                <a:gd name="connsiteY122" fmla="*/ 71347 h 442359"/>
                <a:gd name="connsiteX123" fmla="*/ 99821 w 443503"/>
                <a:gd name="connsiteY123" fmla="*/ 92648 h 442359"/>
                <a:gd name="connsiteX124" fmla="*/ 106993 w 443503"/>
                <a:gd name="connsiteY124" fmla="*/ 99793 h 442359"/>
                <a:gd name="connsiteX125" fmla="*/ 114112 w 443503"/>
                <a:gd name="connsiteY125" fmla="*/ 99793 h 442359"/>
                <a:gd name="connsiteX126" fmla="*/ 114112 w 443503"/>
                <a:gd name="connsiteY126" fmla="*/ 128376 h 442359"/>
                <a:gd name="connsiteX127" fmla="*/ 106993 w 443503"/>
                <a:gd name="connsiteY127" fmla="*/ 128376 h 442359"/>
                <a:gd name="connsiteX128" fmla="*/ 99821 w 443503"/>
                <a:gd name="connsiteY128" fmla="*/ 135521 h 442359"/>
                <a:gd name="connsiteX129" fmla="*/ 99821 w 443503"/>
                <a:gd name="connsiteY129" fmla="*/ 173721 h 442359"/>
                <a:gd name="connsiteX130" fmla="*/ 94006 w 443503"/>
                <a:gd name="connsiteY130" fmla="*/ 181872 h 442359"/>
                <a:gd name="connsiteX131" fmla="*/ 78438 w 443503"/>
                <a:gd name="connsiteY131" fmla="*/ 203608 h 442359"/>
                <a:gd name="connsiteX132" fmla="*/ 78438 w 443503"/>
                <a:gd name="connsiteY132" fmla="*/ 306852 h 442359"/>
                <a:gd name="connsiteX133" fmla="*/ 79769 w 443503"/>
                <a:gd name="connsiteY133" fmla="*/ 313970 h 442359"/>
                <a:gd name="connsiteX134" fmla="*/ 64174 w 443503"/>
                <a:gd name="connsiteY134" fmla="*/ 313970 h 442359"/>
                <a:gd name="connsiteX135" fmla="*/ 1307 w 443503"/>
                <a:gd name="connsiteY135" fmla="*/ 379478 h 442359"/>
                <a:gd name="connsiteX136" fmla="*/ 64174 w 443503"/>
                <a:gd name="connsiteY136" fmla="*/ 442346 h 442359"/>
                <a:gd name="connsiteX137" fmla="*/ 377981 w 443503"/>
                <a:gd name="connsiteY137" fmla="*/ 442346 h 442359"/>
                <a:gd name="connsiteX138" fmla="*/ 443489 w 443503"/>
                <a:gd name="connsiteY138" fmla="*/ 379478 h 442359"/>
                <a:gd name="connsiteX139" fmla="*/ 380622 w 443503"/>
                <a:gd name="connsiteY139" fmla="*/ 313970 h 442359"/>
                <a:gd name="connsiteX140" fmla="*/ 377981 w 443503"/>
                <a:gd name="connsiteY140" fmla="*/ 313970 h 442359"/>
                <a:gd name="connsiteX141" fmla="*/ 362413 w 443503"/>
                <a:gd name="connsiteY141" fmla="*/ 313970 h 442359"/>
                <a:gd name="connsiteX142" fmla="*/ 363717 w 443503"/>
                <a:gd name="connsiteY142" fmla="*/ 306852 h 442359"/>
                <a:gd name="connsiteX143" fmla="*/ 363717 w 443503"/>
                <a:gd name="connsiteY143" fmla="*/ 203608 h 442359"/>
                <a:gd name="connsiteX144" fmla="*/ 348122 w 443503"/>
                <a:gd name="connsiteY144" fmla="*/ 181872 h 442359"/>
                <a:gd name="connsiteX145" fmla="*/ 342308 w 443503"/>
                <a:gd name="connsiteY145" fmla="*/ 173721 h 442359"/>
                <a:gd name="connsiteX146" fmla="*/ 342308 w 443503"/>
                <a:gd name="connsiteY146" fmla="*/ 135521 h 442359"/>
                <a:gd name="connsiteX147" fmla="*/ 335217 w 443503"/>
                <a:gd name="connsiteY147" fmla="*/ 128376 h 442359"/>
                <a:gd name="connsiteX148" fmla="*/ 335189 w 443503"/>
                <a:gd name="connsiteY148" fmla="*/ 128376 h 442359"/>
                <a:gd name="connsiteX149" fmla="*/ 306661 w 443503"/>
                <a:gd name="connsiteY149" fmla="*/ 128376 h 442359"/>
                <a:gd name="connsiteX150" fmla="*/ 299543 w 443503"/>
                <a:gd name="connsiteY150" fmla="*/ 135494 h 442359"/>
                <a:gd name="connsiteX151" fmla="*/ 299543 w 443503"/>
                <a:gd name="connsiteY151" fmla="*/ 135521 h 442359"/>
                <a:gd name="connsiteX152" fmla="*/ 299543 w 443503"/>
                <a:gd name="connsiteY152" fmla="*/ 173721 h 442359"/>
                <a:gd name="connsiteX153" fmla="*/ 293702 w 443503"/>
                <a:gd name="connsiteY153" fmla="*/ 181872 h 442359"/>
                <a:gd name="connsiteX154" fmla="*/ 278134 w 443503"/>
                <a:gd name="connsiteY154" fmla="*/ 203608 h 442359"/>
                <a:gd name="connsiteX155" fmla="*/ 278134 w 443503"/>
                <a:gd name="connsiteY155" fmla="*/ 306852 h 442359"/>
                <a:gd name="connsiteX156" fmla="*/ 279438 w 443503"/>
                <a:gd name="connsiteY156" fmla="*/ 313970 h 442359"/>
                <a:gd name="connsiteX157" fmla="*/ 262565 w 443503"/>
                <a:gd name="connsiteY157" fmla="*/ 313970 h 442359"/>
                <a:gd name="connsiteX158" fmla="*/ 263870 w 443503"/>
                <a:gd name="connsiteY158" fmla="*/ 306852 h 442359"/>
                <a:gd name="connsiteX159" fmla="*/ 263870 w 443503"/>
                <a:gd name="connsiteY159" fmla="*/ 203608 h 442359"/>
                <a:gd name="connsiteX160" fmla="*/ 248301 w 443503"/>
                <a:gd name="connsiteY160" fmla="*/ 181872 h 442359"/>
                <a:gd name="connsiteX161" fmla="*/ 242487 w 443503"/>
                <a:gd name="connsiteY161" fmla="*/ 173721 h 442359"/>
                <a:gd name="connsiteX162" fmla="*/ 242487 w 443503"/>
                <a:gd name="connsiteY162" fmla="*/ 135521 h 442359"/>
                <a:gd name="connsiteX163" fmla="*/ 235369 w 443503"/>
                <a:gd name="connsiteY163" fmla="*/ 128376 h 442359"/>
                <a:gd name="connsiteX164" fmla="*/ 206814 w 443503"/>
                <a:gd name="connsiteY164" fmla="*/ 128376 h 442359"/>
                <a:gd name="connsiteX165" fmla="*/ 199695 w 443503"/>
                <a:gd name="connsiteY165" fmla="*/ 135521 h 442359"/>
                <a:gd name="connsiteX166" fmla="*/ 199695 w 443503"/>
                <a:gd name="connsiteY166" fmla="*/ 173721 h 442359"/>
                <a:gd name="connsiteX167" fmla="*/ 193881 w 443503"/>
                <a:gd name="connsiteY167" fmla="*/ 181872 h 442359"/>
                <a:gd name="connsiteX168" fmla="*/ 178313 w 443503"/>
                <a:gd name="connsiteY168" fmla="*/ 203608 h 442359"/>
                <a:gd name="connsiteX169" fmla="*/ 178313 w 443503"/>
                <a:gd name="connsiteY169" fmla="*/ 306852 h 442359"/>
                <a:gd name="connsiteX170" fmla="*/ 179617 w 443503"/>
                <a:gd name="connsiteY170" fmla="*/ 313970 h 442359"/>
                <a:gd name="connsiteX171" fmla="*/ 162691 w 443503"/>
                <a:gd name="connsiteY171" fmla="*/ 313970 h 442359"/>
                <a:gd name="connsiteX172" fmla="*/ 164022 w 443503"/>
                <a:gd name="connsiteY172" fmla="*/ 306852 h 442359"/>
                <a:gd name="connsiteX173" fmla="*/ 164022 w 443503"/>
                <a:gd name="connsiteY173" fmla="*/ 203608 h 442359"/>
                <a:gd name="connsiteX174" fmla="*/ 148454 w 443503"/>
                <a:gd name="connsiteY174" fmla="*/ 181872 h 442359"/>
                <a:gd name="connsiteX175" fmla="*/ 142640 w 443503"/>
                <a:gd name="connsiteY175" fmla="*/ 173721 h 442359"/>
                <a:gd name="connsiteX176" fmla="*/ 142640 w 443503"/>
                <a:gd name="connsiteY176" fmla="*/ 135521 h 442359"/>
                <a:gd name="connsiteX177" fmla="*/ 135494 w 443503"/>
                <a:gd name="connsiteY177" fmla="*/ 128376 h 442359"/>
                <a:gd name="connsiteX178" fmla="*/ 128376 w 443503"/>
                <a:gd name="connsiteY178" fmla="*/ 128376 h 442359"/>
                <a:gd name="connsiteX179" fmla="*/ 128376 w 443503"/>
                <a:gd name="connsiteY179" fmla="*/ 99875 h 44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443503" h="442359">
                  <a:moveTo>
                    <a:pt x="128376" y="85611"/>
                  </a:moveTo>
                  <a:lnTo>
                    <a:pt x="114112" y="85611"/>
                  </a:lnTo>
                  <a:lnTo>
                    <a:pt x="114112" y="71347"/>
                  </a:lnTo>
                  <a:lnTo>
                    <a:pt x="128376" y="71347"/>
                  </a:lnTo>
                  <a:close/>
                  <a:moveTo>
                    <a:pt x="92702" y="14291"/>
                  </a:moveTo>
                  <a:lnTo>
                    <a:pt x="149758" y="14291"/>
                  </a:lnTo>
                  <a:lnTo>
                    <a:pt x="149758" y="57083"/>
                  </a:lnTo>
                  <a:lnTo>
                    <a:pt x="92702" y="57083"/>
                  </a:lnTo>
                  <a:close/>
                  <a:moveTo>
                    <a:pt x="143998" y="195348"/>
                  </a:moveTo>
                  <a:cubicBezTo>
                    <a:pt x="147505" y="196508"/>
                    <a:pt x="149857" y="199806"/>
                    <a:pt x="149812" y="203499"/>
                  </a:cubicBezTo>
                  <a:lnTo>
                    <a:pt x="149812" y="306743"/>
                  </a:lnTo>
                  <a:cubicBezTo>
                    <a:pt x="149797" y="310669"/>
                    <a:pt x="146619" y="313848"/>
                    <a:pt x="142694" y="313861"/>
                  </a:cubicBezTo>
                  <a:lnTo>
                    <a:pt x="99821" y="313861"/>
                  </a:lnTo>
                  <a:cubicBezTo>
                    <a:pt x="95895" y="313848"/>
                    <a:pt x="92717" y="310669"/>
                    <a:pt x="92702" y="306743"/>
                  </a:cubicBezTo>
                  <a:lnTo>
                    <a:pt x="92702" y="299597"/>
                  </a:lnTo>
                  <a:lnTo>
                    <a:pt x="128376" y="299597"/>
                  </a:lnTo>
                  <a:cubicBezTo>
                    <a:pt x="132307" y="299597"/>
                    <a:pt x="135494" y="296410"/>
                    <a:pt x="135494" y="292479"/>
                  </a:cubicBezTo>
                  <a:lnTo>
                    <a:pt x="135494" y="221105"/>
                  </a:lnTo>
                  <a:cubicBezTo>
                    <a:pt x="135494" y="217173"/>
                    <a:pt x="132307" y="213987"/>
                    <a:pt x="128376" y="213987"/>
                  </a:cubicBezTo>
                  <a:lnTo>
                    <a:pt x="92702" y="213987"/>
                  </a:lnTo>
                  <a:lnTo>
                    <a:pt x="92702" y="203418"/>
                  </a:lnTo>
                  <a:cubicBezTo>
                    <a:pt x="92661" y="199717"/>
                    <a:pt x="95026" y="196417"/>
                    <a:pt x="98544" y="195267"/>
                  </a:cubicBezTo>
                  <a:cubicBezTo>
                    <a:pt x="107883" y="192145"/>
                    <a:pt x="114162" y="183378"/>
                    <a:pt x="114112" y="173531"/>
                  </a:cubicBezTo>
                  <a:lnTo>
                    <a:pt x="114112" y="142667"/>
                  </a:lnTo>
                  <a:lnTo>
                    <a:pt x="128376" y="142667"/>
                  </a:lnTo>
                  <a:lnTo>
                    <a:pt x="128376" y="173721"/>
                  </a:lnTo>
                  <a:cubicBezTo>
                    <a:pt x="128317" y="183571"/>
                    <a:pt x="134599" y="192342"/>
                    <a:pt x="143944" y="195457"/>
                  </a:cubicBezTo>
                  <a:moveTo>
                    <a:pt x="192550" y="306852"/>
                  </a:moveTo>
                  <a:lnTo>
                    <a:pt x="192550" y="299706"/>
                  </a:lnTo>
                  <a:lnTo>
                    <a:pt x="228223" y="299706"/>
                  </a:lnTo>
                  <a:cubicBezTo>
                    <a:pt x="232170" y="299722"/>
                    <a:pt x="235381" y="296535"/>
                    <a:pt x="235396" y="292588"/>
                  </a:cubicBezTo>
                  <a:cubicBezTo>
                    <a:pt x="235396" y="292588"/>
                    <a:pt x="235396" y="292588"/>
                    <a:pt x="235396" y="292588"/>
                  </a:cubicBezTo>
                  <a:lnTo>
                    <a:pt x="235396" y="221105"/>
                  </a:lnTo>
                  <a:cubicBezTo>
                    <a:pt x="235381" y="217159"/>
                    <a:pt x="232170" y="213972"/>
                    <a:pt x="228223" y="213987"/>
                  </a:cubicBezTo>
                  <a:cubicBezTo>
                    <a:pt x="228223" y="213987"/>
                    <a:pt x="228223" y="213987"/>
                    <a:pt x="228223" y="213987"/>
                  </a:cubicBezTo>
                  <a:lnTo>
                    <a:pt x="192550" y="213987"/>
                  </a:lnTo>
                  <a:lnTo>
                    <a:pt x="192550" y="203418"/>
                  </a:lnTo>
                  <a:cubicBezTo>
                    <a:pt x="192514" y="199727"/>
                    <a:pt x="194862" y="196434"/>
                    <a:pt x="198364" y="195267"/>
                  </a:cubicBezTo>
                  <a:cubicBezTo>
                    <a:pt x="207714" y="192159"/>
                    <a:pt x="214000" y="183384"/>
                    <a:pt x="213932" y="173531"/>
                  </a:cubicBezTo>
                  <a:lnTo>
                    <a:pt x="213932" y="142667"/>
                  </a:lnTo>
                  <a:lnTo>
                    <a:pt x="228223" y="142667"/>
                  </a:lnTo>
                  <a:lnTo>
                    <a:pt x="228223" y="173721"/>
                  </a:lnTo>
                  <a:cubicBezTo>
                    <a:pt x="228177" y="183576"/>
                    <a:pt x="234468" y="192344"/>
                    <a:pt x="243819" y="195457"/>
                  </a:cubicBezTo>
                  <a:cubicBezTo>
                    <a:pt x="247326" y="196617"/>
                    <a:pt x="249678" y="199914"/>
                    <a:pt x="249633" y="203608"/>
                  </a:cubicBezTo>
                  <a:lnTo>
                    <a:pt x="249633" y="306852"/>
                  </a:lnTo>
                  <a:cubicBezTo>
                    <a:pt x="249618" y="310778"/>
                    <a:pt x="246440" y="313956"/>
                    <a:pt x="242514" y="313970"/>
                  </a:cubicBezTo>
                  <a:lnTo>
                    <a:pt x="199695" y="313970"/>
                  </a:lnTo>
                  <a:cubicBezTo>
                    <a:pt x="195760" y="313970"/>
                    <a:pt x="192565" y="310788"/>
                    <a:pt x="192550" y="306852"/>
                  </a:cubicBezTo>
                  <a:moveTo>
                    <a:pt x="192550" y="228386"/>
                  </a:moveTo>
                  <a:lnTo>
                    <a:pt x="221078" y="228386"/>
                  </a:lnTo>
                  <a:lnTo>
                    <a:pt x="221078" y="285442"/>
                  </a:lnTo>
                  <a:lnTo>
                    <a:pt x="192550" y="285442"/>
                  </a:lnTo>
                  <a:close/>
                  <a:moveTo>
                    <a:pt x="292398" y="306852"/>
                  </a:moveTo>
                  <a:lnTo>
                    <a:pt x="292398" y="299706"/>
                  </a:lnTo>
                  <a:lnTo>
                    <a:pt x="328044" y="299706"/>
                  </a:lnTo>
                  <a:cubicBezTo>
                    <a:pt x="331975" y="299722"/>
                    <a:pt x="335173" y="296546"/>
                    <a:pt x="335189" y="292615"/>
                  </a:cubicBezTo>
                  <a:cubicBezTo>
                    <a:pt x="335189" y="292607"/>
                    <a:pt x="335189" y="292596"/>
                    <a:pt x="335189" y="292588"/>
                  </a:cubicBezTo>
                  <a:lnTo>
                    <a:pt x="335189" y="221105"/>
                  </a:lnTo>
                  <a:cubicBezTo>
                    <a:pt x="335189" y="217173"/>
                    <a:pt x="332002" y="213987"/>
                    <a:pt x="328071" y="213987"/>
                  </a:cubicBezTo>
                  <a:cubicBezTo>
                    <a:pt x="328063" y="213987"/>
                    <a:pt x="328052" y="213987"/>
                    <a:pt x="328044" y="213987"/>
                  </a:cubicBezTo>
                  <a:lnTo>
                    <a:pt x="292398" y="213987"/>
                  </a:lnTo>
                  <a:lnTo>
                    <a:pt x="292398" y="203418"/>
                  </a:lnTo>
                  <a:cubicBezTo>
                    <a:pt x="292357" y="199717"/>
                    <a:pt x="294720" y="196417"/>
                    <a:pt x="298239" y="195267"/>
                  </a:cubicBezTo>
                  <a:cubicBezTo>
                    <a:pt x="307577" y="192145"/>
                    <a:pt x="313856" y="183378"/>
                    <a:pt x="313807" y="173531"/>
                  </a:cubicBezTo>
                  <a:lnTo>
                    <a:pt x="313807" y="142667"/>
                  </a:lnTo>
                  <a:lnTo>
                    <a:pt x="328044" y="142667"/>
                  </a:lnTo>
                  <a:lnTo>
                    <a:pt x="328044" y="173721"/>
                  </a:lnTo>
                  <a:cubicBezTo>
                    <a:pt x="327981" y="183581"/>
                    <a:pt x="334279" y="192359"/>
                    <a:pt x="343639" y="195457"/>
                  </a:cubicBezTo>
                  <a:cubicBezTo>
                    <a:pt x="347141" y="196624"/>
                    <a:pt x="349489" y="199917"/>
                    <a:pt x="349453" y="203608"/>
                  </a:cubicBezTo>
                  <a:lnTo>
                    <a:pt x="349453" y="306852"/>
                  </a:lnTo>
                  <a:cubicBezTo>
                    <a:pt x="349437" y="310788"/>
                    <a:pt x="346245" y="313970"/>
                    <a:pt x="342308" y="313970"/>
                  </a:cubicBezTo>
                  <a:lnTo>
                    <a:pt x="299543" y="313970"/>
                  </a:lnTo>
                  <a:cubicBezTo>
                    <a:pt x="295606" y="313970"/>
                    <a:pt x="292414" y="310788"/>
                    <a:pt x="292398" y="306852"/>
                  </a:cubicBezTo>
                  <a:moveTo>
                    <a:pt x="292398" y="228386"/>
                  </a:moveTo>
                  <a:lnTo>
                    <a:pt x="320898" y="228386"/>
                  </a:lnTo>
                  <a:lnTo>
                    <a:pt x="320898" y="285442"/>
                  </a:lnTo>
                  <a:lnTo>
                    <a:pt x="292398" y="285442"/>
                  </a:lnTo>
                  <a:close/>
                  <a:moveTo>
                    <a:pt x="377981" y="328234"/>
                  </a:moveTo>
                  <a:cubicBezTo>
                    <a:pt x="405553" y="328878"/>
                    <a:pt x="427383" y="351749"/>
                    <a:pt x="426740" y="379323"/>
                  </a:cubicBezTo>
                  <a:cubicBezTo>
                    <a:pt x="426117" y="405990"/>
                    <a:pt x="404648" y="427459"/>
                    <a:pt x="377981" y="428082"/>
                  </a:cubicBezTo>
                  <a:lnTo>
                    <a:pt x="64174" y="428082"/>
                  </a:lnTo>
                  <a:cubicBezTo>
                    <a:pt x="36602" y="427438"/>
                    <a:pt x="14772" y="404567"/>
                    <a:pt x="15415" y="376992"/>
                  </a:cubicBezTo>
                  <a:cubicBezTo>
                    <a:pt x="16037" y="350325"/>
                    <a:pt x="37507" y="328856"/>
                    <a:pt x="64174" y="328234"/>
                  </a:cubicBezTo>
                  <a:close/>
                  <a:moveTo>
                    <a:pt x="92702" y="228223"/>
                  </a:moveTo>
                  <a:lnTo>
                    <a:pt x="121230" y="228223"/>
                  </a:lnTo>
                  <a:lnTo>
                    <a:pt x="121230" y="285279"/>
                  </a:lnTo>
                  <a:lnTo>
                    <a:pt x="92702" y="285279"/>
                  </a:lnTo>
                  <a:close/>
                  <a:moveTo>
                    <a:pt x="14264" y="28555"/>
                  </a:moveTo>
                  <a:lnTo>
                    <a:pt x="78438" y="28555"/>
                  </a:lnTo>
                  <a:lnTo>
                    <a:pt x="78438" y="42819"/>
                  </a:lnTo>
                  <a:lnTo>
                    <a:pt x="14264" y="42819"/>
                  </a:lnTo>
                  <a:close/>
                  <a:moveTo>
                    <a:pt x="427891" y="42819"/>
                  </a:moveTo>
                  <a:lnTo>
                    <a:pt x="164022" y="42819"/>
                  </a:lnTo>
                  <a:lnTo>
                    <a:pt x="164022" y="28555"/>
                  </a:lnTo>
                  <a:lnTo>
                    <a:pt x="427891" y="28555"/>
                  </a:lnTo>
                  <a:close/>
                  <a:moveTo>
                    <a:pt x="135494" y="99875"/>
                  </a:moveTo>
                  <a:cubicBezTo>
                    <a:pt x="139440" y="99875"/>
                    <a:pt x="142640" y="96676"/>
                    <a:pt x="142640" y="92730"/>
                  </a:cubicBezTo>
                  <a:cubicBezTo>
                    <a:pt x="142640" y="92702"/>
                    <a:pt x="142640" y="92675"/>
                    <a:pt x="142640" y="92648"/>
                  </a:cubicBezTo>
                  <a:lnTo>
                    <a:pt x="142640" y="71347"/>
                  </a:lnTo>
                  <a:lnTo>
                    <a:pt x="156876" y="71347"/>
                  </a:lnTo>
                  <a:cubicBezTo>
                    <a:pt x="160823" y="71347"/>
                    <a:pt x="164022" y="68148"/>
                    <a:pt x="164022" y="64201"/>
                  </a:cubicBezTo>
                  <a:lnTo>
                    <a:pt x="164022" y="57056"/>
                  </a:lnTo>
                  <a:lnTo>
                    <a:pt x="435037" y="57056"/>
                  </a:lnTo>
                  <a:cubicBezTo>
                    <a:pt x="438968" y="57071"/>
                    <a:pt x="442166" y="53896"/>
                    <a:pt x="442183" y="49965"/>
                  </a:cubicBezTo>
                  <a:cubicBezTo>
                    <a:pt x="442183" y="49956"/>
                    <a:pt x="442183" y="49946"/>
                    <a:pt x="442183" y="49937"/>
                  </a:cubicBezTo>
                  <a:lnTo>
                    <a:pt x="442183" y="21410"/>
                  </a:lnTo>
                  <a:cubicBezTo>
                    <a:pt x="442183" y="17478"/>
                    <a:pt x="438996" y="14291"/>
                    <a:pt x="435064" y="14291"/>
                  </a:cubicBezTo>
                  <a:cubicBezTo>
                    <a:pt x="435056" y="14291"/>
                    <a:pt x="435045" y="14291"/>
                    <a:pt x="435037" y="14291"/>
                  </a:cubicBezTo>
                  <a:lnTo>
                    <a:pt x="164022" y="14291"/>
                  </a:lnTo>
                  <a:lnTo>
                    <a:pt x="164022" y="7173"/>
                  </a:lnTo>
                  <a:cubicBezTo>
                    <a:pt x="164037" y="3226"/>
                    <a:pt x="160850" y="15"/>
                    <a:pt x="156904" y="0"/>
                  </a:cubicBezTo>
                  <a:cubicBezTo>
                    <a:pt x="156895" y="0"/>
                    <a:pt x="156885" y="0"/>
                    <a:pt x="156876" y="0"/>
                  </a:cubicBezTo>
                  <a:lnTo>
                    <a:pt x="85584" y="0"/>
                  </a:lnTo>
                  <a:cubicBezTo>
                    <a:pt x="81633" y="15"/>
                    <a:pt x="78438" y="3222"/>
                    <a:pt x="78438" y="7173"/>
                  </a:cubicBezTo>
                  <a:lnTo>
                    <a:pt x="78438" y="14291"/>
                  </a:lnTo>
                  <a:lnTo>
                    <a:pt x="7118" y="14291"/>
                  </a:lnTo>
                  <a:cubicBezTo>
                    <a:pt x="3187" y="14291"/>
                    <a:pt x="0" y="17478"/>
                    <a:pt x="0" y="21410"/>
                  </a:cubicBezTo>
                  <a:lnTo>
                    <a:pt x="0" y="49937"/>
                  </a:lnTo>
                  <a:cubicBezTo>
                    <a:pt x="0" y="53869"/>
                    <a:pt x="3187" y="57056"/>
                    <a:pt x="7118" y="57056"/>
                  </a:cubicBezTo>
                  <a:lnTo>
                    <a:pt x="78438" y="57056"/>
                  </a:lnTo>
                  <a:lnTo>
                    <a:pt x="78438" y="64201"/>
                  </a:lnTo>
                  <a:cubicBezTo>
                    <a:pt x="78438" y="68148"/>
                    <a:pt x="81637" y="71347"/>
                    <a:pt x="85584" y="71347"/>
                  </a:cubicBezTo>
                  <a:lnTo>
                    <a:pt x="99821" y="71347"/>
                  </a:lnTo>
                  <a:lnTo>
                    <a:pt x="99821" y="92648"/>
                  </a:lnTo>
                  <a:cubicBezTo>
                    <a:pt x="99835" y="96598"/>
                    <a:pt x="103043" y="99793"/>
                    <a:pt x="106993" y="99793"/>
                  </a:cubicBezTo>
                  <a:lnTo>
                    <a:pt x="114112" y="99793"/>
                  </a:lnTo>
                  <a:lnTo>
                    <a:pt x="114112" y="128376"/>
                  </a:lnTo>
                  <a:lnTo>
                    <a:pt x="106993" y="128376"/>
                  </a:lnTo>
                  <a:cubicBezTo>
                    <a:pt x="103043" y="128376"/>
                    <a:pt x="99835" y="131570"/>
                    <a:pt x="99821" y="135521"/>
                  </a:cubicBezTo>
                  <a:lnTo>
                    <a:pt x="99821" y="173721"/>
                  </a:lnTo>
                  <a:cubicBezTo>
                    <a:pt x="99874" y="177418"/>
                    <a:pt x="97519" y="180720"/>
                    <a:pt x="94006" y="181872"/>
                  </a:cubicBezTo>
                  <a:cubicBezTo>
                    <a:pt x="84667" y="184994"/>
                    <a:pt x="78388" y="193760"/>
                    <a:pt x="78438" y="203608"/>
                  </a:cubicBezTo>
                  <a:lnTo>
                    <a:pt x="78438" y="306852"/>
                  </a:lnTo>
                  <a:cubicBezTo>
                    <a:pt x="78473" y="309283"/>
                    <a:pt x="78924" y="311691"/>
                    <a:pt x="79769" y="313970"/>
                  </a:cubicBezTo>
                  <a:lnTo>
                    <a:pt x="64174" y="313970"/>
                  </a:lnTo>
                  <a:cubicBezTo>
                    <a:pt x="28724" y="314698"/>
                    <a:pt x="578" y="344028"/>
                    <a:pt x="1307" y="379478"/>
                  </a:cubicBezTo>
                  <a:cubicBezTo>
                    <a:pt x="2015" y="413902"/>
                    <a:pt x="29751" y="441636"/>
                    <a:pt x="64174" y="442346"/>
                  </a:cubicBezTo>
                  <a:lnTo>
                    <a:pt x="377981" y="442346"/>
                  </a:lnTo>
                  <a:cubicBezTo>
                    <a:pt x="413432" y="443074"/>
                    <a:pt x="442761" y="414929"/>
                    <a:pt x="443489" y="379478"/>
                  </a:cubicBezTo>
                  <a:cubicBezTo>
                    <a:pt x="444220" y="344028"/>
                    <a:pt x="416073" y="314698"/>
                    <a:pt x="380622" y="313970"/>
                  </a:cubicBezTo>
                  <a:cubicBezTo>
                    <a:pt x="379742" y="313951"/>
                    <a:pt x="378862" y="313951"/>
                    <a:pt x="377981" y="313970"/>
                  </a:cubicBezTo>
                  <a:lnTo>
                    <a:pt x="362413" y="313970"/>
                  </a:lnTo>
                  <a:cubicBezTo>
                    <a:pt x="363250" y="311688"/>
                    <a:pt x="363690" y="309281"/>
                    <a:pt x="363717" y="306852"/>
                  </a:cubicBezTo>
                  <a:lnTo>
                    <a:pt x="363717" y="203608"/>
                  </a:lnTo>
                  <a:cubicBezTo>
                    <a:pt x="363780" y="193748"/>
                    <a:pt x="357482" y="184970"/>
                    <a:pt x="348122" y="181872"/>
                  </a:cubicBezTo>
                  <a:cubicBezTo>
                    <a:pt x="344620" y="180705"/>
                    <a:pt x="342272" y="177412"/>
                    <a:pt x="342308" y="173721"/>
                  </a:cubicBezTo>
                  <a:lnTo>
                    <a:pt x="342308" y="135521"/>
                  </a:lnTo>
                  <a:cubicBezTo>
                    <a:pt x="342324" y="131590"/>
                    <a:pt x="339148" y="128391"/>
                    <a:pt x="335217" y="128376"/>
                  </a:cubicBezTo>
                  <a:cubicBezTo>
                    <a:pt x="335208" y="128376"/>
                    <a:pt x="335198" y="128376"/>
                    <a:pt x="335189" y="128376"/>
                  </a:cubicBezTo>
                  <a:lnTo>
                    <a:pt x="306661" y="128376"/>
                  </a:lnTo>
                  <a:cubicBezTo>
                    <a:pt x="302730" y="128376"/>
                    <a:pt x="299543" y="131563"/>
                    <a:pt x="299543" y="135494"/>
                  </a:cubicBezTo>
                  <a:cubicBezTo>
                    <a:pt x="299543" y="135503"/>
                    <a:pt x="299543" y="135512"/>
                    <a:pt x="299543" y="135521"/>
                  </a:cubicBezTo>
                  <a:lnTo>
                    <a:pt x="299543" y="173721"/>
                  </a:lnTo>
                  <a:cubicBezTo>
                    <a:pt x="299584" y="177422"/>
                    <a:pt x="297220" y="180722"/>
                    <a:pt x="293702" y="181872"/>
                  </a:cubicBezTo>
                  <a:cubicBezTo>
                    <a:pt x="284363" y="184994"/>
                    <a:pt x="278085" y="193760"/>
                    <a:pt x="278134" y="203608"/>
                  </a:cubicBezTo>
                  <a:lnTo>
                    <a:pt x="278134" y="306852"/>
                  </a:lnTo>
                  <a:cubicBezTo>
                    <a:pt x="278161" y="309281"/>
                    <a:pt x="278601" y="311688"/>
                    <a:pt x="279438" y="313970"/>
                  </a:cubicBezTo>
                  <a:lnTo>
                    <a:pt x="262565" y="313970"/>
                  </a:lnTo>
                  <a:cubicBezTo>
                    <a:pt x="263403" y="311688"/>
                    <a:pt x="263843" y="309281"/>
                    <a:pt x="263870" y="306852"/>
                  </a:cubicBezTo>
                  <a:lnTo>
                    <a:pt x="263870" y="203608"/>
                  </a:lnTo>
                  <a:cubicBezTo>
                    <a:pt x="263920" y="193760"/>
                    <a:pt x="257641" y="184994"/>
                    <a:pt x="248301" y="181872"/>
                  </a:cubicBezTo>
                  <a:cubicBezTo>
                    <a:pt x="244789" y="180720"/>
                    <a:pt x="242434" y="177418"/>
                    <a:pt x="242487" y="173721"/>
                  </a:cubicBezTo>
                  <a:lnTo>
                    <a:pt x="242487" y="135521"/>
                  </a:lnTo>
                  <a:cubicBezTo>
                    <a:pt x="242487" y="131585"/>
                    <a:pt x="239305" y="128391"/>
                    <a:pt x="235369" y="128376"/>
                  </a:cubicBezTo>
                  <a:lnTo>
                    <a:pt x="206814" y="128376"/>
                  </a:lnTo>
                  <a:cubicBezTo>
                    <a:pt x="202878" y="128391"/>
                    <a:pt x="199695" y="131585"/>
                    <a:pt x="199695" y="135521"/>
                  </a:cubicBezTo>
                  <a:lnTo>
                    <a:pt x="199695" y="173721"/>
                  </a:lnTo>
                  <a:cubicBezTo>
                    <a:pt x="199732" y="177412"/>
                    <a:pt x="197383" y="180705"/>
                    <a:pt x="193881" y="181872"/>
                  </a:cubicBezTo>
                  <a:cubicBezTo>
                    <a:pt x="184531" y="184980"/>
                    <a:pt x="178246" y="193755"/>
                    <a:pt x="178313" y="203608"/>
                  </a:cubicBezTo>
                  <a:lnTo>
                    <a:pt x="178313" y="306852"/>
                  </a:lnTo>
                  <a:cubicBezTo>
                    <a:pt x="178326" y="309283"/>
                    <a:pt x="178767" y="311693"/>
                    <a:pt x="179617" y="313970"/>
                  </a:cubicBezTo>
                  <a:lnTo>
                    <a:pt x="162691" y="313970"/>
                  </a:lnTo>
                  <a:cubicBezTo>
                    <a:pt x="163549" y="311693"/>
                    <a:pt x="164000" y="309283"/>
                    <a:pt x="164022" y="306852"/>
                  </a:cubicBezTo>
                  <a:lnTo>
                    <a:pt x="164022" y="203608"/>
                  </a:lnTo>
                  <a:cubicBezTo>
                    <a:pt x="164081" y="193758"/>
                    <a:pt x="157798" y="184987"/>
                    <a:pt x="148454" y="181872"/>
                  </a:cubicBezTo>
                  <a:cubicBezTo>
                    <a:pt x="144947" y="180712"/>
                    <a:pt x="142595" y="177415"/>
                    <a:pt x="142640" y="173721"/>
                  </a:cubicBezTo>
                  <a:lnTo>
                    <a:pt x="142640" y="135521"/>
                  </a:lnTo>
                  <a:cubicBezTo>
                    <a:pt x="142640" y="131575"/>
                    <a:pt x="139440" y="128376"/>
                    <a:pt x="135494" y="128376"/>
                  </a:cubicBezTo>
                  <a:lnTo>
                    <a:pt x="128376" y="128376"/>
                  </a:lnTo>
                  <a:lnTo>
                    <a:pt x="128376" y="99875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75" name="Graphic 31">
            <a:extLst>
              <a:ext uri="{FF2B5EF4-FFF2-40B4-BE49-F238E27FC236}">
                <a16:creationId xmlns:a16="http://schemas.microsoft.com/office/drawing/2014/main" id="{272AFA64-F3D3-A1A1-5AED-A15D4663AF8B}"/>
              </a:ext>
            </a:extLst>
          </p:cNvPr>
          <p:cNvGrpSpPr/>
          <p:nvPr/>
        </p:nvGrpSpPr>
        <p:grpSpPr>
          <a:xfrm>
            <a:off x="3992125" y="3171008"/>
            <a:ext cx="381806" cy="373662"/>
            <a:chOff x="5158943" y="3282950"/>
            <a:chExt cx="533041" cy="533041"/>
          </a:xfrm>
          <a:solidFill>
            <a:schemeClr val="bg1"/>
          </a:solidFill>
        </p:grpSpPr>
        <p:sp>
          <p:nvSpPr>
            <p:cNvPr id="376" name="Freeform 375">
              <a:extLst>
                <a:ext uri="{FF2B5EF4-FFF2-40B4-BE49-F238E27FC236}">
                  <a16:creationId xmlns:a16="http://schemas.microsoft.com/office/drawing/2014/main" id="{70440F2A-ED01-3B62-D457-BA4F2E20C9AC}"/>
                </a:ext>
              </a:extLst>
            </p:cNvPr>
            <p:cNvSpPr/>
            <p:nvPr/>
          </p:nvSpPr>
          <p:spPr>
            <a:xfrm>
              <a:off x="5167205" y="3290912"/>
              <a:ext cx="227208" cy="204570"/>
            </a:xfrm>
            <a:custGeom>
              <a:avLst/>
              <a:gdLst>
                <a:gd name="connsiteX0" fmla="*/ 0 w 227208"/>
                <a:gd name="connsiteY0" fmla="*/ 34115 h 204570"/>
                <a:gd name="connsiteX1" fmla="*/ 0 w 227208"/>
                <a:gd name="connsiteY1" fmla="*/ 132627 h 204570"/>
                <a:gd name="connsiteX2" fmla="*/ 34081 w 227208"/>
                <a:gd name="connsiteY2" fmla="*/ 166709 h 204570"/>
                <a:gd name="connsiteX3" fmla="*/ 112672 w 227208"/>
                <a:gd name="connsiteY3" fmla="*/ 166709 h 204570"/>
                <a:gd name="connsiteX4" fmla="*/ 183799 w 227208"/>
                <a:gd name="connsiteY4" fmla="*/ 204121 h 204570"/>
                <a:gd name="connsiteX5" fmla="*/ 188897 w 227208"/>
                <a:gd name="connsiteY5" fmla="*/ 202586 h 204570"/>
                <a:gd name="connsiteX6" fmla="*/ 189263 w 227208"/>
                <a:gd name="connsiteY6" fmla="*/ 200024 h 204570"/>
                <a:gd name="connsiteX7" fmla="*/ 182600 w 227208"/>
                <a:gd name="connsiteY7" fmla="*/ 166709 h 204570"/>
                <a:gd name="connsiteX8" fmla="*/ 193127 w 227208"/>
                <a:gd name="connsiteY8" fmla="*/ 166709 h 204570"/>
                <a:gd name="connsiteX9" fmla="*/ 227209 w 227208"/>
                <a:gd name="connsiteY9" fmla="*/ 132561 h 204570"/>
                <a:gd name="connsiteX10" fmla="*/ 227209 w 227208"/>
                <a:gd name="connsiteY10" fmla="*/ 34115 h 204570"/>
                <a:gd name="connsiteX11" fmla="*/ 193127 w 227208"/>
                <a:gd name="connsiteY11" fmla="*/ 0 h 204570"/>
                <a:gd name="connsiteX12" fmla="*/ 34081 w 227208"/>
                <a:gd name="connsiteY12" fmla="*/ 0 h 204570"/>
                <a:gd name="connsiteX13" fmla="*/ 0 w 227208"/>
                <a:gd name="connsiteY13" fmla="*/ 34115 h 204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7208" h="204570">
                  <a:moveTo>
                    <a:pt x="0" y="34115"/>
                  </a:moveTo>
                  <a:lnTo>
                    <a:pt x="0" y="132627"/>
                  </a:lnTo>
                  <a:cubicBezTo>
                    <a:pt x="18" y="151442"/>
                    <a:pt x="15266" y="166690"/>
                    <a:pt x="34081" y="166709"/>
                  </a:cubicBezTo>
                  <a:lnTo>
                    <a:pt x="112672" y="166709"/>
                  </a:lnTo>
                  <a:lnTo>
                    <a:pt x="183799" y="204121"/>
                  </a:lnTo>
                  <a:cubicBezTo>
                    <a:pt x="185631" y="205105"/>
                    <a:pt x="187913" y="204418"/>
                    <a:pt x="188897" y="202586"/>
                  </a:cubicBezTo>
                  <a:cubicBezTo>
                    <a:pt x="189318" y="201802"/>
                    <a:pt x="189447" y="200894"/>
                    <a:pt x="189263" y="200024"/>
                  </a:cubicBezTo>
                  <a:lnTo>
                    <a:pt x="182600" y="166709"/>
                  </a:lnTo>
                  <a:lnTo>
                    <a:pt x="193127" y="166709"/>
                  </a:lnTo>
                  <a:cubicBezTo>
                    <a:pt x="211968" y="166690"/>
                    <a:pt x="227227" y="151402"/>
                    <a:pt x="227209" y="132561"/>
                  </a:cubicBezTo>
                  <a:lnTo>
                    <a:pt x="227209" y="34115"/>
                  </a:lnTo>
                  <a:cubicBezTo>
                    <a:pt x="227190" y="15294"/>
                    <a:pt x="211948" y="37"/>
                    <a:pt x="193127" y="0"/>
                  </a:cubicBezTo>
                  <a:lnTo>
                    <a:pt x="34081" y="0"/>
                  </a:lnTo>
                  <a:cubicBezTo>
                    <a:pt x="15261" y="37"/>
                    <a:pt x="18" y="15294"/>
                    <a:pt x="0" y="34115"/>
                  </a:cubicBezTo>
                  <a:close/>
                </a:path>
              </a:pathLst>
            </a:custGeom>
            <a:noFill/>
            <a:ln w="13097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77" name="Freeform 376">
              <a:extLst>
                <a:ext uri="{FF2B5EF4-FFF2-40B4-BE49-F238E27FC236}">
                  <a16:creationId xmlns:a16="http://schemas.microsoft.com/office/drawing/2014/main" id="{8B24C96B-0966-823E-EB4F-82D468D25B86}"/>
                </a:ext>
              </a:extLst>
            </p:cNvPr>
            <p:cNvSpPr/>
            <p:nvPr/>
          </p:nvSpPr>
          <p:spPr>
            <a:xfrm>
              <a:off x="5368564" y="3404135"/>
              <a:ext cx="312047" cy="396530"/>
            </a:xfrm>
            <a:custGeom>
              <a:avLst/>
              <a:gdLst>
                <a:gd name="connsiteX0" fmla="*/ 194424 w 312047"/>
                <a:gd name="connsiteY0" fmla="*/ 362149 h 396530"/>
                <a:gd name="connsiteX1" fmla="*/ 272981 w 312047"/>
                <a:gd name="connsiteY1" fmla="*/ 279961 h 396530"/>
                <a:gd name="connsiteX2" fmla="*/ 277345 w 312047"/>
                <a:gd name="connsiteY2" fmla="*/ 251210 h 396530"/>
                <a:gd name="connsiteX3" fmla="*/ 275146 w 312047"/>
                <a:gd name="connsiteY3" fmla="*/ 247345 h 396530"/>
                <a:gd name="connsiteX4" fmla="*/ 257789 w 312047"/>
                <a:gd name="connsiteY4" fmla="*/ 240916 h 396530"/>
                <a:gd name="connsiteX5" fmla="*/ 256390 w 312047"/>
                <a:gd name="connsiteY5" fmla="*/ 245047 h 396530"/>
                <a:gd name="connsiteX6" fmla="*/ 217911 w 312047"/>
                <a:gd name="connsiteY6" fmla="*/ 305780 h 396530"/>
                <a:gd name="connsiteX7" fmla="*/ 96859 w 312047"/>
                <a:gd name="connsiteY7" fmla="*/ 308588 h 396530"/>
                <a:gd name="connsiteX8" fmla="*/ 93546 w 312047"/>
                <a:gd name="connsiteY8" fmla="*/ 305247 h 396530"/>
                <a:gd name="connsiteX9" fmla="*/ 54301 w 312047"/>
                <a:gd name="connsiteY9" fmla="*/ 240949 h 396530"/>
                <a:gd name="connsiteX10" fmla="*/ 36410 w 312047"/>
                <a:gd name="connsiteY10" fmla="*/ 247045 h 396530"/>
                <a:gd name="connsiteX11" fmla="*/ 12723 w 312047"/>
                <a:gd name="connsiteY11" fmla="*/ 247479 h 396530"/>
                <a:gd name="connsiteX12" fmla="*/ 260 w 312047"/>
                <a:gd name="connsiteY12" fmla="*/ 234106 h 396530"/>
                <a:gd name="connsiteX13" fmla="*/ 297 w 312047"/>
                <a:gd name="connsiteY13" fmla="*/ 233486 h 396530"/>
                <a:gd name="connsiteX14" fmla="*/ 297 w 312047"/>
                <a:gd name="connsiteY14" fmla="*/ 203803 h 396530"/>
                <a:gd name="connsiteX15" fmla="*/ 1230 w 312047"/>
                <a:gd name="connsiteY15" fmla="*/ 135107 h 396530"/>
                <a:gd name="connsiteX16" fmla="*/ 85184 w 312047"/>
                <a:gd name="connsiteY16" fmla="*/ 15706 h 396530"/>
                <a:gd name="connsiteX17" fmla="*/ 237367 w 312047"/>
                <a:gd name="connsiteY17" fmla="*/ 20703 h 396530"/>
                <a:gd name="connsiteX18" fmla="*/ 310660 w 312047"/>
                <a:gd name="connsiteY18" fmla="*/ 131376 h 396530"/>
                <a:gd name="connsiteX19" fmla="*/ 311859 w 312047"/>
                <a:gd name="connsiteY19" fmla="*/ 199572 h 396530"/>
                <a:gd name="connsiteX20" fmla="*/ 311859 w 312047"/>
                <a:gd name="connsiteY20" fmla="*/ 231221 h 396530"/>
                <a:gd name="connsiteX21" fmla="*/ 296301 w 312047"/>
                <a:gd name="connsiteY21" fmla="*/ 247878 h 396530"/>
                <a:gd name="connsiteX22" fmla="*/ 294102 w 312047"/>
                <a:gd name="connsiteY22" fmla="*/ 248112 h 396530"/>
                <a:gd name="connsiteX23" fmla="*/ 291137 w 312047"/>
                <a:gd name="connsiteY23" fmla="*/ 271432 h 396530"/>
                <a:gd name="connsiteX24" fmla="*/ 198522 w 312047"/>
                <a:gd name="connsiteY24" fmla="*/ 377341 h 396530"/>
                <a:gd name="connsiteX25" fmla="*/ 193957 w 312047"/>
                <a:gd name="connsiteY25" fmla="*/ 382405 h 396530"/>
                <a:gd name="connsiteX26" fmla="*/ 179032 w 312047"/>
                <a:gd name="connsiteY26" fmla="*/ 396330 h 396530"/>
                <a:gd name="connsiteX27" fmla="*/ 133524 w 312047"/>
                <a:gd name="connsiteY27" fmla="*/ 396330 h 396530"/>
                <a:gd name="connsiteX28" fmla="*/ 118066 w 312047"/>
                <a:gd name="connsiteY28" fmla="*/ 380705 h 396530"/>
                <a:gd name="connsiteX29" fmla="*/ 118066 w 312047"/>
                <a:gd name="connsiteY29" fmla="*/ 363382 h 396530"/>
                <a:gd name="connsiteX30" fmla="*/ 133790 w 312047"/>
                <a:gd name="connsiteY30" fmla="*/ 347990 h 396530"/>
                <a:gd name="connsiteX31" fmla="*/ 178299 w 312047"/>
                <a:gd name="connsiteY31" fmla="*/ 347990 h 396530"/>
                <a:gd name="connsiteX32" fmla="*/ 194424 w 312047"/>
                <a:gd name="connsiteY32" fmla="*/ 362149 h 396530"/>
                <a:gd name="connsiteX33" fmla="*/ 64895 w 312047"/>
                <a:gd name="connsiteY33" fmla="*/ 176251 h 396530"/>
                <a:gd name="connsiteX34" fmla="*/ 64895 w 312047"/>
                <a:gd name="connsiteY34" fmla="*/ 204669 h 396530"/>
                <a:gd name="connsiteX35" fmla="*/ 107938 w 312047"/>
                <a:gd name="connsiteY35" fmla="*/ 296785 h 396530"/>
                <a:gd name="connsiteX36" fmla="*/ 203019 w 312047"/>
                <a:gd name="connsiteY36" fmla="*/ 297818 h 396530"/>
                <a:gd name="connsiteX37" fmla="*/ 241498 w 312047"/>
                <a:gd name="connsiteY37" fmla="*/ 239650 h 396530"/>
                <a:gd name="connsiteX38" fmla="*/ 247095 w 312047"/>
                <a:gd name="connsiteY38" fmla="*/ 188811 h 396530"/>
                <a:gd name="connsiteX39" fmla="*/ 132524 w 312047"/>
                <a:gd name="connsiteY39" fmla="*/ 142003 h 396530"/>
                <a:gd name="connsiteX40" fmla="*/ 64895 w 312047"/>
                <a:gd name="connsiteY40" fmla="*/ 176251 h 396530"/>
                <a:gd name="connsiteX41" fmla="*/ 295868 w 312047"/>
                <a:gd name="connsiteY41" fmla="*/ 160993 h 396530"/>
                <a:gd name="connsiteX42" fmla="*/ 295868 w 312047"/>
                <a:gd name="connsiteY42" fmla="*/ 141470 h 396530"/>
                <a:gd name="connsiteX43" fmla="*/ 227839 w 312047"/>
                <a:gd name="connsiteY43" fmla="*/ 33363 h 396530"/>
                <a:gd name="connsiteX44" fmla="*/ 128293 w 312047"/>
                <a:gd name="connsiteY44" fmla="*/ 19204 h 396530"/>
                <a:gd name="connsiteX45" fmla="*/ 17554 w 312047"/>
                <a:gd name="connsiteY45" fmla="*/ 129143 h 396530"/>
                <a:gd name="connsiteX46" fmla="*/ 15755 w 312047"/>
                <a:gd name="connsiteY46" fmla="*/ 160826 h 396530"/>
                <a:gd name="connsiteX47" fmla="*/ 48804 w 312047"/>
                <a:gd name="connsiteY47" fmla="*/ 164158 h 396530"/>
                <a:gd name="connsiteX48" fmla="*/ 75123 w 312047"/>
                <a:gd name="connsiteY48" fmla="*/ 85367 h 396530"/>
                <a:gd name="connsiteX49" fmla="*/ 151081 w 312047"/>
                <a:gd name="connsiteY49" fmla="*/ 48221 h 396530"/>
                <a:gd name="connsiteX50" fmla="*/ 221975 w 312047"/>
                <a:gd name="connsiteY50" fmla="*/ 71042 h 396530"/>
                <a:gd name="connsiteX51" fmla="*/ 263286 w 312047"/>
                <a:gd name="connsiteY51" fmla="*/ 164324 h 396530"/>
                <a:gd name="connsiteX52" fmla="*/ 247428 w 312047"/>
                <a:gd name="connsiteY52" fmla="*/ 172986 h 396530"/>
                <a:gd name="connsiteX53" fmla="*/ 247428 w 312047"/>
                <a:gd name="connsiteY53" fmla="*/ 156329 h 396530"/>
                <a:gd name="connsiteX54" fmla="*/ 155978 w 312047"/>
                <a:gd name="connsiteY54" fmla="*/ 65079 h 396530"/>
                <a:gd name="connsiteX55" fmla="*/ 64728 w 312047"/>
                <a:gd name="connsiteY55" fmla="*/ 156528 h 396530"/>
                <a:gd name="connsiteX56" fmla="*/ 67560 w 312047"/>
                <a:gd name="connsiteY56" fmla="*/ 160526 h 396530"/>
                <a:gd name="connsiteX57" fmla="*/ 110203 w 312047"/>
                <a:gd name="connsiteY57" fmla="*/ 146667 h 396530"/>
                <a:gd name="connsiteX58" fmla="*/ 123529 w 312047"/>
                <a:gd name="connsiteY58" fmla="*/ 121448 h 396530"/>
                <a:gd name="connsiteX59" fmla="*/ 131225 w 312047"/>
                <a:gd name="connsiteY59" fmla="*/ 114318 h 396530"/>
                <a:gd name="connsiteX60" fmla="*/ 139587 w 312047"/>
                <a:gd name="connsiteY60" fmla="*/ 120715 h 396530"/>
                <a:gd name="connsiteX61" fmla="*/ 147983 w 312047"/>
                <a:gd name="connsiteY61" fmla="*/ 135740 h 396530"/>
                <a:gd name="connsiteX62" fmla="*/ 247428 w 312047"/>
                <a:gd name="connsiteY62" fmla="*/ 172986 h 396530"/>
                <a:gd name="connsiteX63" fmla="*/ 16355 w 312047"/>
                <a:gd name="connsiteY63" fmla="*/ 231287 h 396530"/>
                <a:gd name="connsiteX64" fmla="*/ 36177 w 312047"/>
                <a:gd name="connsiteY64" fmla="*/ 231121 h 396530"/>
                <a:gd name="connsiteX65" fmla="*/ 48670 w 312047"/>
                <a:gd name="connsiteY65" fmla="*/ 215596 h 396530"/>
                <a:gd name="connsiteX66" fmla="*/ 48670 w 312047"/>
                <a:gd name="connsiteY66" fmla="*/ 193375 h 396530"/>
                <a:gd name="connsiteX67" fmla="*/ 37477 w 312047"/>
                <a:gd name="connsiteY67" fmla="*/ 178883 h 396530"/>
                <a:gd name="connsiteX68" fmla="*/ 16455 w 312047"/>
                <a:gd name="connsiteY68" fmla="*/ 177550 h 396530"/>
                <a:gd name="connsiteX69" fmla="*/ 295735 w 312047"/>
                <a:gd name="connsiteY69" fmla="*/ 177983 h 396530"/>
                <a:gd name="connsiteX70" fmla="*/ 278444 w 312047"/>
                <a:gd name="connsiteY70" fmla="*/ 177983 h 396530"/>
                <a:gd name="connsiteX71" fmla="*/ 263286 w 312047"/>
                <a:gd name="connsiteY71" fmla="*/ 194441 h 396530"/>
                <a:gd name="connsiteX72" fmla="*/ 263286 w 312047"/>
                <a:gd name="connsiteY72" fmla="*/ 215696 h 396530"/>
                <a:gd name="connsiteX73" fmla="*/ 276612 w 312047"/>
                <a:gd name="connsiteY73" fmla="*/ 231254 h 396530"/>
                <a:gd name="connsiteX74" fmla="*/ 295835 w 312047"/>
                <a:gd name="connsiteY74" fmla="*/ 231254 h 396530"/>
                <a:gd name="connsiteX75" fmla="*/ 133890 w 312047"/>
                <a:gd name="connsiteY75" fmla="*/ 380239 h 396530"/>
                <a:gd name="connsiteX76" fmla="*/ 177933 w 312047"/>
                <a:gd name="connsiteY76" fmla="*/ 380239 h 396530"/>
                <a:gd name="connsiteX77" fmla="*/ 177933 w 312047"/>
                <a:gd name="connsiteY77" fmla="*/ 364281 h 396530"/>
                <a:gd name="connsiteX78" fmla="*/ 133890 w 312047"/>
                <a:gd name="connsiteY78" fmla="*/ 364281 h 396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312047" h="396530">
                  <a:moveTo>
                    <a:pt x="194424" y="362149"/>
                  </a:moveTo>
                  <a:cubicBezTo>
                    <a:pt x="233619" y="351098"/>
                    <a:pt x="263712" y="319616"/>
                    <a:pt x="272981" y="279961"/>
                  </a:cubicBezTo>
                  <a:cubicBezTo>
                    <a:pt x="275026" y="270476"/>
                    <a:pt x="276482" y="260875"/>
                    <a:pt x="277345" y="251210"/>
                  </a:cubicBezTo>
                  <a:cubicBezTo>
                    <a:pt x="277278" y="249644"/>
                    <a:pt x="276459" y="248205"/>
                    <a:pt x="275146" y="247345"/>
                  </a:cubicBezTo>
                  <a:cubicBezTo>
                    <a:pt x="269616" y="245047"/>
                    <a:pt x="263919" y="243148"/>
                    <a:pt x="257789" y="240916"/>
                  </a:cubicBezTo>
                  <a:lnTo>
                    <a:pt x="256390" y="245047"/>
                  </a:lnTo>
                  <a:cubicBezTo>
                    <a:pt x="248861" y="268197"/>
                    <a:pt x="235628" y="289082"/>
                    <a:pt x="217911" y="305780"/>
                  </a:cubicBezTo>
                  <a:cubicBezTo>
                    <a:pt x="185259" y="339984"/>
                    <a:pt x="131062" y="341240"/>
                    <a:pt x="96859" y="308588"/>
                  </a:cubicBezTo>
                  <a:cubicBezTo>
                    <a:pt x="95724" y="307506"/>
                    <a:pt x="94620" y="306390"/>
                    <a:pt x="93546" y="305247"/>
                  </a:cubicBezTo>
                  <a:cubicBezTo>
                    <a:pt x="75150" y="287547"/>
                    <a:pt x="61632" y="265402"/>
                    <a:pt x="54301" y="240949"/>
                  </a:cubicBezTo>
                  <a:cubicBezTo>
                    <a:pt x="48550" y="243557"/>
                    <a:pt x="42558" y="245600"/>
                    <a:pt x="36410" y="247045"/>
                  </a:cubicBezTo>
                  <a:cubicBezTo>
                    <a:pt x="28546" y="247942"/>
                    <a:pt x="20615" y="248085"/>
                    <a:pt x="12723" y="247479"/>
                  </a:cubicBezTo>
                  <a:cubicBezTo>
                    <a:pt x="5589" y="247229"/>
                    <a:pt x="9" y="241239"/>
                    <a:pt x="260" y="234106"/>
                  </a:cubicBezTo>
                  <a:cubicBezTo>
                    <a:pt x="268" y="233899"/>
                    <a:pt x="280" y="233693"/>
                    <a:pt x="297" y="233486"/>
                  </a:cubicBezTo>
                  <a:cubicBezTo>
                    <a:pt x="297" y="223492"/>
                    <a:pt x="297" y="213697"/>
                    <a:pt x="297" y="203803"/>
                  </a:cubicBezTo>
                  <a:cubicBezTo>
                    <a:pt x="297" y="180915"/>
                    <a:pt x="-802" y="157861"/>
                    <a:pt x="1230" y="135107"/>
                  </a:cubicBezTo>
                  <a:cubicBezTo>
                    <a:pt x="3520" y="82335"/>
                    <a:pt x="36299" y="35716"/>
                    <a:pt x="85184" y="15706"/>
                  </a:cubicBezTo>
                  <a:cubicBezTo>
                    <a:pt x="133830" y="-6874"/>
                    <a:pt x="190306" y="-5019"/>
                    <a:pt x="237367" y="20703"/>
                  </a:cubicBezTo>
                  <a:cubicBezTo>
                    <a:pt x="279564" y="42133"/>
                    <a:pt x="307399" y="84160"/>
                    <a:pt x="310660" y="131376"/>
                  </a:cubicBezTo>
                  <a:cubicBezTo>
                    <a:pt x="312992" y="153897"/>
                    <a:pt x="311626" y="176817"/>
                    <a:pt x="311859" y="199572"/>
                  </a:cubicBezTo>
                  <a:cubicBezTo>
                    <a:pt x="311859" y="210099"/>
                    <a:pt x="311859" y="220660"/>
                    <a:pt x="311859" y="231221"/>
                  </a:cubicBezTo>
                  <a:cubicBezTo>
                    <a:pt x="311859" y="242581"/>
                    <a:pt x="307528" y="247145"/>
                    <a:pt x="296301" y="247878"/>
                  </a:cubicBezTo>
                  <a:cubicBezTo>
                    <a:pt x="295668" y="247878"/>
                    <a:pt x="295035" y="247878"/>
                    <a:pt x="294102" y="248112"/>
                  </a:cubicBezTo>
                  <a:cubicBezTo>
                    <a:pt x="293103" y="255974"/>
                    <a:pt x="292537" y="263836"/>
                    <a:pt x="291137" y="271432"/>
                  </a:cubicBezTo>
                  <a:cubicBezTo>
                    <a:pt x="284168" y="322054"/>
                    <a:pt x="247761" y="363685"/>
                    <a:pt x="198522" y="377341"/>
                  </a:cubicBezTo>
                  <a:cubicBezTo>
                    <a:pt x="195723" y="378240"/>
                    <a:pt x="194257" y="379040"/>
                    <a:pt x="193957" y="382405"/>
                  </a:cubicBezTo>
                  <a:cubicBezTo>
                    <a:pt x="193248" y="390167"/>
                    <a:pt x="186825" y="396160"/>
                    <a:pt x="179032" y="396330"/>
                  </a:cubicBezTo>
                  <a:cubicBezTo>
                    <a:pt x="163864" y="396597"/>
                    <a:pt x="148692" y="396597"/>
                    <a:pt x="133524" y="396330"/>
                  </a:cubicBezTo>
                  <a:cubicBezTo>
                    <a:pt x="124999" y="396150"/>
                    <a:pt x="118154" y="389234"/>
                    <a:pt x="118066" y="380705"/>
                  </a:cubicBezTo>
                  <a:cubicBezTo>
                    <a:pt x="117799" y="374942"/>
                    <a:pt x="117799" y="369145"/>
                    <a:pt x="118066" y="363382"/>
                  </a:cubicBezTo>
                  <a:cubicBezTo>
                    <a:pt x="118383" y="354886"/>
                    <a:pt x="125292" y="348127"/>
                    <a:pt x="133790" y="347990"/>
                  </a:cubicBezTo>
                  <a:cubicBezTo>
                    <a:pt x="148616" y="347790"/>
                    <a:pt x="163474" y="347757"/>
                    <a:pt x="178299" y="347990"/>
                  </a:cubicBezTo>
                  <a:cubicBezTo>
                    <a:pt x="186402" y="348157"/>
                    <a:pt x="193211" y="354133"/>
                    <a:pt x="194424" y="362149"/>
                  </a:cubicBezTo>
                  <a:close/>
                  <a:moveTo>
                    <a:pt x="64895" y="176251"/>
                  </a:moveTo>
                  <a:cubicBezTo>
                    <a:pt x="64895" y="186245"/>
                    <a:pt x="64895" y="195474"/>
                    <a:pt x="64895" y="204669"/>
                  </a:cubicBezTo>
                  <a:cubicBezTo>
                    <a:pt x="65251" y="240153"/>
                    <a:pt x="80948" y="273747"/>
                    <a:pt x="107938" y="296785"/>
                  </a:cubicBezTo>
                  <a:cubicBezTo>
                    <a:pt x="134170" y="322707"/>
                    <a:pt x="176230" y="323164"/>
                    <a:pt x="203019" y="297818"/>
                  </a:cubicBezTo>
                  <a:cubicBezTo>
                    <a:pt x="221049" y="282423"/>
                    <a:pt x="234382" y="262264"/>
                    <a:pt x="241498" y="239650"/>
                  </a:cubicBezTo>
                  <a:cubicBezTo>
                    <a:pt x="246675" y="223232"/>
                    <a:pt x="248577" y="205960"/>
                    <a:pt x="247095" y="188811"/>
                  </a:cubicBezTo>
                  <a:cubicBezTo>
                    <a:pt x="203286" y="194787"/>
                    <a:pt x="159616" y="176946"/>
                    <a:pt x="132524" y="142003"/>
                  </a:cubicBezTo>
                  <a:cubicBezTo>
                    <a:pt x="120892" y="167952"/>
                    <a:pt x="92696" y="182231"/>
                    <a:pt x="64895" y="176251"/>
                  </a:cubicBezTo>
                  <a:close/>
                  <a:moveTo>
                    <a:pt x="295868" y="160993"/>
                  </a:moveTo>
                  <a:cubicBezTo>
                    <a:pt x="295868" y="154629"/>
                    <a:pt x="296235" y="148033"/>
                    <a:pt x="295868" y="141470"/>
                  </a:cubicBezTo>
                  <a:cubicBezTo>
                    <a:pt x="294799" y="95665"/>
                    <a:pt x="268673" y="54145"/>
                    <a:pt x="227839" y="33363"/>
                  </a:cubicBezTo>
                  <a:cubicBezTo>
                    <a:pt x="197116" y="17828"/>
                    <a:pt x="162128" y="12852"/>
                    <a:pt x="128293" y="19204"/>
                  </a:cubicBezTo>
                  <a:cubicBezTo>
                    <a:pt x="70548" y="26142"/>
                    <a:pt x="24911" y="71449"/>
                    <a:pt x="17554" y="129143"/>
                  </a:cubicBezTo>
                  <a:cubicBezTo>
                    <a:pt x="15955" y="139738"/>
                    <a:pt x="16288" y="150665"/>
                    <a:pt x="15755" y="160826"/>
                  </a:cubicBezTo>
                  <a:lnTo>
                    <a:pt x="48804" y="164158"/>
                  </a:lnTo>
                  <a:cubicBezTo>
                    <a:pt x="46793" y="135445"/>
                    <a:pt x="56259" y="107108"/>
                    <a:pt x="75123" y="85367"/>
                  </a:cubicBezTo>
                  <a:cubicBezTo>
                    <a:pt x="94087" y="62848"/>
                    <a:pt x="121662" y="49363"/>
                    <a:pt x="151081" y="48221"/>
                  </a:cubicBezTo>
                  <a:cubicBezTo>
                    <a:pt x="176743" y="46625"/>
                    <a:pt x="202063" y="54775"/>
                    <a:pt x="221975" y="71042"/>
                  </a:cubicBezTo>
                  <a:cubicBezTo>
                    <a:pt x="250590" y="93183"/>
                    <a:pt x="266121" y="128254"/>
                    <a:pt x="263286" y="164324"/>
                  </a:cubicBezTo>
                  <a:close/>
                  <a:moveTo>
                    <a:pt x="247428" y="172986"/>
                  </a:moveTo>
                  <a:cubicBezTo>
                    <a:pt x="247428" y="167056"/>
                    <a:pt x="247428" y="161659"/>
                    <a:pt x="247428" y="156329"/>
                  </a:cubicBezTo>
                  <a:cubicBezTo>
                    <a:pt x="247371" y="105878"/>
                    <a:pt x="206431" y="65023"/>
                    <a:pt x="155978" y="65079"/>
                  </a:cubicBezTo>
                  <a:cubicBezTo>
                    <a:pt x="105527" y="65134"/>
                    <a:pt x="64673" y="106077"/>
                    <a:pt x="64728" y="156528"/>
                  </a:cubicBezTo>
                  <a:cubicBezTo>
                    <a:pt x="64728" y="157928"/>
                    <a:pt x="66427" y="160360"/>
                    <a:pt x="67560" y="160526"/>
                  </a:cubicBezTo>
                  <a:cubicBezTo>
                    <a:pt x="83226" y="163785"/>
                    <a:pt x="99447" y="158513"/>
                    <a:pt x="110203" y="146667"/>
                  </a:cubicBezTo>
                  <a:cubicBezTo>
                    <a:pt x="116479" y="139366"/>
                    <a:pt x="121034" y="130747"/>
                    <a:pt x="123529" y="121448"/>
                  </a:cubicBezTo>
                  <a:cubicBezTo>
                    <a:pt x="124695" y="117483"/>
                    <a:pt x="126861" y="114518"/>
                    <a:pt x="131225" y="114318"/>
                  </a:cubicBezTo>
                  <a:cubicBezTo>
                    <a:pt x="135589" y="114118"/>
                    <a:pt x="137888" y="117017"/>
                    <a:pt x="139587" y="120715"/>
                  </a:cubicBezTo>
                  <a:cubicBezTo>
                    <a:pt x="141869" y="125995"/>
                    <a:pt x="144681" y="131029"/>
                    <a:pt x="147983" y="135740"/>
                  </a:cubicBezTo>
                  <a:cubicBezTo>
                    <a:pt x="172486" y="164478"/>
                    <a:pt x="210075" y="178556"/>
                    <a:pt x="247428" y="172986"/>
                  </a:cubicBezTo>
                  <a:close/>
                  <a:moveTo>
                    <a:pt x="16355" y="231287"/>
                  </a:moveTo>
                  <a:cubicBezTo>
                    <a:pt x="22959" y="231651"/>
                    <a:pt x="29580" y="231594"/>
                    <a:pt x="36177" y="231121"/>
                  </a:cubicBezTo>
                  <a:cubicBezTo>
                    <a:pt x="43684" y="229878"/>
                    <a:pt x="49061" y="223195"/>
                    <a:pt x="48670" y="215596"/>
                  </a:cubicBezTo>
                  <a:cubicBezTo>
                    <a:pt x="48670" y="208200"/>
                    <a:pt x="48670" y="200771"/>
                    <a:pt x="48670" y="193375"/>
                  </a:cubicBezTo>
                  <a:cubicBezTo>
                    <a:pt x="48825" y="186509"/>
                    <a:pt x="44159" y="180468"/>
                    <a:pt x="37477" y="178883"/>
                  </a:cubicBezTo>
                  <a:cubicBezTo>
                    <a:pt x="30503" y="178015"/>
                    <a:pt x="23483" y="177570"/>
                    <a:pt x="16455" y="177550"/>
                  </a:cubicBezTo>
                  <a:close/>
                  <a:moveTo>
                    <a:pt x="295735" y="177983"/>
                  </a:moveTo>
                  <a:cubicBezTo>
                    <a:pt x="289605" y="177983"/>
                    <a:pt x="284008" y="177650"/>
                    <a:pt x="278444" y="177983"/>
                  </a:cubicBezTo>
                  <a:cubicBezTo>
                    <a:pt x="269779" y="178484"/>
                    <a:pt x="263073" y="185765"/>
                    <a:pt x="263286" y="194441"/>
                  </a:cubicBezTo>
                  <a:cubicBezTo>
                    <a:pt x="263286" y="201537"/>
                    <a:pt x="263286" y="208600"/>
                    <a:pt x="263286" y="215696"/>
                  </a:cubicBezTo>
                  <a:cubicBezTo>
                    <a:pt x="263069" y="223535"/>
                    <a:pt x="268833" y="230265"/>
                    <a:pt x="276612" y="231254"/>
                  </a:cubicBezTo>
                  <a:cubicBezTo>
                    <a:pt x="283015" y="231637"/>
                    <a:pt x="289432" y="231637"/>
                    <a:pt x="295835" y="231254"/>
                  </a:cubicBezTo>
                  <a:close/>
                  <a:moveTo>
                    <a:pt x="133890" y="380239"/>
                  </a:moveTo>
                  <a:lnTo>
                    <a:pt x="177933" y="380239"/>
                  </a:lnTo>
                  <a:lnTo>
                    <a:pt x="177933" y="364281"/>
                  </a:lnTo>
                  <a:lnTo>
                    <a:pt x="133890" y="364281"/>
                  </a:ln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78" name="Freeform 377">
              <a:extLst>
                <a:ext uri="{FF2B5EF4-FFF2-40B4-BE49-F238E27FC236}">
                  <a16:creationId xmlns:a16="http://schemas.microsoft.com/office/drawing/2014/main" id="{741E02E2-51E1-23CB-8D15-09CB4F191738}"/>
                </a:ext>
              </a:extLst>
            </p:cNvPr>
            <p:cNvSpPr/>
            <p:nvPr/>
          </p:nvSpPr>
          <p:spPr>
            <a:xfrm>
              <a:off x="5193849" y="3363786"/>
              <a:ext cx="171083" cy="14344"/>
            </a:xfrm>
            <a:custGeom>
              <a:avLst/>
              <a:gdLst>
                <a:gd name="connsiteX0" fmla="*/ 85994 w 171083"/>
                <a:gd name="connsiteY0" fmla="*/ 52 h 14344"/>
                <a:gd name="connsiteX1" fmla="*/ 162019 w 171083"/>
                <a:gd name="connsiteY1" fmla="*/ 52 h 14344"/>
                <a:gd name="connsiteX2" fmla="*/ 171081 w 171083"/>
                <a:gd name="connsiteY2" fmla="*/ 6882 h 14344"/>
                <a:gd name="connsiteX3" fmla="*/ 161986 w 171083"/>
                <a:gd name="connsiteY3" fmla="*/ 14345 h 14344"/>
                <a:gd name="connsiteX4" fmla="*/ 8736 w 171083"/>
                <a:gd name="connsiteY4" fmla="*/ 14345 h 14344"/>
                <a:gd name="connsiteX5" fmla="*/ 274 w 171083"/>
                <a:gd name="connsiteY5" fmla="*/ 8648 h 14344"/>
                <a:gd name="connsiteX6" fmla="*/ 3972 w 171083"/>
                <a:gd name="connsiteY6" fmla="*/ 852 h 14344"/>
                <a:gd name="connsiteX7" fmla="*/ 9636 w 171083"/>
                <a:gd name="connsiteY7" fmla="*/ 19 h 14344"/>
                <a:gd name="connsiteX8" fmla="*/ 86261 w 171083"/>
                <a:gd name="connsiteY8" fmla="*/ 19 h 14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083" h="14344">
                  <a:moveTo>
                    <a:pt x="85994" y="52"/>
                  </a:moveTo>
                  <a:lnTo>
                    <a:pt x="162019" y="52"/>
                  </a:lnTo>
                  <a:cubicBezTo>
                    <a:pt x="167949" y="52"/>
                    <a:pt x="170981" y="2351"/>
                    <a:pt x="171081" y="6882"/>
                  </a:cubicBezTo>
                  <a:cubicBezTo>
                    <a:pt x="171181" y="11413"/>
                    <a:pt x="167949" y="14345"/>
                    <a:pt x="161986" y="14345"/>
                  </a:cubicBezTo>
                  <a:lnTo>
                    <a:pt x="8736" y="14345"/>
                  </a:lnTo>
                  <a:cubicBezTo>
                    <a:pt x="4605" y="14345"/>
                    <a:pt x="1274" y="13045"/>
                    <a:pt x="274" y="8648"/>
                  </a:cubicBezTo>
                  <a:cubicBezTo>
                    <a:pt x="-678" y="5485"/>
                    <a:pt x="920" y="2115"/>
                    <a:pt x="3972" y="852"/>
                  </a:cubicBezTo>
                  <a:cubicBezTo>
                    <a:pt x="5787" y="204"/>
                    <a:pt x="7712" y="-79"/>
                    <a:pt x="9636" y="19"/>
                  </a:cubicBezTo>
                  <a:lnTo>
                    <a:pt x="86261" y="19"/>
                  </a:ln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79" name="Freeform 378">
              <a:extLst>
                <a:ext uri="{FF2B5EF4-FFF2-40B4-BE49-F238E27FC236}">
                  <a16:creationId xmlns:a16="http://schemas.microsoft.com/office/drawing/2014/main" id="{F1C1E941-0EDA-304C-5D33-3A98D7DEE1EE}"/>
                </a:ext>
              </a:extLst>
            </p:cNvPr>
            <p:cNvSpPr/>
            <p:nvPr/>
          </p:nvSpPr>
          <p:spPr>
            <a:xfrm>
              <a:off x="5193806" y="3331209"/>
              <a:ext cx="171052" cy="14393"/>
            </a:xfrm>
            <a:custGeom>
              <a:avLst/>
              <a:gdLst>
                <a:gd name="connsiteX0" fmla="*/ 85537 w 171052"/>
                <a:gd name="connsiteY0" fmla="*/ 14306 h 14393"/>
                <a:gd name="connsiteX1" fmla="*/ 10878 w 171052"/>
                <a:gd name="connsiteY1" fmla="*/ 14306 h 14393"/>
                <a:gd name="connsiteX2" fmla="*/ 5981 w 171052"/>
                <a:gd name="connsiteY2" fmla="*/ 14306 h 14393"/>
                <a:gd name="connsiteX3" fmla="*/ 84 w 171052"/>
                <a:gd name="connsiteY3" fmla="*/ 8010 h 14393"/>
                <a:gd name="connsiteX4" fmla="*/ 5114 w 171052"/>
                <a:gd name="connsiteY4" fmla="*/ 480 h 14393"/>
                <a:gd name="connsiteX5" fmla="*/ 9978 w 171052"/>
                <a:gd name="connsiteY5" fmla="*/ 14 h 14393"/>
                <a:gd name="connsiteX6" fmla="*/ 161062 w 171052"/>
                <a:gd name="connsiteY6" fmla="*/ 14 h 14393"/>
                <a:gd name="connsiteX7" fmla="*/ 165926 w 171052"/>
                <a:gd name="connsiteY7" fmla="*/ 514 h 14393"/>
                <a:gd name="connsiteX8" fmla="*/ 170957 w 171052"/>
                <a:gd name="connsiteY8" fmla="*/ 7910 h 14393"/>
                <a:gd name="connsiteX9" fmla="*/ 165027 w 171052"/>
                <a:gd name="connsiteY9" fmla="*/ 14140 h 14393"/>
                <a:gd name="connsiteX10" fmla="*/ 160562 w 171052"/>
                <a:gd name="connsiteY10" fmla="*/ 14140 h 1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1052" h="14393">
                  <a:moveTo>
                    <a:pt x="85537" y="14306"/>
                  </a:moveTo>
                  <a:lnTo>
                    <a:pt x="10878" y="14306"/>
                  </a:lnTo>
                  <a:cubicBezTo>
                    <a:pt x="9247" y="14423"/>
                    <a:pt x="7611" y="14423"/>
                    <a:pt x="5981" y="14306"/>
                  </a:cubicBezTo>
                  <a:cubicBezTo>
                    <a:pt x="2697" y="14018"/>
                    <a:pt x="156" y="11305"/>
                    <a:pt x="84" y="8010"/>
                  </a:cubicBezTo>
                  <a:cubicBezTo>
                    <a:pt x="-464" y="4571"/>
                    <a:pt x="1728" y="1290"/>
                    <a:pt x="5114" y="480"/>
                  </a:cubicBezTo>
                  <a:cubicBezTo>
                    <a:pt x="6707" y="107"/>
                    <a:pt x="8343" y="-50"/>
                    <a:pt x="9978" y="14"/>
                  </a:cubicBezTo>
                  <a:cubicBezTo>
                    <a:pt x="60351" y="14"/>
                    <a:pt x="110712" y="14"/>
                    <a:pt x="161062" y="14"/>
                  </a:cubicBezTo>
                  <a:cubicBezTo>
                    <a:pt x="162699" y="-40"/>
                    <a:pt x="164335" y="129"/>
                    <a:pt x="165926" y="514"/>
                  </a:cubicBezTo>
                  <a:cubicBezTo>
                    <a:pt x="169324" y="1218"/>
                    <a:pt x="171550" y="4491"/>
                    <a:pt x="170957" y="7910"/>
                  </a:cubicBezTo>
                  <a:cubicBezTo>
                    <a:pt x="170865" y="11197"/>
                    <a:pt x="168306" y="13885"/>
                    <a:pt x="165027" y="14140"/>
                  </a:cubicBezTo>
                  <a:cubicBezTo>
                    <a:pt x="163541" y="14257"/>
                    <a:pt x="162048" y="14257"/>
                    <a:pt x="160562" y="14140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80" name="Freeform 379">
              <a:extLst>
                <a:ext uri="{FF2B5EF4-FFF2-40B4-BE49-F238E27FC236}">
                  <a16:creationId xmlns:a16="http://schemas.microsoft.com/office/drawing/2014/main" id="{C7497BA8-02CC-1657-B665-4F1DD475FC19}"/>
                </a:ext>
              </a:extLst>
            </p:cNvPr>
            <p:cNvSpPr/>
            <p:nvPr/>
          </p:nvSpPr>
          <p:spPr>
            <a:xfrm>
              <a:off x="5193736" y="3396287"/>
              <a:ext cx="117679" cy="14274"/>
            </a:xfrm>
            <a:custGeom>
              <a:avLst/>
              <a:gdLst>
                <a:gd name="connsiteX0" fmla="*/ 59089 w 117679"/>
                <a:gd name="connsiteY0" fmla="*/ 14259 h 14274"/>
                <a:gd name="connsiteX1" fmla="*/ 8516 w 117679"/>
                <a:gd name="connsiteY1" fmla="*/ 14259 h 14274"/>
                <a:gd name="connsiteX2" fmla="*/ 154 w 117679"/>
                <a:gd name="connsiteY2" fmla="*/ 8562 h 14274"/>
                <a:gd name="connsiteX3" fmla="*/ 8350 w 117679"/>
                <a:gd name="connsiteY3" fmla="*/ 0 h 14274"/>
                <a:gd name="connsiteX4" fmla="*/ 70482 w 117679"/>
                <a:gd name="connsiteY4" fmla="*/ 0 h 14274"/>
                <a:gd name="connsiteX5" fmla="*/ 110327 w 117679"/>
                <a:gd name="connsiteY5" fmla="*/ 0 h 14274"/>
                <a:gd name="connsiteX6" fmla="*/ 117657 w 117679"/>
                <a:gd name="connsiteY6" fmla="*/ 5131 h 14274"/>
                <a:gd name="connsiteX7" fmla="*/ 115291 w 117679"/>
                <a:gd name="connsiteY7" fmla="*/ 12560 h 14274"/>
                <a:gd name="connsiteX8" fmla="*/ 109161 w 117679"/>
                <a:gd name="connsiteY8" fmla="*/ 14226 h 14274"/>
                <a:gd name="connsiteX9" fmla="*/ 59089 w 117679"/>
                <a:gd name="connsiteY9" fmla="*/ 14259 h 14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679" h="14274">
                  <a:moveTo>
                    <a:pt x="59089" y="14259"/>
                  </a:moveTo>
                  <a:lnTo>
                    <a:pt x="8516" y="14259"/>
                  </a:lnTo>
                  <a:cubicBezTo>
                    <a:pt x="3686" y="14259"/>
                    <a:pt x="821" y="12227"/>
                    <a:pt x="154" y="8562"/>
                  </a:cubicBezTo>
                  <a:cubicBezTo>
                    <a:pt x="-778" y="3598"/>
                    <a:pt x="2586" y="0"/>
                    <a:pt x="8350" y="0"/>
                  </a:cubicBezTo>
                  <a:cubicBezTo>
                    <a:pt x="29039" y="0"/>
                    <a:pt x="49761" y="0"/>
                    <a:pt x="70482" y="0"/>
                  </a:cubicBezTo>
                  <a:lnTo>
                    <a:pt x="110327" y="0"/>
                  </a:lnTo>
                  <a:cubicBezTo>
                    <a:pt x="114025" y="0"/>
                    <a:pt x="117190" y="1499"/>
                    <a:pt x="117657" y="5131"/>
                  </a:cubicBezTo>
                  <a:cubicBezTo>
                    <a:pt x="117831" y="7816"/>
                    <a:pt x="116987" y="10469"/>
                    <a:pt x="115291" y="12560"/>
                  </a:cubicBezTo>
                  <a:cubicBezTo>
                    <a:pt x="113528" y="13862"/>
                    <a:pt x="111341" y="14457"/>
                    <a:pt x="109161" y="14226"/>
                  </a:cubicBezTo>
                  <a:cubicBezTo>
                    <a:pt x="92470" y="14292"/>
                    <a:pt x="75780" y="14259"/>
                    <a:pt x="59089" y="14259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81" name="Freeform 380">
              <a:extLst>
                <a:ext uri="{FF2B5EF4-FFF2-40B4-BE49-F238E27FC236}">
                  <a16:creationId xmlns:a16="http://schemas.microsoft.com/office/drawing/2014/main" id="{8C114B4A-3E08-8E94-4CDA-9CE1D8AE2E52}"/>
                </a:ext>
              </a:extLst>
            </p:cNvPr>
            <p:cNvSpPr/>
            <p:nvPr/>
          </p:nvSpPr>
          <p:spPr>
            <a:xfrm>
              <a:off x="5497174" y="3669850"/>
              <a:ext cx="54713" cy="23673"/>
            </a:xfrm>
            <a:custGeom>
              <a:avLst/>
              <a:gdLst>
                <a:gd name="connsiteX0" fmla="*/ 27534 w 54713"/>
                <a:gd name="connsiteY0" fmla="*/ 23674 h 23673"/>
                <a:gd name="connsiteX1" fmla="*/ 3181 w 54713"/>
                <a:gd name="connsiteY1" fmla="*/ 14246 h 23673"/>
                <a:gd name="connsiteX2" fmla="*/ 1498 w 54713"/>
                <a:gd name="connsiteY2" fmla="*/ 3398 h 23673"/>
                <a:gd name="connsiteX3" fmla="*/ 1582 w 54713"/>
                <a:gd name="connsiteY3" fmla="*/ 3285 h 23673"/>
                <a:gd name="connsiteX4" fmla="*/ 11839 w 54713"/>
                <a:gd name="connsiteY4" fmla="*/ 1250 h 23673"/>
                <a:gd name="connsiteX5" fmla="*/ 12509 w 54713"/>
                <a:gd name="connsiteY5" fmla="*/ 1753 h 23673"/>
                <a:gd name="connsiteX6" fmla="*/ 42493 w 54713"/>
                <a:gd name="connsiteY6" fmla="*/ 1753 h 23673"/>
                <a:gd name="connsiteX7" fmla="*/ 52754 w 54713"/>
                <a:gd name="connsiteY7" fmla="*/ 2825 h 23673"/>
                <a:gd name="connsiteX8" fmla="*/ 53054 w 54713"/>
                <a:gd name="connsiteY8" fmla="*/ 3219 h 23673"/>
                <a:gd name="connsiteX9" fmla="*/ 51754 w 54713"/>
                <a:gd name="connsiteY9" fmla="*/ 14279 h 23673"/>
                <a:gd name="connsiteX10" fmla="*/ 27534 w 54713"/>
                <a:gd name="connsiteY10" fmla="*/ 23674 h 23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713" h="23673">
                  <a:moveTo>
                    <a:pt x="27534" y="23674"/>
                  </a:moveTo>
                  <a:cubicBezTo>
                    <a:pt x="18576" y="23414"/>
                    <a:pt x="9977" y="20086"/>
                    <a:pt x="3181" y="14246"/>
                  </a:cubicBezTo>
                  <a:cubicBezTo>
                    <a:pt x="-281" y="11714"/>
                    <a:pt x="-1033" y="6860"/>
                    <a:pt x="1498" y="3398"/>
                  </a:cubicBezTo>
                  <a:cubicBezTo>
                    <a:pt x="1525" y="3358"/>
                    <a:pt x="1552" y="3322"/>
                    <a:pt x="1582" y="3285"/>
                  </a:cubicBezTo>
                  <a:cubicBezTo>
                    <a:pt x="3854" y="-110"/>
                    <a:pt x="8445" y="-1022"/>
                    <a:pt x="11839" y="1250"/>
                  </a:cubicBezTo>
                  <a:cubicBezTo>
                    <a:pt x="12073" y="1403"/>
                    <a:pt x="12296" y="1573"/>
                    <a:pt x="12509" y="1753"/>
                  </a:cubicBezTo>
                  <a:cubicBezTo>
                    <a:pt x="20948" y="9642"/>
                    <a:pt x="34054" y="9642"/>
                    <a:pt x="42493" y="1753"/>
                  </a:cubicBezTo>
                  <a:cubicBezTo>
                    <a:pt x="45621" y="-786"/>
                    <a:pt x="50218" y="-306"/>
                    <a:pt x="52754" y="2825"/>
                  </a:cubicBezTo>
                  <a:cubicBezTo>
                    <a:pt x="52860" y="2952"/>
                    <a:pt x="52957" y="3082"/>
                    <a:pt x="53054" y="3219"/>
                  </a:cubicBezTo>
                  <a:cubicBezTo>
                    <a:pt x="55699" y="6647"/>
                    <a:pt x="55122" y="11557"/>
                    <a:pt x="51754" y="14279"/>
                  </a:cubicBezTo>
                  <a:cubicBezTo>
                    <a:pt x="44991" y="20089"/>
                    <a:pt x="36446" y="23404"/>
                    <a:pt x="27534" y="23674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82" name="Freeform 381">
              <a:extLst>
                <a:ext uri="{FF2B5EF4-FFF2-40B4-BE49-F238E27FC236}">
                  <a16:creationId xmlns:a16="http://schemas.microsoft.com/office/drawing/2014/main" id="{760C78DE-465A-994D-A4E0-950BE2AE3993}"/>
                </a:ext>
              </a:extLst>
            </p:cNvPr>
            <p:cNvSpPr/>
            <p:nvPr/>
          </p:nvSpPr>
          <p:spPr>
            <a:xfrm>
              <a:off x="5474297" y="3610300"/>
              <a:ext cx="21696" cy="21691"/>
            </a:xfrm>
            <a:custGeom>
              <a:avLst/>
              <a:gdLst>
                <a:gd name="connsiteX0" fmla="*/ 6 w 21696"/>
                <a:gd name="connsiteY0" fmla="*/ 10531 h 21691"/>
                <a:gd name="connsiteX1" fmla="*/ 10464 w 21696"/>
                <a:gd name="connsiteY1" fmla="*/ 0 h 21691"/>
                <a:gd name="connsiteX2" fmla="*/ 10767 w 21696"/>
                <a:gd name="connsiteY2" fmla="*/ 3 h 21691"/>
                <a:gd name="connsiteX3" fmla="*/ 21694 w 21696"/>
                <a:gd name="connsiteY3" fmla="*/ 10728 h 21691"/>
                <a:gd name="connsiteX4" fmla="*/ 21694 w 21696"/>
                <a:gd name="connsiteY4" fmla="*/ 11031 h 21691"/>
                <a:gd name="connsiteX5" fmla="*/ 10767 w 21696"/>
                <a:gd name="connsiteY5" fmla="*/ 21692 h 21691"/>
                <a:gd name="connsiteX6" fmla="*/ 0 w 21696"/>
                <a:gd name="connsiteY6" fmla="*/ 10871 h 21691"/>
                <a:gd name="connsiteX7" fmla="*/ 6 w 21696"/>
                <a:gd name="connsiteY7" fmla="*/ 10531 h 21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696" h="21691">
                  <a:moveTo>
                    <a:pt x="6" y="10531"/>
                  </a:moveTo>
                  <a:cubicBezTo>
                    <a:pt x="-14" y="4735"/>
                    <a:pt x="4668" y="20"/>
                    <a:pt x="10464" y="0"/>
                  </a:cubicBezTo>
                  <a:cubicBezTo>
                    <a:pt x="10565" y="0"/>
                    <a:pt x="10666" y="1"/>
                    <a:pt x="10767" y="3"/>
                  </a:cubicBezTo>
                  <a:cubicBezTo>
                    <a:pt x="16747" y="-53"/>
                    <a:pt x="21641" y="4749"/>
                    <a:pt x="21694" y="10728"/>
                  </a:cubicBezTo>
                  <a:cubicBezTo>
                    <a:pt x="21698" y="10831"/>
                    <a:pt x="21698" y="10931"/>
                    <a:pt x="21694" y="11031"/>
                  </a:cubicBezTo>
                  <a:cubicBezTo>
                    <a:pt x="21431" y="16911"/>
                    <a:pt x="16651" y="21575"/>
                    <a:pt x="10767" y="21692"/>
                  </a:cubicBezTo>
                  <a:cubicBezTo>
                    <a:pt x="4806" y="21678"/>
                    <a:pt x="-15" y="16831"/>
                    <a:pt x="0" y="10871"/>
                  </a:cubicBezTo>
                  <a:cubicBezTo>
                    <a:pt x="0" y="10757"/>
                    <a:pt x="2" y="10644"/>
                    <a:pt x="6" y="10531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83" name="Freeform 382">
              <a:extLst>
                <a:ext uri="{FF2B5EF4-FFF2-40B4-BE49-F238E27FC236}">
                  <a16:creationId xmlns:a16="http://schemas.microsoft.com/office/drawing/2014/main" id="{FD765A5E-3B7D-E79E-2FDD-5422E5959688}"/>
                </a:ext>
              </a:extLst>
            </p:cNvPr>
            <p:cNvSpPr/>
            <p:nvPr/>
          </p:nvSpPr>
          <p:spPr>
            <a:xfrm>
              <a:off x="5553389" y="3610301"/>
              <a:ext cx="21695" cy="21690"/>
            </a:xfrm>
            <a:custGeom>
              <a:avLst/>
              <a:gdLst>
                <a:gd name="connsiteX0" fmla="*/ 4 w 21695"/>
                <a:gd name="connsiteY0" fmla="*/ 10530 h 21690"/>
                <a:gd name="connsiteX1" fmla="*/ 10595 w 21695"/>
                <a:gd name="connsiteY1" fmla="*/ 0 h 21690"/>
                <a:gd name="connsiteX2" fmla="*/ 10798 w 21695"/>
                <a:gd name="connsiteY2" fmla="*/ 3 h 21690"/>
                <a:gd name="connsiteX3" fmla="*/ 21695 w 21695"/>
                <a:gd name="connsiteY3" fmla="*/ 10694 h 21690"/>
                <a:gd name="connsiteX4" fmla="*/ 21692 w 21695"/>
                <a:gd name="connsiteY4" fmla="*/ 11030 h 21690"/>
                <a:gd name="connsiteX5" fmla="*/ 10765 w 21695"/>
                <a:gd name="connsiteY5" fmla="*/ 21691 h 21690"/>
                <a:gd name="connsiteX6" fmla="*/ 0 w 21695"/>
                <a:gd name="connsiteY6" fmla="*/ 10733 h 21690"/>
                <a:gd name="connsiteX7" fmla="*/ 4 w 21695"/>
                <a:gd name="connsiteY7" fmla="*/ 10530 h 21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695" h="21690">
                  <a:moveTo>
                    <a:pt x="4" y="10530"/>
                  </a:moveTo>
                  <a:cubicBezTo>
                    <a:pt x="20" y="4698"/>
                    <a:pt x="4761" y="-17"/>
                    <a:pt x="10595" y="0"/>
                  </a:cubicBezTo>
                  <a:cubicBezTo>
                    <a:pt x="10661" y="0"/>
                    <a:pt x="10731" y="1"/>
                    <a:pt x="10798" y="3"/>
                  </a:cubicBezTo>
                  <a:cubicBezTo>
                    <a:pt x="16758" y="-54"/>
                    <a:pt x="21639" y="4733"/>
                    <a:pt x="21695" y="10694"/>
                  </a:cubicBezTo>
                  <a:cubicBezTo>
                    <a:pt x="21695" y="10807"/>
                    <a:pt x="21695" y="10917"/>
                    <a:pt x="21692" y="11030"/>
                  </a:cubicBezTo>
                  <a:cubicBezTo>
                    <a:pt x="21445" y="16917"/>
                    <a:pt x="16655" y="21591"/>
                    <a:pt x="10765" y="21691"/>
                  </a:cubicBezTo>
                  <a:cubicBezTo>
                    <a:pt x="4768" y="21638"/>
                    <a:pt x="-53" y="16734"/>
                    <a:pt x="0" y="10733"/>
                  </a:cubicBezTo>
                  <a:cubicBezTo>
                    <a:pt x="0" y="10667"/>
                    <a:pt x="0" y="10597"/>
                    <a:pt x="4" y="10530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84" name="Freeform 383">
              <a:extLst>
                <a:ext uri="{FF2B5EF4-FFF2-40B4-BE49-F238E27FC236}">
                  <a16:creationId xmlns:a16="http://schemas.microsoft.com/office/drawing/2014/main" id="{C6D16849-1768-C2AE-F81D-C396B1A8A7B7}"/>
                </a:ext>
              </a:extLst>
            </p:cNvPr>
            <p:cNvSpPr/>
            <p:nvPr/>
          </p:nvSpPr>
          <p:spPr>
            <a:xfrm>
              <a:off x="5198110" y="3534299"/>
              <a:ext cx="109351" cy="104320"/>
            </a:xfrm>
            <a:custGeom>
              <a:avLst/>
              <a:gdLst>
                <a:gd name="connsiteX0" fmla="*/ 79101 w 109351"/>
                <a:gd name="connsiteY0" fmla="*/ 846 h 104320"/>
                <a:gd name="connsiteX1" fmla="*/ 68745 w 109351"/>
                <a:gd name="connsiteY1" fmla="*/ 4193 h 104320"/>
                <a:gd name="connsiteX2" fmla="*/ 67974 w 109351"/>
                <a:gd name="connsiteY2" fmla="*/ 6642 h 104320"/>
                <a:gd name="connsiteX3" fmla="*/ 64210 w 109351"/>
                <a:gd name="connsiteY3" fmla="*/ 33295 h 104320"/>
                <a:gd name="connsiteX4" fmla="*/ 45087 w 109351"/>
                <a:gd name="connsiteY4" fmla="*/ 33295 h 104320"/>
                <a:gd name="connsiteX5" fmla="*/ 40789 w 109351"/>
                <a:gd name="connsiteY5" fmla="*/ 6709 h 104320"/>
                <a:gd name="connsiteX6" fmla="*/ 31942 w 109351"/>
                <a:gd name="connsiteY6" fmla="*/ 290 h 104320"/>
                <a:gd name="connsiteX7" fmla="*/ 29695 w 109351"/>
                <a:gd name="connsiteY7" fmla="*/ 1012 h 104320"/>
                <a:gd name="connsiteX8" fmla="*/ 6055 w 109351"/>
                <a:gd name="connsiteY8" fmla="*/ 74625 h 104320"/>
                <a:gd name="connsiteX9" fmla="*/ 79668 w 109351"/>
                <a:gd name="connsiteY9" fmla="*/ 98266 h 104320"/>
                <a:gd name="connsiteX10" fmla="*/ 109351 w 109351"/>
                <a:gd name="connsiteY10" fmla="*/ 49752 h 104320"/>
                <a:gd name="connsiteX11" fmla="*/ 109351 w 109351"/>
                <a:gd name="connsiteY11" fmla="*/ 49752 h 104320"/>
                <a:gd name="connsiteX12" fmla="*/ 79101 w 109351"/>
                <a:gd name="connsiteY12" fmla="*/ 846 h 104320"/>
                <a:gd name="connsiteX13" fmla="*/ 94093 w 109351"/>
                <a:gd name="connsiteY13" fmla="*/ 49819 h 104320"/>
                <a:gd name="connsiteX14" fmla="*/ 54782 w 109351"/>
                <a:gd name="connsiteY14" fmla="*/ 89330 h 104320"/>
                <a:gd name="connsiteX15" fmla="*/ 15270 w 109351"/>
                <a:gd name="connsiteY15" fmla="*/ 50019 h 104320"/>
                <a:gd name="connsiteX16" fmla="*/ 26830 w 109351"/>
                <a:gd name="connsiteY16" fmla="*/ 22034 h 104320"/>
                <a:gd name="connsiteX17" fmla="*/ 27463 w 109351"/>
                <a:gd name="connsiteY17" fmla="*/ 21201 h 104320"/>
                <a:gd name="connsiteX18" fmla="*/ 30794 w 109351"/>
                <a:gd name="connsiteY18" fmla="*/ 42090 h 104320"/>
                <a:gd name="connsiteX19" fmla="*/ 38424 w 109351"/>
                <a:gd name="connsiteY19" fmla="*/ 48753 h 104320"/>
                <a:gd name="connsiteX20" fmla="*/ 70773 w 109351"/>
                <a:gd name="connsiteY20" fmla="*/ 48753 h 104320"/>
                <a:gd name="connsiteX21" fmla="*/ 78402 w 109351"/>
                <a:gd name="connsiteY21" fmla="*/ 42090 h 104320"/>
                <a:gd name="connsiteX22" fmla="*/ 81367 w 109351"/>
                <a:gd name="connsiteY22" fmla="*/ 21334 h 104320"/>
                <a:gd name="connsiteX23" fmla="*/ 94093 w 109351"/>
                <a:gd name="connsiteY23" fmla="*/ 49819 h 10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09351" h="104320">
                  <a:moveTo>
                    <a:pt x="79101" y="846"/>
                  </a:moveTo>
                  <a:cubicBezTo>
                    <a:pt x="75317" y="-1090"/>
                    <a:pt x="70681" y="409"/>
                    <a:pt x="68745" y="4193"/>
                  </a:cubicBezTo>
                  <a:cubicBezTo>
                    <a:pt x="68353" y="4961"/>
                    <a:pt x="68092" y="5789"/>
                    <a:pt x="67974" y="6642"/>
                  </a:cubicBezTo>
                  <a:lnTo>
                    <a:pt x="64210" y="33295"/>
                  </a:lnTo>
                  <a:lnTo>
                    <a:pt x="45087" y="33295"/>
                  </a:lnTo>
                  <a:lnTo>
                    <a:pt x="40789" y="6709"/>
                  </a:lnTo>
                  <a:cubicBezTo>
                    <a:pt x="40118" y="2493"/>
                    <a:pt x="36158" y="-380"/>
                    <a:pt x="31942" y="290"/>
                  </a:cubicBezTo>
                  <a:cubicBezTo>
                    <a:pt x="31160" y="414"/>
                    <a:pt x="30403" y="658"/>
                    <a:pt x="29695" y="1012"/>
                  </a:cubicBezTo>
                  <a:cubicBezTo>
                    <a:pt x="2840" y="14812"/>
                    <a:pt x="-7744" y="47769"/>
                    <a:pt x="6055" y="74625"/>
                  </a:cubicBezTo>
                  <a:cubicBezTo>
                    <a:pt x="19855" y="101480"/>
                    <a:pt x="52812" y="112065"/>
                    <a:pt x="79668" y="98266"/>
                  </a:cubicBezTo>
                  <a:cubicBezTo>
                    <a:pt x="97857" y="88917"/>
                    <a:pt x="109309" y="70202"/>
                    <a:pt x="109351" y="49752"/>
                  </a:cubicBezTo>
                  <a:lnTo>
                    <a:pt x="109351" y="49752"/>
                  </a:lnTo>
                  <a:cubicBezTo>
                    <a:pt x="109256" y="29062"/>
                    <a:pt x="97572" y="10171"/>
                    <a:pt x="79101" y="846"/>
                  </a:cubicBezTo>
                  <a:close/>
                  <a:moveTo>
                    <a:pt x="94093" y="49819"/>
                  </a:moveTo>
                  <a:cubicBezTo>
                    <a:pt x="94148" y="71585"/>
                    <a:pt x="76548" y="89274"/>
                    <a:pt x="54782" y="89330"/>
                  </a:cubicBezTo>
                  <a:cubicBezTo>
                    <a:pt x="33015" y="89387"/>
                    <a:pt x="15325" y="71786"/>
                    <a:pt x="15270" y="50019"/>
                  </a:cubicBezTo>
                  <a:cubicBezTo>
                    <a:pt x="15243" y="39524"/>
                    <a:pt x="19404" y="29451"/>
                    <a:pt x="26830" y="22034"/>
                  </a:cubicBezTo>
                  <a:lnTo>
                    <a:pt x="27463" y="21201"/>
                  </a:lnTo>
                  <a:lnTo>
                    <a:pt x="30794" y="42090"/>
                  </a:lnTo>
                  <a:cubicBezTo>
                    <a:pt x="31325" y="45900"/>
                    <a:pt x="34577" y="48740"/>
                    <a:pt x="38424" y="48753"/>
                  </a:cubicBezTo>
                  <a:lnTo>
                    <a:pt x="70773" y="48753"/>
                  </a:lnTo>
                  <a:cubicBezTo>
                    <a:pt x="74619" y="48740"/>
                    <a:pt x="77871" y="45900"/>
                    <a:pt x="78402" y="42090"/>
                  </a:cubicBezTo>
                  <a:lnTo>
                    <a:pt x="81367" y="21334"/>
                  </a:lnTo>
                  <a:cubicBezTo>
                    <a:pt x="89291" y="28714"/>
                    <a:pt x="93884" y="38992"/>
                    <a:pt x="94093" y="49819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85" name="Freeform 384">
              <a:extLst>
                <a:ext uri="{FF2B5EF4-FFF2-40B4-BE49-F238E27FC236}">
                  <a16:creationId xmlns:a16="http://schemas.microsoft.com/office/drawing/2014/main" id="{41BD88AC-9632-4BB7-0776-5FEA56D8E737}"/>
                </a:ext>
              </a:extLst>
            </p:cNvPr>
            <p:cNvSpPr/>
            <p:nvPr/>
          </p:nvSpPr>
          <p:spPr>
            <a:xfrm>
              <a:off x="5217977" y="3622763"/>
              <a:ext cx="69295" cy="174804"/>
            </a:xfrm>
            <a:custGeom>
              <a:avLst/>
              <a:gdLst>
                <a:gd name="connsiteX0" fmla="*/ 53870 w 69295"/>
                <a:gd name="connsiteY0" fmla="*/ 0 h 174804"/>
                <a:gd name="connsiteX1" fmla="*/ 53870 w 69295"/>
                <a:gd name="connsiteY1" fmla="*/ 140090 h 174804"/>
                <a:gd name="connsiteX2" fmla="*/ 34648 w 69295"/>
                <a:gd name="connsiteY2" fmla="*/ 159313 h 174804"/>
                <a:gd name="connsiteX3" fmla="*/ 15425 w 69295"/>
                <a:gd name="connsiteY3" fmla="*/ 140090 h 174804"/>
                <a:gd name="connsiteX4" fmla="*/ 15425 w 69295"/>
                <a:gd name="connsiteY4" fmla="*/ 433 h 174804"/>
                <a:gd name="connsiteX5" fmla="*/ 0 w 69295"/>
                <a:gd name="connsiteY5" fmla="*/ 433 h 174804"/>
                <a:gd name="connsiteX6" fmla="*/ 0 w 69295"/>
                <a:gd name="connsiteY6" fmla="*/ 140156 h 174804"/>
                <a:gd name="connsiteX7" fmla="*/ 34648 w 69295"/>
                <a:gd name="connsiteY7" fmla="*/ 174804 h 174804"/>
                <a:gd name="connsiteX8" fmla="*/ 69295 w 69295"/>
                <a:gd name="connsiteY8" fmla="*/ 140156 h 174804"/>
                <a:gd name="connsiteX9" fmla="*/ 69295 w 69295"/>
                <a:gd name="connsiteY9" fmla="*/ 0 h 17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295" h="174804">
                  <a:moveTo>
                    <a:pt x="53870" y="0"/>
                  </a:moveTo>
                  <a:lnTo>
                    <a:pt x="53870" y="140090"/>
                  </a:lnTo>
                  <a:cubicBezTo>
                    <a:pt x="53870" y="150707"/>
                    <a:pt x="45264" y="159313"/>
                    <a:pt x="34648" y="159313"/>
                  </a:cubicBezTo>
                  <a:cubicBezTo>
                    <a:pt x="24031" y="159313"/>
                    <a:pt x="15425" y="150707"/>
                    <a:pt x="15425" y="140090"/>
                  </a:cubicBezTo>
                  <a:lnTo>
                    <a:pt x="15425" y="433"/>
                  </a:lnTo>
                  <a:lnTo>
                    <a:pt x="0" y="433"/>
                  </a:lnTo>
                  <a:lnTo>
                    <a:pt x="0" y="140156"/>
                  </a:lnTo>
                  <a:cubicBezTo>
                    <a:pt x="0" y="159293"/>
                    <a:pt x="15512" y="174804"/>
                    <a:pt x="34648" y="174804"/>
                  </a:cubicBezTo>
                  <a:cubicBezTo>
                    <a:pt x="53783" y="174804"/>
                    <a:pt x="69295" y="159293"/>
                    <a:pt x="69295" y="140156"/>
                  </a:cubicBezTo>
                  <a:lnTo>
                    <a:pt x="69295" y="0"/>
                  </a:ln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86" name="Freeform 385">
              <a:extLst>
                <a:ext uri="{FF2B5EF4-FFF2-40B4-BE49-F238E27FC236}">
                  <a16:creationId xmlns:a16="http://schemas.microsoft.com/office/drawing/2014/main" id="{9F820BAD-0DF5-3460-6EC9-A2BCFCA8FA72}"/>
                </a:ext>
              </a:extLst>
            </p:cNvPr>
            <p:cNvSpPr/>
            <p:nvPr/>
          </p:nvSpPr>
          <p:spPr>
            <a:xfrm>
              <a:off x="5241128" y="3750526"/>
              <a:ext cx="22319" cy="22454"/>
            </a:xfrm>
            <a:custGeom>
              <a:avLst/>
              <a:gdLst>
                <a:gd name="connsiteX0" fmla="*/ 11096 w 22319"/>
                <a:gd name="connsiteY0" fmla="*/ 0 h 22454"/>
                <a:gd name="connsiteX1" fmla="*/ 2 w 22319"/>
                <a:gd name="connsiteY1" fmla="*/ 10961 h 22454"/>
                <a:gd name="connsiteX2" fmla="*/ 2 w 22319"/>
                <a:gd name="connsiteY2" fmla="*/ 11094 h 22454"/>
                <a:gd name="connsiteX3" fmla="*/ 3334 w 22319"/>
                <a:gd name="connsiteY3" fmla="*/ 19123 h 22454"/>
                <a:gd name="connsiteX4" fmla="*/ 11363 w 22319"/>
                <a:gd name="connsiteY4" fmla="*/ 22455 h 22454"/>
                <a:gd name="connsiteX5" fmla="*/ 19358 w 22319"/>
                <a:gd name="connsiteY5" fmla="*/ 19123 h 22454"/>
                <a:gd name="connsiteX6" fmla="*/ 22257 w 22319"/>
                <a:gd name="connsiteY6" fmla="*/ 11094 h 22454"/>
                <a:gd name="connsiteX7" fmla="*/ 11297 w 22319"/>
                <a:gd name="connsiteY7" fmla="*/ 0 h 22454"/>
                <a:gd name="connsiteX8" fmla="*/ 11096 w 22319"/>
                <a:gd name="connsiteY8" fmla="*/ 0 h 22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319" h="22454">
                  <a:moveTo>
                    <a:pt x="11096" y="0"/>
                  </a:moveTo>
                  <a:cubicBezTo>
                    <a:pt x="5006" y="-36"/>
                    <a:pt x="39" y="4871"/>
                    <a:pt x="2" y="10961"/>
                  </a:cubicBezTo>
                  <a:cubicBezTo>
                    <a:pt x="2" y="11004"/>
                    <a:pt x="2" y="11051"/>
                    <a:pt x="2" y="11094"/>
                  </a:cubicBezTo>
                  <a:cubicBezTo>
                    <a:pt x="-62" y="14119"/>
                    <a:pt x="1147" y="17031"/>
                    <a:pt x="3334" y="19123"/>
                  </a:cubicBezTo>
                  <a:cubicBezTo>
                    <a:pt x="5465" y="21252"/>
                    <a:pt x="8352" y="22448"/>
                    <a:pt x="11363" y="22455"/>
                  </a:cubicBezTo>
                  <a:cubicBezTo>
                    <a:pt x="14370" y="22475"/>
                    <a:pt x="17255" y="21272"/>
                    <a:pt x="19358" y="19123"/>
                  </a:cubicBezTo>
                  <a:cubicBezTo>
                    <a:pt x="21528" y="17048"/>
                    <a:pt x="22600" y="14076"/>
                    <a:pt x="22257" y="11094"/>
                  </a:cubicBezTo>
                  <a:cubicBezTo>
                    <a:pt x="22294" y="5004"/>
                    <a:pt x="17387" y="37"/>
                    <a:pt x="11297" y="0"/>
                  </a:cubicBezTo>
                  <a:cubicBezTo>
                    <a:pt x="11230" y="0"/>
                    <a:pt x="11163" y="0"/>
                    <a:pt x="11096" y="0"/>
                  </a:cubicBezTo>
                  <a:close/>
                </a:path>
              </a:pathLst>
            </a:custGeom>
            <a:grpFill/>
            <a:ln w="32742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87" name="Graphic 33">
            <a:extLst>
              <a:ext uri="{FF2B5EF4-FFF2-40B4-BE49-F238E27FC236}">
                <a16:creationId xmlns:a16="http://schemas.microsoft.com/office/drawing/2014/main" id="{683C68DD-BB7A-7D98-8593-3F5D8A811294}"/>
              </a:ext>
            </a:extLst>
          </p:cNvPr>
          <p:cNvGrpSpPr/>
          <p:nvPr/>
        </p:nvGrpSpPr>
        <p:grpSpPr>
          <a:xfrm>
            <a:off x="6549816" y="4444621"/>
            <a:ext cx="343909" cy="336573"/>
            <a:chOff x="8729747" y="5099802"/>
            <a:chExt cx="480133" cy="480133"/>
          </a:xfrm>
          <a:solidFill>
            <a:schemeClr val="bg1"/>
          </a:solidFill>
        </p:grpSpPr>
        <p:sp>
          <p:nvSpPr>
            <p:cNvPr id="388" name="Freeform 387">
              <a:extLst>
                <a:ext uri="{FF2B5EF4-FFF2-40B4-BE49-F238E27FC236}">
                  <a16:creationId xmlns:a16="http://schemas.microsoft.com/office/drawing/2014/main" id="{7336BDD8-1FA2-F834-7386-1A5BB0115ACF}"/>
                </a:ext>
              </a:extLst>
            </p:cNvPr>
            <p:cNvSpPr/>
            <p:nvPr/>
          </p:nvSpPr>
          <p:spPr>
            <a:xfrm>
              <a:off x="9007959" y="5286550"/>
              <a:ext cx="89487" cy="48756"/>
            </a:xfrm>
            <a:custGeom>
              <a:avLst/>
              <a:gdLst>
                <a:gd name="connsiteX0" fmla="*/ 865 w 89487"/>
                <a:gd name="connsiteY0" fmla="*/ 44315 h 48756"/>
                <a:gd name="connsiteX1" fmla="*/ 8127 w 89487"/>
                <a:gd name="connsiteY1" fmla="*/ 48757 h 48756"/>
                <a:gd name="connsiteX2" fmla="*/ 11788 w 89487"/>
                <a:gd name="connsiteY2" fmla="*/ 47886 h 48756"/>
                <a:gd name="connsiteX3" fmla="*/ 83808 w 89487"/>
                <a:gd name="connsiteY3" fmla="*/ 15897 h 48756"/>
                <a:gd name="connsiteX4" fmla="*/ 89104 w 89487"/>
                <a:gd name="connsiteY4" fmla="*/ 5680 h 48756"/>
                <a:gd name="connsiteX5" fmla="*/ 78887 w 89487"/>
                <a:gd name="connsiteY5" fmla="*/ 383 h 48756"/>
                <a:gd name="connsiteX6" fmla="*/ 4556 w 89487"/>
                <a:gd name="connsiteY6" fmla="*/ 33392 h 48756"/>
                <a:gd name="connsiteX7" fmla="*/ 820 w 89487"/>
                <a:gd name="connsiteY7" fmla="*/ 44224 h 48756"/>
                <a:gd name="connsiteX8" fmla="*/ 865 w 89487"/>
                <a:gd name="connsiteY8" fmla="*/ 44315 h 48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487" h="48756">
                  <a:moveTo>
                    <a:pt x="865" y="44315"/>
                  </a:moveTo>
                  <a:cubicBezTo>
                    <a:pt x="2256" y="47045"/>
                    <a:pt x="5063" y="48763"/>
                    <a:pt x="8127" y="48757"/>
                  </a:cubicBezTo>
                  <a:cubicBezTo>
                    <a:pt x="9399" y="48761"/>
                    <a:pt x="10654" y="48463"/>
                    <a:pt x="11788" y="47886"/>
                  </a:cubicBezTo>
                  <a:cubicBezTo>
                    <a:pt x="35171" y="35872"/>
                    <a:pt x="59216" y="25192"/>
                    <a:pt x="83808" y="15897"/>
                  </a:cubicBezTo>
                  <a:cubicBezTo>
                    <a:pt x="88093" y="14538"/>
                    <a:pt x="90464" y="9964"/>
                    <a:pt x="89104" y="5680"/>
                  </a:cubicBezTo>
                  <a:cubicBezTo>
                    <a:pt x="87745" y="1395"/>
                    <a:pt x="83172" y="-976"/>
                    <a:pt x="78887" y="383"/>
                  </a:cubicBezTo>
                  <a:cubicBezTo>
                    <a:pt x="53488" y="9930"/>
                    <a:pt x="28671" y="20952"/>
                    <a:pt x="4556" y="33392"/>
                  </a:cubicBezTo>
                  <a:cubicBezTo>
                    <a:pt x="533" y="35352"/>
                    <a:pt x="-1140" y="40201"/>
                    <a:pt x="820" y="44224"/>
                  </a:cubicBezTo>
                  <a:cubicBezTo>
                    <a:pt x="835" y="44255"/>
                    <a:pt x="850" y="44285"/>
                    <a:pt x="865" y="44315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89" name="Freeform 388">
              <a:extLst>
                <a:ext uri="{FF2B5EF4-FFF2-40B4-BE49-F238E27FC236}">
                  <a16:creationId xmlns:a16="http://schemas.microsoft.com/office/drawing/2014/main" id="{5D2A553F-93FD-930E-3D42-1BDAE25DD9A4}"/>
                </a:ext>
              </a:extLst>
            </p:cNvPr>
            <p:cNvSpPr/>
            <p:nvPr/>
          </p:nvSpPr>
          <p:spPr>
            <a:xfrm>
              <a:off x="9008115" y="5188962"/>
              <a:ext cx="89738" cy="48877"/>
            </a:xfrm>
            <a:custGeom>
              <a:avLst/>
              <a:gdLst>
                <a:gd name="connsiteX0" fmla="*/ 8031 w 89738"/>
                <a:gd name="connsiteY0" fmla="*/ 48878 h 48877"/>
                <a:gd name="connsiteX1" fmla="*/ 11692 w 89738"/>
                <a:gd name="connsiteY1" fmla="*/ 47978 h 48877"/>
                <a:gd name="connsiteX2" fmla="*/ 83712 w 89738"/>
                <a:gd name="connsiteY2" fmla="*/ 15989 h 48877"/>
                <a:gd name="connsiteX3" fmla="*/ 89459 w 89738"/>
                <a:gd name="connsiteY3" fmla="*/ 6027 h 48877"/>
                <a:gd name="connsiteX4" fmla="*/ 79499 w 89738"/>
                <a:gd name="connsiteY4" fmla="*/ 280 h 48877"/>
                <a:gd name="connsiteX5" fmla="*/ 78791 w 89738"/>
                <a:gd name="connsiteY5" fmla="*/ 505 h 48877"/>
                <a:gd name="connsiteX6" fmla="*/ 4460 w 89738"/>
                <a:gd name="connsiteY6" fmla="*/ 33514 h 48877"/>
                <a:gd name="connsiteX7" fmla="*/ 868 w 89738"/>
                <a:gd name="connsiteY7" fmla="*/ 44394 h 48877"/>
                <a:gd name="connsiteX8" fmla="*/ 889 w 89738"/>
                <a:gd name="connsiteY8" fmla="*/ 44437 h 48877"/>
                <a:gd name="connsiteX9" fmla="*/ 8031 w 89738"/>
                <a:gd name="connsiteY9" fmla="*/ 48878 h 48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738" h="48877">
                  <a:moveTo>
                    <a:pt x="8031" y="48878"/>
                  </a:moveTo>
                  <a:cubicBezTo>
                    <a:pt x="9306" y="48872"/>
                    <a:pt x="10560" y="48564"/>
                    <a:pt x="11692" y="47978"/>
                  </a:cubicBezTo>
                  <a:cubicBezTo>
                    <a:pt x="35075" y="35964"/>
                    <a:pt x="59120" y="25283"/>
                    <a:pt x="83712" y="15989"/>
                  </a:cubicBezTo>
                  <a:cubicBezTo>
                    <a:pt x="88051" y="14825"/>
                    <a:pt x="90623" y="10365"/>
                    <a:pt x="89459" y="6027"/>
                  </a:cubicBezTo>
                  <a:cubicBezTo>
                    <a:pt x="88297" y="1689"/>
                    <a:pt x="83835" y="-884"/>
                    <a:pt x="79499" y="280"/>
                  </a:cubicBezTo>
                  <a:cubicBezTo>
                    <a:pt x="79259" y="344"/>
                    <a:pt x="79022" y="419"/>
                    <a:pt x="78791" y="505"/>
                  </a:cubicBezTo>
                  <a:cubicBezTo>
                    <a:pt x="53386" y="10038"/>
                    <a:pt x="28566" y="21061"/>
                    <a:pt x="4460" y="33514"/>
                  </a:cubicBezTo>
                  <a:cubicBezTo>
                    <a:pt x="463" y="35526"/>
                    <a:pt x="-1145" y="40398"/>
                    <a:pt x="868" y="44394"/>
                  </a:cubicBezTo>
                  <a:cubicBezTo>
                    <a:pt x="875" y="44408"/>
                    <a:pt x="882" y="44423"/>
                    <a:pt x="889" y="44437"/>
                  </a:cubicBezTo>
                  <a:cubicBezTo>
                    <a:pt x="2270" y="47119"/>
                    <a:pt x="5014" y="48826"/>
                    <a:pt x="8031" y="48878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90" name="Freeform 389">
              <a:extLst>
                <a:ext uri="{FF2B5EF4-FFF2-40B4-BE49-F238E27FC236}">
                  <a16:creationId xmlns:a16="http://schemas.microsoft.com/office/drawing/2014/main" id="{C2692103-7ED4-322A-3D1F-C75477C07699}"/>
                </a:ext>
              </a:extLst>
            </p:cNvPr>
            <p:cNvSpPr/>
            <p:nvPr/>
          </p:nvSpPr>
          <p:spPr>
            <a:xfrm>
              <a:off x="8731382" y="5099801"/>
              <a:ext cx="487860" cy="487455"/>
            </a:xfrm>
            <a:custGeom>
              <a:avLst/>
              <a:gdLst>
                <a:gd name="connsiteX0" fmla="*/ 479728 w 487860"/>
                <a:gd name="connsiteY0" fmla="*/ 121864 h 487455"/>
                <a:gd name="connsiteX1" fmla="*/ 471596 w 487860"/>
                <a:gd name="connsiteY1" fmla="*/ 129997 h 487455"/>
                <a:gd name="connsiteX2" fmla="*/ 471596 w 487860"/>
                <a:gd name="connsiteY2" fmla="*/ 446824 h 487455"/>
                <a:gd name="connsiteX3" fmla="*/ 447229 w 487860"/>
                <a:gd name="connsiteY3" fmla="*/ 471191 h 487455"/>
                <a:gd name="connsiteX4" fmla="*/ 252175 w 487860"/>
                <a:gd name="connsiteY4" fmla="*/ 471191 h 487455"/>
                <a:gd name="connsiteX5" fmla="*/ 252175 w 487860"/>
                <a:gd name="connsiteY5" fmla="*/ 452526 h 487455"/>
                <a:gd name="connsiteX6" fmla="*/ 325275 w 487860"/>
                <a:gd name="connsiteY6" fmla="*/ 438722 h 487455"/>
                <a:gd name="connsiteX7" fmla="*/ 444588 w 487860"/>
                <a:gd name="connsiteY7" fmla="*/ 454536 h 487455"/>
                <a:gd name="connsiteX8" fmla="*/ 454848 w 487860"/>
                <a:gd name="connsiteY8" fmla="*/ 449438 h 487455"/>
                <a:gd name="connsiteX9" fmla="*/ 455271 w 487860"/>
                <a:gd name="connsiteY9" fmla="*/ 446824 h 487455"/>
                <a:gd name="connsiteX10" fmla="*/ 455271 w 487860"/>
                <a:gd name="connsiteY10" fmla="*/ 89365 h 487455"/>
                <a:gd name="connsiteX11" fmla="*/ 448909 w 487860"/>
                <a:gd name="connsiteY11" fmla="*/ 81443 h 487455"/>
                <a:gd name="connsiteX12" fmla="*/ 431655 w 487860"/>
                <a:gd name="connsiteY12" fmla="*/ 78022 h 487455"/>
                <a:gd name="connsiteX13" fmla="*/ 422172 w 487860"/>
                <a:gd name="connsiteY13" fmla="*/ 84504 h 487455"/>
                <a:gd name="connsiteX14" fmla="*/ 428654 w 487860"/>
                <a:gd name="connsiteY14" fmla="*/ 93987 h 487455"/>
                <a:gd name="connsiteX15" fmla="*/ 438947 w 487860"/>
                <a:gd name="connsiteY15" fmla="*/ 95967 h 487455"/>
                <a:gd name="connsiteX16" fmla="*/ 438947 w 487860"/>
                <a:gd name="connsiteY16" fmla="*/ 436021 h 487455"/>
                <a:gd name="connsiteX17" fmla="*/ 325215 w 487860"/>
                <a:gd name="connsiteY17" fmla="*/ 422458 h 487455"/>
                <a:gd name="connsiteX18" fmla="*/ 244193 w 487860"/>
                <a:gd name="connsiteY18" fmla="*/ 438032 h 487455"/>
                <a:gd name="connsiteX19" fmla="*/ 170762 w 487860"/>
                <a:gd name="connsiteY19" fmla="*/ 422458 h 487455"/>
                <a:gd name="connsiteX20" fmla="*/ 48899 w 487860"/>
                <a:gd name="connsiteY20" fmla="*/ 436381 h 487455"/>
                <a:gd name="connsiteX21" fmla="*/ 48899 w 487860"/>
                <a:gd name="connsiteY21" fmla="*/ 95667 h 487455"/>
                <a:gd name="connsiteX22" fmla="*/ 170762 w 487860"/>
                <a:gd name="connsiteY22" fmla="*/ 81233 h 487455"/>
                <a:gd name="connsiteX23" fmla="*/ 235760 w 487860"/>
                <a:gd name="connsiteY23" fmla="*/ 94647 h 487455"/>
                <a:gd name="connsiteX24" fmla="*/ 235760 w 487860"/>
                <a:gd name="connsiteY24" fmla="*/ 414325 h 487455"/>
                <a:gd name="connsiteX25" fmla="*/ 239871 w 487860"/>
                <a:gd name="connsiteY25" fmla="*/ 421407 h 487455"/>
                <a:gd name="connsiteX26" fmla="*/ 248064 w 487860"/>
                <a:gd name="connsiteY26" fmla="*/ 421407 h 487455"/>
                <a:gd name="connsiteX27" fmla="*/ 400806 w 487860"/>
                <a:gd name="connsiteY27" fmla="*/ 349057 h 487455"/>
                <a:gd name="connsiteX28" fmla="*/ 406358 w 487860"/>
                <a:gd name="connsiteY28" fmla="*/ 341345 h 487455"/>
                <a:gd name="connsiteX29" fmla="*/ 406358 w 487860"/>
                <a:gd name="connsiteY29" fmla="*/ 8133 h 487455"/>
                <a:gd name="connsiteX30" fmla="*/ 402877 w 487860"/>
                <a:gd name="connsiteY30" fmla="*/ 1441 h 487455"/>
                <a:gd name="connsiteX31" fmla="*/ 395375 w 487860"/>
                <a:gd name="connsiteY31" fmla="*/ 511 h 487455"/>
                <a:gd name="connsiteX32" fmla="*/ 263968 w 487860"/>
                <a:gd name="connsiteY32" fmla="*/ 66229 h 487455"/>
                <a:gd name="connsiteX33" fmla="*/ 260835 w 487860"/>
                <a:gd name="connsiteY33" fmla="*/ 77295 h 487455"/>
                <a:gd name="connsiteX34" fmla="*/ 271901 w 487860"/>
                <a:gd name="connsiteY34" fmla="*/ 80428 h 487455"/>
                <a:gd name="connsiteX35" fmla="*/ 272581 w 487860"/>
                <a:gd name="connsiteY35" fmla="*/ 80003 h 487455"/>
                <a:gd name="connsiteX36" fmla="*/ 390123 w 487860"/>
                <a:gd name="connsiteY36" fmla="*/ 19986 h 487455"/>
                <a:gd name="connsiteX37" fmla="*/ 390123 w 487860"/>
                <a:gd name="connsiteY37" fmla="*/ 335373 h 487455"/>
                <a:gd name="connsiteX38" fmla="*/ 252085 w 487860"/>
                <a:gd name="connsiteY38" fmla="*/ 400191 h 487455"/>
                <a:gd name="connsiteX39" fmla="*/ 252085 w 487860"/>
                <a:gd name="connsiteY39" fmla="*/ 89365 h 487455"/>
                <a:gd name="connsiteX40" fmla="*/ 247584 w 487860"/>
                <a:gd name="connsiteY40" fmla="*/ 82103 h 487455"/>
                <a:gd name="connsiteX41" fmla="*/ 170822 w 487860"/>
                <a:gd name="connsiteY41" fmla="*/ 64999 h 487455"/>
                <a:gd name="connsiteX42" fmla="*/ 38606 w 487860"/>
                <a:gd name="connsiteY42" fmla="*/ 81563 h 487455"/>
                <a:gd name="connsiteX43" fmla="*/ 32604 w 487860"/>
                <a:gd name="connsiteY43" fmla="*/ 89365 h 487455"/>
                <a:gd name="connsiteX44" fmla="*/ 32604 w 487860"/>
                <a:gd name="connsiteY44" fmla="*/ 446824 h 487455"/>
                <a:gd name="connsiteX45" fmla="*/ 40797 w 487860"/>
                <a:gd name="connsiteY45" fmla="*/ 454957 h 487455"/>
                <a:gd name="connsiteX46" fmla="*/ 42957 w 487860"/>
                <a:gd name="connsiteY46" fmla="*/ 454657 h 487455"/>
                <a:gd name="connsiteX47" fmla="*/ 170702 w 487860"/>
                <a:gd name="connsiteY47" fmla="*/ 438722 h 487455"/>
                <a:gd name="connsiteX48" fmla="*/ 235700 w 487860"/>
                <a:gd name="connsiteY48" fmla="*/ 452106 h 487455"/>
                <a:gd name="connsiteX49" fmla="*/ 235700 w 487860"/>
                <a:gd name="connsiteY49" fmla="*/ 471131 h 487455"/>
                <a:gd name="connsiteX50" fmla="*/ 40646 w 487860"/>
                <a:gd name="connsiteY50" fmla="*/ 471131 h 487455"/>
                <a:gd name="connsiteX51" fmla="*/ 16250 w 487860"/>
                <a:gd name="connsiteY51" fmla="*/ 446734 h 487455"/>
                <a:gd name="connsiteX52" fmla="*/ 16250 w 487860"/>
                <a:gd name="connsiteY52" fmla="*/ 129997 h 487455"/>
                <a:gd name="connsiteX53" fmla="*/ 8626 w 487860"/>
                <a:gd name="connsiteY53" fmla="*/ 121386 h 487455"/>
                <a:gd name="connsiteX54" fmla="*/ 15 w 487860"/>
                <a:gd name="connsiteY54" fmla="*/ 129009 h 487455"/>
                <a:gd name="connsiteX55" fmla="*/ 15 w 487860"/>
                <a:gd name="connsiteY55" fmla="*/ 129997 h 487455"/>
                <a:gd name="connsiteX56" fmla="*/ 15 w 487860"/>
                <a:gd name="connsiteY56" fmla="*/ 446824 h 487455"/>
                <a:gd name="connsiteX57" fmla="*/ 40646 w 487860"/>
                <a:gd name="connsiteY57" fmla="*/ 487456 h 487455"/>
                <a:gd name="connsiteX58" fmla="*/ 447229 w 487860"/>
                <a:gd name="connsiteY58" fmla="*/ 487456 h 487455"/>
                <a:gd name="connsiteX59" fmla="*/ 487860 w 487860"/>
                <a:gd name="connsiteY59" fmla="*/ 446824 h 487455"/>
                <a:gd name="connsiteX60" fmla="*/ 487860 w 487860"/>
                <a:gd name="connsiteY60" fmla="*/ 129997 h 487455"/>
                <a:gd name="connsiteX61" fmla="*/ 479728 w 487860"/>
                <a:gd name="connsiteY61" fmla="*/ 121864 h 48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487860" h="487455">
                  <a:moveTo>
                    <a:pt x="479728" y="121864"/>
                  </a:moveTo>
                  <a:cubicBezTo>
                    <a:pt x="475236" y="121864"/>
                    <a:pt x="471596" y="125505"/>
                    <a:pt x="471596" y="129997"/>
                  </a:cubicBezTo>
                  <a:lnTo>
                    <a:pt x="471596" y="446824"/>
                  </a:lnTo>
                  <a:cubicBezTo>
                    <a:pt x="471578" y="460274"/>
                    <a:pt x="460679" y="471173"/>
                    <a:pt x="447229" y="471191"/>
                  </a:cubicBezTo>
                  <a:lnTo>
                    <a:pt x="252175" y="471191"/>
                  </a:lnTo>
                  <a:lnTo>
                    <a:pt x="252175" y="452526"/>
                  </a:lnTo>
                  <a:cubicBezTo>
                    <a:pt x="275669" y="444127"/>
                    <a:pt x="300335" y="439469"/>
                    <a:pt x="325275" y="438722"/>
                  </a:cubicBezTo>
                  <a:cubicBezTo>
                    <a:pt x="365600" y="438239"/>
                    <a:pt x="405781" y="443565"/>
                    <a:pt x="444588" y="454536"/>
                  </a:cubicBezTo>
                  <a:cubicBezTo>
                    <a:pt x="448828" y="455962"/>
                    <a:pt x="453423" y="453678"/>
                    <a:pt x="454848" y="449438"/>
                  </a:cubicBezTo>
                  <a:cubicBezTo>
                    <a:pt x="455133" y="448595"/>
                    <a:pt x="455274" y="447713"/>
                    <a:pt x="455271" y="446824"/>
                  </a:cubicBezTo>
                  <a:lnTo>
                    <a:pt x="455271" y="89365"/>
                  </a:lnTo>
                  <a:cubicBezTo>
                    <a:pt x="455274" y="85558"/>
                    <a:pt x="452627" y="82261"/>
                    <a:pt x="448909" y="81443"/>
                  </a:cubicBezTo>
                  <a:cubicBezTo>
                    <a:pt x="448909" y="81443"/>
                    <a:pt x="442548" y="80033"/>
                    <a:pt x="431655" y="78022"/>
                  </a:cubicBezTo>
                  <a:cubicBezTo>
                    <a:pt x="427246" y="77194"/>
                    <a:pt x="423000" y="80095"/>
                    <a:pt x="422172" y="84504"/>
                  </a:cubicBezTo>
                  <a:cubicBezTo>
                    <a:pt x="421344" y="88912"/>
                    <a:pt x="424246" y="93158"/>
                    <a:pt x="428654" y="93987"/>
                  </a:cubicBezTo>
                  <a:lnTo>
                    <a:pt x="438947" y="95967"/>
                  </a:lnTo>
                  <a:lnTo>
                    <a:pt x="438947" y="436021"/>
                  </a:lnTo>
                  <a:cubicBezTo>
                    <a:pt x="401748" y="426779"/>
                    <a:pt x="363542" y="422224"/>
                    <a:pt x="325215" y="422458"/>
                  </a:cubicBezTo>
                  <a:cubicBezTo>
                    <a:pt x="297543" y="423229"/>
                    <a:pt x="270179" y="428489"/>
                    <a:pt x="244193" y="438032"/>
                  </a:cubicBezTo>
                  <a:cubicBezTo>
                    <a:pt x="220995" y="428009"/>
                    <a:pt x="196031" y="422716"/>
                    <a:pt x="170762" y="422458"/>
                  </a:cubicBezTo>
                  <a:cubicBezTo>
                    <a:pt x="129748" y="422521"/>
                    <a:pt x="88870" y="427193"/>
                    <a:pt x="48899" y="436381"/>
                  </a:cubicBezTo>
                  <a:lnTo>
                    <a:pt x="48899" y="95667"/>
                  </a:lnTo>
                  <a:cubicBezTo>
                    <a:pt x="88831" y="86193"/>
                    <a:pt x="129722" y="81350"/>
                    <a:pt x="170762" y="81233"/>
                  </a:cubicBezTo>
                  <a:cubicBezTo>
                    <a:pt x="193083" y="81541"/>
                    <a:pt x="215141" y="86093"/>
                    <a:pt x="235760" y="94647"/>
                  </a:cubicBezTo>
                  <a:lnTo>
                    <a:pt x="235760" y="414325"/>
                  </a:lnTo>
                  <a:cubicBezTo>
                    <a:pt x="235762" y="417251"/>
                    <a:pt x="237330" y="419955"/>
                    <a:pt x="239871" y="421407"/>
                  </a:cubicBezTo>
                  <a:cubicBezTo>
                    <a:pt x="242401" y="422890"/>
                    <a:pt x="245534" y="422890"/>
                    <a:pt x="248064" y="421407"/>
                  </a:cubicBezTo>
                  <a:cubicBezTo>
                    <a:pt x="296675" y="392701"/>
                    <a:pt x="347799" y="368485"/>
                    <a:pt x="400806" y="349057"/>
                  </a:cubicBezTo>
                  <a:cubicBezTo>
                    <a:pt x="404122" y="347947"/>
                    <a:pt x="406358" y="344841"/>
                    <a:pt x="406358" y="341345"/>
                  </a:cubicBezTo>
                  <a:lnTo>
                    <a:pt x="406358" y="8133"/>
                  </a:lnTo>
                  <a:cubicBezTo>
                    <a:pt x="406364" y="5466"/>
                    <a:pt x="405064" y="2966"/>
                    <a:pt x="402877" y="1441"/>
                  </a:cubicBezTo>
                  <a:cubicBezTo>
                    <a:pt x="400674" y="-68"/>
                    <a:pt x="397877" y="-415"/>
                    <a:pt x="395375" y="511"/>
                  </a:cubicBezTo>
                  <a:cubicBezTo>
                    <a:pt x="349792" y="18659"/>
                    <a:pt x="305833" y="40644"/>
                    <a:pt x="263968" y="66229"/>
                  </a:cubicBezTo>
                  <a:cubicBezTo>
                    <a:pt x="260047" y="68420"/>
                    <a:pt x="258644" y="73374"/>
                    <a:pt x="260835" y="77295"/>
                  </a:cubicBezTo>
                  <a:cubicBezTo>
                    <a:pt x="263025" y="81216"/>
                    <a:pt x="267980" y="82618"/>
                    <a:pt x="271901" y="80428"/>
                  </a:cubicBezTo>
                  <a:cubicBezTo>
                    <a:pt x="272134" y="80297"/>
                    <a:pt x="272361" y="80155"/>
                    <a:pt x="272581" y="80003"/>
                  </a:cubicBezTo>
                  <a:cubicBezTo>
                    <a:pt x="310184" y="57045"/>
                    <a:pt x="349477" y="36982"/>
                    <a:pt x="390123" y="19986"/>
                  </a:cubicBezTo>
                  <a:lnTo>
                    <a:pt x="390123" y="335373"/>
                  </a:lnTo>
                  <a:cubicBezTo>
                    <a:pt x="342377" y="353078"/>
                    <a:pt x="296202" y="374759"/>
                    <a:pt x="252085" y="400191"/>
                  </a:cubicBezTo>
                  <a:lnTo>
                    <a:pt x="252085" y="89365"/>
                  </a:lnTo>
                  <a:cubicBezTo>
                    <a:pt x="252079" y="86288"/>
                    <a:pt x="250337" y="83477"/>
                    <a:pt x="247584" y="82103"/>
                  </a:cubicBezTo>
                  <a:cubicBezTo>
                    <a:pt x="223487" y="71059"/>
                    <a:pt x="197329" y="65230"/>
                    <a:pt x="170822" y="64999"/>
                  </a:cubicBezTo>
                  <a:cubicBezTo>
                    <a:pt x="126227" y="64902"/>
                    <a:pt x="81799" y="70468"/>
                    <a:pt x="38606" y="81563"/>
                  </a:cubicBezTo>
                  <a:cubicBezTo>
                    <a:pt x="35073" y="82511"/>
                    <a:pt x="32615" y="85708"/>
                    <a:pt x="32604" y="89365"/>
                  </a:cubicBezTo>
                  <a:lnTo>
                    <a:pt x="32604" y="446824"/>
                  </a:lnTo>
                  <a:cubicBezTo>
                    <a:pt x="32621" y="451332"/>
                    <a:pt x="36289" y="454972"/>
                    <a:pt x="40797" y="454957"/>
                  </a:cubicBezTo>
                  <a:cubicBezTo>
                    <a:pt x="41527" y="454954"/>
                    <a:pt x="42254" y="454852"/>
                    <a:pt x="42957" y="454657"/>
                  </a:cubicBezTo>
                  <a:cubicBezTo>
                    <a:pt x="84714" y="444076"/>
                    <a:pt x="127625" y="438722"/>
                    <a:pt x="170702" y="438722"/>
                  </a:cubicBezTo>
                  <a:cubicBezTo>
                    <a:pt x="193021" y="439019"/>
                    <a:pt x="215079" y="443562"/>
                    <a:pt x="235700" y="452106"/>
                  </a:cubicBezTo>
                  <a:lnTo>
                    <a:pt x="235700" y="471131"/>
                  </a:lnTo>
                  <a:lnTo>
                    <a:pt x="40646" y="471131"/>
                  </a:lnTo>
                  <a:cubicBezTo>
                    <a:pt x="27179" y="471113"/>
                    <a:pt x="16266" y="460202"/>
                    <a:pt x="16250" y="446734"/>
                  </a:cubicBezTo>
                  <a:lnTo>
                    <a:pt x="16250" y="129997"/>
                  </a:lnTo>
                  <a:cubicBezTo>
                    <a:pt x="16522" y="125514"/>
                    <a:pt x="13109" y="121658"/>
                    <a:pt x="8626" y="121386"/>
                  </a:cubicBezTo>
                  <a:cubicBezTo>
                    <a:pt x="4143" y="121113"/>
                    <a:pt x="288" y="124526"/>
                    <a:pt x="15" y="129009"/>
                  </a:cubicBezTo>
                  <a:cubicBezTo>
                    <a:pt x="-5" y="129338"/>
                    <a:pt x="-5" y="129668"/>
                    <a:pt x="15" y="129997"/>
                  </a:cubicBezTo>
                  <a:lnTo>
                    <a:pt x="15" y="446824"/>
                  </a:lnTo>
                  <a:cubicBezTo>
                    <a:pt x="32" y="469259"/>
                    <a:pt x="18213" y="487438"/>
                    <a:pt x="40646" y="487456"/>
                  </a:cubicBezTo>
                  <a:lnTo>
                    <a:pt x="447229" y="487456"/>
                  </a:lnTo>
                  <a:cubicBezTo>
                    <a:pt x="469663" y="487438"/>
                    <a:pt x="487842" y="469259"/>
                    <a:pt x="487860" y="446824"/>
                  </a:cubicBezTo>
                  <a:lnTo>
                    <a:pt x="487860" y="129997"/>
                  </a:lnTo>
                  <a:cubicBezTo>
                    <a:pt x="487860" y="125505"/>
                    <a:pt x="484220" y="121864"/>
                    <a:pt x="479728" y="121864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91" name="Freeform 390">
              <a:extLst>
                <a:ext uri="{FF2B5EF4-FFF2-40B4-BE49-F238E27FC236}">
                  <a16:creationId xmlns:a16="http://schemas.microsoft.com/office/drawing/2014/main" id="{1833B218-44C8-E1E9-B76B-2C4AF39BC226}"/>
                </a:ext>
              </a:extLst>
            </p:cNvPr>
            <p:cNvSpPr/>
            <p:nvPr/>
          </p:nvSpPr>
          <p:spPr>
            <a:xfrm>
              <a:off x="9007959" y="5237907"/>
              <a:ext cx="89487" cy="48756"/>
            </a:xfrm>
            <a:custGeom>
              <a:avLst/>
              <a:gdLst>
                <a:gd name="connsiteX0" fmla="*/ 865 w 89487"/>
                <a:gd name="connsiteY0" fmla="*/ 44315 h 48756"/>
                <a:gd name="connsiteX1" fmla="*/ 8127 w 89487"/>
                <a:gd name="connsiteY1" fmla="*/ 48757 h 48756"/>
                <a:gd name="connsiteX2" fmla="*/ 11788 w 89487"/>
                <a:gd name="connsiteY2" fmla="*/ 47856 h 48756"/>
                <a:gd name="connsiteX3" fmla="*/ 83808 w 89487"/>
                <a:gd name="connsiteY3" fmla="*/ 15897 h 48756"/>
                <a:gd name="connsiteX4" fmla="*/ 89104 w 89487"/>
                <a:gd name="connsiteY4" fmla="*/ 5680 h 48756"/>
                <a:gd name="connsiteX5" fmla="*/ 78887 w 89487"/>
                <a:gd name="connsiteY5" fmla="*/ 383 h 48756"/>
                <a:gd name="connsiteX6" fmla="*/ 4556 w 89487"/>
                <a:gd name="connsiteY6" fmla="*/ 33392 h 48756"/>
                <a:gd name="connsiteX7" fmla="*/ 820 w 89487"/>
                <a:gd name="connsiteY7" fmla="*/ 44224 h 48756"/>
                <a:gd name="connsiteX8" fmla="*/ 865 w 89487"/>
                <a:gd name="connsiteY8" fmla="*/ 44315 h 48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487" h="48756">
                  <a:moveTo>
                    <a:pt x="865" y="44315"/>
                  </a:moveTo>
                  <a:cubicBezTo>
                    <a:pt x="2256" y="47045"/>
                    <a:pt x="5063" y="48763"/>
                    <a:pt x="8127" y="48757"/>
                  </a:cubicBezTo>
                  <a:cubicBezTo>
                    <a:pt x="9401" y="48751"/>
                    <a:pt x="10656" y="48442"/>
                    <a:pt x="11788" y="47856"/>
                  </a:cubicBezTo>
                  <a:cubicBezTo>
                    <a:pt x="35174" y="35856"/>
                    <a:pt x="59219" y="25186"/>
                    <a:pt x="83808" y="15897"/>
                  </a:cubicBezTo>
                  <a:cubicBezTo>
                    <a:pt x="88093" y="14538"/>
                    <a:pt x="90464" y="9964"/>
                    <a:pt x="89104" y="5680"/>
                  </a:cubicBezTo>
                  <a:cubicBezTo>
                    <a:pt x="87745" y="1395"/>
                    <a:pt x="83172" y="-976"/>
                    <a:pt x="78887" y="383"/>
                  </a:cubicBezTo>
                  <a:cubicBezTo>
                    <a:pt x="53488" y="9930"/>
                    <a:pt x="28671" y="20952"/>
                    <a:pt x="4556" y="33392"/>
                  </a:cubicBezTo>
                  <a:cubicBezTo>
                    <a:pt x="533" y="35352"/>
                    <a:pt x="-1140" y="40201"/>
                    <a:pt x="820" y="44224"/>
                  </a:cubicBezTo>
                  <a:cubicBezTo>
                    <a:pt x="835" y="44255"/>
                    <a:pt x="850" y="44285"/>
                    <a:pt x="865" y="44315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92" name="Freeform 391">
              <a:extLst>
                <a:ext uri="{FF2B5EF4-FFF2-40B4-BE49-F238E27FC236}">
                  <a16:creationId xmlns:a16="http://schemas.microsoft.com/office/drawing/2014/main" id="{80BA3254-F3BC-D4F8-4E2D-E8F5EB125EE4}"/>
                </a:ext>
              </a:extLst>
            </p:cNvPr>
            <p:cNvSpPr/>
            <p:nvPr/>
          </p:nvSpPr>
          <p:spPr>
            <a:xfrm>
              <a:off x="9007959" y="5335508"/>
              <a:ext cx="89128" cy="48652"/>
            </a:xfrm>
            <a:custGeom>
              <a:avLst/>
              <a:gdLst>
                <a:gd name="connsiteX0" fmla="*/ 865 w 89128"/>
                <a:gd name="connsiteY0" fmla="*/ 44211 h 48652"/>
                <a:gd name="connsiteX1" fmla="*/ 8127 w 89128"/>
                <a:gd name="connsiteY1" fmla="*/ 48653 h 48652"/>
                <a:gd name="connsiteX2" fmla="*/ 11788 w 89128"/>
                <a:gd name="connsiteY2" fmla="*/ 47752 h 48652"/>
                <a:gd name="connsiteX3" fmla="*/ 83808 w 89128"/>
                <a:gd name="connsiteY3" fmla="*/ 15763 h 48652"/>
                <a:gd name="connsiteX4" fmla="*/ 88624 w 89128"/>
                <a:gd name="connsiteY4" fmla="*/ 5319 h 48652"/>
                <a:gd name="connsiteX5" fmla="*/ 78887 w 89128"/>
                <a:gd name="connsiteY5" fmla="*/ 279 h 48652"/>
                <a:gd name="connsiteX6" fmla="*/ 4556 w 89128"/>
                <a:gd name="connsiteY6" fmla="*/ 33288 h 48652"/>
                <a:gd name="connsiteX7" fmla="*/ 820 w 89128"/>
                <a:gd name="connsiteY7" fmla="*/ 44120 h 48652"/>
                <a:gd name="connsiteX8" fmla="*/ 865 w 89128"/>
                <a:gd name="connsiteY8" fmla="*/ 44211 h 48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128" h="48652">
                  <a:moveTo>
                    <a:pt x="865" y="44211"/>
                  </a:moveTo>
                  <a:cubicBezTo>
                    <a:pt x="2256" y="46942"/>
                    <a:pt x="5063" y="48659"/>
                    <a:pt x="8127" y="48653"/>
                  </a:cubicBezTo>
                  <a:cubicBezTo>
                    <a:pt x="9401" y="48647"/>
                    <a:pt x="10656" y="48338"/>
                    <a:pt x="11788" y="47752"/>
                  </a:cubicBezTo>
                  <a:cubicBezTo>
                    <a:pt x="35177" y="35751"/>
                    <a:pt x="59222" y="25071"/>
                    <a:pt x="83808" y="15763"/>
                  </a:cubicBezTo>
                  <a:cubicBezTo>
                    <a:pt x="88021" y="14209"/>
                    <a:pt x="90179" y="9533"/>
                    <a:pt x="88624" y="5319"/>
                  </a:cubicBezTo>
                  <a:cubicBezTo>
                    <a:pt x="87169" y="1375"/>
                    <a:pt x="82947" y="-810"/>
                    <a:pt x="78887" y="279"/>
                  </a:cubicBezTo>
                  <a:cubicBezTo>
                    <a:pt x="53488" y="9826"/>
                    <a:pt x="28671" y="20848"/>
                    <a:pt x="4556" y="33288"/>
                  </a:cubicBezTo>
                  <a:cubicBezTo>
                    <a:pt x="533" y="35248"/>
                    <a:pt x="-1140" y="40098"/>
                    <a:pt x="820" y="44120"/>
                  </a:cubicBezTo>
                  <a:cubicBezTo>
                    <a:pt x="835" y="44151"/>
                    <a:pt x="850" y="44181"/>
                    <a:pt x="865" y="44211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93" name="Freeform 392">
              <a:extLst>
                <a:ext uri="{FF2B5EF4-FFF2-40B4-BE49-F238E27FC236}">
                  <a16:creationId xmlns:a16="http://schemas.microsoft.com/office/drawing/2014/main" id="{7EDD2941-BDBC-4FC4-FC57-816102309D03}"/>
                </a:ext>
              </a:extLst>
            </p:cNvPr>
            <p:cNvSpPr/>
            <p:nvPr/>
          </p:nvSpPr>
          <p:spPr>
            <a:xfrm>
              <a:off x="8812899" y="5246453"/>
              <a:ext cx="121440" cy="23947"/>
            </a:xfrm>
            <a:custGeom>
              <a:avLst/>
              <a:gdLst>
                <a:gd name="connsiteX0" fmla="*/ 115712 w 121440"/>
                <a:gd name="connsiteY0" fmla="*/ 4110 h 23947"/>
                <a:gd name="connsiteX1" fmla="*/ 6152 w 121440"/>
                <a:gd name="connsiteY1" fmla="*/ 7981 h 23947"/>
                <a:gd name="connsiteX2" fmla="*/ 241 w 121440"/>
                <a:gd name="connsiteY2" fmla="*/ 17797 h 23947"/>
                <a:gd name="connsiteX3" fmla="*/ 8253 w 121440"/>
                <a:gd name="connsiteY3" fmla="*/ 23946 h 23947"/>
                <a:gd name="connsiteX4" fmla="*/ 10353 w 121440"/>
                <a:gd name="connsiteY4" fmla="*/ 23676 h 23947"/>
                <a:gd name="connsiteX5" fmla="*/ 111901 w 121440"/>
                <a:gd name="connsiteY5" fmla="*/ 19925 h 23947"/>
                <a:gd name="connsiteX6" fmla="*/ 121317 w 121440"/>
                <a:gd name="connsiteY6" fmla="*/ 13320 h 23947"/>
                <a:gd name="connsiteX7" fmla="*/ 115592 w 121440"/>
                <a:gd name="connsiteY7" fmla="*/ 4110 h 23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440" h="23947">
                  <a:moveTo>
                    <a:pt x="115712" y="4110"/>
                  </a:moveTo>
                  <a:cubicBezTo>
                    <a:pt x="79337" y="-2461"/>
                    <a:pt x="41973" y="-1141"/>
                    <a:pt x="6152" y="7981"/>
                  </a:cubicBezTo>
                  <a:cubicBezTo>
                    <a:pt x="1809" y="9059"/>
                    <a:pt x="-838" y="13454"/>
                    <a:pt x="241" y="17797"/>
                  </a:cubicBezTo>
                  <a:cubicBezTo>
                    <a:pt x="1151" y="21464"/>
                    <a:pt x="4475" y="24015"/>
                    <a:pt x="8253" y="23946"/>
                  </a:cubicBezTo>
                  <a:cubicBezTo>
                    <a:pt x="8961" y="23945"/>
                    <a:pt x="9667" y="23854"/>
                    <a:pt x="10353" y="23676"/>
                  </a:cubicBezTo>
                  <a:cubicBezTo>
                    <a:pt x="43569" y="15346"/>
                    <a:pt x="78161" y="14068"/>
                    <a:pt x="111901" y="19925"/>
                  </a:cubicBezTo>
                  <a:cubicBezTo>
                    <a:pt x="116325" y="20701"/>
                    <a:pt x="120540" y="17744"/>
                    <a:pt x="121317" y="13320"/>
                  </a:cubicBezTo>
                  <a:cubicBezTo>
                    <a:pt x="122033" y="9240"/>
                    <a:pt x="119568" y="5274"/>
                    <a:pt x="115592" y="4110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94" name="Freeform 393">
              <a:extLst>
                <a:ext uri="{FF2B5EF4-FFF2-40B4-BE49-F238E27FC236}">
                  <a16:creationId xmlns:a16="http://schemas.microsoft.com/office/drawing/2014/main" id="{1FED793B-D2F0-B1EC-CDE8-E1D0EAEE92C7}"/>
                </a:ext>
              </a:extLst>
            </p:cNvPr>
            <p:cNvSpPr/>
            <p:nvPr/>
          </p:nvSpPr>
          <p:spPr>
            <a:xfrm>
              <a:off x="8813104" y="5295205"/>
              <a:ext cx="121235" cy="23957"/>
            </a:xfrm>
            <a:custGeom>
              <a:avLst/>
              <a:gdLst>
                <a:gd name="connsiteX0" fmla="*/ 115507 w 121235"/>
                <a:gd name="connsiteY0" fmla="*/ 4122 h 23957"/>
                <a:gd name="connsiteX1" fmla="*/ 5947 w 121235"/>
                <a:gd name="connsiteY1" fmla="*/ 7993 h 23957"/>
                <a:gd name="connsiteX2" fmla="*/ 302 w 121235"/>
                <a:gd name="connsiteY2" fmla="*/ 18013 h 23957"/>
                <a:gd name="connsiteX3" fmla="*/ 8048 w 121235"/>
                <a:gd name="connsiteY3" fmla="*/ 23957 h 23957"/>
                <a:gd name="connsiteX4" fmla="*/ 10148 w 121235"/>
                <a:gd name="connsiteY4" fmla="*/ 23687 h 23957"/>
                <a:gd name="connsiteX5" fmla="*/ 111696 w 121235"/>
                <a:gd name="connsiteY5" fmla="*/ 19936 h 23957"/>
                <a:gd name="connsiteX6" fmla="*/ 121112 w 121235"/>
                <a:gd name="connsiteY6" fmla="*/ 13332 h 23957"/>
                <a:gd name="connsiteX7" fmla="*/ 115387 w 121235"/>
                <a:gd name="connsiteY7" fmla="*/ 4122 h 23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235" h="23957">
                  <a:moveTo>
                    <a:pt x="115507" y="4122"/>
                  </a:moveTo>
                  <a:cubicBezTo>
                    <a:pt x="79133" y="-2465"/>
                    <a:pt x="41766" y="-1145"/>
                    <a:pt x="5947" y="7993"/>
                  </a:cubicBezTo>
                  <a:cubicBezTo>
                    <a:pt x="1621" y="9201"/>
                    <a:pt x="-906" y="13687"/>
                    <a:pt x="302" y="18013"/>
                  </a:cubicBezTo>
                  <a:cubicBezTo>
                    <a:pt x="1274" y="21496"/>
                    <a:pt x="4431" y="23919"/>
                    <a:pt x="8048" y="23957"/>
                  </a:cubicBezTo>
                  <a:cubicBezTo>
                    <a:pt x="8756" y="23956"/>
                    <a:pt x="9462" y="23865"/>
                    <a:pt x="10148" y="23687"/>
                  </a:cubicBezTo>
                  <a:cubicBezTo>
                    <a:pt x="43362" y="15341"/>
                    <a:pt x="77958" y="14063"/>
                    <a:pt x="111696" y="19936"/>
                  </a:cubicBezTo>
                  <a:cubicBezTo>
                    <a:pt x="116120" y="20713"/>
                    <a:pt x="120336" y="17756"/>
                    <a:pt x="121112" y="13332"/>
                  </a:cubicBezTo>
                  <a:cubicBezTo>
                    <a:pt x="121828" y="9252"/>
                    <a:pt x="119363" y="5286"/>
                    <a:pt x="115387" y="412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95" name="Freeform 394">
              <a:extLst>
                <a:ext uri="{FF2B5EF4-FFF2-40B4-BE49-F238E27FC236}">
                  <a16:creationId xmlns:a16="http://schemas.microsoft.com/office/drawing/2014/main" id="{5B2821D0-D655-0109-3D9E-F4B0E7B10FCB}"/>
                </a:ext>
              </a:extLst>
            </p:cNvPr>
            <p:cNvSpPr/>
            <p:nvPr/>
          </p:nvSpPr>
          <p:spPr>
            <a:xfrm>
              <a:off x="9007959" y="5384137"/>
              <a:ext cx="89487" cy="48756"/>
            </a:xfrm>
            <a:custGeom>
              <a:avLst/>
              <a:gdLst>
                <a:gd name="connsiteX0" fmla="*/ 865 w 89487"/>
                <a:gd name="connsiteY0" fmla="*/ 44315 h 48756"/>
                <a:gd name="connsiteX1" fmla="*/ 8127 w 89487"/>
                <a:gd name="connsiteY1" fmla="*/ 48757 h 48756"/>
                <a:gd name="connsiteX2" fmla="*/ 11788 w 89487"/>
                <a:gd name="connsiteY2" fmla="*/ 47886 h 48756"/>
                <a:gd name="connsiteX3" fmla="*/ 83808 w 89487"/>
                <a:gd name="connsiteY3" fmla="*/ 15897 h 48756"/>
                <a:gd name="connsiteX4" fmla="*/ 89104 w 89487"/>
                <a:gd name="connsiteY4" fmla="*/ 5680 h 48756"/>
                <a:gd name="connsiteX5" fmla="*/ 78887 w 89487"/>
                <a:gd name="connsiteY5" fmla="*/ 383 h 48756"/>
                <a:gd name="connsiteX6" fmla="*/ 4556 w 89487"/>
                <a:gd name="connsiteY6" fmla="*/ 33392 h 48756"/>
                <a:gd name="connsiteX7" fmla="*/ 820 w 89487"/>
                <a:gd name="connsiteY7" fmla="*/ 44225 h 48756"/>
                <a:gd name="connsiteX8" fmla="*/ 865 w 89487"/>
                <a:gd name="connsiteY8" fmla="*/ 44315 h 48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487" h="48756">
                  <a:moveTo>
                    <a:pt x="865" y="44315"/>
                  </a:moveTo>
                  <a:cubicBezTo>
                    <a:pt x="2256" y="47046"/>
                    <a:pt x="5063" y="48763"/>
                    <a:pt x="8127" y="48757"/>
                  </a:cubicBezTo>
                  <a:cubicBezTo>
                    <a:pt x="9399" y="48763"/>
                    <a:pt x="10654" y="48462"/>
                    <a:pt x="11788" y="47886"/>
                  </a:cubicBezTo>
                  <a:cubicBezTo>
                    <a:pt x="35165" y="35859"/>
                    <a:pt x="59210" y="25179"/>
                    <a:pt x="83808" y="15897"/>
                  </a:cubicBezTo>
                  <a:cubicBezTo>
                    <a:pt x="88093" y="14538"/>
                    <a:pt x="90464" y="9964"/>
                    <a:pt x="89104" y="5680"/>
                  </a:cubicBezTo>
                  <a:cubicBezTo>
                    <a:pt x="87745" y="1395"/>
                    <a:pt x="83172" y="-976"/>
                    <a:pt x="78887" y="383"/>
                  </a:cubicBezTo>
                  <a:cubicBezTo>
                    <a:pt x="53488" y="9930"/>
                    <a:pt x="28671" y="20951"/>
                    <a:pt x="4556" y="33392"/>
                  </a:cubicBezTo>
                  <a:cubicBezTo>
                    <a:pt x="533" y="35352"/>
                    <a:pt x="-1140" y="40201"/>
                    <a:pt x="820" y="44225"/>
                  </a:cubicBezTo>
                  <a:cubicBezTo>
                    <a:pt x="835" y="44255"/>
                    <a:pt x="850" y="44285"/>
                    <a:pt x="865" y="44315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96" name="Freeform 395">
              <a:extLst>
                <a:ext uri="{FF2B5EF4-FFF2-40B4-BE49-F238E27FC236}">
                  <a16:creationId xmlns:a16="http://schemas.microsoft.com/office/drawing/2014/main" id="{39A2C7BC-B21F-556F-A2C6-96772D47FB7D}"/>
                </a:ext>
              </a:extLst>
            </p:cNvPr>
            <p:cNvSpPr/>
            <p:nvPr/>
          </p:nvSpPr>
          <p:spPr>
            <a:xfrm>
              <a:off x="8812995" y="5343913"/>
              <a:ext cx="121344" cy="23952"/>
            </a:xfrm>
            <a:custGeom>
              <a:avLst/>
              <a:gdLst>
                <a:gd name="connsiteX0" fmla="*/ 115616 w 121344"/>
                <a:gd name="connsiteY0" fmla="*/ 4147 h 23952"/>
                <a:gd name="connsiteX1" fmla="*/ 6056 w 121344"/>
                <a:gd name="connsiteY1" fmla="*/ 7958 h 23952"/>
                <a:gd name="connsiteX2" fmla="*/ 272 w 121344"/>
                <a:gd name="connsiteY2" fmla="*/ 17898 h 23952"/>
                <a:gd name="connsiteX3" fmla="*/ 8156 w 121344"/>
                <a:gd name="connsiteY3" fmla="*/ 23952 h 23952"/>
                <a:gd name="connsiteX4" fmla="*/ 10257 w 121344"/>
                <a:gd name="connsiteY4" fmla="*/ 23652 h 23952"/>
                <a:gd name="connsiteX5" fmla="*/ 111805 w 121344"/>
                <a:gd name="connsiteY5" fmla="*/ 19961 h 23952"/>
                <a:gd name="connsiteX6" fmla="*/ 121221 w 121344"/>
                <a:gd name="connsiteY6" fmla="*/ 13357 h 23952"/>
                <a:gd name="connsiteX7" fmla="*/ 115496 w 121344"/>
                <a:gd name="connsiteY7" fmla="*/ 4147 h 23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344" h="23952">
                  <a:moveTo>
                    <a:pt x="115616" y="4147"/>
                  </a:moveTo>
                  <a:cubicBezTo>
                    <a:pt x="79246" y="-2460"/>
                    <a:pt x="41879" y="-1160"/>
                    <a:pt x="6056" y="7958"/>
                  </a:cubicBezTo>
                  <a:cubicBezTo>
                    <a:pt x="1714" y="9106"/>
                    <a:pt x="-876" y="13556"/>
                    <a:pt x="272" y="17898"/>
                  </a:cubicBezTo>
                  <a:cubicBezTo>
                    <a:pt x="1217" y="21475"/>
                    <a:pt x="4457" y="23962"/>
                    <a:pt x="8156" y="23952"/>
                  </a:cubicBezTo>
                  <a:cubicBezTo>
                    <a:pt x="8866" y="23941"/>
                    <a:pt x="9572" y="23840"/>
                    <a:pt x="10257" y="23652"/>
                  </a:cubicBezTo>
                  <a:cubicBezTo>
                    <a:pt x="43477" y="15343"/>
                    <a:pt x="78070" y="14085"/>
                    <a:pt x="111805" y="19961"/>
                  </a:cubicBezTo>
                  <a:cubicBezTo>
                    <a:pt x="116229" y="20737"/>
                    <a:pt x="120444" y="17781"/>
                    <a:pt x="121221" y="13357"/>
                  </a:cubicBezTo>
                  <a:cubicBezTo>
                    <a:pt x="121937" y="9277"/>
                    <a:pt x="119472" y="5311"/>
                    <a:pt x="115496" y="4147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97" name="Freeform 396">
              <a:extLst>
                <a:ext uri="{FF2B5EF4-FFF2-40B4-BE49-F238E27FC236}">
                  <a16:creationId xmlns:a16="http://schemas.microsoft.com/office/drawing/2014/main" id="{0581792C-2284-B56C-B3C7-90887E2974DC}"/>
                </a:ext>
              </a:extLst>
            </p:cNvPr>
            <p:cNvSpPr/>
            <p:nvPr/>
          </p:nvSpPr>
          <p:spPr>
            <a:xfrm>
              <a:off x="8813104" y="5441436"/>
              <a:ext cx="121235" cy="23957"/>
            </a:xfrm>
            <a:custGeom>
              <a:avLst/>
              <a:gdLst>
                <a:gd name="connsiteX0" fmla="*/ 115507 w 121235"/>
                <a:gd name="connsiteY0" fmla="*/ 4122 h 23957"/>
                <a:gd name="connsiteX1" fmla="*/ 5947 w 121235"/>
                <a:gd name="connsiteY1" fmla="*/ 7993 h 23957"/>
                <a:gd name="connsiteX2" fmla="*/ 302 w 121235"/>
                <a:gd name="connsiteY2" fmla="*/ 18013 h 23957"/>
                <a:gd name="connsiteX3" fmla="*/ 8048 w 121235"/>
                <a:gd name="connsiteY3" fmla="*/ 23957 h 23957"/>
                <a:gd name="connsiteX4" fmla="*/ 10148 w 121235"/>
                <a:gd name="connsiteY4" fmla="*/ 23687 h 23957"/>
                <a:gd name="connsiteX5" fmla="*/ 111696 w 121235"/>
                <a:gd name="connsiteY5" fmla="*/ 19936 h 23957"/>
                <a:gd name="connsiteX6" fmla="*/ 121112 w 121235"/>
                <a:gd name="connsiteY6" fmla="*/ 13331 h 23957"/>
                <a:gd name="connsiteX7" fmla="*/ 115387 w 121235"/>
                <a:gd name="connsiteY7" fmla="*/ 4122 h 23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235" h="23957">
                  <a:moveTo>
                    <a:pt x="115507" y="4122"/>
                  </a:moveTo>
                  <a:cubicBezTo>
                    <a:pt x="79133" y="-2465"/>
                    <a:pt x="41766" y="-1145"/>
                    <a:pt x="5947" y="7993"/>
                  </a:cubicBezTo>
                  <a:cubicBezTo>
                    <a:pt x="1621" y="9202"/>
                    <a:pt x="-906" y="13685"/>
                    <a:pt x="302" y="18013"/>
                  </a:cubicBezTo>
                  <a:cubicBezTo>
                    <a:pt x="1274" y="21497"/>
                    <a:pt x="4431" y="23918"/>
                    <a:pt x="8048" y="23957"/>
                  </a:cubicBezTo>
                  <a:cubicBezTo>
                    <a:pt x="8756" y="23957"/>
                    <a:pt x="9462" y="23864"/>
                    <a:pt x="10148" y="23687"/>
                  </a:cubicBezTo>
                  <a:cubicBezTo>
                    <a:pt x="43364" y="15357"/>
                    <a:pt x="77957" y="14078"/>
                    <a:pt x="111696" y="19936"/>
                  </a:cubicBezTo>
                  <a:cubicBezTo>
                    <a:pt x="116120" y="20713"/>
                    <a:pt x="120336" y="17755"/>
                    <a:pt x="121112" y="13331"/>
                  </a:cubicBezTo>
                  <a:cubicBezTo>
                    <a:pt x="121828" y="9253"/>
                    <a:pt x="119363" y="5286"/>
                    <a:pt x="115387" y="412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398" name="Freeform 397">
              <a:extLst>
                <a:ext uri="{FF2B5EF4-FFF2-40B4-BE49-F238E27FC236}">
                  <a16:creationId xmlns:a16="http://schemas.microsoft.com/office/drawing/2014/main" id="{7C55F82A-913F-E900-EE67-74667AE36AE6}"/>
                </a:ext>
              </a:extLst>
            </p:cNvPr>
            <p:cNvSpPr/>
            <p:nvPr/>
          </p:nvSpPr>
          <p:spPr>
            <a:xfrm>
              <a:off x="8812995" y="5392755"/>
              <a:ext cx="121189" cy="23964"/>
            </a:xfrm>
            <a:custGeom>
              <a:avLst/>
              <a:gdLst>
                <a:gd name="connsiteX0" fmla="*/ 115616 w 121189"/>
                <a:gd name="connsiteY0" fmla="*/ 4129 h 23964"/>
                <a:gd name="connsiteX1" fmla="*/ 6056 w 121189"/>
                <a:gd name="connsiteY1" fmla="*/ 7970 h 23964"/>
                <a:gd name="connsiteX2" fmla="*/ 272 w 121189"/>
                <a:gd name="connsiteY2" fmla="*/ 17912 h 23964"/>
                <a:gd name="connsiteX3" fmla="*/ 8156 w 121189"/>
                <a:gd name="connsiteY3" fmla="*/ 23964 h 23964"/>
                <a:gd name="connsiteX4" fmla="*/ 10257 w 121189"/>
                <a:gd name="connsiteY4" fmla="*/ 23664 h 23964"/>
                <a:gd name="connsiteX5" fmla="*/ 111805 w 121189"/>
                <a:gd name="connsiteY5" fmla="*/ 19883 h 23964"/>
                <a:gd name="connsiteX6" fmla="*/ 121092 w 121189"/>
                <a:gd name="connsiteY6" fmla="*/ 13098 h 23964"/>
                <a:gd name="connsiteX7" fmla="*/ 115616 w 121189"/>
                <a:gd name="connsiteY7" fmla="*/ 4129 h 2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189" h="23964">
                  <a:moveTo>
                    <a:pt x="115616" y="4129"/>
                  </a:moveTo>
                  <a:cubicBezTo>
                    <a:pt x="79243" y="-2460"/>
                    <a:pt x="41878" y="-1150"/>
                    <a:pt x="6056" y="7970"/>
                  </a:cubicBezTo>
                  <a:cubicBezTo>
                    <a:pt x="1714" y="9116"/>
                    <a:pt x="-876" y="13569"/>
                    <a:pt x="272" y="17912"/>
                  </a:cubicBezTo>
                  <a:cubicBezTo>
                    <a:pt x="1217" y="21486"/>
                    <a:pt x="4457" y="23973"/>
                    <a:pt x="8156" y="23964"/>
                  </a:cubicBezTo>
                  <a:cubicBezTo>
                    <a:pt x="8868" y="23967"/>
                    <a:pt x="9575" y="23865"/>
                    <a:pt x="10257" y="23664"/>
                  </a:cubicBezTo>
                  <a:cubicBezTo>
                    <a:pt x="43469" y="15316"/>
                    <a:pt x="78064" y="14026"/>
                    <a:pt x="111805" y="19883"/>
                  </a:cubicBezTo>
                  <a:cubicBezTo>
                    <a:pt x="116243" y="20573"/>
                    <a:pt x="120401" y="17536"/>
                    <a:pt x="121092" y="13098"/>
                  </a:cubicBezTo>
                  <a:cubicBezTo>
                    <a:pt x="121704" y="9173"/>
                    <a:pt x="119388" y="5380"/>
                    <a:pt x="115616" y="4129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399" name="Graphic 35">
            <a:extLst>
              <a:ext uri="{FF2B5EF4-FFF2-40B4-BE49-F238E27FC236}">
                <a16:creationId xmlns:a16="http://schemas.microsoft.com/office/drawing/2014/main" id="{9BB8609A-EFA8-E9FC-3EEB-A72115854D1F}"/>
              </a:ext>
            </a:extLst>
          </p:cNvPr>
          <p:cNvGrpSpPr/>
          <p:nvPr/>
        </p:nvGrpSpPr>
        <p:grpSpPr>
          <a:xfrm>
            <a:off x="7484883" y="2508510"/>
            <a:ext cx="343910" cy="336574"/>
            <a:chOff x="10035198" y="2337874"/>
            <a:chExt cx="480134" cy="480134"/>
          </a:xfrm>
          <a:solidFill>
            <a:schemeClr val="bg1"/>
          </a:solidFill>
        </p:grpSpPr>
        <p:sp>
          <p:nvSpPr>
            <p:cNvPr id="400" name="Freeform 399">
              <a:extLst>
                <a:ext uri="{FF2B5EF4-FFF2-40B4-BE49-F238E27FC236}">
                  <a16:creationId xmlns:a16="http://schemas.microsoft.com/office/drawing/2014/main" id="{07C2913A-B0C9-F1E8-97F2-D6EC561CB424}"/>
                </a:ext>
              </a:extLst>
            </p:cNvPr>
            <p:cNvSpPr/>
            <p:nvPr/>
          </p:nvSpPr>
          <p:spPr>
            <a:xfrm>
              <a:off x="10180828" y="2511322"/>
              <a:ext cx="201116" cy="201236"/>
            </a:xfrm>
            <a:custGeom>
              <a:avLst/>
              <a:gdLst>
                <a:gd name="connsiteX0" fmla="*/ 181071 w 201116"/>
                <a:gd name="connsiteY0" fmla="*/ 125015 h 201236"/>
                <a:gd name="connsiteX1" fmla="*/ 135098 w 201116"/>
                <a:gd name="connsiteY1" fmla="*/ 125015 h 201236"/>
                <a:gd name="connsiteX2" fmla="*/ 125015 w 201116"/>
                <a:gd name="connsiteY2" fmla="*/ 135038 h 201236"/>
                <a:gd name="connsiteX3" fmla="*/ 125015 w 201116"/>
                <a:gd name="connsiteY3" fmla="*/ 135098 h 201236"/>
                <a:gd name="connsiteX4" fmla="*/ 125015 w 201116"/>
                <a:gd name="connsiteY4" fmla="*/ 181071 h 201236"/>
                <a:gd name="connsiteX5" fmla="*/ 76101 w 201116"/>
                <a:gd name="connsiteY5" fmla="*/ 181071 h 201236"/>
                <a:gd name="connsiteX6" fmla="*/ 76101 w 201116"/>
                <a:gd name="connsiteY6" fmla="*/ 135098 h 201236"/>
                <a:gd name="connsiteX7" fmla="*/ 66078 w 201116"/>
                <a:gd name="connsiteY7" fmla="*/ 125015 h 201236"/>
                <a:gd name="connsiteX8" fmla="*/ 66048 w 201116"/>
                <a:gd name="connsiteY8" fmla="*/ 125015 h 201236"/>
                <a:gd name="connsiteX9" fmla="*/ 20076 w 201116"/>
                <a:gd name="connsiteY9" fmla="*/ 125015 h 201236"/>
                <a:gd name="connsiteX10" fmla="*/ 20076 w 201116"/>
                <a:gd name="connsiteY10" fmla="*/ 76191 h 201236"/>
                <a:gd name="connsiteX11" fmla="*/ 66048 w 201116"/>
                <a:gd name="connsiteY11" fmla="*/ 76191 h 201236"/>
                <a:gd name="connsiteX12" fmla="*/ 76101 w 201116"/>
                <a:gd name="connsiteY12" fmla="*/ 66138 h 201236"/>
                <a:gd name="connsiteX13" fmla="*/ 76101 w 201116"/>
                <a:gd name="connsiteY13" fmla="*/ 20046 h 201236"/>
                <a:gd name="connsiteX14" fmla="*/ 124925 w 201116"/>
                <a:gd name="connsiteY14" fmla="*/ 20046 h 201236"/>
                <a:gd name="connsiteX15" fmla="*/ 124925 w 201116"/>
                <a:gd name="connsiteY15" fmla="*/ 66018 h 201236"/>
                <a:gd name="connsiteX16" fmla="*/ 134948 w 201116"/>
                <a:gd name="connsiteY16" fmla="*/ 76101 h 201236"/>
                <a:gd name="connsiteX17" fmla="*/ 134978 w 201116"/>
                <a:gd name="connsiteY17" fmla="*/ 76101 h 201236"/>
                <a:gd name="connsiteX18" fmla="*/ 181071 w 201116"/>
                <a:gd name="connsiteY18" fmla="*/ 76101 h 201236"/>
                <a:gd name="connsiteX19" fmla="*/ 186202 w 201116"/>
                <a:gd name="connsiteY19" fmla="*/ 55996 h 201236"/>
                <a:gd name="connsiteX20" fmla="*/ 145151 w 201116"/>
                <a:gd name="connsiteY20" fmla="*/ 55996 h 201236"/>
                <a:gd name="connsiteX21" fmla="*/ 145151 w 201116"/>
                <a:gd name="connsiteY21" fmla="*/ 15004 h 201236"/>
                <a:gd name="connsiteX22" fmla="*/ 130146 w 201116"/>
                <a:gd name="connsiteY22" fmla="*/ 0 h 201236"/>
                <a:gd name="connsiteX23" fmla="*/ 70970 w 201116"/>
                <a:gd name="connsiteY23" fmla="*/ 0 h 201236"/>
                <a:gd name="connsiteX24" fmla="*/ 55966 w 201116"/>
                <a:gd name="connsiteY24" fmla="*/ 15004 h 201236"/>
                <a:gd name="connsiteX25" fmla="*/ 55966 w 201116"/>
                <a:gd name="connsiteY25" fmla="*/ 55966 h 201236"/>
                <a:gd name="connsiteX26" fmla="*/ 15004 w 201116"/>
                <a:gd name="connsiteY26" fmla="*/ 55966 h 201236"/>
                <a:gd name="connsiteX27" fmla="*/ 0 w 201116"/>
                <a:gd name="connsiteY27" fmla="*/ 70970 h 201236"/>
                <a:gd name="connsiteX28" fmla="*/ 0 w 201116"/>
                <a:gd name="connsiteY28" fmla="*/ 130236 h 201236"/>
                <a:gd name="connsiteX29" fmla="*/ 15004 w 201116"/>
                <a:gd name="connsiteY29" fmla="*/ 145241 h 201236"/>
                <a:gd name="connsiteX30" fmla="*/ 55996 w 201116"/>
                <a:gd name="connsiteY30" fmla="*/ 145241 h 201236"/>
                <a:gd name="connsiteX31" fmla="*/ 55996 w 201116"/>
                <a:gd name="connsiteY31" fmla="*/ 186232 h 201236"/>
                <a:gd name="connsiteX32" fmla="*/ 71000 w 201116"/>
                <a:gd name="connsiteY32" fmla="*/ 201236 h 201236"/>
                <a:gd name="connsiteX33" fmla="*/ 130056 w 201116"/>
                <a:gd name="connsiteY33" fmla="*/ 201236 h 201236"/>
                <a:gd name="connsiteX34" fmla="*/ 145060 w 201116"/>
                <a:gd name="connsiteY34" fmla="*/ 186232 h 201236"/>
                <a:gd name="connsiteX35" fmla="*/ 145060 w 201116"/>
                <a:gd name="connsiteY35" fmla="*/ 145121 h 201236"/>
                <a:gd name="connsiteX36" fmla="*/ 186112 w 201116"/>
                <a:gd name="connsiteY36" fmla="*/ 145121 h 201236"/>
                <a:gd name="connsiteX37" fmla="*/ 201116 w 201116"/>
                <a:gd name="connsiteY37" fmla="*/ 130116 h 201236"/>
                <a:gd name="connsiteX38" fmla="*/ 201116 w 201116"/>
                <a:gd name="connsiteY38" fmla="*/ 71060 h 201236"/>
                <a:gd name="connsiteX39" fmla="*/ 186112 w 201116"/>
                <a:gd name="connsiteY39" fmla="*/ 56056 h 20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01116" h="201236">
                  <a:moveTo>
                    <a:pt x="181071" y="125015"/>
                  </a:moveTo>
                  <a:lnTo>
                    <a:pt x="135098" y="125015"/>
                  </a:lnTo>
                  <a:cubicBezTo>
                    <a:pt x="129546" y="124998"/>
                    <a:pt x="125031" y="129486"/>
                    <a:pt x="125015" y="135038"/>
                  </a:cubicBezTo>
                  <a:cubicBezTo>
                    <a:pt x="125015" y="135059"/>
                    <a:pt x="125015" y="135077"/>
                    <a:pt x="125015" y="135098"/>
                  </a:cubicBezTo>
                  <a:lnTo>
                    <a:pt x="125015" y="181071"/>
                  </a:lnTo>
                  <a:lnTo>
                    <a:pt x="76101" y="181071"/>
                  </a:lnTo>
                  <a:lnTo>
                    <a:pt x="76101" y="135098"/>
                  </a:lnTo>
                  <a:cubicBezTo>
                    <a:pt x="76118" y="129546"/>
                    <a:pt x="71631" y="125031"/>
                    <a:pt x="66078" y="125015"/>
                  </a:cubicBezTo>
                  <a:cubicBezTo>
                    <a:pt x="66069" y="125015"/>
                    <a:pt x="66058" y="125015"/>
                    <a:pt x="66048" y="125015"/>
                  </a:cubicBezTo>
                  <a:lnTo>
                    <a:pt x="20076" y="125015"/>
                  </a:lnTo>
                  <a:lnTo>
                    <a:pt x="20076" y="76191"/>
                  </a:lnTo>
                  <a:lnTo>
                    <a:pt x="66048" y="76191"/>
                  </a:lnTo>
                  <a:cubicBezTo>
                    <a:pt x="71601" y="76191"/>
                    <a:pt x="76101" y="71691"/>
                    <a:pt x="76101" y="66138"/>
                  </a:cubicBezTo>
                  <a:lnTo>
                    <a:pt x="76101" y="20046"/>
                  </a:lnTo>
                  <a:lnTo>
                    <a:pt x="124925" y="20046"/>
                  </a:lnTo>
                  <a:lnTo>
                    <a:pt x="124925" y="66018"/>
                  </a:lnTo>
                  <a:cubicBezTo>
                    <a:pt x="124908" y="71570"/>
                    <a:pt x="129396" y="76085"/>
                    <a:pt x="134948" y="76101"/>
                  </a:cubicBezTo>
                  <a:cubicBezTo>
                    <a:pt x="134958" y="76101"/>
                    <a:pt x="134968" y="76101"/>
                    <a:pt x="134978" y="76101"/>
                  </a:cubicBezTo>
                  <a:lnTo>
                    <a:pt x="181071" y="76101"/>
                  </a:lnTo>
                  <a:close/>
                  <a:moveTo>
                    <a:pt x="186202" y="55996"/>
                  </a:moveTo>
                  <a:lnTo>
                    <a:pt x="145151" y="55996"/>
                  </a:lnTo>
                  <a:lnTo>
                    <a:pt x="145151" y="15004"/>
                  </a:lnTo>
                  <a:cubicBezTo>
                    <a:pt x="145151" y="6718"/>
                    <a:pt x="138433" y="0"/>
                    <a:pt x="130146" y="0"/>
                  </a:cubicBezTo>
                  <a:lnTo>
                    <a:pt x="70970" y="0"/>
                  </a:lnTo>
                  <a:cubicBezTo>
                    <a:pt x="62683" y="0"/>
                    <a:pt x="55966" y="6718"/>
                    <a:pt x="55966" y="15004"/>
                  </a:cubicBezTo>
                  <a:lnTo>
                    <a:pt x="55966" y="55966"/>
                  </a:lnTo>
                  <a:lnTo>
                    <a:pt x="15004" y="55966"/>
                  </a:lnTo>
                  <a:cubicBezTo>
                    <a:pt x="6718" y="55966"/>
                    <a:pt x="0" y="62683"/>
                    <a:pt x="0" y="70970"/>
                  </a:cubicBezTo>
                  <a:lnTo>
                    <a:pt x="0" y="130236"/>
                  </a:lnTo>
                  <a:cubicBezTo>
                    <a:pt x="0" y="138522"/>
                    <a:pt x="6718" y="145241"/>
                    <a:pt x="15004" y="145241"/>
                  </a:cubicBezTo>
                  <a:lnTo>
                    <a:pt x="55996" y="145241"/>
                  </a:lnTo>
                  <a:lnTo>
                    <a:pt x="55996" y="186232"/>
                  </a:lnTo>
                  <a:cubicBezTo>
                    <a:pt x="55996" y="194517"/>
                    <a:pt x="62713" y="201236"/>
                    <a:pt x="71000" y="201236"/>
                  </a:cubicBezTo>
                  <a:lnTo>
                    <a:pt x="130056" y="201236"/>
                  </a:lnTo>
                  <a:cubicBezTo>
                    <a:pt x="138343" y="201236"/>
                    <a:pt x="145060" y="194517"/>
                    <a:pt x="145060" y="186232"/>
                  </a:cubicBezTo>
                  <a:lnTo>
                    <a:pt x="145060" y="145121"/>
                  </a:lnTo>
                  <a:lnTo>
                    <a:pt x="186112" y="145121"/>
                  </a:lnTo>
                  <a:cubicBezTo>
                    <a:pt x="194397" y="145121"/>
                    <a:pt x="201116" y="138402"/>
                    <a:pt x="201116" y="130116"/>
                  </a:cubicBezTo>
                  <a:lnTo>
                    <a:pt x="201116" y="71060"/>
                  </a:lnTo>
                  <a:cubicBezTo>
                    <a:pt x="201116" y="62773"/>
                    <a:pt x="194397" y="56056"/>
                    <a:pt x="186112" y="56056"/>
                  </a:cubicBezTo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01" name="Freeform 400">
              <a:extLst>
                <a:ext uri="{FF2B5EF4-FFF2-40B4-BE49-F238E27FC236}">
                  <a16:creationId xmlns:a16="http://schemas.microsoft.com/office/drawing/2014/main" id="{893456EA-C67D-9550-8EA3-A50E2C43C821}"/>
                </a:ext>
              </a:extLst>
            </p:cNvPr>
            <p:cNvSpPr/>
            <p:nvPr/>
          </p:nvSpPr>
          <p:spPr>
            <a:xfrm>
              <a:off x="10036701" y="2370271"/>
              <a:ext cx="489402" cy="423424"/>
            </a:xfrm>
            <a:custGeom>
              <a:avLst/>
              <a:gdLst>
                <a:gd name="connsiteX0" fmla="*/ 469118 w 489402"/>
                <a:gd name="connsiteY0" fmla="*/ 353810 h 423424"/>
                <a:gd name="connsiteX1" fmla="*/ 428451 w 489402"/>
                <a:gd name="connsiteY1" fmla="*/ 403114 h 423424"/>
                <a:gd name="connsiteX2" fmla="*/ 419814 w 489402"/>
                <a:gd name="connsiteY2" fmla="*/ 403114 h 423424"/>
                <a:gd name="connsiteX3" fmla="*/ 69556 w 489402"/>
                <a:gd name="connsiteY3" fmla="*/ 403114 h 423424"/>
                <a:gd name="connsiteX4" fmla="*/ 20253 w 489402"/>
                <a:gd name="connsiteY4" fmla="*/ 362311 h 423424"/>
                <a:gd name="connsiteX5" fmla="*/ 20253 w 489402"/>
                <a:gd name="connsiteY5" fmla="*/ 353810 h 423424"/>
                <a:gd name="connsiteX6" fmla="*/ 20253 w 489402"/>
                <a:gd name="connsiteY6" fmla="*/ 135139 h 423424"/>
                <a:gd name="connsiteX7" fmla="*/ 60954 w 489402"/>
                <a:gd name="connsiteY7" fmla="*/ 85808 h 423424"/>
                <a:gd name="connsiteX8" fmla="*/ 69556 w 489402"/>
                <a:gd name="connsiteY8" fmla="*/ 85805 h 423424"/>
                <a:gd name="connsiteX9" fmla="*/ 419814 w 489402"/>
                <a:gd name="connsiteY9" fmla="*/ 85805 h 423424"/>
                <a:gd name="connsiteX10" fmla="*/ 469121 w 489402"/>
                <a:gd name="connsiteY10" fmla="*/ 126603 h 423424"/>
                <a:gd name="connsiteX11" fmla="*/ 469118 w 489402"/>
                <a:gd name="connsiteY11" fmla="*/ 135139 h 423424"/>
                <a:gd name="connsiteX12" fmla="*/ 172545 w 489402"/>
                <a:gd name="connsiteY12" fmla="*/ 30260 h 423424"/>
                <a:gd name="connsiteX13" fmla="*/ 180460 w 489402"/>
                <a:gd name="connsiteY13" fmla="*/ 19487 h 423424"/>
                <a:gd name="connsiteX14" fmla="*/ 183318 w 489402"/>
                <a:gd name="connsiteY14" fmla="*/ 19487 h 423424"/>
                <a:gd name="connsiteX15" fmla="*/ 306082 w 489402"/>
                <a:gd name="connsiteY15" fmla="*/ 19487 h 423424"/>
                <a:gd name="connsiteX16" fmla="*/ 316855 w 489402"/>
                <a:gd name="connsiteY16" fmla="*/ 30260 h 423424"/>
                <a:gd name="connsiteX17" fmla="*/ 316855 w 489402"/>
                <a:gd name="connsiteY17" fmla="*/ 65460 h 423424"/>
                <a:gd name="connsiteX18" fmla="*/ 172545 w 489402"/>
                <a:gd name="connsiteY18" fmla="*/ 65460 h 423424"/>
                <a:gd name="connsiteX19" fmla="*/ 419724 w 489402"/>
                <a:gd name="connsiteY19" fmla="*/ 65670 h 423424"/>
                <a:gd name="connsiteX20" fmla="*/ 336871 w 489402"/>
                <a:gd name="connsiteY20" fmla="*/ 65670 h 423424"/>
                <a:gd name="connsiteX21" fmla="*/ 336871 w 489402"/>
                <a:gd name="connsiteY21" fmla="*/ 30260 h 423424"/>
                <a:gd name="connsiteX22" fmla="*/ 308606 w 489402"/>
                <a:gd name="connsiteY22" fmla="*/ 42 h 423424"/>
                <a:gd name="connsiteX23" fmla="*/ 308573 w 489402"/>
                <a:gd name="connsiteY23" fmla="*/ 41 h 423424"/>
                <a:gd name="connsiteX24" fmla="*/ 306082 w 489402"/>
                <a:gd name="connsiteY24" fmla="*/ 41 h 423424"/>
                <a:gd name="connsiteX25" fmla="*/ 183288 w 489402"/>
                <a:gd name="connsiteY25" fmla="*/ 41 h 423424"/>
                <a:gd name="connsiteX26" fmla="*/ 152531 w 489402"/>
                <a:gd name="connsiteY26" fmla="*/ 27719 h 423424"/>
                <a:gd name="connsiteX27" fmla="*/ 152530 w 489402"/>
                <a:gd name="connsiteY27" fmla="*/ 27739 h 423424"/>
                <a:gd name="connsiteX28" fmla="*/ 152530 w 489402"/>
                <a:gd name="connsiteY28" fmla="*/ 30230 h 423424"/>
                <a:gd name="connsiteX29" fmla="*/ 152530 w 489402"/>
                <a:gd name="connsiteY29" fmla="*/ 65460 h 423424"/>
                <a:gd name="connsiteX30" fmla="*/ 69556 w 489402"/>
                <a:gd name="connsiteY30" fmla="*/ 65460 h 423424"/>
                <a:gd name="connsiteX31" fmla="*/ 143 w 489402"/>
                <a:gd name="connsiteY31" fmla="*/ 126301 h 423424"/>
                <a:gd name="connsiteX32" fmla="*/ 147 w 489402"/>
                <a:gd name="connsiteY32" fmla="*/ 134929 h 423424"/>
                <a:gd name="connsiteX33" fmla="*/ 147 w 489402"/>
                <a:gd name="connsiteY33" fmla="*/ 353810 h 423424"/>
                <a:gd name="connsiteX34" fmla="*/ 60929 w 489402"/>
                <a:gd name="connsiteY34" fmla="*/ 423276 h 423424"/>
                <a:gd name="connsiteX35" fmla="*/ 69556 w 489402"/>
                <a:gd name="connsiteY35" fmla="*/ 423279 h 423424"/>
                <a:gd name="connsiteX36" fmla="*/ 419814 w 489402"/>
                <a:gd name="connsiteY36" fmla="*/ 423279 h 423424"/>
                <a:gd name="connsiteX37" fmla="*/ 489257 w 489402"/>
                <a:gd name="connsiteY37" fmla="*/ 362470 h 423424"/>
                <a:gd name="connsiteX38" fmla="*/ 489254 w 489402"/>
                <a:gd name="connsiteY38" fmla="*/ 353810 h 423424"/>
                <a:gd name="connsiteX39" fmla="*/ 489254 w 489402"/>
                <a:gd name="connsiteY39" fmla="*/ 135139 h 423424"/>
                <a:gd name="connsiteX40" fmla="*/ 428538 w 489402"/>
                <a:gd name="connsiteY40" fmla="*/ 65671 h 423424"/>
                <a:gd name="connsiteX41" fmla="*/ 419814 w 489402"/>
                <a:gd name="connsiteY41" fmla="*/ 65670 h 42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89402" h="423424">
                  <a:moveTo>
                    <a:pt x="469118" y="353810"/>
                  </a:moveTo>
                  <a:cubicBezTo>
                    <a:pt x="471504" y="378654"/>
                    <a:pt x="453295" y="400728"/>
                    <a:pt x="428451" y="403114"/>
                  </a:cubicBezTo>
                  <a:cubicBezTo>
                    <a:pt x="425579" y="403390"/>
                    <a:pt x="422686" y="403390"/>
                    <a:pt x="419814" y="403114"/>
                  </a:cubicBezTo>
                  <a:lnTo>
                    <a:pt x="69556" y="403114"/>
                  </a:lnTo>
                  <a:cubicBezTo>
                    <a:pt x="44675" y="405460"/>
                    <a:pt x="22601" y="387194"/>
                    <a:pt x="20253" y="362311"/>
                  </a:cubicBezTo>
                  <a:cubicBezTo>
                    <a:pt x="19986" y="359485"/>
                    <a:pt x="19986" y="356637"/>
                    <a:pt x="20253" y="353810"/>
                  </a:cubicBezTo>
                  <a:lnTo>
                    <a:pt x="20253" y="135139"/>
                  </a:lnTo>
                  <a:cubicBezTo>
                    <a:pt x="17870" y="110277"/>
                    <a:pt x="36092" y="88191"/>
                    <a:pt x="60954" y="85808"/>
                  </a:cubicBezTo>
                  <a:cubicBezTo>
                    <a:pt x="63815" y="85534"/>
                    <a:pt x="66695" y="85533"/>
                    <a:pt x="69556" y="85805"/>
                  </a:cubicBezTo>
                  <a:lnTo>
                    <a:pt x="419814" y="85805"/>
                  </a:lnTo>
                  <a:cubicBezTo>
                    <a:pt x="444697" y="83456"/>
                    <a:pt x="466771" y="101722"/>
                    <a:pt x="469121" y="126603"/>
                  </a:cubicBezTo>
                  <a:cubicBezTo>
                    <a:pt x="469388" y="129442"/>
                    <a:pt x="469388" y="132300"/>
                    <a:pt x="469118" y="135139"/>
                  </a:cubicBezTo>
                  <a:close/>
                  <a:moveTo>
                    <a:pt x="172545" y="30260"/>
                  </a:moveTo>
                  <a:cubicBezTo>
                    <a:pt x="171756" y="25099"/>
                    <a:pt x="175300" y="20276"/>
                    <a:pt x="180460" y="19487"/>
                  </a:cubicBezTo>
                  <a:cubicBezTo>
                    <a:pt x="181407" y="19342"/>
                    <a:pt x="182371" y="19342"/>
                    <a:pt x="183318" y="19487"/>
                  </a:cubicBezTo>
                  <a:lnTo>
                    <a:pt x="306082" y="19487"/>
                  </a:lnTo>
                  <a:cubicBezTo>
                    <a:pt x="316855" y="19487"/>
                    <a:pt x="316855" y="27229"/>
                    <a:pt x="316855" y="30260"/>
                  </a:cubicBezTo>
                  <a:lnTo>
                    <a:pt x="316855" y="65460"/>
                  </a:lnTo>
                  <a:lnTo>
                    <a:pt x="172545" y="65460"/>
                  </a:lnTo>
                  <a:close/>
                  <a:moveTo>
                    <a:pt x="419724" y="65670"/>
                  </a:moveTo>
                  <a:lnTo>
                    <a:pt x="336871" y="65670"/>
                  </a:lnTo>
                  <a:lnTo>
                    <a:pt x="336871" y="30260"/>
                  </a:lnTo>
                  <a:cubicBezTo>
                    <a:pt x="337411" y="14110"/>
                    <a:pt x="324754" y="581"/>
                    <a:pt x="308606" y="42"/>
                  </a:cubicBezTo>
                  <a:cubicBezTo>
                    <a:pt x="308594" y="42"/>
                    <a:pt x="308585" y="42"/>
                    <a:pt x="308573" y="41"/>
                  </a:cubicBezTo>
                  <a:cubicBezTo>
                    <a:pt x="307745" y="-4"/>
                    <a:pt x="306911" y="-4"/>
                    <a:pt x="306082" y="41"/>
                  </a:cubicBezTo>
                  <a:lnTo>
                    <a:pt x="183288" y="41"/>
                  </a:lnTo>
                  <a:cubicBezTo>
                    <a:pt x="167152" y="-809"/>
                    <a:pt x="153381" y="11583"/>
                    <a:pt x="152531" y="27719"/>
                  </a:cubicBezTo>
                  <a:cubicBezTo>
                    <a:pt x="152530" y="27726"/>
                    <a:pt x="152530" y="27732"/>
                    <a:pt x="152530" y="27739"/>
                  </a:cubicBezTo>
                  <a:cubicBezTo>
                    <a:pt x="152485" y="28569"/>
                    <a:pt x="152485" y="29400"/>
                    <a:pt x="152530" y="30230"/>
                  </a:cubicBezTo>
                  <a:lnTo>
                    <a:pt x="152530" y="65460"/>
                  </a:lnTo>
                  <a:lnTo>
                    <a:pt x="69556" y="65460"/>
                  </a:lnTo>
                  <a:cubicBezTo>
                    <a:pt x="33588" y="63092"/>
                    <a:pt x="2510" y="90332"/>
                    <a:pt x="143" y="126301"/>
                  </a:cubicBezTo>
                  <a:cubicBezTo>
                    <a:pt x="-46" y="129174"/>
                    <a:pt x="-44" y="132056"/>
                    <a:pt x="147" y="134929"/>
                  </a:cubicBezTo>
                  <a:lnTo>
                    <a:pt x="147" y="353810"/>
                  </a:lnTo>
                  <a:cubicBezTo>
                    <a:pt x="-2251" y="389778"/>
                    <a:pt x="24962" y="420879"/>
                    <a:pt x="60929" y="423276"/>
                  </a:cubicBezTo>
                  <a:cubicBezTo>
                    <a:pt x="63801" y="423468"/>
                    <a:pt x="66683" y="423468"/>
                    <a:pt x="69556" y="423279"/>
                  </a:cubicBezTo>
                  <a:lnTo>
                    <a:pt x="419814" y="423279"/>
                  </a:lnTo>
                  <a:cubicBezTo>
                    <a:pt x="455782" y="425662"/>
                    <a:pt x="486871" y="398438"/>
                    <a:pt x="489257" y="362470"/>
                  </a:cubicBezTo>
                  <a:cubicBezTo>
                    <a:pt x="489446" y="359587"/>
                    <a:pt x="489446" y="356694"/>
                    <a:pt x="489254" y="353810"/>
                  </a:cubicBezTo>
                  <a:lnTo>
                    <a:pt x="489254" y="135139"/>
                  </a:lnTo>
                  <a:cubicBezTo>
                    <a:pt x="491669" y="99190"/>
                    <a:pt x="464488" y="68088"/>
                    <a:pt x="428538" y="65671"/>
                  </a:cubicBezTo>
                  <a:cubicBezTo>
                    <a:pt x="425633" y="65476"/>
                    <a:pt x="422719" y="65475"/>
                    <a:pt x="419814" y="65670"/>
                  </a:cubicBezTo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02" name="Graphic 37">
            <a:extLst>
              <a:ext uri="{FF2B5EF4-FFF2-40B4-BE49-F238E27FC236}">
                <a16:creationId xmlns:a16="http://schemas.microsoft.com/office/drawing/2014/main" id="{9478FC0E-D3BB-9D3E-E077-00B95BCE2F99}"/>
              </a:ext>
            </a:extLst>
          </p:cNvPr>
          <p:cNvGrpSpPr/>
          <p:nvPr/>
        </p:nvGrpSpPr>
        <p:grpSpPr>
          <a:xfrm>
            <a:off x="5645485" y="3208097"/>
            <a:ext cx="429887" cy="336573"/>
            <a:chOff x="7467206" y="3335858"/>
            <a:chExt cx="600167" cy="480133"/>
          </a:xfrm>
          <a:solidFill>
            <a:schemeClr val="bg1"/>
          </a:solidFill>
        </p:grpSpPr>
        <p:sp>
          <p:nvSpPr>
            <p:cNvPr id="403" name="Freeform 402">
              <a:extLst>
                <a:ext uri="{FF2B5EF4-FFF2-40B4-BE49-F238E27FC236}">
                  <a16:creationId xmlns:a16="http://schemas.microsoft.com/office/drawing/2014/main" id="{49FEC53A-930B-2277-F15F-AEA38B6C7321}"/>
                </a:ext>
              </a:extLst>
            </p:cNvPr>
            <p:cNvSpPr/>
            <p:nvPr/>
          </p:nvSpPr>
          <p:spPr>
            <a:xfrm>
              <a:off x="7663660" y="3634444"/>
              <a:ext cx="60473" cy="14912"/>
            </a:xfrm>
            <a:custGeom>
              <a:avLst/>
              <a:gdLst>
                <a:gd name="connsiteX0" fmla="*/ 52929 w 60473"/>
                <a:gd name="connsiteY0" fmla="*/ 14912 h 14912"/>
                <a:gd name="connsiteX1" fmla="*/ 7545 w 60473"/>
                <a:gd name="connsiteY1" fmla="*/ 14912 h 14912"/>
                <a:gd name="connsiteX2" fmla="*/ 0 w 60473"/>
                <a:gd name="connsiteY2" fmla="*/ 7456 h 14912"/>
                <a:gd name="connsiteX3" fmla="*/ 7545 w 60473"/>
                <a:gd name="connsiteY3" fmla="*/ 0 h 14912"/>
                <a:gd name="connsiteX4" fmla="*/ 52929 w 60473"/>
                <a:gd name="connsiteY4" fmla="*/ 0 h 14912"/>
                <a:gd name="connsiteX5" fmla="*/ 60474 w 60473"/>
                <a:gd name="connsiteY5" fmla="*/ 7456 h 14912"/>
                <a:gd name="connsiteX6" fmla="*/ 52929 w 60473"/>
                <a:gd name="connsiteY6" fmla="*/ 14912 h 14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473" h="14912">
                  <a:moveTo>
                    <a:pt x="52929" y="14912"/>
                  </a:moveTo>
                  <a:lnTo>
                    <a:pt x="7545" y="14912"/>
                  </a:lnTo>
                  <a:cubicBezTo>
                    <a:pt x="3378" y="14912"/>
                    <a:pt x="0" y="11574"/>
                    <a:pt x="0" y="7456"/>
                  </a:cubicBezTo>
                  <a:cubicBezTo>
                    <a:pt x="0" y="3338"/>
                    <a:pt x="3378" y="0"/>
                    <a:pt x="7545" y="0"/>
                  </a:cubicBezTo>
                  <a:lnTo>
                    <a:pt x="52929" y="0"/>
                  </a:lnTo>
                  <a:cubicBezTo>
                    <a:pt x="57096" y="0"/>
                    <a:pt x="60474" y="3338"/>
                    <a:pt x="60474" y="7456"/>
                  </a:cubicBezTo>
                  <a:cubicBezTo>
                    <a:pt x="60474" y="11574"/>
                    <a:pt x="57096" y="14912"/>
                    <a:pt x="52929" y="14912"/>
                  </a:cubicBez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04" name="Freeform 403">
              <a:extLst>
                <a:ext uri="{FF2B5EF4-FFF2-40B4-BE49-F238E27FC236}">
                  <a16:creationId xmlns:a16="http://schemas.microsoft.com/office/drawing/2014/main" id="{A2F63090-92CC-96D5-323F-CDC2175B3F3A}"/>
                </a:ext>
              </a:extLst>
            </p:cNvPr>
            <p:cNvSpPr/>
            <p:nvPr/>
          </p:nvSpPr>
          <p:spPr>
            <a:xfrm>
              <a:off x="7569091" y="3431550"/>
              <a:ext cx="224819" cy="122669"/>
            </a:xfrm>
            <a:custGeom>
              <a:avLst/>
              <a:gdLst>
                <a:gd name="connsiteX0" fmla="*/ 195569 w 224819"/>
                <a:gd name="connsiteY0" fmla="*/ 532 h 122669"/>
                <a:gd name="connsiteX1" fmla="*/ 167247 w 224819"/>
                <a:gd name="connsiteY1" fmla="*/ 28549 h 122669"/>
                <a:gd name="connsiteX2" fmla="*/ 170104 w 224819"/>
                <a:gd name="connsiteY2" fmla="*/ 40468 h 122669"/>
                <a:gd name="connsiteX3" fmla="*/ 141525 w 224819"/>
                <a:gd name="connsiteY3" fmla="*/ 68711 h 122669"/>
                <a:gd name="connsiteX4" fmla="*/ 129436 w 224819"/>
                <a:gd name="connsiteY4" fmla="*/ 65887 h 122669"/>
                <a:gd name="connsiteX5" fmla="*/ 117347 w 224819"/>
                <a:gd name="connsiteY5" fmla="*/ 68711 h 122669"/>
                <a:gd name="connsiteX6" fmla="*/ 88768 w 224819"/>
                <a:gd name="connsiteY6" fmla="*/ 40468 h 122669"/>
                <a:gd name="connsiteX7" fmla="*/ 91625 w 224819"/>
                <a:gd name="connsiteY7" fmla="*/ 28521 h 122669"/>
                <a:gd name="connsiteX8" fmla="*/ 63789 w 224819"/>
                <a:gd name="connsiteY8" fmla="*/ 5 h 122669"/>
                <a:gd name="connsiteX9" fmla="*/ 34933 w 224819"/>
                <a:gd name="connsiteY9" fmla="*/ 27513 h 122669"/>
                <a:gd name="connsiteX10" fmla="*/ 37868 w 224819"/>
                <a:gd name="connsiteY10" fmla="*/ 40440 h 122669"/>
                <a:gd name="connsiteX11" fmla="*/ 0 w 224819"/>
                <a:gd name="connsiteY11" fmla="*/ 77947 h 122669"/>
                <a:gd name="connsiteX12" fmla="*/ 13347 w 224819"/>
                <a:gd name="connsiteY12" fmla="*/ 91136 h 122669"/>
                <a:gd name="connsiteX13" fmla="*/ 51300 w 224819"/>
                <a:gd name="connsiteY13" fmla="*/ 53658 h 122669"/>
                <a:gd name="connsiteX14" fmla="*/ 75364 w 224819"/>
                <a:gd name="connsiteY14" fmla="*/ 53658 h 122669"/>
                <a:gd name="connsiteX15" fmla="*/ 103943 w 224819"/>
                <a:gd name="connsiteY15" fmla="*/ 81901 h 122669"/>
                <a:gd name="connsiteX16" fmla="*/ 101085 w 224819"/>
                <a:gd name="connsiteY16" fmla="*/ 93763 h 122669"/>
                <a:gd name="connsiteX17" fmla="*/ 128521 w 224819"/>
                <a:gd name="connsiteY17" fmla="*/ 122655 h 122669"/>
                <a:gd name="connsiteX18" fmla="*/ 157758 w 224819"/>
                <a:gd name="connsiteY18" fmla="*/ 95542 h 122669"/>
                <a:gd name="connsiteX19" fmla="*/ 157758 w 224819"/>
                <a:gd name="connsiteY19" fmla="*/ 93763 h 122669"/>
                <a:gd name="connsiteX20" fmla="*/ 154900 w 224819"/>
                <a:gd name="connsiteY20" fmla="*/ 81872 h 122669"/>
                <a:gd name="connsiteX21" fmla="*/ 183480 w 224819"/>
                <a:gd name="connsiteY21" fmla="*/ 53629 h 122669"/>
                <a:gd name="connsiteX22" fmla="*/ 195512 w 224819"/>
                <a:gd name="connsiteY22" fmla="*/ 56454 h 122669"/>
                <a:gd name="connsiteX23" fmla="*/ 224805 w 224819"/>
                <a:gd name="connsiteY23" fmla="*/ 29284 h 122669"/>
                <a:gd name="connsiteX24" fmla="*/ 197312 w 224819"/>
                <a:gd name="connsiteY24" fmla="*/ 335 h 122669"/>
                <a:gd name="connsiteX25" fmla="*/ 195512 w 224819"/>
                <a:gd name="connsiteY25" fmla="*/ 335 h 122669"/>
                <a:gd name="connsiteX26" fmla="*/ 53901 w 224819"/>
                <a:gd name="connsiteY26" fmla="*/ 28578 h 122669"/>
                <a:gd name="connsiteX27" fmla="*/ 63332 w 224819"/>
                <a:gd name="connsiteY27" fmla="*/ 19201 h 122669"/>
                <a:gd name="connsiteX28" fmla="*/ 72820 w 224819"/>
                <a:gd name="connsiteY28" fmla="*/ 28521 h 122669"/>
                <a:gd name="connsiteX29" fmla="*/ 63389 w 224819"/>
                <a:gd name="connsiteY29" fmla="*/ 37898 h 122669"/>
                <a:gd name="connsiteX30" fmla="*/ 63389 w 224819"/>
                <a:gd name="connsiteY30" fmla="*/ 37898 h 122669"/>
                <a:gd name="connsiteX31" fmla="*/ 53901 w 224819"/>
                <a:gd name="connsiteY31" fmla="*/ 28578 h 122669"/>
                <a:gd name="connsiteX32" fmla="*/ 129608 w 224819"/>
                <a:gd name="connsiteY32" fmla="*/ 103224 h 122669"/>
                <a:gd name="connsiteX33" fmla="*/ 120148 w 224819"/>
                <a:gd name="connsiteY33" fmla="*/ 93876 h 122669"/>
                <a:gd name="connsiteX34" fmla="*/ 129608 w 224819"/>
                <a:gd name="connsiteY34" fmla="*/ 84527 h 122669"/>
                <a:gd name="connsiteX35" fmla="*/ 139067 w 224819"/>
                <a:gd name="connsiteY35" fmla="*/ 93876 h 122669"/>
                <a:gd name="connsiteX36" fmla="*/ 129608 w 224819"/>
                <a:gd name="connsiteY36" fmla="*/ 103224 h 122669"/>
                <a:gd name="connsiteX37" fmla="*/ 195712 w 224819"/>
                <a:gd name="connsiteY37" fmla="*/ 37870 h 122669"/>
                <a:gd name="connsiteX38" fmla="*/ 186252 w 224819"/>
                <a:gd name="connsiteY38" fmla="*/ 28521 h 122669"/>
                <a:gd name="connsiteX39" fmla="*/ 195712 w 224819"/>
                <a:gd name="connsiteY39" fmla="*/ 19173 h 122669"/>
                <a:gd name="connsiteX40" fmla="*/ 205171 w 224819"/>
                <a:gd name="connsiteY40" fmla="*/ 28521 h 122669"/>
                <a:gd name="connsiteX41" fmla="*/ 205171 w 224819"/>
                <a:gd name="connsiteY41" fmla="*/ 28521 h 122669"/>
                <a:gd name="connsiteX42" fmla="*/ 195740 w 224819"/>
                <a:gd name="connsiteY42" fmla="*/ 37841 h 12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24819" h="122669">
                  <a:moveTo>
                    <a:pt x="195569" y="532"/>
                  </a:moveTo>
                  <a:cubicBezTo>
                    <a:pt x="179929" y="563"/>
                    <a:pt x="167262" y="13093"/>
                    <a:pt x="167247" y="28549"/>
                  </a:cubicBezTo>
                  <a:cubicBezTo>
                    <a:pt x="167273" y="32685"/>
                    <a:pt x="168250" y="36761"/>
                    <a:pt x="170104" y="40468"/>
                  </a:cubicBezTo>
                  <a:lnTo>
                    <a:pt x="141525" y="68711"/>
                  </a:lnTo>
                  <a:cubicBezTo>
                    <a:pt x="137754" y="66905"/>
                    <a:pt x="133627" y="65941"/>
                    <a:pt x="129436" y="65887"/>
                  </a:cubicBezTo>
                  <a:cubicBezTo>
                    <a:pt x="125242" y="65912"/>
                    <a:pt x="121109" y="66878"/>
                    <a:pt x="117347" y="68711"/>
                  </a:cubicBezTo>
                  <a:lnTo>
                    <a:pt x="88768" y="40468"/>
                  </a:lnTo>
                  <a:cubicBezTo>
                    <a:pt x="90622" y="36751"/>
                    <a:pt x="91599" y="32666"/>
                    <a:pt x="91625" y="28521"/>
                  </a:cubicBezTo>
                  <a:cubicBezTo>
                    <a:pt x="91907" y="13050"/>
                    <a:pt x="79444" y="283"/>
                    <a:pt x="63789" y="5"/>
                  </a:cubicBezTo>
                  <a:cubicBezTo>
                    <a:pt x="48134" y="-274"/>
                    <a:pt x="35215" y="12043"/>
                    <a:pt x="34933" y="27513"/>
                  </a:cubicBezTo>
                  <a:cubicBezTo>
                    <a:pt x="34852" y="31992"/>
                    <a:pt x="35858" y="36425"/>
                    <a:pt x="37868" y="40440"/>
                  </a:cubicBezTo>
                  <a:lnTo>
                    <a:pt x="0" y="77947"/>
                  </a:lnTo>
                  <a:lnTo>
                    <a:pt x="13347" y="91136"/>
                  </a:lnTo>
                  <a:lnTo>
                    <a:pt x="51300" y="53658"/>
                  </a:lnTo>
                  <a:cubicBezTo>
                    <a:pt x="58858" y="57470"/>
                    <a:pt x="67806" y="57470"/>
                    <a:pt x="75364" y="53658"/>
                  </a:cubicBezTo>
                  <a:lnTo>
                    <a:pt x="103943" y="81901"/>
                  </a:lnTo>
                  <a:cubicBezTo>
                    <a:pt x="102103" y="85593"/>
                    <a:pt x="101126" y="89647"/>
                    <a:pt x="101085" y="93763"/>
                  </a:cubicBezTo>
                  <a:cubicBezTo>
                    <a:pt x="100588" y="109228"/>
                    <a:pt x="112872" y="122164"/>
                    <a:pt x="128521" y="122655"/>
                  </a:cubicBezTo>
                  <a:cubicBezTo>
                    <a:pt x="144171" y="123147"/>
                    <a:pt x="157261" y="111008"/>
                    <a:pt x="157758" y="95542"/>
                  </a:cubicBezTo>
                  <a:cubicBezTo>
                    <a:pt x="157758" y="94940"/>
                    <a:pt x="157758" y="94347"/>
                    <a:pt x="157758" y="93763"/>
                  </a:cubicBezTo>
                  <a:cubicBezTo>
                    <a:pt x="157704" y="89640"/>
                    <a:pt x="156728" y="85579"/>
                    <a:pt x="154900" y="81872"/>
                  </a:cubicBezTo>
                  <a:lnTo>
                    <a:pt x="183480" y="53629"/>
                  </a:lnTo>
                  <a:cubicBezTo>
                    <a:pt x="187226" y="55448"/>
                    <a:pt x="191339" y="56414"/>
                    <a:pt x="195512" y="56454"/>
                  </a:cubicBezTo>
                  <a:cubicBezTo>
                    <a:pt x="211193" y="56945"/>
                    <a:pt x="224308" y="44780"/>
                    <a:pt x="224805" y="29284"/>
                  </a:cubicBezTo>
                  <a:cubicBezTo>
                    <a:pt x="225303" y="13787"/>
                    <a:pt x="212994" y="826"/>
                    <a:pt x="197312" y="335"/>
                  </a:cubicBezTo>
                  <a:lnTo>
                    <a:pt x="195512" y="335"/>
                  </a:lnTo>
                  <a:close/>
                  <a:moveTo>
                    <a:pt x="53901" y="28578"/>
                  </a:moveTo>
                  <a:cubicBezTo>
                    <a:pt x="53885" y="23414"/>
                    <a:pt x="58107" y="19216"/>
                    <a:pt x="63332" y="19201"/>
                  </a:cubicBezTo>
                  <a:cubicBezTo>
                    <a:pt x="68557" y="19185"/>
                    <a:pt x="72805" y="23358"/>
                    <a:pt x="72820" y="28521"/>
                  </a:cubicBezTo>
                  <a:cubicBezTo>
                    <a:pt x="72836" y="33684"/>
                    <a:pt x="68613" y="37882"/>
                    <a:pt x="63389" y="37898"/>
                  </a:cubicBezTo>
                  <a:lnTo>
                    <a:pt x="63389" y="37898"/>
                  </a:lnTo>
                  <a:cubicBezTo>
                    <a:pt x="58171" y="37898"/>
                    <a:pt x="53932" y="33734"/>
                    <a:pt x="53901" y="28578"/>
                  </a:cubicBezTo>
                  <a:close/>
                  <a:moveTo>
                    <a:pt x="129608" y="103224"/>
                  </a:moveTo>
                  <a:cubicBezTo>
                    <a:pt x="124383" y="103224"/>
                    <a:pt x="120148" y="99039"/>
                    <a:pt x="120148" y="93876"/>
                  </a:cubicBezTo>
                  <a:cubicBezTo>
                    <a:pt x="120148" y="88713"/>
                    <a:pt x="124383" y="84527"/>
                    <a:pt x="129608" y="84527"/>
                  </a:cubicBezTo>
                  <a:cubicBezTo>
                    <a:pt x="134832" y="84527"/>
                    <a:pt x="139067" y="88713"/>
                    <a:pt x="139067" y="93876"/>
                  </a:cubicBezTo>
                  <a:cubicBezTo>
                    <a:pt x="139067" y="99039"/>
                    <a:pt x="134832" y="103224"/>
                    <a:pt x="129608" y="103224"/>
                  </a:cubicBezTo>
                  <a:close/>
                  <a:moveTo>
                    <a:pt x="195712" y="37870"/>
                  </a:moveTo>
                  <a:cubicBezTo>
                    <a:pt x="190487" y="37870"/>
                    <a:pt x="186252" y="33684"/>
                    <a:pt x="186252" y="28521"/>
                  </a:cubicBezTo>
                  <a:cubicBezTo>
                    <a:pt x="186252" y="23358"/>
                    <a:pt x="190487" y="19173"/>
                    <a:pt x="195712" y="19173"/>
                  </a:cubicBezTo>
                  <a:cubicBezTo>
                    <a:pt x="200936" y="19173"/>
                    <a:pt x="205171" y="23358"/>
                    <a:pt x="205171" y="28521"/>
                  </a:cubicBezTo>
                  <a:lnTo>
                    <a:pt x="205171" y="28521"/>
                  </a:lnTo>
                  <a:cubicBezTo>
                    <a:pt x="205171" y="33668"/>
                    <a:pt x="200950" y="37841"/>
                    <a:pt x="195740" y="37841"/>
                  </a:cubicBez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05" name="Freeform 404">
              <a:extLst>
                <a:ext uri="{FF2B5EF4-FFF2-40B4-BE49-F238E27FC236}">
                  <a16:creationId xmlns:a16="http://schemas.microsoft.com/office/drawing/2014/main" id="{765BB4C1-FFA3-7B3F-7347-3EFC5F69704F}"/>
                </a:ext>
              </a:extLst>
            </p:cNvPr>
            <p:cNvSpPr/>
            <p:nvPr/>
          </p:nvSpPr>
          <p:spPr>
            <a:xfrm>
              <a:off x="7467205" y="3335857"/>
              <a:ext cx="453354" cy="433012"/>
            </a:xfrm>
            <a:custGeom>
              <a:avLst/>
              <a:gdLst>
                <a:gd name="connsiteX0" fmla="*/ 324890 w 453354"/>
                <a:gd name="connsiteY0" fmla="*/ 388286 h 433012"/>
                <a:gd name="connsiteX1" fmla="*/ 309801 w 453354"/>
                <a:gd name="connsiteY1" fmla="*/ 388286 h 433012"/>
                <a:gd name="connsiteX2" fmla="*/ 272219 w 453354"/>
                <a:gd name="connsiteY2" fmla="*/ 343493 h 433012"/>
                <a:gd name="connsiteX3" fmla="*/ 304656 w 453354"/>
                <a:gd name="connsiteY3" fmla="*/ 343493 h 433012"/>
                <a:gd name="connsiteX4" fmla="*/ 298369 w 453354"/>
                <a:gd name="connsiteY4" fmla="*/ 328552 h 433012"/>
                <a:gd name="connsiteX5" fmla="*/ 30237 w 453354"/>
                <a:gd name="connsiteY5" fmla="*/ 328552 h 433012"/>
                <a:gd name="connsiteX6" fmla="*/ 15118 w 453354"/>
                <a:gd name="connsiteY6" fmla="*/ 313612 h 433012"/>
                <a:gd name="connsiteX7" fmla="*/ 15118 w 453354"/>
                <a:gd name="connsiteY7" fmla="*/ 313499 h 433012"/>
                <a:gd name="connsiteX8" fmla="*/ 15118 w 453354"/>
                <a:gd name="connsiteY8" fmla="*/ 313499 h 433012"/>
                <a:gd name="connsiteX9" fmla="*/ 15118 w 453354"/>
                <a:gd name="connsiteY9" fmla="*/ 283759 h 433012"/>
                <a:gd name="connsiteX10" fmla="*/ 292053 w 453354"/>
                <a:gd name="connsiteY10" fmla="*/ 283759 h 433012"/>
                <a:gd name="connsiteX11" fmla="*/ 293710 w 453354"/>
                <a:gd name="connsiteY11" fmla="*/ 268818 h 433012"/>
                <a:gd name="connsiteX12" fmla="*/ 45327 w 453354"/>
                <a:gd name="connsiteY12" fmla="*/ 268818 h 433012"/>
                <a:gd name="connsiteX13" fmla="*/ 45327 w 453354"/>
                <a:gd name="connsiteY13" fmla="*/ 44850 h 433012"/>
                <a:gd name="connsiteX14" fmla="*/ 408028 w 453354"/>
                <a:gd name="connsiteY14" fmla="*/ 44850 h 433012"/>
                <a:gd name="connsiteX15" fmla="*/ 408028 w 453354"/>
                <a:gd name="connsiteY15" fmla="*/ 168188 h 433012"/>
                <a:gd name="connsiteX16" fmla="*/ 415001 w 453354"/>
                <a:gd name="connsiteY16" fmla="*/ 167990 h 433012"/>
                <a:gd name="connsiteX17" fmla="*/ 423146 w 453354"/>
                <a:gd name="connsiteY17" fmla="*/ 168273 h 433012"/>
                <a:gd name="connsiteX18" fmla="*/ 423146 w 453354"/>
                <a:gd name="connsiteY18" fmla="*/ 37337 h 433012"/>
                <a:gd name="connsiteX19" fmla="*/ 415573 w 453354"/>
                <a:gd name="connsiteY19" fmla="*/ 29881 h 433012"/>
                <a:gd name="connsiteX20" fmla="*/ 37896 w 453354"/>
                <a:gd name="connsiteY20" fmla="*/ 29881 h 433012"/>
                <a:gd name="connsiteX21" fmla="*/ 30323 w 453354"/>
                <a:gd name="connsiteY21" fmla="*/ 37337 h 433012"/>
                <a:gd name="connsiteX22" fmla="*/ 30323 w 453354"/>
                <a:gd name="connsiteY22" fmla="*/ 268931 h 433012"/>
                <a:gd name="connsiteX23" fmla="*/ 15033 w 453354"/>
                <a:gd name="connsiteY23" fmla="*/ 268931 h 433012"/>
                <a:gd name="connsiteX24" fmla="*/ 15033 w 453354"/>
                <a:gd name="connsiteY24" fmla="*/ 29881 h 433012"/>
                <a:gd name="connsiteX25" fmla="*/ 30151 w 453354"/>
                <a:gd name="connsiteY25" fmla="*/ 14941 h 433012"/>
                <a:gd name="connsiteX26" fmla="*/ 423118 w 453354"/>
                <a:gd name="connsiteY26" fmla="*/ 14941 h 433012"/>
                <a:gd name="connsiteX27" fmla="*/ 438236 w 453354"/>
                <a:gd name="connsiteY27" fmla="*/ 29881 h 433012"/>
                <a:gd name="connsiteX28" fmla="*/ 438236 w 453354"/>
                <a:gd name="connsiteY28" fmla="*/ 170108 h 433012"/>
                <a:gd name="connsiteX29" fmla="*/ 453355 w 453354"/>
                <a:gd name="connsiteY29" fmla="*/ 173978 h 433012"/>
                <a:gd name="connsiteX30" fmla="*/ 453355 w 453354"/>
                <a:gd name="connsiteY30" fmla="*/ 29938 h 433012"/>
                <a:gd name="connsiteX31" fmla="*/ 423118 w 453354"/>
                <a:gd name="connsiteY31" fmla="*/ 0 h 433012"/>
                <a:gd name="connsiteX32" fmla="*/ 30237 w 453354"/>
                <a:gd name="connsiteY32" fmla="*/ 0 h 433012"/>
                <a:gd name="connsiteX33" fmla="*/ 0 w 453354"/>
                <a:gd name="connsiteY33" fmla="*/ 29881 h 433012"/>
                <a:gd name="connsiteX34" fmla="*/ 0 w 453354"/>
                <a:gd name="connsiteY34" fmla="*/ 313499 h 433012"/>
                <a:gd name="connsiteX35" fmla="*/ 30237 w 453354"/>
                <a:gd name="connsiteY35" fmla="*/ 343380 h 433012"/>
                <a:gd name="connsiteX36" fmla="*/ 181108 w 453354"/>
                <a:gd name="connsiteY36" fmla="*/ 343380 h 433012"/>
                <a:gd name="connsiteX37" fmla="*/ 143554 w 453354"/>
                <a:gd name="connsiteY37" fmla="*/ 388173 h 433012"/>
                <a:gd name="connsiteX38" fmla="*/ 128436 w 453354"/>
                <a:gd name="connsiteY38" fmla="*/ 388173 h 433012"/>
                <a:gd name="connsiteX39" fmla="*/ 106563 w 453354"/>
                <a:gd name="connsiteY39" fmla="*/ 411381 h 433012"/>
                <a:gd name="connsiteX40" fmla="*/ 128436 w 453354"/>
                <a:gd name="connsiteY40" fmla="*/ 432995 h 433012"/>
                <a:gd name="connsiteX41" fmla="*/ 324890 w 453354"/>
                <a:gd name="connsiteY41" fmla="*/ 432995 h 433012"/>
                <a:gd name="connsiteX42" fmla="*/ 348454 w 453354"/>
                <a:gd name="connsiteY42" fmla="*/ 411466 h 433012"/>
                <a:gd name="connsiteX43" fmla="*/ 326668 w 453354"/>
                <a:gd name="connsiteY43" fmla="*/ 388179 h 433012"/>
                <a:gd name="connsiteX44" fmla="*/ 326491 w 453354"/>
                <a:gd name="connsiteY44" fmla="*/ 388173 h 433012"/>
                <a:gd name="connsiteX45" fmla="*/ 196283 w 453354"/>
                <a:gd name="connsiteY45" fmla="*/ 343493 h 433012"/>
                <a:gd name="connsiteX46" fmla="*/ 257214 w 453354"/>
                <a:gd name="connsiteY46" fmla="*/ 343493 h 433012"/>
                <a:gd name="connsiteX47" fmla="*/ 273105 w 453354"/>
                <a:gd name="connsiteY47" fmla="*/ 388286 h 433012"/>
                <a:gd name="connsiteX48" fmla="*/ 180364 w 453354"/>
                <a:gd name="connsiteY48" fmla="*/ 388286 h 433012"/>
                <a:gd name="connsiteX49" fmla="*/ 196255 w 453354"/>
                <a:gd name="connsiteY49" fmla="*/ 343493 h 433012"/>
                <a:gd name="connsiteX50" fmla="*/ 324890 w 453354"/>
                <a:gd name="connsiteY50" fmla="*/ 418168 h 433012"/>
                <a:gd name="connsiteX51" fmla="*/ 128436 w 453354"/>
                <a:gd name="connsiteY51" fmla="*/ 418168 h 433012"/>
                <a:gd name="connsiteX52" fmla="*/ 121341 w 453354"/>
                <a:gd name="connsiteY52" fmla="*/ 410237 h 433012"/>
                <a:gd name="connsiteX53" fmla="*/ 128436 w 453354"/>
                <a:gd name="connsiteY53" fmla="*/ 403227 h 433012"/>
                <a:gd name="connsiteX54" fmla="*/ 324890 w 453354"/>
                <a:gd name="connsiteY54" fmla="*/ 403227 h 433012"/>
                <a:gd name="connsiteX55" fmla="*/ 332921 w 453354"/>
                <a:gd name="connsiteY55" fmla="*/ 410231 h 433012"/>
                <a:gd name="connsiteX56" fmla="*/ 325834 w 453354"/>
                <a:gd name="connsiteY56" fmla="*/ 418168 h 433012"/>
                <a:gd name="connsiteX57" fmla="*/ 324890 w 453354"/>
                <a:gd name="connsiteY57" fmla="*/ 418168 h 43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53354" h="433012">
                  <a:moveTo>
                    <a:pt x="324890" y="388286"/>
                  </a:moveTo>
                  <a:lnTo>
                    <a:pt x="309801" y="388286"/>
                  </a:lnTo>
                  <a:cubicBezTo>
                    <a:pt x="286594" y="388286"/>
                    <a:pt x="273991" y="373233"/>
                    <a:pt x="272219" y="343493"/>
                  </a:cubicBezTo>
                  <a:lnTo>
                    <a:pt x="304656" y="343493"/>
                  </a:lnTo>
                  <a:cubicBezTo>
                    <a:pt x="302218" y="338660"/>
                    <a:pt x="300118" y="333667"/>
                    <a:pt x="298369" y="328552"/>
                  </a:cubicBezTo>
                  <a:lnTo>
                    <a:pt x="30237" y="328552"/>
                  </a:lnTo>
                  <a:cubicBezTo>
                    <a:pt x="21887" y="328552"/>
                    <a:pt x="15118" y="321864"/>
                    <a:pt x="15118" y="313612"/>
                  </a:cubicBezTo>
                  <a:cubicBezTo>
                    <a:pt x="15118" y="313575"/>
                    <a:pt x="15118" y="313535"/>
                    <a:pt x="15118" y="313499"/>
                  </a:cubicBezTo>
                  <a:lnTo>
                    <a:pt x="15118" y="313499"/>
                  </a:lnTo>
                  <a:lnTo>
                    <a:pt x="15118" y="283759"/>
                  </a:lnTo>
                  <a:lnTo>
                    <a:pt x="292053" y="283759"/>
                  </a:lnTo>
                  <a:cubicBezTo>
                    <a:pt x="292304" y="278750"/>
                    <a:pt x="292859" y="273761"/>
                    <a:pt x="293710" y="268818"/>
                  </a:cubicBezTo>
                  <a:lnTo>
                    <a:pt x="45327" y="268818"/>
                  </a:lnTo>
                  <a:lnTo>
                    <a:pt x="45327" y="44850"/>
                  </a:lnTo>
                  <a:lnTo>
                    <a:pt x="408028" y="44850"/>
                  </a:lnTo>
                  <a:lnTo>
                    <a:pt x="408028" y="168188"/>
                  </a:lnTo>
                  <a:cubicBezTo>
                    <a:pt x="410343" y="168188"/>
                    <a:pt x="412658" y="167990"/>
                    <a:pt x="415001" y="167990"/>
                  </a:cubicBezTo>
                  <a:cubicBezTo>
                    <a:pt x="417719" y="167949"/>
                    <a:pt x="420437" y="168044"/>
                    <a:pt x="423146" y="168273"/>
                  </a:cubicBezTo>
                  <a:lnTo>
                    <a:pt x="423146" y="37337"/>
                  </a:lnTo>
                  <a:cubicBezTo>
                    <a:pt x="423129" y="33215"/>
                    <a:pt x="419745" y="29881"/>
                    <a:pt x="415573" y="29881"/>
                  </a:cubicBezTo>
                  <a:lnTo>
                    <a:pt x="37896" y="29881"/>
                  </a:lnTo>
                  <a:cubicBezTo>
                    <a:pt x="33725" y="29881"/>
                    <a:pt x="30338" y="33215"/>
                    <a:pt x="30323" y="37337"/>
                  </a:cubicBezTo>
                  <a:lnTo>
                    <a:pt x="30323" y="268931"/>
                  </a:lnTo>
                  <a:lnTo>
                    <a:pt x="15033" y="268931"/>
                  </a:lnTo>
                  <a:lnTo>
                    <a:pt x="15033" y="29881"/>
                  </a:lnTo>
                  <a:cubicBezTo>
                    <a:pt x="15033" y="21630"/>
                    <a:pt x="21802" y="14941"/>
                    <a:pt x="30151" y="14941"/>
                  </a:cubicBezTo>
                  <a:lnTo>
                    <a:pt x="423118" y="14941"/>
                  </a:lnTo>
                  <a:cubicBezTo>
                    <a:pt x="431469" y="14941"/>
                    <a:pt x="438236" y="21630"/>
                    <a:pt x="438236" y="29881"/>
                  </a:cubicBezTo>
                  <a:lnTo>
                    <a:pt x="438236" y="170108"/>
                  </a:lnTo>
                  <a:cubicBezTo>
                    <a:pt x="443355" y="171072"/>
                    <a:pt x="448405" y="172364"/>
                    <a:pt x="453355" y="173978"/>
                  </a:cubicBezTo>
                  <a:lnTo>
                    <a:pt x="453355" y="29938"/>
                  </a:lnTo>
                  <a:cubicBezTo>
                    <a:pt x="453355" y="13426"/>
                    <a:pt x="439825" y="31"/>
                    <a:pt x="423118" y="0"/>
                  </a:cubicBezTo>
                  <a:lnTo>
                    <a:pt x="30237" y="0"/>
                  </a:lnTo>
                  <a:cubicBezTo>
                    <a:pt x="13551" y="31"/>
                    <a:pt x="31" y="13391"/>
                    <a:pt x="0" y="29881"/>
                  </a:cubicBezTo>
                  <a:lnTo>
                    <a:pt x="0" y="313499"/>
                  </a:lnTo>
                  <a:cubicBezTo>
                    <a:pt x="31" y="329990"/>
                    <a:pt x="13551" y="343349"/>
                    <a:pt x="30237" y="343380"/>
                  </a:cubicBezTo>
                  <a:lnTo>
                    <a:pt x="181108" y="343380"/>
                  </a:lnTo>
                  <a:cubicBezTo>
                    <a:pt x="179364" y="373120"/>
                    <a:pt x="166818" y="388173"/>
                    <a:pt x="143554" y="388173"/>
                  </a:cubicBezTo>
                  <a:lnTo>
                    <a:pt x="128436" y="388173"/>
                  </a:lnTo>
                  <a:cubicBezTo>
                    <a:pt x="115911" y="388614"/>
                    <a:pt x="106118" y="399002"/>
                    <a:pt x="106563" y="411381"/>
                  </a:cubicBezTo>
                  <a:cubicBezTo>
                    <a:pt x="106986" y="423141"/>
                    <a:pt x="116535" y="432577"/>
                    <a:pt x="128436" y="432995"/>
                  </a:cubicBezTo>
                  <a:lnTo>
                    <a:pt x="324890" y="432995"/>
                  </a:lnTo>
                  <a:cubicBezTo>
                    <a:pt x="337414" y="433481"/>
                    <a:pt x="347963" y="423842"/>
                    <a:pt x="348454" y="411466"/>
                  </a:cubicBezTo>
                  <a:cubicBezTo>
                    <a:pt x="348946" y="399092"/>
                    <a:pt x="339192" y="388665"/>
                    <a:pt x="326668" y="388179"/>
                  </a:cubicBezTo>
                  <a:cubicBezTo>
                    <a:pt x="326611" y="388176"/>
                    <a:pt x="326551" y="388176"/>
                    <a:pt x="326491" y="388173"/>
                  </a:cubicBezTo>
                  <a:close/>
                  <a:moveTo>
                    <a:pt x="196283" y="343493"/>
                  </a:moveTo>
                  <a:lnTo>
                    <a:pt x="257214" y="343493"/>
                  </a:lnTo>
                  <a:cubicBezTo>
                    <a:pt x="257182" y="359778"/>
                    <a:pt x="262789" y="375585"/>
                    <a:pt x="273105" y="388286"/>
                  </a:cubicBezTo>
                  <a:lnTo>
                    <a:pt x="180364" y="388286"/>
                  </a:lnTo>
                  <a:cubicBezTo>
                    <a:pt x="190655" y="375571"/>
                    <a:pt x="196259" y="359775"/>
                    <a:pt x="196255" y="343493"/>
                  </a:cubicBezTo>
                  <a:close/>
                  <a:moveTo>
                    <a:pt x="324890" y="418168"/>
                  </a:moveTo>
                  <a:lnTo>
                    <a:pt x="128436" y="418168"/>
                  </a:lnTo>
                  <a:cubicBezTo>
                    <a:pt x="124261" y="417913"/>
                    <a:pt x="121085" y="414363"/>
                    <a:pt x="121341" y="410237"/>
                  </a:cubicBezTo>
                  <a:cubicBezTo>
                    <a:pt x="121576" y="406466"/>
                    <a:pt x="124619" y="403459"/>
                    <a:pt x="128436" y="403227"/>
                  </a:cubicBezTo>
                  <a:lnTo>
                    <a:pt x="324890" y="403227"/>
                  </a:lnTo>
                  <a:cubicBezTo>
                    <a:pt x="329066" y="402970"/>
                    <a:pt x="332661" y="406105"/>
                    <a:pt x="332921" y="410231"/>
                  </a:cubicBezTo>
                  <a:cubicBezTo>
                    <a:pt x="333181" y="414358"/>
                    <a:pt x="330009" y="417911"/>
                    <a:pt x="325834" y="418168"/>
                  </a:cubicBezTo>
                  <a:cubicBezTo>
                    <a:pt x="325519" y="418196"/>
                    <a:pt x="325205" y="418196"/>
                    <a:pt x="324890" y="418168"/>
                  </a:cubicBez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06" name="Freeform 405">
              <a:extLst>
                <a:ext uri="{FF2B5EF4-FFF2-40B4-BE49-F238E27FC236}">
                  <a16:creationId xmlns:a16="http://schemas.microsoft.com/office/drawing/2014/main" id="{DA905F92-0A11-E73A-9ACA-CF56B316C84F}"/>
                </a:ext>
              </a:extLst>
            </p:cNvPr>
            <p:cNvSpPr/>
            <p:nvPr/>
          </p:nvSpPr>
          <p:spPr>
            <a:xfrm>
              <a:off x="7778687" y="3523840"/>
              <a:ext cx="283833" cy="280853"/>
            </a:xfrm>
            <a:custGeom>
              <a:avLst/>
              <a:gdLst>
                <a:gd name="connsiteX0" fmla="*/ 281083 w 283833"/>
                <a:gd name="connsiteY0" fmla="*/ 238686 h 280853"/>
                <a:gd name="connsiteX1" fmla="*/ 221810 w 283833"/>
                <a:gd name="connsiteY1" fmla="*/ 180110 h 280853"/>
                <a:gd name="connsiteX2" fmla="*/ 208435 w 283833"/>
                <a:gd name="connsiteY2" fmla="*/ 180110 h 280853"/>
                <a:gd name="connsiteX3" fmla="*/ 201947 w 283833"/>
                <a:gd name="connsiteY3" fmla="*/ 186521 h 280853"/>
                <a:gd name="connsiteX4" fmla="*/ 181942 w 283833"/>
                <a:gd name="connsiteY4" fmla="*/ 166751 h 280853"/>
                <a:gd name="connsiteX5" fmla="*/ 168735 w 283833"/>
                <a:gd name="connsiteY5" fmla="*/ 23554 h 280853"/>
                <a:gd name="connsiteX6" fmla="*/ 23835 w 283833"/>
                <a:gd name="connsiteY6" fmla="*/ 36604 h 280853"/>
                <a:gd name="connsiteX7" fmla="*/ 37038 w 283833"/>
                <a:gd name="connsiteY7" fmla="*/ 179802 h 280853"/>
                <a:gd name="connsiteX8" fmla="*/ 168566 w 283833"/>
                <a:gd name="connsiteY8" fmla="*/ 179941 h 280853"/>
                <a:gd name="connsiteX9" fmla="*/ 188572 w 283833"/>
                <a:gd name="connsiteY9" fmla="*/ 199711 h 280853"/>
                <a:gd name="connsiteX10" fmla="*/ 182056 w 283833"/>
                <a:gd name="connsiteY10" fmla="*/ 206150 h 280853"/>
                <a:gd name="connsiteX11" fmla="*/ 182047 w 283833"/>
                <a:gd name="connsiteY11" fmla="*/ 219331 h 280853"/>
                <a:gd name="connsiteX12" fmla="*/ 182056 w 283833"/>
                <a:gd name="connsiteY12" fmla="*/ 219340 h 280853"/>
                <a:gd name="connsiteX13" fmla="*/ 182056 w 283833"/>
                <a:gd name="connsiteY13" fmla="*/ 219340 h 280853"/>
                <a:gd name="connsiteX14" fmla="*/ 241358 w 283833"/>
                <a:gd name="connsiteY14" fmla="*/ 278029 h 280853"/>
                <a:gd name="connsiteX15" fmla="*/ 248017 w 283833"/>
                <a:gd name="connsiteY15" fmla="*/ 280853 h 280853"/>
                <a:gd name="connsiteX16" fmla="*/ 254705 w 283833"/>
                <a:gd name="connsiteY16" fmla="*/ 278029 h 280853"/>
                <a:gd name="connsiteX17" fmla="*/ 281055 w 283833"/>
                <a:gd name="connsiteY17" fmla="*/ 251989 h 280853"/>
                <a:gd name="connsiteX18" fmla="*/ 281103 w 283833"/>
                <a:gd name="connsiteY18" fmla="*/ 238847 h 280853"/>
                <a:gd name="connsiteX19" fmla="*/ 281055 w 283833"/>
                <a:gd name="connsiteY19" fmla="*/ 238799 h 280853"/>
                <a:gd name="connsiteX20" fmla="*/ 103063 w 283833"/>
                <a:gd name="connsiteY20" fmla="*/ 184827 h 280853"/>
                <a:gd name="connsiteX21" fmla="*/ 19354 w 283833"/>
                <a:gd name="connsiteY21" fmla="*/ 102046 h 280853"/>
                <a:gd name="connsiteX22" fmla="*/ 103120 w 283833"/>
                <a:gd name="connsiteY22" fmla="*/ 19322 h 280853"/>
                <a:gd name="connsiteX23" fmla="*/ 186829 w 283833"/>
                <a:gd name="connsiteY23" fmla="*/ 102103 h 280853"/>
                <a:gd name="connsiteX24" fmla="*/ 186829 w 283833"/>
                <a:gd name="connsiteY24" fmla="*/ 102103 h 280853"/>
                <a:gd name="connsiteX25" fmla="*/ 103063 w 283833"/>
                <a:gd name="connsiteY25" fmla="*/ 184827 h 280853"/>
                <a:gd name="connsiteX26" fmla="*/ 248046 w 283833"/>
                <a:gd name="connsiteY26" fmla="*/ 258259 h 280853"/>
                <a:gd name="connsiteX27" fmla="*/ 202119 w 283833"/>
                <a:gd name="connsiteY27" fmla="*/ 212731 h 280853"/>
                <a:gd name="connsiteX28" fmla="*/ 215122 w 283833"/>
                <a:gd name="connsiteY28" fmla="*/ 199908 h 280853"/>
                <a:gd name="connsiteX29" fmla="*/ 261049 w 283833"/>
                <a:gd name="connsiteY29" fmla="*/ 245295 h 280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83833" h="280853">
                  <a:moveTo>
                    <a:pt x="281083" y="238686"/>
                  </a:moveTo>
                  <a:lnTo>
                    <a:pt x="221810" y="180110"/>
                  </a:lnTo>
                  <a:cubicBezTo>
                    <a:pt x="218115" y="176461"/>
                    <a:pt x="212130" y="176461"/>
                    <a:pt x="208435" y="180110"/>
                  </a:cubicBezTo>
                  <a:lnTo>
                    <a:pt x="201947" y="186521"/>
                  </a:lnTo>
                  <a:lnTo>
                    <a:pt x="181942" y="166751"/>
                  </a:lnTo>
                  <a:cubicBezTo>
                    <a:pt x="218309" y="123604"/>
                    <a:pt x="212396" y="59493"/>
                    <a:pt x="168735" y="23554"/>
                  </a:cubicBezTo>
                  <a:cubicBezTo>
                    <a:pt x="125074" y="-12385"/>
                    <a:pt x="60202" y="-6542"/>
                    <a:pt x="23835" y="36604"/>
                  </a:cubicBezTo>
                  <a:cubicBezTo>
                    <a:pt x="-12533" y="79751"/>
                    <a:pt x="-6619" y="143863"/>
                    <a:pt x="37038" y="179802"/>
                  </a:cubicBezTo>
                  <a:cubicBezTo>
                    <a:pt x="75123" y="211152"/>
                    <a:pt x="130413" y="211209"/>
                    <a:pt x="168566" y="179941"/>
                  </a:cubicBezTo>
                  <a:lnTo>
                    <a:pt x="188572" y="199711"/>
                  </a:lnTo>
                  <a:lnTo>
                    <a:pt x="182056" y="206150"/>
                  </a:lnTo>
                  <a:cubicBezTo>
                    <a:pt x="178369" y="209788"/>
                    <a:pt x="178366" y="215688"/>
                    <a:pt x="182047" y="219331"/>
                  </a:cubicBezTo>
                  <a:cubicBezTo>
                    <a:pt x="182050" y="219334"/>
                    <a:pt x="182053" y="219337"/>
                    <a:pt x="182056" y="219340"/>
                  </a:cubicBezTo>
                  <a:lnTo>
                    <a:pt x="182056" y="219340"/>
                  </a:lnTo>
                  <a:lnTo>
                    <a:pt x="241358" y="278029"/>
                  </a:lnTo>
                  <a:cubicBezTo>
                    <a:pt x="243110" y="279808"/>
                    <a:pt x="245505" y="280825"/>
                    <a:pt x="248017" y="280853"/>
                  </a:cubicBezTo>
                  <a:cubicBezTo>
                    <a:pt x="250535" y="280822"/>
                    <a:pt x="252941" y="279805"/>
                    <a:pt x="254705" y="278029"/>
                  </a:cubicBezTo>
                  <a:lnTo>
                    <a:pt x="281055" y="251989"/>
                  </a:lnTo>
                  <a:cubicBezTo>
                    <a:pt x="284742" y="248374"/>
                    <a:pt x="284762" y="242491"/>
                    <a:pt x="281103" y="238847"/>
                  </a:cubicBezTo>
                  <a:cubicBezTo>
                    <a:pt x="281089" y="238830"/>
                    <a:pt x="281072" y="238816"/>
                    <a:pt x="281055" y="238799"/>
                  </a:cubicBezTo>
                  <a:close/>
                  <a:moveTo>
                    <a:pt x="103063" y="184827"/>
                  </a:moveTo>
                  <a:cubicBezTo>
                    <a:pt x="56815" y="184810"/>
                    <a:pt x="19336" y="147749"/>
                    <a:pt x="19354" y="102046"/>
                  </a:cubicBezTo>
                  <a:cubicBezTo>
                    <a:pt x="19371" y="56343"/>
                    <a:pt x="56873" y="19306"/>
                    <a:pt x="103120" y="19322"/>
                  </a:cubicBezTo>
                  <a:cubicBezTo>
                    <a:pt x="149367" y="19337"/>
                    <a:pt x="186846" y="56400"/>
                    <a:pt x="186829" y="102103"/>
                  </a:cubicBezTo>
                  <a:lnTo>
                    <a:pt x="186829" y="102103"/>
                  </a:lnTo>
                  <a:cubicBezTo>
                    <a:pt x="186812" y="147806"/>
                    <a:pt x="149310" y="184844"/>
                    <a:pt x="103063" y="184827"/>
                  </a:cubicBezTo>
                  <a:close/>
                  <a:moveTo>
                    <a:pt x="248046" y="258259"/>
                  </a:moveTo>
                  <a:lnTo>
                    <a:pt x="202119" y="212731"/>
                  </a:lnTo>
                  <a:lnTo>
                    <a:pt x="215122" y="199908"/>
                  </a:lnTo>
                  <a:lnTo>
                    <a:pt x="261049" y="245295"/>
                  </a:ln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07" name="Freeform 406">
              <a:extLst>
                <a:ext uri="{FF2B5EF4-FFF2-40B4-BE49-F238E27FC236}">
                  <a16:creationId xmlns:a16="http://schemas.microsoft.com/office/drawing/2014/main" id="{A328CDEE-D63A-F729-661D-F2B90036FEDF}"/>
                </a:ext>
              </a:extLst>
            </p:cNvPr>
            <p:cNvSpPr/>
            <p:nvPr/>
          </p:nvSpPr>
          <p:spPr>
            <a:xfrm>
              <a:off x="7883093" y="3561802"/>
              <a:ext cx="65989" cy="65382"/>
            </a:xfrm>
            <a:custGeom>
              <a:avLst/>
              <a:gdLst>
                <a:gd name="connsiteX0" fmla="*/ 0 w 65989"/>
                <a:gd name="connsiteY0" fmla="*/ 0 h 65382"/>
                <a:gd name="connsiteX1" fmla="*/ 0 w 65989"/>
                <a:gd name="connsiteY1" fmla="*/ 18669 h 65382"/>
                <a:gd name="connsiteX2" fmla="*/ 47099 w 65989"/>
                <a:gd name="connsiteY2" fmla="*/ 65383 h 65382"/>
                <a:gd name="connsiteX3" fmla="*/ 65990 w 65989"/>
                <a:gd name="connsiteY3" fmla="*/ 65383 h 65382"/>
                <a:gd name="connsiteX4" fmla="*/ 0 w 65989"/>
                <a:gd name="connsiteY4" fmla="*/ 0 h 65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89" h="65382">
                  <a:moveTo>
                    <a:pt x="0" y="0"/>
                  </a:moveTo>
                  <a:lnTo>
                    <a:pt x="0" y="18669"/>
                  </a:lnTo>
                  <a:cubicBezTo>
                    <a:pt x="26033" y="18777"/>
                    <a:pt x="47085" y="39656"/>
                    <a:pt x="47099" y="65383"/>
                  </a:cubicBezTo>
                  <a:lnTo>
                    <a:pt x="65990" y="65383"/>
                  </a:lnTo>
                  <a:cubicBezTo>
                    <a:pt x="65976" y="29345"/>
                    <a:pt x="36467" y="109"/>
                    <a:pt x="0" y="0"/>
                  </a:cubicBez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08" name="Graphic 39">
            <a:extLst>
              <a:ext uri="{FF2B5EF4-FFF2-40B4-BE49-F238E27FC236}">
                <a16:creationId xmlns:a16="http://schemas.microsoft.com/office/drawing/2014/main" id="{93B768D3-C8EA-3895-20A3-629B2524A0D3}"/>
              </a:ext>
            </a:extLst>
          </p:cNvPr>
          <p:cNvGrpSpPr/>
          <p:nvPr/>
        </p:nvGrpSpPr>
        <p:grpSpPr>
          <a:xfrm>
            <a:off x="3994736" y="5078822"/>
            <a:ext cx="343909" cy="336573"/>
            <a:chOff x="5162588" y="6004511"/>
            <a:chExt cx="480133" cy="480133"/>
          </a:xfrm>
          <a:solidFill>
            <a:schemeClr val="bg1"/>
          </a:solidFill>
        </p:grpSpPr>
        <p:sp>
          <p:nvSpPr>
            <p:cNvPr id="409" name="Freeform 408">
              <a:extLst>
                <a:ext uri="{FF2B5EF4-FFF2-40B4-BE49-F238E27FC236}">
                  <a16:creationId xmlns:a16="http://schemas.microsoft.com/office/drawing/2014/main" id="{890C6E22-3128-5262-10EE-F96E9778B70B}"/>
                </a:ext>
              </a:extLst>
            </p:cNvPr>
            <p:cNvSpPr/>
            <p:nvPr/>
          </p:nvSpPr>
          <p:spPr>
            <a:xfrm>
              <a:off x="5165889" y="6022957"/>
              <a:ext cx="485923" cy="458641"/>
            </a:xfrm>
            <a:custGeom>
              <a:avLst/>
              <a:gdLst>
                <a:gd name="connsiteX0" fmla="*/ 477791 w 485923"/>
                <a:gd name="connsiteY0" fmla="*/ 443352 h 458641"/>
                <a:gd name="connsiteX1" fmla="*/ 445382 w 485923"/>
                <a:gd name="connsiteY1" fmla="*/ 443352 h 458641"/>
                <a:gd name="connsiteX2" fmla="*/ 445382 w 485923"/>
                <a:gd name="connsiteY2" fmla="*/ 229302 h 458641"/>
                <a:gd name="connsiteX3" fmla="*/ 421106 w 485923"/>
                <a:gd name="connsiteY3" fmla="*/ 206376 h 458641"/>
                <a:gd name="connsiteX4" fmla="*/ 421106 w 485923"/>
                <a:gd name="connsiteY4" fmla="*/ 160523 h 458641"/>
                <a:gd name="connsiteX5" fmla="*/ 396799 w 485923"/>
                <a:gd name="connsiteY5" fmla="*/ 137597 h 458641"/>
                <a:gd name="connsiteX6" fmla="*/ 396799 w 485923"/>
                <a:gd name="connsiteY6" fmla="*/ 91714 h 458641"/>
                <a:gd name="connsiteX7" fmla="*/ 372522 w 485923"/>
                <a:gd name="connsiteY7" fmla="*/ 68788 h 458641"/>
                <a:gd name="connsiteX8" fmla="*/ 372522 w 485923"/>
                <a:gd name="connsiteY8" fmla="*/ 22935 h 458641"/>
                <a:gd name="connsiteX9" fmla="*/ 348216 w 485923"/>
                <a:gd name="connsiteY9" fmla="*/ 9 h 458641"/>
                <a:gd name="connsiteX10" fmla="*/ 137737 w 485923"/>
                <a:gd name="connsiteY10" fmla="*/ 9 h 458641"/>
                <a:gd name="connsiteX11" fmla="*/ 113461 w 485923"/>
                <a:gd name="connsiteY11" fmla="*/ 22935 h 458641"/>
                <a:gd name="connsiteX12" fmla="*/ 113461 w 485923"/>
                <a:gd name="connsiteY12" fmla="*/ 68788 h 458641"/>
                <a:gd name="connsiteX13" fmla="*/ 89154 w 485923"/>
                <a:gd name="connsiteY13" fmla="*/ 91714 h 458641"/>
                <a:gd name="connsiteX14" fmla="*/ 89154 w 485923"/>
                <a:gd name="connsiteY14" fmla="*/ 137597 h 458641"/>
                <a:gd name="connsiteX15" fmla="*/ 64877 w 485923"/>
                <a:gd name="connsiteY15" fmla="*/ 160523 h 458641"/>
                <a:gd name="connsiteX16" fmla="*/ 64877 w 485923"/>
                <a:gd name="connsiteY16" fmla="*/ 206376 h 458641"/>
                <a:gd name="connsiteX17" fmla="*/ 40570 w 485923"/>
                <a:gd name="connsiteY17" fmla="*/ 229302 h 458641"/>
                <a:gd name="connsiteX18" fmla="*/ 40570 w 485923"/>
                <a:gd name="connsiteY18" fmla="*/ 443352 h 458641"/>
                <a:gd name="connsiteX19" fmla="*/ 8131 w 485923"/>
                <a:gd name="connsiteY19" fmla="*/ 443352 h 458641"/>
                <a:gd name="connsiteX20" fmla="*/ 15 w 485923"/>
                <a:gd name="connsiteY20" fmla="*/ 450509 h 458641"/>
                <a:gd name="connsiteX21" fmla="*/ 7173 w 485923"/>
                <a:gd name="connsiteY21" fmla="*/ 458626 h 458641"/>
                <a:gd name="connsiteX22" fmla="*/ 8131 w 485923"/>
                <a:gd name="connsiteY22" fmla="*/ 458626 h 458641"/>
                <a:gd name="connsiteX23" fmla="*/ 477791 w 485923"/>
                <a:gd name="connsiteY23" fmla="*/ 458626 h 458641"/>
                <a:gd name="connsiteX24" fmla="*/ 485909 w 485923"/>
                <a:gd name="connsiteY24" fmla="*/ 451469 h 458641"/>
                <a:gd name="connsiteX25" fmla="*/ 478749 w 485923"/>
                <a:gd name="connsiteY25" fmla="*/ 443352 h 458641"/>
                <a:gd name="connsiteX26" fmla="*/ 477791 w 485923"/>
                <a:gd name="connsiteY26" fmla="*/ 443352 h 458641"/>
                <a:gd name="connsiteX27" fmla="*/ 129605 w 485923"/>
                <a:gd name="connsiteY27" fmla="*/ 22935 h 458641"/>
                <a:gd name="connsiteX28" fmla="*/ 137670 w 485923"/>
                <a:gd name="connsiteY28" fmla="*/ 15281 h 458641"/>
                <a:gd name="connsiteX29" fmla="*/ 137737 w 485923"/>
                <a:gd name="connsiteY29" fmla="*/ 15283 h 458641"/>
                <a:gd name="connsiteX30" fmla="*/ 348276 w 485923"/>
                <a:gd name="connsiteY30" fmla="*/ 15283 h 458641"/>
                <a:gd name="connsiteX31" fmla="*/ 356378 w 485923"/>
                <a:gd name="connsiteY31" fmla="*/ 22935 h 458641"/>
                <a:gd name="connsiteX32" fmla="*/ 356378 w 485923"/>
                <a:gd name="connsiteY32" fmla="*/ 68788 h 458641"/>
                <a:gd name="connsiteX33" fmla="*/ 234034 w 485923"/>
                <a:gd name="connsiteY33" fmla="*/ 68788 h 458641"/>
                <a:gd name="connsiteX34" fmla="*/ 183924 w 485923"/>
                <a:gd name="connsiteY34" fmla="*/ 39556 h 458641"/>
                <a:gd name="connsiteX35" fmla="*/ 154692 w 485923"/>
                <a:gd name="connsiteY35" fmla="*/ 68788 h 458641"/>
                <a:gd name="connsiteX36" fmla="*/ 129605 w 485923"/>
                <a:gd name="connsiteY36" fmla="*/ 68788 h 458641"/>
                <a:gd name="connsiteX37" fmla="*/ 129605 w 485923"/>
                <a:gd name="connsiteY37" fmla="*/ 22935 h 458641"/>
                <a:gd name="connsiteX38" fmla="*/ 217169 w 485923"/>
                <a:gd name="connsiteY38" fmla="*/ 68788 h 458641"/>
                <a:gd name="connsiteX39" fmla="*/ 171587 w 485923"/>
                <a:gd name="connsiteY39" fmla="*/ 68788 h 458641"/>
                <a:gd name="connsiteX40" fmla="*/ 203734 w 485923"/>
                <a:gd name="connsiteY40" fmla="*/ 55352 h 458641"/>
                <a:gd name="connsiteX41" fmla="*/ 217169 w 485923"/>
                <a:gd name="connsiteY41" fmla="*/ 68788 h 458641"/>
                <a:gd name="connsiteX42" fmla="*/ 105298 w 485923"/>
                <a:gd name="connsiteY42" fmla="*/ 91714 h 458641"/>
                <a:gd name="connsiteX43" fmla="*/ 113401 w 485923"/>
                <a:gd name="connsiteY43" fmla="*/ 84092 h 458641"/>
                <a:gd name="connsiteX44" fmla="*/ 372522 w 485923"/>
                <a:gd name="connsiteY44" fmla="*/ 84092 h 458641"/>
                <a:gd name="connsiteX45" fmla="*/ 380625 w 485923"/>
                <a:gd name="connsiteY45" fmla="*/ 91714 h 458641"/>
                <a:gd name="connsiteX46" fmla="*/ 380625 w 485923"/>
                <a:gd name="connsiteY46" fmla="*/ 137597 h 458641"/>
                <a:gd name="connsiteX47" fmla="*/ 209757 w 485923"/>
                <a:gd name="connsiteY47" fmla="*/ 137597 h 458641"/>
                <a:gd name="connsiteX48" fmla="*/ 159648 w 485923"/>
                <a:gd name="connsiteY48" fmla="*/ 108365 h 458641"/>
                <a:gd name="connsiteX49" fmla="*/ 130415 w 485923"/>
                <a:gd name="connsiteY49" fmla="*/ 137597 h 458641"/>
                <a:gd name="connsiteX50" fmla="*/ 105298 w 485923"/>
                <a:gd name="connsiteY50" fmla="*/ 137597 h 458641"/>
                <a:gd name="connsiteX51" fmla="*/ 105298 w 485923"/>
                <a:gd name="connsiteY51" fmla="*/ 91714 h 458641"/>
                <a:gd name="connsiteX52" fmla="*/ 192893 w 485923"/>
                <a:gd name="connsiteY52" fmla="*/ 137597 h 458641"/>
                <a:gd name="connsiteX53" fmla="*/ 147280 w 485923"/>
                <a:gd name="connsiteY53" fmla="*/ 137597 h 458641"/>
                <a:gd name="connsiteX54" fmla="*/ 179405 w 485923"/>
                <a:gd name="connsiteY54" fmla="*/ 124110 h 458641"/>
                <a:gd name="connsiteX55" fmla="*/ 192893 w 485923"/>
                <a:gd name="connsiteY55" fmla="*/ 137597 h 458641"/>
                <a:gd name="connsiteX56" fmla="*/ 81022 w 485923"/>
                <a:gd name="connsiteY56" fmla="*/ 160523 h 458641"/>
                <a:gd name="connsiteX57" fmla="*/ 89088 w 485923"/>
                <a:gd name="connsiteY57" fmla="*/ 152871 h 458641"/>
                <a:gd name="connsiteX58" fmla="*/ 89094 w 485923"/>
                <a:gd name="connsiteY58" fmla="*/ 152871 h 458641"/>
                <a:gd name="connsiteX59" fmla="*/ 396799 w 485923"/>
                <a:gd name="connsiteY59" fmla="*/ 152871 h 458641"/>
                <a:gd name="connsiteX60" fmla="*/ 404901 w 485923"/>
                <a:gd name="connsiteY60" fmla="*/ 160523 h 458641"/>
                <a:gd name="connsiteX61" fmla="*/ 404901 w 485923"/>
                <a:gd name="connsiteY61" fmla="*/ 206376 h 458641"/>
                <a:gd name="connsiteX62" fmla="*/ 185450 w 485923"/>
                <a:gd name="connsiteY62" fmla="*/ 206376 h 458641"/>
                <a:gd name="connsiteX63" fmla="*/ 145779 w 485923"/>
                <a:gd name="connsiteY63" fmla="*/ 175798 h 458641"/>
                <a:gd name="connsiteX64" fmla="*/ 106108 w 485923"/>
                <a:gd name="connsiteY64" fmla="*/ 206376 h 458641"/>
                <a:gd name="connsiteX65" fmla="*/ 81022 w 485923"/>
                <a:gd name="connsiteY65" fmla="*/ 206376 h 458641"/>
                <a:gd name="connsiteX66" fmla="*/ 168586 w 485923"/>
                <a:gd name="connsiteY66" fmla="*/ 206376 h 458641"/>
                <a:gd name="connsiteX67" fmla="*/ 122973 w 485923"/>
                <a:gd name="connsiteY67" fmla="*/ 206376 h 458641"/>
                <a:gd name="connsiteX68" fmla="*/ 155177 w 485923"/>
                <a:gd name="connsiteY68" fmla="*/ 192968 h 458641"/>
                <a:gd name="connsiteX69" fmla="*/ 168586 w 485923"/>
                <a:gd name="connsiteY69" fmla="*/ 206376 h 458641"/>
                <a:gd name="connsiteX70" fmla="*/ 429208 w 485923"/>
                <a:gd name="connsiteY70" fmla="*/ 443442 h 458641"/>
                <a:gd name="connsiteX71" fmla="*/ 56715 w 485923"/>
                <a:gd name="connsiteY71" fmla="*/ 443442 h 458641"/>
                <a:gd name="connsiteX72" fmla="*/ 56715 w 485923"/>
                <a:gd name="connsiteY72" fmla="*/ 229302 h 458641"/>
                <a:gd name="connsiteX73" fmla="*/ 64811 w 485923"/>
                <a:gd name="connsiteY73" fmla="*/ 221620 h 458641"/>
                <a:gd name="connsiteX74" fmla="*/ 64817 w 485923"/>
                <a:gd name="connsiteY74" fmla="*/ 221620 h 458641"/>
                <a:gd name="connsiteX75" fmla="*/ 421106 w 485923"/>
                <a:gd name="connsiteY75" fmla="*/ 221620 h 458641"/>
                <a:gd name="connsiteX76" fmla="*/ 429208 w 485923"/>
                <a:gd name="connsiteY76" fmla="*/ 229242 h 458641"/>
                <a:gd name="connsiteX77" fmla="*/ 429208 w 485923"/>
                <a:gd name="connsiteY77" fmla="*/ 443292 h 45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485923" h="458641">
                  <a:moveTo>
                    <a:pt x="477791" y="443352"/>
                  </a:moveTo>
                  <a:lnTo>
                    <a:pt x="445382" y="443352"/>
                  </a:lnTo>
                  <a:lnTo>
                    <a:pt x="445382" y="229302"/>
                  </a:lnTo>
                  <a:cubicBezTo>
                    <a:pt x="444974" y="216284"/>
                    <a:pt x="434126" y="206039"/>
                    <a:pt x="421106" y="206376"/>
                  </a:cubicBezTo>
                  <a:lnTo>
                    <a:pt x="421106" y="160523"/>
                  </a:lnTo>
                  <a:cubicBezTo>
                    <a:pt x="420698" y="147493"/>
                    <a:pt x="409832" y="137243"/>
                    <a:pt x="396799" y="137597"/>
                  </a:cubicBezTo>
                  <a:lnTo>
                    <a:pt x="396799" y="91714"/>
                  </a:lnTo>
                  <a:cubicBezTo>
                    <a:pt x="396406" y="78688"/>
                    <a:pt x="385549" y="68435"/>
                    <a:pt x="372522" y="68788"/>
                  </a:cubicBezTo>
                  <a:lnTo>
                    <a:pt x="372522" y="22935"/>
                  </a:lnTo>
                  <a:cubicBezTo>
                    <a:pt x="372114" y="9904"/>
                    <a:pt x="361248" y="-345"/>
                    <a:pt x="348216" y="9"/>
                  </a:cubicBezTo>
                  <a:lnTo>
                    <a:pt x="137737" y="9"/>
                  </a:lnTo>
                  <a:cubicBezTo>
                    <a:pt x="124710" y="-344"/>
                    <a:pt x="113853" y="9909"/>
                    <a:pt x="113461" y="22935"/>
                  </a:cubicBezTo>
                  <a:lnTo>
                    <a:pt x="113461" y="68788"/>
                  </a:lnTo>
                  <a:cubicBezTo>
                    <a:pt x="100428" y="68434"/>
                    <a:pt x="89562" y="78683"/>
                    <a:pt x="89154" y="91714"/>
                  </a:cubicBezTo>
                  <a:lnTo>
                    <a:pt x="89154" y="137597"/>
                  </a:lnTo>
                  <a:cubicBezTo>
                    <a:pt x="76127" y="137244"/>
                    <a:pt x="65269" y="147497"/>
                    <a:pt x="64877" y="160523"/>
                  </a:cubicBezTo>
                  <a:lnTo>
                    <a:pt x="64877" y="206376"/>
                  </a:lnTo>
                  <a:cubicBezTo>
                    <a:pt x="51851" y="206039"/>
                    <a:pt x="40995" y="216279"/>
                    <a:pt x="40570" y="229302"/>
                  </a:cubicBezTo>
                  <a:lnTo>
                    <a:pt x="40570" y="443352"/>
                  </a:lnTo>
                  <a:lnTo>
                    <a:pt x="8131" y="443352"/>
                  </a:lnTo>
                  <a:cubicBezTo>
                    <a:pt x="3913" y="443088"/>
                    <a:pt x="280" y="446293"/>
                    <a:pt x="15" y="450509"/>
                  </a:cubicBezTo>
                  <a:cubicBezTo>
                    <a:pt x="-249" y="454728"/>
                    <a:pt x="2956" y="458362"/>
                    <a:pt x="7173" y="458626"/>
                  </a:cubicBezTo>
                  <a:cubicBezTo>
                    <a:pt x="7492" y="458647"/>
                    <a:pt x="7812" y="458647"/>
                    <a:pt x="8131" y="458626"/>
                  </a:cubicBezTo>
                  <a:lnTo>
                    <a:pt x="477791" y="458626"/>
                  </a:lnTo>
                  <a:cubicBezTo>
                    <a:pt x="482011" y="458890"/>
                    <a:pt x="485642" y="455685"/>
                    <a:pt x="485909" y="451469"/>
                  </a:cubicBezTo>
                  <a:cubicBezTo>
                    <a:pt x="486173" y="447250"/>
                    <a:pt x="482968" y="443616"/>
                    <a:pt x="478749" y="443352"/>
                  </a:cubicBezTo>
                  <a:cubicBezTo>
                    <a:pt x="478431" y="443331"/>
                    <a:pt x="478110" y="443331"/>
                    <a:pt x="477791" y="443352"/>
                  </a:cubicBezTo>
                  <a:close/>
                  <a:moveTo>
                    <a:pt x="129605" y="22935"/>
                  </a:moveTo>
                  <a:cubicBezTo>
                    <a:pt x="129718" y="18595"/>
                    <a:pt x="133329" y="15168"/>
                    <a:pt x="137670" y="15281"/>
                  </a:cubicBezTo>
                  <a:cubicBezTo>
                    <a:pt x="137692" y="15282"/>
                    <a:pt x="137715" y="15282"/>
                    <a:pt x="137737" y="15283"/>
                  </a:cubicBezTo>
                  <a:lnTo>
                    <a:pt x="348276" y="15283"/>
                  </a:lnTo>
                  <a:cubicBezTo>
                    <a:pt x="352624" y="15165"/>
                    <a:pt x="356246" y="18588"/>
                    <a:pt x="356378" y="22935"/>
                  </a:cubicBezTo>
                  <a:lnTo>
                    <a:pt x="356378" y="68788"/>
                  </a:lnTo>
                  <a:lnTo>
                    <a:pt x="234034" y="68788"/>
                  </a:lnTo>
                  <a:cubicBezTo>
                    <a:pt x="228269" y="46878"/>
                    <a:pt x="205834" y="33790"/>
                    <a:pt x="183924" y="39556"/>
                  </a:cubicBezTo>
                  <a:cubicBezTo>
                    <a:pt x="169623" y="43318"/>
                    <a:pt x="158455" y="54487"/>
                    <a:pt x="154692" y="68788"/>
                  </a:cubicBezTo>
                  <a:lnTo>
                    <a:pt x="129605" y="68788"/>
                  </a:lnTo>
                  <a:lnTo>
                    <a:pt x="129605" y="22935"/>
                  </a:lnTo>
                  <a:close/>
                  <a:moveTo>
                    <a:pt x="217169" y="68788"/>
                  </a:moveTo>
                  <a:lnTo>
                    <a:pt x="171587" y="68788"/>
                  </a:lnTo>
                  <a:cubicBezTo>
                    <a:pt x="176754" y="56201"/>
                    <a:pt x="191146" y="50185"/>
                    <a:pt x="203734" y="55352"/>
                  </a:cubicBezTo>
                  <a:cubicBezTo>
                    <a:pt x="209829" y="57854"/>
                    <a:pt x="214667" y="62693"/>
                    <a:pt x="217169" y="68788"/>
                  </a:cubicBezTo>
                  <a:close/>
                  <a:moveTo>
                    <a:pt x="105298" y="91714"/>
                  </a:moveTo>
                  <a:cubicBezTo>
                    <a:pt x="105445" y="87379"/>
                    <a:pt x="109064" y="83974"/>
                    <a:pt x="113401" y="84092"/>
                  </a:cubicBezTo>
                  <a:lnTo>
                    <a:pt x="372522" y="84092"/>
                  </a:lnTo>
                  <a:cubicBezTo>
                    <a:pt x="376858" y="83974"/>
                    <a:pt x="380477" y="87379"/>
                    <a:pt x="380625" y="91714"/>
                  </a:cubicBezTo>
                  <a:lnTo>
                    <a:pt x="380625" y="137597"/>
                  </a:lnTo>
                  <a:lnTo>
                    <a:pt x="209757" y="137597"/>
                  </a:lnTo>
                  <a:cubicBezTo>
                    <a:pt x="203992" y="115687"/>
                    <a:pt x="181557" y="102599"/>
                    <a:pt x="159648" y="108365"/>
                  </a:cubicBezTo>
                  <a:cubicBezTo>
                    <a:pt x="145347" y="112127"/>
                    <a:pt x="134178" y="123296"/>
                    <a:pt x="130415" y="137597"/>
                  </a:cubicBezTo>
                  <a:lnTo>
                    <a:pt x="105298" y="137597"/>
                  </a:lnTo>
                  <a:lnTo>
                    <a:pt x="105298" y="91714"/>
                  </a:lnTo>
                  <a:close/>
                  <a:moveTo>
                    <a:pt x="192893" y="137597"/>
                  </a:moveTo>
                  <a:lnTo>
                    <a:pt x="147280" y="137597"/>
                  </a:lnTo>
                  <a:cubicBezTo>
                    <a:pt x="152427" y="125001"/>
                    <a:pt x="166810" y="118963"/>
                    <a:pt x="179405" y="124110"/>
                  </a:cubicBezTo>
                  <a:cubicBezTo>
                    <a:pt x="185530" y="126612"/>
                    <a:pt x="190390" y="131473"/>
                    <a:pt x="192893" y="137597"/>
                  </a:cubicBezTo>
                  <a:close/>
                  <a:moveTo>
                    <a:pt x="81022" y="160523"/>
                  </a:moveTo>
                  <a:cubicBezTo>
                    <a:pt x="81136" y="156183"/>
                    <a:pt x="84747" y="152757"/>
                    <a:pt x="89088" y="152871"/>
                  </a:cubicBezTo>
                  <a:cubicBezTo>
                    <a:pt x="89090" y="152871"/>
                    <a:pt x="89092" y="152871"/>
                    <a:pt x="89094" y="152871"/>
                  </a:cubicBezTo>
                  <a:lnTo>
                    <a:pt x="396799" y="152871"/>
                  </a:lnTo>
                  <a:cubicBezTo>
                    <a:pt x="401147" y="152754"/>
                    <a:pt x="404769" y="156176"/>
                    <a:pt x="404901" y="160523"/>
                  </a:cubicBezTo>
                  <a:lnTo>
                    <a:pt x="404901" y="206376"/>
                  </a:lnTo>
                  <a:lnTo>
                    <a:pt x="185450" y="206376"/>
                  </a:lnTo>
                  <a:cubicBezTo>
                    <a:pt x="181034" y="188141"/>
                    <a:pt x="164538" y="175425"/>
                    <a:pt x="145779" y="175798"/>
                  </a:cubicBezTo>
                  <a:cubicBezTo>
                    <a:pt x="127025" y="175437"/>
                    <a:pt x="110534" y="188147"/>
                    <a:pt x="106108" y="206376"/>
                  </a:cubicBezTo>
                  <a:lnTo>
                    <a:pt x="81022" y="206376"/>
                  </a:lnTo>
                  <a:close/>
                  <a:moveTo>
                    <a:pt x="168586" y="206376"/>
                  </a:moveTo>
                  <a:lnTo>
                    <a:pt x="122973" y="206376"/>
                  </a:lnTo>
                  <a:cubicBezTo>
                    <a:pt x="128164" y="193780"/>
                    <a:pt x="142582" y="187777"/>
                    <a:pt x="155177" y="192968"/>
                  </a:cubicBezTo>
                  <a:cubicBezTo>
                    <a:pt x="161255" y="195472"/>
                    <a:pt x="166081" y="200299"/>
                    <a:pt x="168586" y="206376"/>
                  </a:cubicBezTo>
                  <a:close/>
                  <a:moveTo>
                    <a:pt x="429208" y="443442"/>
                  </a:moveTo>
                  <a:lnTo>
                    <a:pt x="56715" y="443442"/>
                  </a:lnTo>
                  <a:lnTo>
                    <a:pt x="56715" y="229302"/>
                  </a:lnTo>
                  <a:cubicBezTo>
                    <a:pt x="56829" y="224945"/>
                    <a:pt x="60454" y="221506"/>
                    <a:pt x="64811" y="221620"/>
                  </a:cubicBezTo>
                  <a:cubicBezTo>
                    <a:pt x="64813" y="221620"/>
                    <a:pt x="64815" y="221620"/>
                    <a:pt x="64817" y="221620"/>
                  </a:cubicBezTo>
                  <a:lnTo>
                    <a:pt x="421106" y="221620"/>
                  </a:lnTo>
                  <a:cubicBezTo>
                    <a:pt x="425442" y="221502"/>
                    <a:pt x="429061" y="224907"/>
                    <a:pt x="429208" y="229242"/>
                  </a:cubicBezTo>
                  <a:lnTo>
                    <a:pt x="429208" y="443292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10" name="Freeform 409">
              <a:extLst>
                <a:ext uri="{FF2B5EF4-FFF2-40B4-BE49-F238E27FC236}">
                  <a16:creationId xmlns:a16="http://schemas.microsoft.com/office/drawing/2014/main" id="{5C26F3C8-D55A-8EF0-B096-6474A7EB0289}"/>
                </a:ext>
              </a:extLst>
            </p:cNvPr>
            <p:cNvSpPr/>
            <p:nvPr/>
          </p:nvSpPr>
          <p:spPr>
            <a:xfrm>
              <a:off x="5254808" y="6275124"/>
              <a:ext cx="97638" cy="91888"/>
            </a:xfrm>
            <a:custGeom>
              <a:avLst/>
              <a:gdLst>
                <a:gd name="connsiteX0" fmla="*/ 48819 w 97638"/>
                <a:gd name="connsiteY0" fmla="*/ 91797 h 91888"/>
                <a:gd name="connsiteX1" fmla="*/ 97547 w 97638"/>
                <a:gd name="connsiteY1" fmla="*/ 48819 h 91888"/>
                <a:gd name="connsiteX2" fmla="*/ 54568 w 97638"/>
                <a:gd name="connsiteY2" fmla="*/ 92 h 91888"/>
                <a:gd name="connsiteX3" fmla="*/ 48819 w 97638"/>
                <a:gd name="connsiteY3" fmla="*/ 92 h 91888"/>
                <a:gd name="connsiteX4" fmla="*/ 92 w 97638"/>
                <a:gd name="connsiteY4" fmla="*/ 43070 h 91888"/>
                <a:gd name="connsiteX5" fmla="*/ 43070 w 97638"/>
                <a:gd name="connsiteY5" fmla="*/ 91797 h 91888"/>
                <a:gd name="connsiteX6" fmla="*/ 48819 w 97638"/>
                <a:gd name="connsiteY6" fmla="*/ 91797 h 91888"/>
                <a:gd name="connsiteX7" fmla="*/ 48819 w 97638"/>
                <a:gd name="connsiteY7" fmla="*/ 15366 h 91888"/>
                <a:gd name="connsiteX8" fmla="*/ 81314 w 97638"/>
                <a:gd name="connsiteY8" fmla="*/ 44027 h 91888"/>
                <a:gd name="connsiteX9" fmla="*/ 52653 w 97638"/>
                <a:gd name="connsiteY9" fmla="*/ 76523 h 91888"/>
                <a:gd name="connsiteX10" fmla="*/ 48819 w 97638"/>
                <a:gd name="connsiteY10" fmla="*/ 76523 h 91888"/>
                <a:gd name="connsiteX11" fmla="*/ 16324 w 97638"/>
                <a:gd name="connsiteY11" fmla="*/ 47862 h 91888"/>
                <a:gd name="connsiteX12" fmla="*/ 44986 w 97638"/>
                <a:gd name="connsiteY12" fmla="*/ 15366 h 91888"/>
                <a:gd name="connsiteX13" fmla="*/ 48819 w 97638"/>
                <a:gd name="connsiteY13" fmla="*/ 15366 h 9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638" h="91888">
                  <a:moveTo>
                    <a:pt x="48819" y="91797"/>
                  </a:moveTo>
                  <a:cubicBezTo>
                    <a:pt x="74143" y="93384"/>
                    <a:pt x="95959" y="74143"/>
                    <a:pt x="97547" y="48819"/>
                  </a:cubicBezTo>
                  <a:cubicBezTo>
                    <a:pt x="99134" y="23495"/>
                    <a:pt x="79892" y="1679"/>
                    <a:pt x="54568" y="92"/>
                  </a:cubicBezTo>
                  <a:cubicBezTo>
                    <a:pt x="52654" y="-28"/>
                    <a:pt x="50734" y="-28"/>
                    <a:pt x="48819" y="92"/>
                  </a:cubicBezTo>
                  <a:cubicBezTo>
                    <a:pt x="23495" y="-1496"/>
                    <a:pt x="1679" y="17746"/>
                    <a:pt x="92" y="43070"/>
                  </a:cubicBezTo>
                  <a:cubicBezTo>
                    <a:pt x="-1496" y="68394"/>
                    <a:pt x="17746" y="90210"/>
                    <a:pt x="43070" y="91797"/>
                  </a:cubicBezTo>
                  <a:cubicBezTo>
                    <a:pt x="44984" y="91917"/>
                    <a:pt x="46905" y="91917"/>
                    <a:pt x="48819" y="91797"/>
                  </a:cubicBezTo>
                  <a:close/>
                  <a:moveTo>
                    <a:pt x="48819" y="15366"/>
                  </a:moveTo>
                  <a:cubicBezTo>
                    <a:pt x="65707" y="14307"/>
                    <a:pt x="80256" y="27140"/>
                    <a:pt x="81314" y="44027"/>
                  </a:cubicBezTo>
                  <a:cubicBezTo>
                    <a:pt x="82373" y="60915"/>
                    <a:pt x="69541" y="75463"/>
                    <a:pt x="52653" y="76523"/>
                  </a:cubicBezTo>
                  <a:cubicBezTo>
                    <a:pt x="51376" y="76604"/>
                    <a:pt x="50096" y="76604"/>
                    <a:pt x="48819" y="76523"/>
                  </a:cubicBezTo>
                  <a:cubicBezTo>
                    <a:pt x="31931" y="77582"/>
                    <a:pt x="17382" y="64751"/>
                    <a:pt x="16324" y="47862"/>
                  </a:cubicBezTo>
                  <a:cubicBezTo>
                    <a:pt x="15265" y="30973"/>
                    <a:pt x="28097" y="16425"/>
                    <a:pt x="44986" y="15366"/>
                  </a:cubicBezTo>
                  <a:cubicBezTo>
                    <a:pt x="46262" y="15286"/>
                    <a:pt x="47543" y="15286"/>
                    <a:pt x="48819" y="15366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11" name="Freeform 410">
              <a:extLst>
                <a:ext uri="{FF2B5EF4-FFF2-40B4-BE49-F238E27FC236}">
                  <a16:creationId xmlns:a16="http://schemas.microsoft.com/office/drawing/2014/main" id="{A82FA50A-34BF-BCC0-4208-8565788F274A}"/>
                </a:ext>
              </a:extLst>
            </p:cNvPr>
            <p:cNvSpPr/>
            <p:nvPr/>
          </p:nvSpPr>
          <p:spPr>
            <a:xfrm>
              <a:off x="5376518" y="6275200"/>
              <a:ext cx="186290" cy="15304"/>
            </a:xfrm>
            <a:custGeom>
              <a:avLst/>
              <a:gdLst>
                <a:gd name="connsiteX0" fmla="*/ 178068 w 186290"/>
                <a:gd name="connsiteY0" fmla="*/ 15 h 15304"/>
                <a:gd name="connsiteX1" fmla="*/ 8131 w 186290"/>
                <a:gd name="connsiteY1" fmla="*/ 15 h 15304"/>
                <a:gd name="connsiteX2" fmla="*/ 15 w 186290"/>
                <a:gd name="connsiteY2" fmla="*/ 7173 h 15304"/>
                <a:gd name="connsiteX3" fmla="*/ 7173 w 186290"/>
                <a:gd name="connsiteY3" fmla="*/ 15289 h 15304"/>
                <a:gd name="connsiteX4" fmla="*/ 8131 w 186290"/>
                <a:gd name="connsiteY4" fmla="*/ 15289 h 15304"/>
                <a:gd name="connsiteX5" fmla="*/ 178158 w 186290"/>
                <a:gd name="connsiteY5" fmla="*/ 15289 h 15304"/>
                <a:gd name="connsiteX6" fmla="*/ 186276 w 186290"/>
                <a:gd name="connsiteY6" fmla="*/ 8131 h 15304"/>
                <a:gd name="connsiteX7" fmla="*/ 179116 w 186290"/>
                <a:gd name="connsiteY7" fmla="*/ 15 h 15304"/>
                <a:gd name="connsiteX8" fmla="*/ 178158 w 186290"/>
                <a:gd name="connsiteY8" fmla="*/ 15 h 1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290" h="15304">
                  <a:moveTo>
                    <a:pt x="178068" y="15"/>
                  </a:moveTo>
                  <a:lnTo>
                    <a:pt x="8131" y="15"/>
                  </a:lnTo>
                  <a:cubicBezTo>
                    <a:pt x="3913" y="-249"/>
                    <a:pt x="280" y="2955"/>
                    <a:pt x="15" y="7173"/>
                  </a:cubicBezTo>
                  <a:cubicBezTo>
                    <a:pt x="-249" y="11391"/>
                    <a:pt x="2955" y="15025"/>
                    <a:pt x="7173" y="15289"/>
                  </a:cubicBezTo>
                  <a:cubicBezTo>
                    <a:pt x="7492" y="15310"/>
                    <a:pt x="7812" y="15310"/>
                    <a:pt x="8131" y="15289"/>
                  </a:cubicBezTo>
                  <a:lnTo>
                    <a:pt x="178158" y="15289"/>
                  </a:lnTo>
                  <a:cubicBezTo>
                    <a:pt x="182378" y="15554"/>
                    <a:pt x="186009" y="12349"/>
                    <a:pt x="186276" y="8131"/>
                  </a:cubicBezTo>
                  <a:cubicBezTo>
                    <a:pt x="186540" y="3913"/>
                    <a:pt x="183335" y="280"/>
                    <a:pt x="179116" y="15"/>
                  </a:cubicBezTo>
                  <a:cubicBezTo>
                    <a:pt x="178798" y="-5"/>
                    <a:pt x="178477" y="-5"/>
                    <a:pt x="178158" y="15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12" name="Freeform 411">
              <a:extLst>
                <a:ext uri="{FF2B5EF4-FFF2-40B4-BE49-F238E27FC236}">
                  <a16:creationId xmlns:a16="http://schemas.microsoft.com/office/drawing/2014/main" id="{632AB729-0BF8-39FD-2910-F2C07BBE6465}"/>
                </a:ext>
              </a:extLst>
            </p:cNvPr>
            <p:cNvSpPr/>
            <p:nvPr/>
          </p:nvSpPr>
          <p:spPr>
            <a:xfrm>
              <a:off x="5376997" y="6313416"/>
              <a:ext cx="185331" cy="15304"/>
            </a:xfrm>
            <a:custGeom>
              <a:avLst/>
              <a:gdLst>
                <a:gd name="connsiteX0" fmla="*/ 177589 w 185331"/>
                <a:gd name="connsiteY0" fmla="*/ 0 h 15304"/>
                <a:gd name="connsiteX1" fmla="*/ 7652 w 185331"/>
                <a:gd name="connsiteY1" fmla="*/ 0 h 15304"/>
                <a:gd name="connsiteX2" fmla="*/ 0 w 185331"/>
                <a:gd name="connsiteY2" fmla="*/ 7652 h 15304"/>
                <a:gd name="connsiteX3" fmla="*/ 7652 w 185331"/>
                <a:gd name="connsiteY3" fmla="*/ 15304 h 15304"/>
                <a:gd name="connsiteX4" fmla="*/ 177679 w 185331"/>
                <a:gd name="connsiteY4" fmla="*/ 15304 h 15304"/>
                <a:gd name="connsiteX5" fmla="*/ 185331 w 185331"/>
                <a:gd name="connsiteY5" fmla="*/ 7652 h 15304"/>
                <a:gd name="connsiteX6" fmla="*/ 177679 w 185331"/>
                <a:gd name="connsiteY6" fmla="*/ 0 h 1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331" h="15304">
                  <a:moveTo>
                    <a:pt x="177589" y="0"/>
                  </a:moveTo>
                  <a:lnTo>
                    <a:pt x="7652" y="0"/>
                  </a:lnTo>
                  <a:cubicBezTo>
                    <a:pt x="3426" y="0"/>
                    <a:pt x="0" y="3427"/>
                    <a:pt x="0" y="7652"/>
                  </a:cubicBezTo>
                  <a:cubicBezTo>
                    <a:pt x="0" y="11877"/>
                    <a:pt x="3426" y="15304"/>
                    <a:pt x="7652" y="15304"/>
                  </a:cubicBezTo>
                  <a:lnTo>
                    <a:pt x="177679" y="15304"/>
                  </a:lnTo>
                  <a:cubicBezTo>
                    <a:pt x="181904" y="15304"/>
                    <a:pt x="185331" y="11877"/>
                    <a:pt x="185331" y="7652"/>
                  </a:cubicBezTo>
                  <a:cubicBezTo>
                    <a:pt x="185331" y="3427"/>
                    <a:pt x="181904" y="0"/>
                    <a:pt x="177679" y="0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13" name="Freeform 412">
              <a:extLst>
                <a:ext uri="{FF2B5EF4-FFF2-40B4-BE49-F238E27FC236}">
                  <a16:creationId xmlns:a16="http://schemas.microsoft.com/office/drawing/2014/main" id="{B4DEA71A-8640-5181-9DF5-C1E9A6CA6E4C}"/>
                </a:ext>
              </a:extLst>
            </p:cNvPr>
            <p:cNvSpPr/>
            <p:nvPr/>
          </p:nvSpPr>
          <p:spPr>
            <a:xfrm>
              <a:off x="5376518" y="6351631"/>
              <a:ext cx="186290" cy="15305"/>
            </a:xfrm>
            <a:custGeom>
              <a:avLst/>
              <a:gdLst>
                <a:gd name="connsiteX0" fmla="*/ 178068 w 186290"/>
                <a:gd name="connsiteY0" fmla="*/ 16 h 15305"/>
                <a:gd name="connsiteX1" fmla="*/ 8131 w 186290"/>
                <a:gd name="connsiteY1" fmla="*/ 16 h 15305"/>
                <a:gd name="connsiteX2" fmla="*/ 15 w 186290"/>
                <a:gd name="connsiteY2" fmla="*/ 7173 h 15305"/>
                <a:gd name="connsiteX3" fmla="*/ 7173 w 186290"/>
                <a:gd name="connsiteY3" fmla="*/ 15290 h 15305"/>
                <a:gd name="connsiteX4" fmla="*/ 8131 w 186290"/>
                <a:gd name="connsiteY4" fmla="*/ 15290 h 15305"/>
                <a:gd name="connsiteX5" fmla="*/ 178158 w 186290"/>
                <a:gd name="connsiteY5" fmla="*/ 15290 h 15305"/>
                <a:gd name="connsiteX6" fmla="*/ 186276 w 186290"/>
                <a:gd name="connsiteY6" fmla="*/ 8133 h 15305"/>
                <a:gd name="connsiteX7" fmla="*/ 179116 w 186290"/>
                <a:gd name="connsiteY7" fmla="*/ 16 h 15305"/>
                <a:gd name="connsiteX8" fmla="*/ 178158 w 186290"/>
                <a:gd name="connsiteY8" fmla="*/ 16 h 15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290" h="15305">
                  <a:moveTo>
                    <a:pt x="178068" y="16"/>
                  </a:moveTo>
                  <a:lnTo>
                    <a:pt x="8131" y="16"/>
                  </a:lnTo>
                  <a:cubicBezTo>
                    <a:pt x="3913" y="-248"/>
                    <a:pt x="280" y="2957"/>
                    <a:pt x="15" y="7173"/>
                  </a:cubicBezTo>
                  <a:cubicBezTo>
                    <a:pt x="-249" y="11392"/>
                    <a:pt x="2955" y="15026"/>
                    <a:pt x="7173" y="15290"/>
                  </a:cubicBezTo>
                  <a:cubicBezTo>
                    <a:pt x="7492" y="15311"/>
                    <a:pt x="7812" y="15311"/>
                    <a:pt x="8131" y="15290"/>
                  </a:cubicBezTo>
                  <a:lnTo>
                    <a:pt x="178158" y="15290"/>
                  </a:lnTo>
                  <a:cubicBezTo>
                    <a:pt x="182378" y="15554"/>
                    <a:pt x="186009" y="12349"/>
                    <a:pt x="186276" y="8133"/>
                  </a:cubicBezTo>
                  <a:cubicBezTo>
                    <a:pt x="186540" y="3914"/>
                    <a:pt x="183335" y="280"/>
                    <a:pt x="179116" y="16"/>
                  </a:cubicBezTo>
                  <a:cubicBezTo>
                    <a:pt x="178798" y="-5"/>
                    <a:pt x="178477" y="-5"/>
                    <a:pt x="178158" y="16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14" name="Freeform 413">
              <a:extLst>
                <a:ext uri="{FF2B5EF4-FFF2-40B4-BE49-F238E27FC236}">
                  <a16:creationId xmlns:a16="http://schemas.microsoft.com/office/drawing/2014/main" id="{77349460-3DAD-D41E-7A0F-37EDB8A1AE5C}"/>
                </a:ext>
              </a:extLst>
            </p:cNvPr>
            <p:cNvSpPr/>
            <p:nvPr/>
          </p:nvSpPr>
          <p:spPr>
            <a:xfrm>
              <a:off x="5255433" y="6389847"/>
              <a:ext cx="306804" cy="15304"/>
            </a:xfrm>
            <a:custGeom>
              <a:avLst/>
              <a:gdLst>
                <a:gd name="connsiteX0" fmla="*/ 299153 w 306804"/>
                <a:gd name="connsiteY0" fmla="*/ 0 h 15304"/>
                <a:gd name="connsiteX1" fmla="*/ 7652 w 306804"/>
                <a:gd name="connsiteY1" fmla="*/ 0 h 15304"/>
                <a:gd name="connsiteX2" fmla="*/ 0 w 306804"/>
                <a:gd name="connsiteY2" fmla="*/ 7652 h 15304"/>
                <a:gd name="connsiteX3" fmla="*/ 7652 w 306804"/>
                <a:gd name="connsiteY3" fmla="*/ 15304 h 15304"/>
                <a:gd name="connsiteX4" fmla="*/ 299153 w 306804"/>
                <a:gd name="connsiteY4" fmla="*/ 15304 h 15304"/>
                <a:gd name="connsiteX5" fmla="*/ 306805 w 306804"/>
                <a:gd name="connsiteY5" fmla="*/ 7652 h 15304"/>
                <a:gd name="connsiteX6" fmla="*/ 299153 w 306804"/>
                <a:gd name="connsiteY6" fmla="*/ 0 h 1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6804" h="15304">
                  <a:moveTo>
                    <a:pt x="299153" y="0"/>
                  </a:moveTo>
                  <a:lnTo>
                    <a:pt x="7652" y="0"/>
                  </a:lnTo>
                  <a:cubicBezTo>
                    <a:pt x="3426" y="0"/>
                    <a:pt x="0" y="3427"/>
                    <a:pt x="0" y="7652"/>
                  </a:cubicBezTo>
                  <a:cubicBezTo>
                    <a:pt x="0" y="11877"/>
                    <a:pt x="3426" y="15304"/>
                    <a:pt x="7652" y="15304"/>
                  </a:cubicBezTo>
                  <a:lnTo>
                    <a:pt x="299153" y="15304"/>
                  </a:lnTo>
                  <a:cubicBezTo>
                    <a:pt x="303378" y="15304"/>
                    <a:pt x="306805" y="11877"/>
                    <a:pt x="306805" y="7652"/>
                  </a:cubicBezTo>
                  <a:cubicBezTo>
                    <a:pt x="306805" y="3427"/>
                    <a:pt x="303378" y="0"/>
                    <a:pt x="299153" y="0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15" name="Freeform 414">
              <a:extLst>
                <a:ext uri="{FF2B5EF4-FFF2-40B4-BE49-F238E27FC236}">
                  <a16:creationId xmlns:a16="http://schemas.microsoft.com/office/drawing/2014/main" id="{DF6BDFF2-57BB-A2D6-BF1B-D2F9A8459A95}"/>
                </a:ext>
              </a:extLst>
            </p:cNvPr>
            <p:cNvSpPr/>
            <p:nvPr/>
          </p:nvSpPr>
          <p:spPr>
            <a:xfrm>
              <a:off x="5255433" y="6428078"/>
              <a:ext cx="306804" cy="15304"/>
            </a:xfrm>
            <a:custGeom>
              <a:avLst/>
              <a:gdLst>
                <a:gd name="connsiteX0" fmla="*/ 299153 w 306804"/>
                <a:gd name="connsiteY0" fmla="*/ 0 h 15304"/>
                <a:gd name="connsiteX1" fmla="*/ 7652 w 306804"/>
                <a:gd name="connsiteY1" fmla="*/ 0 h 15304"/>
                <a:gd name="connsiteX2" fmla="*/ 0 w 306804"/>
                <a:gd name="connsiteY2" fmla="*/ 7652 h 15304"/>
                <a:gd name="connsiteX3" fmla="*/ 7652 w 306804"/>
                <a:gd name="connsiteY3" fmla="*/ 15304 h 15304"/>
                <a:gd name="connsiteX4" fmla="*/ 299153 w 306804"/>
                <a:gd name="connsiteY4" fmla="*/ 15304 h 15304"/>
                <a:gd name="connsiteX5" fmla="*/ 306805 w 306804"/>
                <a:gd name="connsiteY5" fmla="*/ 7652 h 15304"/>
                <a:gd name="connsiteX6" fmla="*/ 299153 w 306804"/>
                <a:gd name="connsiteY6" fmla="*/ 0 h 1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6804" h="15304">
                  <a:moveTo>
                    <a:pt x="299153" y="0"/>
                  </a:moveTo>
                  <a:lnTo>
                    <a:pt x="7652" y="0"/>
                  </a:lnTo>
                  <a:cubicBezTo>
                    <a:pt x="3426" y="0"/>
                    <a:pt x="0" y="3427"/>
                    <a:pt x="0" y="7652"/>
                  </a:cubicBezTo>
                  <a:cubicBezTo>
                    <a:pt x="0" y="11877"/>
                    <a:pt x="3426" y="15304"/>
                    <a:pt x="7652" y="15304"/>
                  </a:cubicBezTo>
                  <a:lnTo>
                    <a:pt x="299153" y="15304"/>
                  </a:lnTo>
                  <a:cubicBezTo>
                    <a:pt x="303378" y="15304"/>
                    <a:pt x="306805" y="11877"/>
                    <a:pt x="306805" y="7652"/>
                  </a:cubicBezTo>
                  <a:cubicBezTo>
                    <a:pt x="306805" y="3427"/>
                    <a:pt x="303378" y="0"/>
                    <a:pt x="299153" y="0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16" name="Graphic 41">
            <a:extLst>
              <a:ext uri="{FF2B5EF4-FFF2-40B4-BE49-F238E27FC236}">
                <a16:creationId xmlns:a16="http://schemas.microsoft.com/office/drawing/2014/main" id="{C5D5496F-94BF-8666-75E9-4E9C4F9D8641}"/>
              </a:ext>
            </a:extLst>
          </p:cNvPr>
          <p:cNvGrpSpPr/>
          <p:nvPr/>
        </p:nvGrpSpPr>
        <p:grpSpPr>
          <a:xfrm>
            <a:off x="4744760" y="3151202"/>
            <a:ext cx="373977" cy="366000"/>
            <a:chOff x="6209700" y="3254696"/>
            <a:chExt cx="522111" cy="522111"/>
          </a:xfrm>
          <a:solidFill>
            <a:schemeClr val="bg1"/>
          </a:solidFill>
        </p:grpSpPr>
        <p:sp>
          <p:nvSpPr>
            <p:cNvPr id="417" name="Freeform 416">
              <a:extLst>
                <a:ext uri="{FF2B5EF4-FFF2-40B4-BE49-F238E27FC236}">
                  <a16:creationId xmlns:a16="http://schemas.microsoft.com/office/drawing/2014/main" id="{ECC73015-4FFE-D4A1-04F6-450893604ECC}"/>
                </a:ext>
              </a:extLst>
            </p:cNvPr>
            <p:cNvSpPr/>
            <p:nvPr/>
          </p:nvSpPr>
          <p:spPr>
            <a:xfrm>
              <a:off x="6253002" y="3334158"/>
              <a:ext cx="438834" cy="438830"/>
            </a:xfrm>
            <a:custGeom>
              <a:avLst/>
              <a:gdLst>
                <a:gd name="connsiteX0" fmla="*/ 435800 w 438834"/>
                <a:gd name="connsiteY0" fmla="*/ 162340 h 438830"/>
                <a:gd name="connsiteX1" fmla="*/ 394814 w 438834"/>
                <a:gd name="connsiteY1" fmla="*/ 131274 h 438830"/>
                <a:gd name="connsiteX2" fmla="*/ 394814 w 438834"/>
                <a:gd name="connsiteY2" fmla="*/ 51065 h 438830"/>
                <a:gd name="connsiteX3" fmla="*/ 387504 w 438834"/>
                <a:gd name="connsiteY3" fmla="*/ 43756 h 438830"/>
                <a:gd name="connsiteX4" fmla="*/ 279754 w 438834"/>
                <a:gd name="connsiteY4" fmla="*/ 43756 h 438830"/>
                <a:gd name="connsiteX5" fmla="*/ 223757 w 438834"/>
                <a:gd name="connsiteY5" fmla="*/ 1465 h 438830"/>
                <a:gd name="connsiteX6" fmla="*/ 214914 w 438834"/>
                <a:gd name="connsiteY6" fmla="*/ 1465 h 438830"/>
                <a:gd name="connsiteX7" fmla="*/ 159015 w 438834"/>
                <a:gd name="connsiteY7" fmla="*/ 43886 h 438830"/>
                <a:gd name="connsiteX8" fmla="*/ 51330 w 438834"/>
                <a:gd name="connsiteY8" fmla="*/ 43886 h 438830"/>
                <a:gd name="connsiteX9" fmla="*/ 43857 w 438834"/>
                <a:gd name="connsiteY9" fmla="*/ 51065 h 438830"/>
                <a:gd name="connsiteX10" fmla="*/ 43857 w 438834"/>
                <a:gd name="connsiteY10" fmla="*/ 131242 h 438830"/>
                <a:gd name="connsiteX11" fmla="*/ 2937 w 438834"/>
                <a:gd name="connsiteY11" fmla="*/ 162340 h 438830"/>
                <a:gd name="connsiteX12" fmla="*/ 0 w 438834"/>
                <a:gd name="connsiteY12" fmla="*/ 168181 h 438830"/>
                <a:gd name="connsiteX13" fmla="*/ 0 w 438834"/>
                <a:gd name="connsiteY13" fmla="*/ 431553 h 438830"/>
                <a:gd name="connsiteX14" fmla="*/ 7277 w 438834"/>
                <a:gd name="connsiteY14" fmla="*/ 438830 h 438830"/>
                <a:gd name="connsiteX15" fmla="*/ 7310 w 438834"/>
                <a:gd name="connsiteY15" fmla="*/ 438830 h 438830"/>
                <a:gd name="connsiteX16" fmla="*/ 431525 w 438834"/>
                <a:gd name="connsiteY16" fmla="*/ 438830 h 438830"/>
                <a:gd name="connsiteX17" fmla="*/ 438834 w 438834"/>
                <a:gd name="connsiteY17" fmla="*/ 431586 h 438830"/>
                <a:gd name="connsiteX18" fmla="*/ 438834 w 438834"/>
                <a:gd name="connsiteY18" fmla="*/ 431586 h 438830"/>
                <a:gd name="connsiteX19" fmla="*/ 438834 w 438834"/>
                <a:gd name="connsiteY19" fmla="*/ 431586 h 438830"/>
                <a:gd name="connsiteX20" fmla="*/ 438834 w 438834"/>
                <a:gd name="connsiteY20" fmla="*/ 168181 h 438830"/>
                <a:gd name="connsiteX21" fmla="*/ 435800 w 438834"/>
                <a:gd name="connsiteY21" fmla="*/ 162340 h 438830"/>
                <a:gd name="connsiteX22" fmla="*/ 14619 w 438834"/>
                <a:gd name="connsiteY22" fmla="*/ 182800 h 438830"/>
                <a:gd name="connsiteX23" fmla="*/ 168805 w 438834"/>
                <a:gd name="connsiteY23" fmla="*/ 299688 h 438830"/>
                <a:gd name="connsiteX24" fmla="*/ 14619 w 438834"/>
                <a:gd name="connsiteY24" fmla="*/ 416706 h 438830"/>
                <a:gd name="connsiteX25" fmla="*/ 219385 w 438834"/>
                <a:gd name="connsiteY25" fmla="*/ 279489 h 438830"/>
                <a:gd name="connsiteX26" fmla="*/ 409694 w 438834"/>
                <a:gd name="connsiteY26" fmla="*/ 424081 h 438830"/>
                <a:gd name="connsiteX27" fmla="*/ 29042 w 438834"/>
                <a:gd name="connsiteY27" fmla="*/ 424081 h 438830"/>
                <a:gd name="connsiteX28" fmla="*/ 270029 w 438834"/>
                <a:gd name="connsiteY28" fmla="*/ 299557 h 438830"/>
                <a:gd name="connsiteX29" fmla="*/ 424117 w 438834"/>
                <a:gd name="connsiteY29" fmla="*/ 182670 h 438830"/>
                <a:gd name="connsiteX30" fmla="*/ 424117 w 438834"/>
                <a:gd name="connsiteY30" fmla="*/ 416543 h 438830"/>
                <a:gd name="connsiteX31" fmla="*/ 419320 w 438834"/>
                <a:gd name="connsiteY31" fmla="*/ 167887 h 438830"/>
                <a:gd name="connsiteX32" fmla="*/ 394879 w 438834"/>
                <a:gd name="connsiteY32" fmla="*/ 186422 h 438830"/>
                <a:gd name="connsiteX33" fmla="*/ 394879 w 438834"/>
                <a:gd name="connsiteY33" fmla="*/ 149646 h 438830"/>
                <a:gd name="connsiteX34" fmla="*/ 219385 w 438834"/>
                <a:gd name="connsiteY34" fmla="*/ 16475 h 438830"/>
                <a:gd name="connsiteX35" fmla="*/ 255475 w 438834"/>
                <a:gd name="connsiteY35" fmla="*/ 43919 h 438830"/>
                <a:gd name="connsiteX36" fmla="*/ 183294 w 438834"/>
                <a:gd name="connsiteY36" fmla="*/ 43919 h 438830"/>
                <a:gd name="connsiteX37" fmla="*/ 380260 w 438834"/>
                <a:gd name="connsiteY37" fmla="*/ 58505 h 438830"/>
                <a:gd name="connsiteX38" fmla="*/ 380260 w 438834"/>
                <a:gd name="connsiteY38" fmla="*/ 197909 h 438830"/>
                <a:gd name="connsiteX39" fmla="*/ 257890 w 438834"/>
                <a:gd name="connsiteY39" fmla="*/ 290616 h 438830"/>
                <a:gd name="connsiteX40" fmla="*/ 223757 w 438834"/>
                <a:gd name="connsiteY40" fmla="*/ 264706 h 438830"/>
                <a:gd name="connsiteX41" fmla="*/ 214914 w 438834"/>
                <a:gd name="connsiteY41" fmla="*/ 264706 h 438830"/>
                <a:gd name="connsiteX42" fmla="*/ 180846 w 438834"/>
                <a:gd name="connsiteY42" fmla="*/ 290584 h 438830"/>
                <a:gd name="connsiteX43" fmla="*/ 58476 w 438834"/>
                <a:gd name="connsiteY43" fmla="*/ 197909 h 438830"/>
                <a:gd name="connsiteX44" fmla="*/ 58476 w 438834"/>
                <a:gd name="connsiteY44" fmla="*/ 58505 h 438830"/>
                <a:gd name="connsiteX45" fmla="*/ 43857 w 438834"/>
                <a:gd name="connsiteY45" fmla="*/ 186716 h 438830"/>
                <a:gd name="connsiteX46" fmla="*/ 19416 w 438834"/>
                <a:gd name="connsiteY46" fmla="*/ 168181 h 438830"/>
                <a:gd name="connsiteX47" fmla="*/ 43857 w 438834"/>
                <a:gd name="connsiteY47" fmla="*/ 149646 h 43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38834" h="438830">
                  <a:moveTo>
                    <a:pt x="435800" y="162340"/>
                  </a:moveTo>
                  <a:lnTo>
                    <a:pt x="394814" y="131274"/>
                  </a:lnTo>
                  <a:lnTo>
                    <a:pt x="394814" y="51065"/>
                  </a:lnTo>
                  <a:cubicBezTo>
                    <a:pt x="394814" y="47028"/>
                    <a:pt x="391541" y="43756"/>
                    <a:pt x="387504" y="43756"/>
                  </a:cubicBezTo>
                  <a:lnTo>
                    <a:pt x="279754" y="43756"/>
                  </a:lnTo>
                  <a:lnTo>
                    <a:pt x="223757" y="1465"/>
                  </a:lnTo>
                  <a:cubicBezTo>
                    <a:pt x="221133" y="-488"/>
                    <a:pt x="217538" y="-488"/>
                    <a:pt x="214914" y="1465"/>
                  </a:cubicBezTo>
                  <a:lnTo>
                    <a:pt x="159015" y="43886"/>
                  </a:lnTo>
                  <a:lnTo>
                    <a:pt x="51330" y="43886"/>
                  </a:lnTo>
                  <a:cubicBezTo>
                    <a:pt x="47287" y="43813"/>
                    <a:pt x="43946" y="47023"/>
                    <a:pt x="43857" y="51065"/>
                  </a:cubicBezTo>
                  <a:lnTo>
                    <a:pt x="43857" y="131242"/>
                  </a:lnTo>
                  <a:lnTo>
                    <a:pt x="2937" y="162340"/>
                  </a:lnTo>
                  <a:cubicBezTo>
                    <a:pt x="1097" y="163720"/>
                    <a:pt x="10" y="165882"/>
                    <a:pt x="0" y="168181"/>
                  </a:cubicBezTo>
                  <a:lnTo>
                    <a:pt x="0" y="431553"/>
                  </a:lnTo>
                  <a:cubicBezTo>
                    <a:pt x="0" y="435574"/>
                    <a:pt x="3258" y="438830"/>
                    <a:pt x="7277" y="438830"/>
                  </a:cubicBezTo>
                  <a:cubicBezTo>
                    <a:pt x="7288" y="438830"/>
                    <a:pt x="7299" y="438830"/>
                    <a:pt x="7310" y="438830"/>
                  </a:cubicBezTo>
                  <a:lnTo>
                    <a:pt x="431525" y="438830"/>
                  </a:lnTo>
                  <a:cubicBezTo>
                    <a:pt x="435545" y="438850"/>
                    <a:pt x="438815" y="435606"/>
                    <a:pt x="438834" y="431586"/>
                  </a:cubicBezTo>
                  <a:cubicBezTo>
                    <a:pt x="438834" y="431586"/>
                    <a:pt x="438834" y="431586"/>
                    <a:pt x="438834" y="431586"/>
                  </a:cubicBezTo>
                  <a:lnTo>
                    <a:pt x="438834" y="431586"/>
                  </a:lnTo>
                  <a:lnTo>
                    <a:pt x="438834" y="168181"/>
                  </a:lnTo>
                  <a:cubicBezTo>
                    <a:pt x="438811" y="165862"/>
                    <a:pt x="437686" y="163692"/>
                    <a:pt x="435800" y="162340"/>
                  </a:cubicBezTo>
                  <a:close/>
                  <a:moveTo>
                    <a:pt x="14619" y="182800"/>
                  </a:moveTo>
                  <a:lnTo>
                    <a:pt x="168805" y="299688"/>
                  </a:lnTo>
                  <a:lnTo>
                    <a:pt x="14619" y="416706"/>
                  </a:lnTo>
                  <a:close/>
                  <a:moveTo>
                    <a:pt x="219385" y="279489"/>
                  </a:moveTo>
                  <a:lnTo>
                    <a:pt x="409694" y="424081"/>
                  </a:lnTo>
                  <a:lnTo>
                    <a:pt x="29042" y="424081"/>
                  </a:lnTo>
                  <a:close/>
                  <a:moveTo>
                    <a:pt x="270029" y="299557"/>
                  </a:moveTo>
                  <a:lnTo>
                    <a:pt x="424117" y="182670"/>
                  </a:lnTo>
                  <a:lnTo>
                    <a:pt x="424117" y="416543"/>
                  </a:lnTo>
                  <a:close/>
                  <a:moveTo>
                    <a:pt x="419320" y="167887"/>
                  </a:moveTo>
                  <a:lnTo>
                    <a:pt x="394879" y="186422"/>
                  </a:lnTo>
                  <a:lnTo>
                    <a:pt x="394879" y="149646"/>
                  </a:lnTo>
                  <a:close/>
                  <a:moveTo>
                    <a:pt x="219385" y="16475"/>
                  </a:moveTo>
                  <a:lnTo>
                    <a:pt x="255475" y="43919"/>
                  </a:lnTo>
                  <a:lnTo>
                    <a:pt x="183294" y="43919"/>
                  </a:lnTo>
                  <a:close/>
                  <a:moveTo>
                    <a:pt x="380260" y="58505"/>
                  </a:moveTo>
                  <a:lnTo>
                    <a:pt x="380260" y="197909"/>
                  </a:lnTo>
                  <a:lnTo>
                    <a:pt x="257890" y="290616"/>
                  </a:lnTo>
                  <a:lnTo>
                    <a:pt x="223757" y="264706"/>
                  </a:lnTo>
                  <a:cubicBezTo>
                    <a:pt x="221144" y="262722"/>
                    <a:pt x="217527" y="262722"/>
                    <a:pt x="214914" y="264706"/>
                  </a:cubicBezTo>
                  <a:lnTo>
                    <a:pt x="180846" y="290584"/>
                  </a:lnTo>
                  <a:lnTo>
                    <a:pt x="58476" y="197909"/>
                  </a:lnTo>
                  <a:lnTo>
                    <a:pt x="58476" y="58505"/>
                  </a:lnTo>
                  <a:close/>
                  <a:moveTo>
                    <a:pt x="43857" y="186716"/>
                  </a:moveTo>
                  <a:lnTo>
                    <a:pt x="19416" y="168181"/>
                  </a:lnTo>
                  <a:lnTo>
                    <a:pt x="43857" y="149646"/>
                  </a:ln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18" name="Freeform 417">
              <a:extLst>
                <a:ext uri="{FF2B5EF4-FFF2-40B4-BE49-F238E27FC236}">
                  <a16:creationId xmlns:a16="http://schemas.microsoft.com/office/drawing/2014/main" id="{C9854EF4-DD61-73D6-1FD3-09B2724A864D}"/>
                </a:ext>
              </a:extLst>
            </p:cNvPr>
            <p:cNvSpPr/>
            <p:nvPr/>
          </p:nvSpPr>
          <p:spPr>
            <a:xfrm>
              <a:off x="6400042" y="3417855"/>
              <a:ext cx="127558" cy="72769"/>
            </a:xfrm>
            <a:custGeom>
              <a:avLst/>
              <a:gdLst>
                <a:gd name="connsiteX0" fmla="*/ 9104 w 127558"/>
                <a:gd name="connsiteY0" fmla="*/ 72769 h 72769"/>
                <a:gd name="connsiteX1" fmla="*/ 118421 w 127558"/>
                <a:gd name="connsiteY1" fmla="*/ 72769 h 72769"/>
                <a:gd name="connsiteX2" fmla="*/ 127558 w 127558"/>
                <a:gd name="connsiteY2" fmla="*/ 63698 h 72769"/>
                <a:gd name="connsiteX3" fmla="*/ 127558 w 127558"/>
                <a:gd name="connsiteY3" fmla="*/ 63665 h 72769"/>
                <a:gd name="connsiteX4" fmla="*/ 127558 w 127558"/>
                <a:gd name="connsiteY4" fmla="*/ 9006 h 72769"/>
                <a:gd name="connsiteX5" fmla="*/ 118421 w 127558"/>
                <a:gd name="connsiteY5" fmla="*/ 0 h 72769"/>
                <a:gd name="connsiteX6" fmla="*/ 9104 w 127558"/>
                <a:gd name="connsiteY6" fmla="*/ 0 h 72769"/>
                <a:gd name="connsiteX7" fmla="*/ 0 w 127558"/>
                <a:gd name="connsiteY7" fmla="*/ 9039 h 72769"/>
                <a:gd name="connsiteX8" fmla="*/ 0 w 127558"/>
                <a:gd name="connsiteY8" fmla="*/ 9104 h 72769"/>
                <a:gd name="connsiteX9" fmla="*/ 0 w 127558"/>
                <a:gd name="connsiteY9" fmla="*/ 63665 h 72769"/>
                <a:gd name="connsiteX10" fmla="*/ 9104 w 127558"/>
                <a:gd name="connsiteY10" fmla="*/ 72769 h 72769"/>
                <a:gd name="connsiteX11" fmla="*/ 18209 w 127558"/>
                <a:gd name="connsiteY11" fmla="*/ 18111 h 72769"/>
                <a:gd name="connsiteX12" fmla="*/ 109317 w 127558"/>
                <a:gd name="connsiteY12" fmla="*/ 18111 h 72769"/>
                <a:gd name="connsiteX13" fmla="*/ 109317 w 127558"/>
                <a:gd name="connsiteY13" fmla="*/ 54561 h 72769"/>
                <a:gd name="connsiteX14" fmla="*/ 18209 w 127558"/>
                <a:gd name="connsiteY14" fmla="*/ 54561 h 72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7558" h="72769">
                  <a:moveTo>
                    <a:pt x="9104" y="72769"/>
                  </a:moveTo>
                  <a:lnTo>
                    <a:pt x="118421" y="72769"/>
                  </a:lnTo>
                  <a:cubicBezTo>
                    <a:pt x="123450" y="72787"/>
                    <a:pt x="127540" y="68726"/>
                    <a:pt x="127558" y="63698"/>
                  </a:cubicBezTo>
                  <a:cubicBezTo>
                    <a:pt x="127558" y="63687"/>
                    <a:pt x="127558" y="63676"/>
                    <a:pt x="127558" y="63665"/>
                  </a:cubicBezTo>
                  <a:lnTo>
                    <a:pt x="127558" y="9006"/>
                  </a:lnTo>
                  <a:cubicBezTo>
                    <a:pt x="127504" y="4004"/>
                    <a:pt x="123424" y="-18"/>
                    <a:pt x="118421" y="0"/>
                  </a:cubicBezTo>
                  <a:lnTo>
                    <a:pt x="9104" y="0"/>
                  </a:lnTo>
                  <a:cubicBezTo>
                    <a:pt x="4094" y="-18"/>
                    <a:pt x="18" y="4029"/>
                    <a:pt x="0" y="9039"/>
                  </a:cubicBezTo>
                  <a:cubicBezTo>
                    <a:pt x="0" y="9061"/>
                    <a:pt x="0" y="9083"/>
                    <a:pt x="0" y="9104"/>
                  </a:cubicBezTo>
                  <a:lnTo>
                    <a:pt x="0" y="63665"/>
                  </a:lnTo>
                  <a:cubicBezTo>
                    <a:pt x="0" y="68693"/>
                    <a:pt x="4076" y="72769"/>
                    <a:pt x="9104" y="72769"/>
                  </a:cubicBezTo>
                  <a:close/>
                  <a:moveTo>
                    <a:pt x="18209" y="18111"/>
                  </a:moveTo>
                  <a:lnTo>
                    <a:pt x="109317" y="18111"/>
                  </a:lnTo>
                  <a:lnTo>
                    <a:pt x="109317" y="54561"/>
                  </a:lnTo>
                  <a:lnTo>
                    <a:pt x="18209" y="54561"/>
                  </a:ln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19" name="Freeform 418">
              <a:extLst>
                <a:ext uri="{FF2B5EF4-FFF2-40B4-BE49-F238E27FC236}">
                  <a16:creationId xmlns:a16="http://schemas.microsoft.com/office/drawing/2014/main" id="{5441645C-E2DC-3829-3187-2FAB612A9439}"/>
                </a:ext>
              </a:extLst>
            </p:cNvPr>
            <p:cNvSpPr/>
            <p:nvPr/>
          </p:nvSpPr>
          <p:spPr>
            <a:xfrm>
              <a:off x="6400042" y="3508833"/>
              <a:ext cx="145766" cy="18208"/>
            </a:xfrm>
            <a:custGeom>
              <a:avLst/>
              <a:gdLst>
                <a:gd name="connsiteX0" fmla="*/ 0 w 145766"/>
                <a:gd name="connsiteY0" fmla="*/ 0 h 18208"/>
                <a:gd name="connsiteX1" fmla="*/ 145767 w 145766"/>
                <a:gd name="connsiteY1" fmla="*/ 0 h 18208"/>
                <a:gd name="connsiteX2" fmla="*/ 145767 w 145766"/>
                <a:gd name="connsiteY2" fmla="*/ 18209 h 18208"/>
                <a:gd name="connsiteX3" fmla="*/ 0 w 145766"/>
                <a:gd name="connsiteY3" fmla="*/ 18209 h 18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766" h="18208">
                  <a:moveTo>
                    <a:pt x="0" y="0"/>
                  </a:moveTo>
                  <a:lnTo>
                    <a:pt x="145767" y="0"/>
                  </a:lnTo>
                  <a:lnTo>
                    <a:pt x="145767" y="18209"/>
                  </a:lnTo>
                  <a:lnTo>
                    <a:pt x="0" y="18209"/>
                  </a:ln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20" name="Freeform 419">
              <a:extLst>
                <a:ext uri="{FF2B5EF4-FFF2-40B4-BE49-F238E27FC236}">
                  <a16:creationId xmlns:a16="http://schemas.microsoft.com/office/drawing/2014/main" id="{E788EEBE-BCF8-BC5B-8007-2566E37A291C}"/>
                </a:ext>
              </a:extLst>
            </p:cNvPr>
            <p:cNvSpPr/>
            <p:nvPr/>
          </p:nvSpPr>
          <p:spPr>
            <a:xfrm>
              <a:off x="6400042" y="3545283"/>
              <a:ext cx="145766" cy="18208"/>
            </a:xfrm>
            <a:custGeom>
              <a:avLst/>
              <a:gdLst>
                <a:gd name="connsiteX0" fmla="*/ 0 w 145766"/>
                <a:gd name="connsiteY0" fmla="*/ 0 h 18208"/>
                <a:gd name="connsiteX1" fmla="*/ 145767 w 145766"/>
                <a:gd name="connsiteY1" fmla="*/ 0 h 18208"/>
                <a:gd name="connsiteX2" fmla="*/ 145767 w 145766"/>
                <a:gd name="connsiteY2" fmla="*/ 18209 h 18208"/>
                <a:gd name="connsiteX3" fmla="*/ 0 w 145766"/>
                <a:gd name="connsiteY3" fmla="*/ 18209 h 18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766" h="18208">
                  <a:moveTo>
                    <a:pt x="0" y="0"/>
                  </a:moveTo>
                  <a:lnTo>
                    <a:pt x="145767" y="0"/>
                  </a:lnTo>
                  <a:lnTo>
                    <a:pt x="145767" y="18209"/>
                  </a:lnTo>
                  <a:lnTo>
                    <a:pt x="0" y="18209"/>
                  </a:ln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21" name="Freeform 420">
              <a:extLst>
                <a:ext uri="{FF2B5EF4-FFF2-40B4-BE49-F238E27FC236}">
                  <a16:creationId xmlns:a16="http://schemas.microsoft.com/office/drawing/2014/main" id="{B4BB44D0-19E5-AEB6-0CDE-3F2931A34213}"/>
                </a:ext>
              </a:extLst>
            </p:cNvPr>
            <p:cNvSpPr/>
            <p:nvPr/>
          </p:nvSpPr>
          <p:spPr>
            <a:xfrm>
              <a:off x="6691854" y="3339878"/>
              <a:ext cx="50532" cy="50534"/>
            </a:xfrm>
            <a:custGeom>
              <a:avLst/>
              <a:gdLst>
                <a:gd name="connsiteX0" fmla="*/ 9022 w 50532"/>
                <a:gd name="connsiteY0" fmla="*/ 50534 h 50534"/>
                <a:gd name="connsiteX1" fmla="*/ 15548 w 50532"/>
                <a:gd name="connsiteY1" fmla="*/ 47858 h 50534"/>
                <a:gd name="connsiteX2" fmla="*/ 47756 w 50532"/>
                <a:gd name="connsiteY2" fmla="*/ 15650 h 50534"/>
                <a:gd name="connsiteX3" fmla="*/ 47974 w 50532"/>
                <a:gd name="connsiteY3" fmla="*/ 2776 h 50534"/>
                <a:gd name="connsiteX4" fmla="*/ 35101 w 50532"/>
                <a:gd name="connsiteY4" fmla="*/ 2558 h 50534"/>
                <a:gd name="connsiteX5" fmla="*/ 34866 w 50532"/>
                <a:gd name="connsiteY5" fmla="*/ 2793 h 50534"/>
                <a:gd name="connsiteX6" fmla="*/ 2658 w 50532"/>
                <a:gd name="connsiteY6" fmla="*/ 35001 h 50534"/>
                <a:gd name="connsiteX7" fmla="*/ 2675 w 50532"/>
                <a:gd name="connsiteY7" fmla="*/ 47876 h 50534"/>
                <a:gd name="connsiteX8" fmla="*/ 9185 w 50532"/>
                <a:gd name="connsiteY8" fmla="*/ 50534 h 50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32" h="50534">
                  <a:moveTo>
                    <a:pt x="9022" y="50534"/>
                  </a:moveTo>
                  <a:cubicBezTo>
                    <a:pt x="11469" y="50559"/>
                    <a:pt x="13822" y="49593"/>
                    <a:pt x="15548" y="47858"/>
                  </a:cubicBezTo>
                  <a:lnTo>
                    <a:pt x="47756" y="15650"/>
                  </a:lnTo>
                  <a:cubicBezTo>
                    <a:pt x="51371" y="12155"/>
                    <a:pt x="51469" y="6392"/>
                    <a:pt x="47974" y="2776"/>
                  </a:cubicBezTo>
                  <a:cubicBezTo>
                    <a:pt x="44479" y="-839"/>
                    <a:pt x="38717" y="-936"/>
                    <a:pt x="35101" y="2558"/>
                  </a:cubicBezTo>
                  <a:cubicBezTo>
                    <a:pt x="35019" y="2635"/>
                    <a:pt x="34941" y="2713"/>
                    <a:pt x="34866" y="2793"/>
                  </a:cubicBezTo>
                  <a:lnTo>
                    <a:pt x="2658" y="35001"/>
                  </a:lnTo>
                  <a:cubicBezTo>
                    <a:pt x="-892" y="38561"/>
                    <a:pt x="-886" y="44326"/>
                    <a:pt x="2675" y="47876"/>
                  </a:cubicBezTo>
                  <a:cubicBezTo>
                    <a:pt x="4401" y="49598"/>
                    <a:pt x="6747" y="50555"/>
                    <a:pt x="9185" y="50534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22" name="Freeform 421">
              <a:extLst>
                <a:ext uri="{FF2B5EF4-FFF2-40B4-BE49-F238E27FC236}">
                  <a16:creationId xmlns:a16="http://schemas.microsoft.com/office/drawing/2014/main" id="{93BE6F57-EE7C-7DD3-5137-34FF3D85BF0E}"/>
                </a:ext>
              </a:extLst>
            </p:cNvPr>
            <p:cNvSpPr/>
            <p:nvPr/>
          </p:nvSpPr>
          <p:spPr>
            <a:xfrm>
              <a:off x="6212422" y="3339781"/>
              <a:ext cx="50416" cy="50285"/>
            </a:xfrm>
            <a:custGeom>
              <a:avLst/>
              <a:gdLst>
                <a:gd name="connsiteX0" fmla="*/ 35228 w 50416"/>
                <a:gd name="connsiteY0" fmla="*/ 47955 h 50285"/>
                <a:gd name="connsiteX1" fmla="*/ 48085 w 50416"/>
                <a:gd name="connsiteY1" fmla="*/ 47265 h 50285"/>
                <a:gd name="connsiteX2" fmla="*/ 48085 w 50416"/>
                <a:gd name="connsiteY2" fmla="*/ 35098 h 50285"/>
                <a:gd name="connsiteX3" fmla="*/ 15877 w 50416"/>
                <a:gd name="connsiteY3" fmla="*/ 3020 h 50285"/>
                <a:gd name="connsiteX4" fmla="*/ 3020 w 50416"/>
                <a:gd name="connsiteY4" fmla="*/ 2331 h 50285"/>
                <a:gd name="connsiteX5" fmla="*/ 2331 w 50416"/>
                <a:gd name="connsiteY5" fmla="*/ 15188 h 50285"/>
                <a:gd name="connsiteX6" fmla="*/ 3020 w 50416"/>
                <a:gd name="connsiteY6" fmla="*/ 15877 h 5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416" h="50285">
                  <a:moveTo>
                    <a:pt x="35228" y="47955"/>
                  </a:moveTo>
                  <a:cubicBezTo>
                    <a:pt x="38969" y="51315"/>
                    <a:pt x="44725" y="51006"/>
                    <a:pt x="48085" y="47265"/>
                  </a:cubicBezTo>
                  <a:cubicBezTo>
                    <a:pt x="51193" y="43805"/>
                    <a:pt x="51193" y="38558"/>
                    <a:pt x="48085" y="35098"/>
                  </a:cubicBezTo>
                  <a:lnTo>
                    <a:pt x="15877" y="3020"/>
                  </a:lnTo>
                  <a:cubicBezTo>
                    <a:pt x="12517" y="-720"/>
                    <a:pt x="6761" y="-1029"/>
                    <a:pt x="3020" y="2331"/>
                  </a:cubicBezTo>
                  <a:cubicBezTo>
                    <a:pt x="-720" y="5691"/>
                    <a:pt x="-1029" y="11448"/>
                    <a:pt x="2331" y="15188"/>
                  </a:cubicBezTo>
                  <a:cubicBezTo>
                    <a:pt x="2549" y="15430"/>
                    <a:pt x="2779" y="15660"/>
                    <a:pt x="3020" y="15877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23" name="Freeform 422">
              <a:extLst>
                <a:ext uri="{FF2B5EF4-FFF2-40B4-BE49-F238E27FC236}">
                  <a16:creationId xmlns:a16="http://schemas.microsoft.com/office/drawing/2014/main" id="{975A7824-C2BE-7209-554B-4A155A3A1304}"/>
                </a:ext>
              </a:extLst>
            </p:cNvPr>
            <p:cNvSpPr/>
            <p:nvPr/>
          </p:nvSpPr>
          <p:spPr>
            <a:xfrm>
              <a:off x="6618775" y="3280959"/>
              <a:ext cx="36420" cy="63899"/>
            </a:xfrm>
            <a:custGeom>
              <a:avLst/>
              <a:gdLst>
                <a:gd name="connsiteX0" fmla="*/ 5840 w 36420"/>
                <a:gd name="connsiteY0" fmla="*/ 63246 h 63899"/>
                <a:gd name="connsiteX1" fmla="*/ 9103 w 36420"/>
                <a:gd name="connsiteY1" fmla="*/ 63899 h 63899"/>
                <a:gd name="connsiteX2" fmla="*/ 17554 w 36420"/>
                <a:gd name="connsiteY2" fmla="*/ 58188 h 63899"/>
                <a:gd name="connsiteX3" fmla="*/ 35763 w 36420"/>
                <a:gd name="connsiteY3" fmla="*/ 12504 h 63899"/>
                <a:gd name="connsiteX4" fmla="*/ 30705 w 36420"/>
                <a:gd name="connsiteY4" fmla="*/ 658 h 63899"/>
                <a:gd name="connsiteX5" fmla="*/ 18860 w 36420"/>
                <a:gd name="connsiteY5" fmla="*/ 5716 h 63899"/>
                <a:gd name="connsiteX6" fmla="*/ 651 w 36420"/>
                <a:gd name="connsiteY6" fmla="*/ 51401 h 63899"/>
                <a:gd name="connsiteX7" fmla="*/ 5702 w 36420"/>
                <a:gd name="connsiteY7" fmla="*/ 63194 h 63899"/>
                <a:gd name="connsiteX8" fmla="*/ 5840 w 36420"/>
                <a:gd name="connsiteY8" fmla="*/ 63246 h 63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420" h="63899">
                  <a:moveTo>
                    <a:pt x="5840" y="63246"/>
                  </a:moveTo>
                  <a:cubicBezTo>
                    <a:pt x="6877" y="63668"/>
                    <a:pt x="7983" y="63890"/>
                    <a:pt x="9103" y="63899"/>
                  </a:cubicBezTo>
                  <a:cubicBezTo>
                    <a:pt x="12823" y="63900"/>
                    <a:pt x="16168" y="61640"/>
                    <a:pt x="17554" y="58188"/>
                  </a:cubicBezTo>
                  <a:lnTo>
                    <a:pt x="35763" y="12504"/>
                  </a:lnTo>
                  <a:cubicBezTo>
                    <a:pt x="37636" y="7836"/>
                    <a:pt x="35371" y="2533"/>
                    <a:pt x="30705" y="658"/>
                  </a:cubicBezTo>
                  <a:cubicBezTo>
                    <a:pt x="26039" y="-1216"/>
                    <a:pt x="20733" y="1049"/>
                    <a:pt x="18860" y="5716"/>
                  </a:cubicBezTo>
                  <a:lnTo>
                    <a:pt x="651" y="51401"/>
                  </a:lnTo>
                  <a:cubicBezTo>
                    <a:pt x="-1209" y="56053"/>
                    <a:pt x="1052" y="61332"/>
                    <a:pt x="5702" y="63194"/>
                  </a:cubicBezTo>
                  <a:cubicBezTo>
                    <a:pt x="5748" y="63211"/>
                    <a:pt x="5794" y="63229"/>
                    <a:pt x="5840" y="63246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24" name="Freeform 423">
              <a:extLst>
                <a:ext uri="{FF2B5EF4-FFF2-40B4-BE49-F238E27FC236}">
                  <a16:creationId xmlns:a16="http://schemas.microsoft.com/office/drawing/2014/main" id="{7B5B264A-C540-6C9B-A92A-7817CB70047D}"/>
                </a:ext>
              </a:extLst>
            </p:cNvPr>
            <p:cNvSpPr/>
            <p:nvPr/>
          </p:nvSpPr>
          <p:spPr>
            <a:xfrm>
              <a:off x="6308651" y="3280899"/>
              <a:ext cx="36440" cy="63958"/>
            </a:xfrm>
            <a:custGeom>
              <a:avLst/>
              <a:gdLst>
                <a:gd name="connsiteX0" fmla="*/ 18948 w 36440"/>
                <a:gd name="connsiteY0" fmla="*/ 58248 h 63958"/>
                <a:gd name="connsiteX1" fmla="*/ 27432 w 36440"/>
                <a:gd name="connsiteY1" fmla="*/ 63958 h 63958"/>
                <a:gd name="connsiteX2" fmla="*/ 30695 w 36440"/>
                <a:gd name="connsiteY2" fmla="*/ 63306 h 63958"/>
                <a:gd name="connsiteX3" fmla="*/ 35795 w 36440"/>
                <a:gd name="connsiteY3" fmla="*/ 51483 h 63958"/>
                <a:gd name="connsiteX4" fmla="*/ 35786 w 36440"/>
                <a:gd name="connsiteY4" fmla="*/ 51460 h 63958"/>
                <a:gd name="connsiteX5" fmla="*/ 17642 w 36440"/>
                <a:gd name="connsiteY5" fmla="*/ 5939 h 63958"/>
                <a:gd name="connsiteX6" fmla="*/ 5939 w 36440"/>
                <a:gd name="connsiteY6" fmla="*/ 571 h 63958"/>
                <a:gd name="connsiteX7" fmla="*/ 571 w 36440"/>
                <a:gd name="connsiteY7" fmla="*/ 12275 h 63958"/>
                <a:gd name="connsiteX8" fmla="*/ 739 w 36440"/>
                <a:gd name="connsiteY8" fmla="*/ 12694 h 63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440" h="63958">
                  <a:moveTo>
                    <a:pt x="18948" y="58248"/>
                  </a:moveTo>
                  <a:cubicBezTo>
                    <a:pt x="20346" y="61704"/>
                    <a:pt x="23704" y="63964"/>
                    <a:pt x="27432" y="63958"/>
                  </a:cubicBezTo>
                  <a:cubicBezTo>
                    <a:pt x="28551" y="63951"/>
                    <a:pt x="29659" y="63729"/>
                    <a:pt x="30695" y="63306"/>
                  </a:cubicBezTo>
                  <a:cubicBezTo>
                    <a:pt x="35368" y="61449"/>
                    <a:pt x="37651" y="56156"/>
                    <a:pt x="35795" y="51483"/>
                  </a:cubicBezTo>
                  <a:cubicBezTo>
                    <a:pt x="35792" y="51476"/>
                    <a:pt x="35789" y="51468"/>
                    <a:pt x="35786" y="51460"/>
                  </a:cubicBezTo>
                  <a:lnTo>
                    <a:pt x="17642" y="5939"/>
                  </a:lnTo>
                  <a:cubicBezTo>
                    <a:pt x="15893" y="1225"/>
                    <a:pt x="10653" y="-1178"/>
                    <a:pt x="5939" y="571"/>
                  </a:cubicBezTo>
                  <a:cubicBezTo>
                    <a:pt x="1225" y="2321"/>
                    <a:pt x="-1178" y="7561"/>
                    <a:pt x="571" y="12275"/>
                  </a:cubicBezTo>
                  <a:cubicBezTo>
                    <a:pt x="624" y="12416"/>
                    <a:pt x="679" y="12556"/>
                    <a:pt x="739" y="12694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25" name="Graphic 43">
            <a:extLst>
              <a:ext uri="{FF2B5EF4-FFF2-40B4-BE49-F238E27FC236}">
                <a16:creationId xmlns:a16="http://schemas.microsoft.com/office/drawing/2014/main" id="{AAC34DE3-1FDA-858B-B4A6-B353BECA8FF3}"/>
              </a:ext>
            </a:extLst>
          </p:cNvPr>
          <p:cNvGrpSpPr/>
          <p:nvPr/>
        </p:nvGrpSpPr>
        <p:grpSpPr>
          <a:xfrm>
            <a:off x="5707303" y="2582750"/>
            <a:ext cx="311374" cy="304732"/>
            <a:chOff x="7553511" y="2443780"/>
            <a:chExt cx="434711" cy="434711"/>
          </a:xfrm>
          <a:solidFill>
            <a:schemeClr val="bg1"/>
          </a:solidFill>
        </p:grpSpPr>
        <p:sp>
          <p:nvSpPr>
            <p:cNvPr id="426" name="Freeform 425">
              <a:extLst>
                <a:ext uri="{FF2B5EF4-FFF2-40B4-BE49-F238E27FC236}">
                  <a16:creationId xmlns:a16="http://schemas.microsoft.com/office/drawing/2014/main" id="{7E366B4F-9BDF-5813-4F5E-220263646333}"/>
                </a:ext>
              </a:extLst>
            </p:cNvPr>
            <p:cNvSpPr/>
            <p:nvPr/>
          </p:nvSpPr>
          <p:spPr>
            <a:xfrm>
              <a:off x="7611486" y="2451166"/>
              <a:ext cx="299000" cy="395936"/>
            </a:xfrm>
            <a:custGeom>
              <a:avLst/>
              <a:gdLst>
                <a:gd name="connsiteX0" fmla="*/ 253767 w 299000"/>
                <a:gd name="connsiteY0" fmla="*/ 43339 h 395936"/>
                <a:gd name="connsiteX1" fmla="*/ 45666 w 299000"/>
                <a:gd name="connsiteY1" fmla="*/ 42860 h 395936"/>
                <a:gd name="connsiteX2" fmla="*/ 45187 w 299000"/>
                <a:gd name="connsiteY2" fmla="*/ 43339 h 395936"/>
                <a:gd name="connsiteX3" fmla="*/ 194 w 299000"/>
                <a:gd name="connsiteY3" fmla="*/ 143377 h 395936"/>
                <a:gd name="connsiteX4" fmla="*/ 31684 w 299000"/>
                <a:gd name="connsiteY4" fmla="*/ 245969 h 395936"/>
                <a:gd name="connsiteX5" fmla="*/ 140361 w 299000"/>
                <a:gd name="connsiteY5" fmla="*/ 391407 h 395936"/>
                <a:gd name="connsiteX6" fmla="*/ 156183 w 299000"/>
                <a:gd name="connsiteY6" fmla="*/ 393681 h 395936"/>
                <a:gd name="connsiteX7" fmla="*/ 158456 w 299000"/>
                <a:gd name="connsiteY7" fmla="*/ 391407 h 395936"/>
                <a:gd name="connsiteX8" fmla="*/ 267134 w 299000"/>
                <a:gd name="connsiteY8" fmla="*/ 245969 h 395936"/>
                <a:gd name="connsiteX9" fmla="*/ 298759 w 299000"/>
                <a:gd name="connsiteY9" fmla="*/ 143404 h 395936"/>
                <a:gd name="connsiteX10" fmla="*/ 253767 w 299000"/>
                <a:gd name="connsiteY10" fmla="*/ 43339 h 39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9000" h="395936">
                  <a:moveTo>
                    <a:pt x="253767" y="43339"/>
                  </a:moveTo>
                  <a:cubicBezTo>
                    <a:pt x="196434" y="-14259"/>
                    <a:pt x="103264" y="-14473"/>
                    <a:pt x="45666" y="42860"/>
                  </a:cubicBezTo>
                  <a:cubicBezTo>
                    <a:pt x="45506" y="43019"/>
                    <a:pt x="45346" y="43179"/>
                    <a:pt x="45187" y="43339"/>
                  </a:cubicBezTo>
                  <a:cubicBezTo>
                    <a:pt x="18593" y="70152"/>
                    <a:pt x="2610" y="105689"/>
                    <a:pt x="194" y="143377"/>
                  </a:cubicBezTo>
                  <a:cubicBezTo>
                    <a:pt x="-1636" y="180205"/>
                    <a:pt x="9507" y="216509"/>
                    <a:pt x="31684" y="245969"/>
                  </a:cubicBezTo>
                  <a:lnTo>
                    <a:pt x="140361" y="391407"/>
                  </a:lnTo>
                  <a:cubicBezTo>
                    <a:pt x="144103" y="396403"/>
                    <a:pt x="151186" y="397422"/>
                    <a:pt x="156183" y="393681"/>
                  </a:cubicBezTo>
                  <a:cubicBezTo>
                    <a:pt x="157045" y="393034"/>
                    <a:pt x="157811" y="392268"/>
                    <a:pt x="158456" y="391407"/>
                  </a:cubicBezTo>
                  <a:lnTo>
                    <a:pt x="267134" y="245969"/>
                  </a:lnTo>
                  <a:cubicBezTo>
                    <a:pt x="289603" y="216664"/>
                    <a:pt x="300824" y="180274"/>
                    <a:pt x="298759" y="143404"/>
                  </a:cubicBezTo>
                  <a:cubicBezTo>
                    <a:pt x="296344" y="105709"/>
                    <a:pt x="280360" y="70163"/>
                    <a:pt x="253767" y="43339"/>
                  </a:cubicBezTo>
                  <a:close/>
                </a:path>
              </a:pathLst>
            </a:custGeom>
            <a:noFill/>
            <a:ln w="13395" cap="flat">
              <a:solidFill>
                <a:schemeClr val="bg1"/>
              </a:solidFill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27" name="Freeform 426">
              <a:extLst>
                <a:ext uri="{FF2B5EF4-FFF2-40B4-BE49-F238E27FC236}">
                  <a16:creationId xmlns:a16="http://schemas.microsoft.com/office/drawing/2014/main" id="{F911CAD3-E50A-4D86-666E-D3D346E8922D}"/>
                </a:ext>
              </a:extLst>
            </p:cNvPr>
            <p:cNvSpPr/>
            <p:nvPr/>
          </p:nvSpPr>
          <p:spPr>
            <a:xfrm>
              <a:off x="7690146" y="2534553"/>
              <a:ext cx="138238" cy="138238"/>
            </a:xfrm>
            <a:custGeom>
              <a:avLst/>
              <a:gdLst>
                <a:gd name="connsiteX0" fmla="*/ 69092 w 138238"/>
                <a:gd name="connsiteY0" fmla="*/ 0 h 138238"/>
                <a:gd name="connsiteX1" fmla="*/ 0 w 138238"/>
                <a:gd name="connsiteY1" fmla="*/ 69146 h 138238"/>
                <a:gd name="connsiteX2" fmla="*/ 69146 w 138238"/>
                <a:gd name="connsiteY2" fmla="*/ 138238 h 138238"/>
                <a:gd name="connsiteX3" fmla="*/ 138238 w 138238"/>
                <a:gd name="connsiteY3" fmla="*/ 69119 h 138238"/>
                <a:gd name="connsiteX4" fmla="*/ 69119 w 138238"/>
                <a:gd name="connsiteY4" fmla="*/ 0 h 138238"/>
                <a:gd name="connsiteX5" fmla="*/ 69092 w 138238"/>
                <a:gd name="connsiteY5" fmla="*/ 0 h 13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238" h="138238">
                  <a:moveTo>
                    <a:pt x="69092" y="0"/>
                  </a:moveTo>
                  <a:cubicBezTo>
                    <a:pt x="30919" y="15"/>
                    <a:pt x="-15" y="30973"/>
                    <a:pt x="0" y="69146"/>
                  </a:cubicBezTo>
                  <a:cubicBezTo>
                    <a:pt x="15" y="107320"/>
                    <a:pt x="30973" y="138253"/>
                    <a:pt x="69146" y="138238"/>
                  </a:cubicBezTo>
                  <a:cubicBezTo>
                    <a:pt x="107309" y="138223"/>
                    <a:pt x="138238" y="107282"/>
                    <a:pt x="138238" y="69119"/>
                  </a:cubicBezTo>
                  <a:cubicBezTo>
                    <a:pt x="138238" y="30946"/>
                    <a:pt x="107292" y="0"/>
                    <a:pt x="69119" y="0"/>
                  </a:cubicBezTo>
                  <a:cubicBezTo>
                    <a:pt x="69110" y="0"/>
                    <a:pt x="69101" y="0"/>
                    <a:pt x="69092" y="0"/>
                  </a:cubicBezTo>
                  <a:close/>
                </a:path>
              </a:pathLst>
            </a:custGeom>
            <a:noFill/>
            <a:ln w="13395" cap="flat">
              <a:solidFill>
                <a:schemeClr val="bg1"/>
              </a:solidFill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28" name="Freeform 427">
              <a:extLst>
                <a:ext uri="{FF2B5EF4-FFF2-40B4-BE49-F238E27FC236}">
                  <a16:creationId xmlns:a16="http://schemas.microsoft.com/office/drawing/2014/main" id="{45E6B95A-7059-CC8F-4414-5C375B27F611}"/>
                </a:ext>
              </a:extLst>
            </p:cNvPr>
            <p:cNvSpPr/>
            <p:nvPr/>
          </p:nvSpPr>
          <p:spPr>
            <a:xfrm>
              <a:off x="7652760" y="2798524"/>
              <a:ext cx="216404" cy="84232"/>
            </a:xfrm>
            <a:custGeom>
              <a:avLst/>
              <a:gdLst>
                <a:gd name="connsiteX0" fmla="*/ 108216 w 216404"/>
                <a:gd name="connsiteY0" fmla="*/ 84232 h 84232"/>
                <a:gd name="connsiteX1" fmla="*/ 0 w 216404"/>
                <a:gd name="connsiteY1" fmla="*/ 36333 h 84232"/>
                <a:gd name="connsiteX2" fmla="*/ 33989 w 216404"/>
                <a:gd name="connsiteY2" fmla="*/ 1012 h 84232"/>
                <a:gd name="connsiteX3" fmla="*/ 42955 w 216404"/>
                <a:gd name="connsiteY3" fmla="*/ 4816 h 84232"/>
                <a:gd name="connsiteX4" fmla="*/ 39151 w 216404"/>
                <a:gd name="connsiteY4" fmla="*/ 13782 h 84232"/>
                <a:gd name="connsiteX5" fmla="*/ 13802 w 216404"/>
                <a:gd name="connsiteY5" fmla="*/ 36387 h 84232"/>
                <a:gd name="connsiteX6" fmla="*/ 108216 w 216404"/>
                <a:gd name="connsiteY6" fmla="*/ 70512 h 84232"/>
                <a:gd name="connsiteX7" fmla="*/ 202630 w 216404"/>
                <a:gd name="connsiteY7" fmla="*/ 36387 h 84232"/>
                <a:gd name="connsiteX8" fmla="*/ 179182 w 216404"/>
                <a:gd name="connsiteY8" fmla="*/ 13429 h 84232"/>
                <a:gd name="connsiteX9" fmla="*/ 174808 w 216404"/>
                <a:gd name="connsiteY9" fmla="*/ 4707 h 84232"/>
                <a:gd name="connsiteX10" fmla="*/ 183557 w 216404"/>
                <a:gd name="connsiteY10" fmla="*/ 333 h 84232"/>
                <a:gd name="connsiteX11" fmla="*/ 216405 w 216404"/>
                <a:gd name="connsiteY11" fmla="*/ 36387 h 84232"/>
                <a:gd name="connsiteX12" fmla="*/ 108216 w 216404"/>
                <a:gd name="connsiteY12" fmla="*/ 84232 h 84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6404" h="84232">
                  <a:moveTo>
                    <a:pt x="108216" y="84232"/>
                  </a:moveTo>
                  <a:cubicBezTo>
                    <a:pt x="46541" y="84232"/>
                    <a:pt x="0" y="63638"/>
                    <a:pt x="0" y="36333"/>
                  </a:cubicBezTo>
                  <a:cubicBezTo>
                    <a:pt x="0" y="22395"/>
                    <a:pt x="12063" y="9842"/>
                    <a:pt x="33989" y="1012"/>
                  </a:cubicBezTo>
                  <a:cubicBezTo>
                    <a:pt x="37515" y="-414"/>
                    <a:pt x="41529" y="1290"/>
                    <a:pt x="42955" y="4816"/>
                  </a:cubicBezTo>
                  <a:cubicBezTo>
                    <a:pt x="44380" y="8343"/>
                    <a:pt x="42677" y="12356"/>
                    <a:pt x="39151" y="13782"/>
                  </a:cubicBezTo>
                  <a:cubicBezTo>
                    <a:pt x="23284" y="20221"/>
                    <a:pt x="13802" y="28671"/>
                    <a:pt x="13802" y="36387"/>
                  </a:cubicBezTo>
                  <a:cubicBezTo>
                    <a:pt x="13802" y="52526"/>
                    <a:pt x="52573" y="70512"/>
                    <a:pt x="108216" y="70512"/>
                  </a:cubicBezTo>
                  <a:cubicBezTo>
                    <a:pt x="163859" y="70512"/>
                    <a:pt x="202630" y="52526"/>
                    <a:pt x="202630" y="36387"/>
                  </a:cubicBezTo>
                  <a:cubicBezTo>
                    <a:pt x="202630" y="28236"/>
                    <a:pt x="200864" y="20629"/>
                    <a:pt x="179182" y="13429"/>
                  </a:cubicBezTo>
                  <a:cubicBezTo>
                    <a:pt x="175577" y="12214"/>
                    <a:pt x="173624" y="8324"/>
                    <a:pt x="174808" y="4707"/>
                  </a:cubicBezTo>
                  <a:cubicBezTo>
                    <a:pt x="176058" y="1118"/>
                    <a:pt x="179938" y="-822"/>
                    <a:pt x="183557" y="333"/>
                  </a:cubicBezTo>
                  <a:cubicBezTo>
                    <a:pt x="206895" y="8104"/>
                    <a:pt x="216405" y="18537"/>
                    <a:pt x="216405" y="36387"/>
                  </a:cubicBezTo>
                  <a:cubicBezTo>
                    <a:pt x="216405" y="63665"/>
                    <a:pt x="169891" y="84232"/>
                    <a:pt x="108216" y="84232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29" name="Graphic 45">
            <a:extLst>
              <a:ext uri="{FF2B5EF4-FFF2-40B4-BE49-F238E27FC236}">
                <a16:creationId xmlns:a16="http://schemas.microsoft.com/office/drawing/2014/main" id="{B481319C-D97F-05C3-DB2E-7A460FEBCFFD}"/>
              </a:ext>
            </a:extLst>
          </p:cNvPr>
          <p:cNvGrpSpPr/>
          <p:nvPr/>
        </p:nvGrpSpPr>
        <p:grpSpPr>
          <a:xfrm>
            <a:off x="5707303" y="1115103"/>
            <a:ext cx="306251" cy="299719"/>
            <a:chOff x="7553511" y="350131"/>
            <a:chExt cx="427559" cy="427559"/>
          </a:xfrm>
          <a:solidFill>
            <a:schemeClr val="bg1"/>
          </a:solidFill>
        </p:grpSpPr>
        <p:sp>
          <p:nvSpPr>
            <p:cNvPr id="430" name="Freeform 429">
              <a:extLst>
                <a:ext uri="{FF2B5EF4-FFF2-40B4-BE49-F238E27FC236}">
                  <a16:creationId xmlns:a16="http://schemas.microsoft.com/office/drawing/2014/main" id="{38945E60-C716-CE8B-C482-046AF865B7D9}"/>
                </a:ext>
              </a:extLst>
            </p:cNvPr>
            <p:cNvSpPr/>
            <p:nvPr/>
          </p:nvSpPr>
          <p:spPr>
            <a:xfrm>
              <a:off x="7558095" y="353574"/>
              <a:ext cx="429336" cy="429338"/>
            </a:xfrm>
            <a:custGeom>
              <a:avLst/>
              <a:gdLst>
                <a:gd name="connsiteX0" fmla="*/ 403120 w 429336"/>
                <a:gd name="connsiteY0" fmla="*/ 26191 h 429338"/>
                <a:gd name="connsiteX1" fmla="*/ 276643 w 429336"/>
                <a:gd name="connsiteY1" fmla="*/ 26191 h 429338"/>
                <a:gd name="connsiteX2" fmla="*/ 26200 w 429336"/>
                <a:gd name="connsiteY2" fmla="*/ 276634 h 429338"/>
                <a:gd name="connsiteX3" fmla="*/ 26200 w 429336"/>
                <a:gd name="connsiteY3" fmla="*/ 403138 h 429338"/>
                <a:gd name="connsiteX4" fmla="*/ 152704 w 429336"/>
                <a:gd name="connsiteY4" fmla="*/ 403138 h 429338"/>
                <a:gd name="connsiteX5" fmla="*/ 403120 w 429336"/>
                <a:gd name="connsiteY5" fmla="*/ 152695 h 429338"/>
                <a:gd name="connsiteX6" fmla="*/ 403173 w 429336"/>
                <a:gd name="connsiteY6" fmla="*/ 26246 h 429338"/>
                <a:gd name="connsiteX7" fmla="*/ 403120 w 429336"/>
                <a:gd name="connsiteY7" fmla="*/ 26191 h 429338"/>
                <a:gd name="connsiteX8" fmla="*/ 140037 w 429336"/>
                <a:gd name="connsiteY8" fmla="*/ 390472 h 429338"/>
                <a:gd name="connsiteX9" fmla="*/ 38840 w 429336"/>
                <a:gd name="connsiteY9" fmla="*/ 389277 h 429338"/>
                <a:gd name="connsiteX10" fmla="*/ 38840 w 429336"/>
                <a:gd name="connsiteY10" fmla="*/ 289274 h 429338"/>
                <a:gd name="connsiteX11" fmla="*/ 158583 w 429336"/>
                <a:gd name="connsiteY11" fmla="*/ 169531 h 429338"/>
                <a:gd name="connsiteX12" fmla="*/ 204278 w 429336"/>
                <a:gd name="connsiteY12" fmla="*/ 225060 h 429338"/>
                <a:gd name="connsiteX13" fmla="*/ 259807 w 429336"/>
                <a:gd name="connsiteY13" fmla="*/ 270728 h 429338"/>
                <a:gd name="connsiteX14" fmla="*/ 390480 w 429336"/>
                <a:gd name="connsiteY14" fmla="*/ 140029 h 429338"/>
                <a:gd name="connsiteX15" fmla="*/ 272688 w 429336"/>
                <a:gd name="connsiteY15" fmla="*/ 257821 h 429338"/>
                <a:gd name="connsiteX16" fmla="*/ 216891 w 429336"/>
                <a:gd name="connsiteY16" fmla="*/ 212393 h 429338"/>
                <a:gd name="connsiteX17" fmla="*/ 171463 w 429336"/>
                <a:gd name="connsiteY17" fmla="*/ 156624 h 429338"/>
                <a:gd name="connsiteX18" fmla="*/ 289362 w 429336"/>
                <a:gd name="connsiteY18" fmla="*/ 38831 h 429338"/>
                <a:gd name="connsiteX19" fmla="*/ 390547 w 429336"/>
                <a:gd name="connsiteY19" fmla="*/ 38844 h 429338"/>
                <a:gd name="connsiteX20" fmla="*/ 390534 w 429336"/>
                <a:gd name="connsiteY20" fmla="*/ 140029 h 429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9336" h="429338">
                  <a:moveTo>
                    <a:pt x="403120" y="26191"/>
                  </a:moveTo>
                  <a:cubicBezTo>
                    <a:pt x="368194" y="-8730"/>
                    <a:pt x="311569" y="-8730"/>
                    <a:pt x="276643" y="26191"/>
                  </a:cubicBezTo>
                  <a:lnTo>
                    <a:pt x="26200" y="276634"/>
                  </a:lnTo>
                  <a:cubicBezTo>
                    <a:pt x="-8733" y="311568"/>
                    <a:pt x="-8733" y="368204"/>
                    <a:pt x="26200" y="403138"/>
                  </a:cubicBezTo>
                  <a:cubicBezTo>
                    <a:pt x="61133" y="438072"/>
                    <a:pt x="117771" y="438072"/>
                    <a:pt x="152704" y="403138"/>
                  </a:cubicBezTo>
                  <a:lnTo>
                    <a:pt x="403120" y="152695"/>
                  </a:lnTo>
                  <a:cubicBezTo>
                    <a:pt x="438054" y="117792"/>
                    <a:pt x="438078" y="61179"/>
                    <a:pt x="403173" y="26246"/>
                  </a:cubicBezTo>
                  <a:cubicBezTo>
                    <a:pt x="403157" y="26228"/>
                    <a:pt x="403139" y="26210"/>
                    <a:pt x="403120" y="26191"/>
                  </a:cubicBezTo>
                  <a:close/>
                  <a:moveTo>
                    <a:pt x="140037" y="390472"/>
                  </a:moveTo>
                  <a:cubicBezTo>
                    <a:pt x="111762" y="418087"/>
                    <a:pt x="66455" y="417552"/>
                    <a:pt x="38840" y="389277"/>
                  </a:cubicBezTo>
                  <a:cubicBezTo>
                    <a:pt x="11684" y="361472"/>
                    <a:pt x="11684" y="317078"/>
                    <a:pt x="38840" y="289274"/>
                  </a:cubicBezTo>
                  <a:lnTo>
                    <a:pt x="158583" y="169531"/>
                  </a:lnTo>
                  <a:cubicBezTo>
                    <a:pt x="171978" y="189478"/>
                    <a:pt x="187282" y="208075"/>
                    <a:pt x="204278" y="225060"/>
                  </a:cubicBezTo>
                  <a:cubicBezTo>
                    <a:pt x="221252" y="242060"/>
                    <a:pt x="239850" y="257356"/>
                    <a:pt x="259807" y="270728"/>
                  </a:cubicBezTo>
                  <a:close/>
                  <a:moveTo>
                    <a:pt x="390480" y="140029"/>
                  </a:moveTo>
                  <a:lnTo>
                    <a:pt x="272688" y="257821"/>
                  </a:lnTo>
                  <a:cubicBezTo>
                    <a:pt x="252587" y="244623"/>
                    <a:pt x="233891" y="229401"/>
                    <a:pt x="216891" y="212393"/>
                  </a:cubicBezTo>
                  <a:cubicBezTo>
                    <a:pt x="199884" y="195403"/>
                    <a:pt x="184662" y="176715"/>
                    <a:pt x="171463" y="156624"/>
                  </a:cubicBezTo>
                  <a:lnTo>
                    <a:pt x="289362" y="38831"/>
                  </a:lnTo>
                  <a:cubicBezTo>
                    <a:pt x="317309" y="10893"/>
                    <a:pt x="362609" y="10899"/>
                    <a:pt x="390547" y="38844"/>
                  </a:cubicBezTo>
                  <a:cubicBezTo>
                    <a:pt x="418485" y="66789"/>
                    <a:pt x="418480" y="112091"/>
                    <a:pt x="390534" y="140029"/>
                  </a:cubicBez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31" name="Freeform 430">
              <a:extLst>
                <a:ext uri="{FF2B5EF4-FFF2-40B4-BE49-F238E27FC236}">
                  <a16:creationId xmlns:a16="http://schemas.microsoft.com/office/drawing/2014/main" id="{A459BE92-0193-88C4-6082-36002D63457F}"/>
                </a:ext>
              </a:extLst>
            </p:cNvPr>
            <p:cNvSpPr/>
            <p:nvPr/>
          </p:nvSpPr>
          <p:spPr>
            <a:xfrm>
              <a:off x="7756410" y="389359"/>
              <a:ext cx="182367" cy="131972"/>
            </a:xfrm>
            <a:custGeom>
              <a:avLst/>
              <a:gdLst>
                <a:gd name="connsiteX0" fmla="*/ 141553 w 182367"/>
                <a:gd name="connsiteY0" fmla="*/ 0 h 131972"/>
                <a:gd name="connsiteX1" fmla="*/ 103607 w 182367"/>
                <a:gd name="connsiteY1" fmla="*/ 15686 h 131972"/>
                <a:gd name="connsiteX2" fmla="*/ 103607 w 182367"/>
                <a:gd name="connsiteY2" fmla="*/ 15686 h 131972"/>
                <a:gd name="connsiteX3" fmla="*/ 2409 w 182367"/>
                <a:gd name="connsiteY3" fmla="*/ 116911 h 131972"/>
                <a:gd name="connsiteX4" fmla="*/ 2843 w 182367"/>
                <a:gd name="connsiteY4" fmla="*/ 129563 h 131972"/>
                <a:gd name="connsiteX5" fmla="*/ 15075 w 182367"/>
                <a:gd name="connsiteY5" fmla="*/ 129551 h 131972"/>
                <a:gd name="connsiteX6" fmla="*/ 116273 w 182367"/>
                <a:gd name="connsiteY6" fmla="*/ 28353 h 131972"/>
                <a:gd name="connsiteX7" fmla="*/ 166886 w 182367"/>
                <a:gd name="connsiteY7" fmla="*/ 28353 h 131972"/>
                <a:gd name="connsiteX8" fmla="*/ 179539 w 182367"/>
                <a:gd name="connsiteY8" fmla="*/ 28760 h 131972"/>
                <a:gd name="connsiteX9" fmla="*/ 179945 w 182367"/>
                <a:gd name="connsiteY9" fmla="*/ 16106 h 131972"/>
                <a:gd name="connsiteX10" fmla="*/ 179525 w 182367"/>
                <a:gd name="connsiteY10" fmla="*/ 15686 h 131972"/>
                <a:gd name="connsiteX11" fmla="*/ 141553 w 182367"/>
                <a:gd name="connsiteY11" fmla="*/ 0 h 131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2367" h="131972">
                  <a:moveTo>
                    <a:pt x="141553" y="0"/>
                  </a:moveTo>
                  <a:cubicBezTo>
                    <a:pt x="127320" y="-32"/>
                    <a:pt x="113662" y="5613"/>
                    <a:pt x="103607" y="15686"/>
                  </a:cubicBezTo>
                  <a:lnTo>
                    <a:pt x="103607" y="15686"/>
                  </a:lnTo>
                  <a:lnTo>
                    <a:pt x="2409" y="116911"/>
                  </a:lnTo>
                  <a:cubicBezTo>
                    <a:pt x="-965" y="120524"/>
                    <a:pt x="-771" y="126189"/>
                    <a:pt x="2843" y="129563"/>
                  </a:cubicBezTo>
                  <a:cubicBezTo>
                    <a:pt x="6288" y="132780"/>
                    <a:pt x="11637" y="132775"/>
                    <a:pt x="15075" y="129551"/>
                  </a:cubicBezTo>
                  <a:lnTo>
                    <a:pt x="116273" y="28353"/>
                  </a:lnTo>
                  <a:cubicBezTo>
                    <a:pt x="130254" y="14387"/>
                    <a:pt x="152904" y="14387"/>
                    <a:pt x="166886" y="28353"/>
                  </a:cubicBezTo>
                  <a:cubicBezTo>
                    <a:pt x="170269" y="31959"/>
                    <a:pt x="175934" y="32141"/>
                    <a:pt x="179539" y="28760"/>
                  </a:cubicBezTo>
                  <a:cubicBezTo>
                    <a:pt x="183146" y="25378"/>
                    <a:pt x="183328" y="19713"/>
                    <a:pt x="179945" y="16106"/>
                  </a:cubicBezTo>
                  <a:cubicBezTo>
                    <a:pt x="179811" y="15961"/>
                    <a:pt x="179670" y="15821"/>
                    <a:pt x="179525" y="15686"/>
                  </a:cubicBezTo>
                  <a:cubicBezTo>
                    <a:pt x="169451" y="5624"/>
                    <a:pt x="155790" y="-19"/>
                    <a:pt x="141553" y="0"/>
                  </a:cubicBez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32" name="Freeform 431">
              <a:extLst>
                <a:ext uri="{FF2B5EF4-FFF2-40B4-BE49-F238E27FC236}">
                  <a16:creationId xmlns:a16="http://schemas.microsoft.com/office/drawing/2014/main" id="{2A61B953-EBC9-9538-9E63-F860D135C422}"/>
                </a:ext>
              </a:extLst>
            </p:cNvPr>
            <p:cNvSpPr/>
            <p:nvPr/>
          </p:nvSpPr>
          <p:spPr>
            <a:xfrm>
              <a:off x="7558095" y="495714"/>
              <a:ext cx="289870" cy="287198"/>
            </a:xfrm>
            <a:custGeom>
              <a:avLst/>
              <a:gdLst>
                <a:gd name="connsiteX0" fmla="*/ 272688 w 289870"/>
                <a:gd name="connsiteY0" fmla="*/ 115681 h 287198"/>
                <a:gd name="connsiteX1" fmla="*/ 216891 w 289870"/>
                <a:gd name="connsiteY1" fmla="*/ 70253 h 287198"/>
                <a:gd name="connsiteX2" fmla="*/ 171463 w 289870"/>
                <a:gd name="connsiteY2" fmla="*/ 14484 h 287198"/>
                <a:gd name="connsiteX3" fmla="*/ 160774 w 289870"/>
                <a:gd name="connsiteY3" fmla="*/ 0 h 287198"/>
                <a:gd name="connsiteX4" fmla="*/ 160774 w 289870"/>
                <a:gd name="connsiteY4" fmla="*/ 0 h 287198"/>
                <a:gd name="connsiteX5" fmla="*/ 26200 w 289870"/>
                <a:gd name="connsiteY5" fmla="*/ 134494 h 287198"/>
                <a:gd name="connsiteX6" fmla="*/ 26200 w 289870"/>
                <a:gd name="connsiteY6" fmla="*/ 260998 h 287198"/>
                <a:gd name="connsiteX7" fmla="*/ 152704 w 289870"/>
                <a:gd name="connsiteY7" fmla="*/ 260998 h 287198"/>
                <a:gd name="connsiteX8" fmla="*/ 289870 w 289870"/>
                <a:gd name="connsiteY8" fmla="*/ 123805 h 287198"/>
                <a:gd name="connsiteX9" fmla="*/ 140037 w 289870"/>
                <a:gd name="connsiteY9" fmla="*/ 248332 h 287198"/>
                <a:gd name="connsiteX10" fmla="*/ 38840 w 289870"/>
                <a:gd name="connsiteY10" fmla="*/ 247137 h 287198"/>
                <a:gd name="connsiteX11" fmla="*/ 38840 w 289870"/>
                <a:gd name="connsiteY11" fmla="*/ 147134 h 287198"/>
                <a:gd name="connsiteX12" fmla="*/ 158583 w 289870"/>
                <a:gd name="connsiteY12" fmla="*/ 27391 h 287198"/>
                <a:gd name="connsiteX13" fmla="*/ 204278 w 289870"/>
                <a:gd name="connsiteY13" fmla="*/ 82920 h 287198"/>
                <a:gd name="connsiteX14" fmla="*/ 259807 w 289870"/>
                <a:gd name="connsiteY14" fmla="*/ 128588 h 287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9870" h="287198">
                  <a:moveTo>
                    <a:pt x="272688" y="115681"/>
                  </a:moveTo>
                  <a:cubicBezTo>
                    <a:pt x="252587" y="102483"/>
                    <a:pt x="233891" y="87261"/>
                    <a:pt x="216891" y="70253"/>
                  </a:cubicBezTo>
                  <a:cubicBezTo>
                    <a:pt x="199884" y="53263"/>
                    <a:pt x="184662" y="34575"/>
                    <a:pt x="171463" y="14484"/>
                  </a:cubicBezTo>
                  <a:lnTo>
                    <a:pt x="160774" y="0"/>
                  </a:lnTo>
                  <a:lnTo>
                    <a:pt x="160774" y="0"/>
                  </a:lnTo>
                  <a:lnTo>
                    <a:pt x="26200" y="134494"/>
                  </a:lnTo>
                  <a:cubicBezTo>
                    <a:pt x="-8733" y="169428"/>
                    <a:pt x="-8733" y="226064"/>
                    <a:pt x="26200" y="260998"/>
                  </a:cubicBezTo>
                  <a:cubicBezTo>
                    <a:pt x="61133" y="295932"/>
                    <a:pt x="117771" y="295932"/>
                    <a:pt x="152704" y="260998"/>
                  </a:cubicBezTo>
                  <a:lnTo>
                    <a:pt x="289870" y="123805"/>
                  </a:lnTo>
                  <a:close/>
                  <a:moveTo>
                    <a:pt x="140037" y="248332"/>
                  </a:moveTo>
                  <a:cubicBezTo>
                    <a:pt x="111762" y="275947"/>
                    <a:pt x="66455" y="275412"/>
                    <a:pt x="38840" y="247137"/>
                  </a:cubicBezTo>
                  <a:cubicBezTo>
                    <a:pt x="11684" y="219332"/>
                    <a:pt x="11684" y="174938"/>
                    <a:pt x="38840" y="147134"/>
                  </a:cubicBezTo>
                  <a:lnTo>
                    <a:pt x="158583" y="27391"/>
                  </a:lnTo>
                  <a:cubicBezTo>
                    <a:pt x="171978" y="47338"/>
                    <a:pt x="187282" y="65935"/>
                    <a:pt x="204278" y="82920"/>
                  </a:cubicBezTo>
                  <a:cubicBezTo>
                    <a:pt x="221252" y="99920"/>
                    <a:pt x="239850" y="115216"/>
                    <a:pt x="259807" y="128588"/>
                  </a:cubicBezTo>
                  <a:close/>
                </a:path>
              </a:pathLst>
            </a:custGeom>
            <a:grpFill/>
            <a:ln w="26194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33" name="Graphic 47">
            <a:extLst>
              <a:ext uri="{FF2B5EF4-FFF2-40B4-BE49-F238E27FC236}">
                <a16:creationId xmlns:a16="http://schemas.microsoft.com/office/drawing/2014/main" id="{F5805A30-5422-8A86-F5C5-26AB9F402CB6}"/>
              </a:ext>
            </a:extLst>
          </p:cNvPr>
          <p:cNvGrpSpPr/>
          <p:nvPr/>
        </p:nvGrpSpPr>
        <p:grpSpPr>
          <a:xfrm>
            <a:off x="7438877" y="1135351"/>
            <a:ext cx="309574" cy="302971"/>
            <a:chOff x="9970969" y="379016"/>
            <a:chExt cx="432198" cy="432198"/>
          </a:xfrm>
          <a:solidFill>
            <a:schemeClr val="bg1"/>
          </a:solidFill>
        </p:grpSpPr>
        <p:sp>
          <p:nvSpPr>
            <p:cNvPr id="434" name="Freeform 433">
              <a:extLst>
                <a:ext uri="{FF2B5EF4-FFF2-40B4-BE49-F238E27FC236}">
                  <a16:creationId xmlns:a16="http://schemas.microsoft.com/office/drawing/2014/main" id="{55793F8D-17A6-195F-3FEF-9B0ED87F6928}"/>
                </a:ext>
              </a:extLst>
            </p:cNvPr>
            <p:cNvSpPr/>
            <p:nvPr/>
          </p:nvSpPr>
          <p:spPr>
            <a:xfrm>
              <a:off x="10256435" y="716157"/>
              <a:ext cx="87736" cy="87736"/>
            </a:xfrm>
            <a:custGeom>
              <a:avLst/>
              <a:gdLst>
                <a:gd name="connsiteX0" fmla="*/ 43868 w 87736"/>
                <a:gd name="connsiteY0" fmla="*/ 0 h 87736"/>
                <a:gd name="connsiteX1" fmla="*/ 0 w 87736"/>
                <a:gd name="connsiteY1" fmla="*/ 43868 h 87736"/>
                <a:gd name="connsiteX2" fmla="*/ 43868 w 87736"/>
                <a:gd name="connsiteY2" fmla="*/ 87736 h 87736"/>
                <a:gd name="connsiteX3" fmla="*/ 87736 w 87736"/>
                <a:gd name="connsiteY3" fmla="*/ 43868 h 87736"/>
                <a:gd name="connsiteX4" fmla="*/ 87736 w 87736"/>
                <a:gd name="connsiteY4" fmla="*/ 43733 h 87736"/>
                <a:gd name="connsiteX5" fmla="*/ 43868 w 87736"/>
                <a:gd name="connsiteY5" fmla="*/ 0 h 87736"/>
                <a:gd name="connsiteX6" fmla="*/ 43868 w 87736"/>
                <a:gd name="connsiteY6" fmla="*/ 70232 h 87736"/>
                <a:gd name="connsiteX7" fmla="*/ 17558 w 87736"/>
                <a:gd name="connsiteY7" fmla="*/ 43922 h 87736"/>
                <a:gd name="connsiteX8" fmla="*/ 43868 w 87736"/>
                <a:gd name="connsiteY8" fmla="*/ 17612 h 87736"/>
                <a:gd name="connsiteX9" fmla="*/ 70178 w 87736"/>
                <a:gd name="connsiteY9" fmla="*/ 43922 h 87736"/>
                <a:gd name="connsiteX10" fmla="*/ 43868 w 87736"/>
                <a:gd name="connsiteY10" fmla="*/ 70151 h 8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736" h="87736">
                  <a:moveTo>
                    <a:pt x="43868" y="0"/>
                  </a:moveTo>
                  <a:cubicBezTo>
                    <a:pt x="19641" y="0"/>
                    <a:pt x="0" y="19641"/>
                    <a:pt x="0" y="43868"/>
                  </a:cubicBezTo>
                  <a:cubicBezTo>
                    <a:pt x="0" y="68095"/>
                    <a:pt x="19641" y="87736"/>
                    <a:pt x="43868" y="87736"/>
                  </a:cubicBezTo>
                  <a:cubicBezTo>
                    <a:pt x="68095" y="87736"/>
                    <a:pt x="87736" y="68095"/>
                    <a:pt x="87736" y="43868"/>
                  </a:cubicBezTo>
                  <a:cubicBezTo>
                    <a:pt x="87736" y="43822"/>
                    <a:pt x="87736" y="43779"/>
                    <a:pt x="87736" y="43733"/>
                  </a:cubicBezTo>
                  <a:cubicBezTo>
                    <a:pt x="87647" y="19565"/>
                    <a:pt x="68036" y="13"/>
                    <a:pt x="43868" y="0"/>
                  </a:cubicBezTo>
                  <a:close/>
                  <a:moveTo>
                    <a:pt x="43868" y="70232"/>
                  </a:moveTo>
                  <a:cubicBezTo>
                    <a:pt x="29338" y="70232"/>
                    <a:pt x="17558" y="58452"/>
                    <a:pt x="17558" y="43922"/>
                  </a:cubicBezTo>
                  <a:cubicBezTo>
                    <a:pt x="17558" y="29392"/>
                    <a:pt x="29338" y="17612"/>
                    <a:pt x="43868" y="17612"/>
                  </a:cubicBezTo>
                  <a:cubicBezTo>
                    <a:pt x="58398" y="17612"/>
                    <a:pt x="70178" y="29392"/>
                    <a:pt x="70178" y="43922"/>
                  </a:cubicBezTo>
                  <a:cubicBezTo>
                    <a:pt x="70119" y="58414"/>
                    <a:pt x="58360" y="70138"/>
                    <a:pt x="43868" y="70151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35" name="Freeform 434">
              <a:extLst>
                <a:ext uri="{FF2B5EF4-FFF2-40B4-BE49-F238E27FC236}">
                  <a16:creationId xmlns:a16="http://schemas.microsoft.com/office/drawing/2014/main" id="{80D39CF5-CDE3-513B-72B0-802EB6434092}"/>
                </a:ext>
              </a:extLst>
            </p:cNvPr>
            <p:cNvSpPr/>
            <p:nvPr/>
          </p:nvSpPr>
          <p:spPr>
            <a:xfrm>
              <a:off x="10081017" y="716157"/>
              <a:ext cx="87736" cy="87736"/>
            </a:xfrm>
            <a:custGeom>
              <a:avLst/>
              <a:gdLst>
                <a:gd name="connsiteX0" fmla="*/ 43922 w 87736"/>
                <a:gd name="connsiteY0" fmla="*/ 0 h 87736"/>
                <a:gd name="connsiteX1" fmla="*/ 0 w 87736"/>
                <a:gd name="connsiteY1" fmla="*/ 43814 h 87736"/>
                <a:gd name="connsiteX2" fmla="*/ 43814 w 87736"/>
                <a:gd name="connsiteY2" fmla="*/ 87736 h 87736"/>
                <a:gd name="connsiteX3" fmla="*/ 87736 w 87736"/>
                <a:gd name="connsiteY3" fmla="*/ 43922 h 87736"/>
                <a:gd name="connsiteX4" fmla="*/ 87736 w 87736"/>
                <a:gd name="connsiteY4" fmla="*/ 43733 h 87736"/>
                <a:gd name="connsiteX5" fmla="*/ 43922 w 87736"/>
                <a:gd name="connsiteY5" fmla="*/ 0 h 87736"/>
                <a:gd name="connsiteX6" fmla="*/ 43922 w 87736"/>
                <a:gd name="connsiteY6" fmla="*/ 70232 h 87736"/>
                <a:gd name="connsiteX7" fmla="*/ 17612 w 87736"/>
                <a:gd name="connsiteY7" fmla="*/ 43922 h 87736"/>
                <a:gd name="connsiteX8" fmla="*/ 43922 w 87736"/>
                <a:gd name="connsiteY8" fmla="*/ 17612 h 87736"/>
                <a:gd name="connsiteX9" fmla="*/ 70232 w 87736"/>
                <a:gd name="connsiteY9" fmla="*/ 43922 h 87736"/>
                <a:gd name="connsiteX10" fmla="*/ 43922 w 87736"/>
                <a:gd name="connsiteY10" fmla="*/ 70151 h 8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736" h="87736">
                  <a:moveTo>
                    <a:pt x="43922" y="0"/>
                  </a:moveTo>
                  <a:cubicBezTo>
                    <a:pt x="19694" y="-30"/>
                    <a:pt x="30" y="19587"/>
                    <a:pt x="0" y="43814"/>
                  </a:cubicBezTo>
                  <a:cubicBezTo>
                    <a:pt x="-30" y="68042"/>
                    <a:pt x="19587" y="87707"/>
                    <a:pt x="43814" y="87736"/>
                  </a:cubicBezTo>
                  <a:cubicBezTo>
                    <a:pt x="68042" y="87766"/>
                    <a:pt x="87707" y="68150"/>
                    <a:pt x="87736" y="43922"/>
                  </a:cubicBezTo>
                  <a:cubicBezTo>
                    <a:pt x="87736" y="43860"/>
                    <a:pt x="87736" y="43795"/>
                    <a:pt x="87736" y="43733"/>
                  </a:cubicBezTo>
                  <a:cubicBezTo>
                    <a:pt x="87647" y="19584"/>
                    <a:pt x="68070" y="43"/>
                    <a:pt x="43922" y="0"/>
                  </a:cubicBezTo>
                  <a:close/>
                  <a:moveTo>
                    <a:pt x="43922" y="70232"/>
                  </a:moveTo>
                  <a:cubicBezTo>
                    <a:pt x="29391" y="70232"/>
                    <a:pt x="17612" y="58452"/>
                    <a:pt x="17612" y="43922"/>
                  </a:cubicBezTo>
                  <a:cubicBezTo>
                    <a:pt x="17612" y="29392"/>
                    <a:pt x="29391" y="17612"/>
                    <a:pt x="43922" y="17612"/>
                  </a:cubicBezTo>
                  <a:cubicBezTo>
                    <a:pt x="58453" y="17612"/>
                    <a:pt x="70232" y="29392"/>
                    <a:pt x="70232" y="43922"/>
                  </a:cubicBezTo>
                  <a:cubicBezTo>
                    <a:pt x="70173" y="58414"/>
                    <a:pt x="58415" y="70138"/>
                    <a:pt x="43922" y="70151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36" name="Freeform 435">
              <a:extLst>
                <a:ext uri="{FF2B5EF4-FFF2-40B4-BE49-F238E27FC236}">
                  <a16:creationId xmlns:a16="http://schemas.microsoft.com/office/drawing/2014/main" id="{FFD19EAC-F8FA-200E-B633-E6FD00E6DB8A}"/>
                </a:ext>
              </a:extLst>
            </p:cNvPr>
            <p:cNvSpPr/>
            <p:nvPr/>
          </p:nvSpPr>
          <p:spPr>
            <a:xfrm>
              <a:off x="9975209" y="417873"/>
              <a:ext cx="421617" cy="280740"/>
            </a:xfrm>
            <a:custGeom>
              <a:avLst/>
              <a:gdLst>
                <a:gd name="connsiteX0" fmla="*/ 419449 w 421617"/>
                <a:gd name="connsiteY0" fmla="*/ 55686 h 280740"/>
                <a:gd name="connsiteX1" fmla="*/ 412804 w 421617"/>
                <a:gd name="connsiteY1" fmla="*/ 52661 h 280740"/>
                <a:gd name="connsiteX2" fmla="*/ 79687 w 421617"/>
                <a:gd name="connsiteY2" fmla="*/ 52661 h 280740"/>
                <a:gd name="connsiteX3" fmla="*/ 70557 w 421617"/>
                <a:gd name="connsiteY3" fmla="*/ 7064 h 280740"/>
                <a:gd name="connsiteX4" fmla="*/ 61967 w 421617"/>
                <a:gd name="connsiteY4" fmla="*/ 14 h 280740"/>
                <a:gd name="connsiteX5" fmla="*/ 9266 w 421617"/>
                <a:gd name="connsiteY5" fmla="*/ 14 h 280740"/>
                <a:gd name="connsiteX6" fmla="*/ 14 w 421617"/>
                <a:gd name="connsiteY6" fmla="*/ 8292 h 280740"/>
                <a:gd name="connsiteX7" fmla="*/ 8292 w 421617"/>
                <a:gd name="connsiteY7" fmla="*/ 17545 h 280740"/>
                <a:gd name="connsiteX8" fmla="*/ 9266 w 421617"/>
                <a:gd name="connsiteY8" fmla="*/ 17545 h 280740"/>
                <a:gd name="connsiteX9" fmla="*/ 54782 w 421617"/>
                <a:gd name="connsiteY9" fmla="*/ 17545 h 280740"/>
                <a:gd name="connsiteX10" fmla="*/ 97515 w 421617"/>
                <a:gd name="connsiteY10" fmla="*/ 231348 h 280740"/>
                <a:gd name="connsiteX11" fmla="*/ 157834 w 421617"/>
                <a:gd name="connsiteY11" fmla="*/ 280726 h 280740"/>
                <a:gd name="connsiteX12" fmla="*/ 377715 w 421617"/>
                <a:gd name="connsiteY12" fmla="*/ 280726 h 280740"/>
                <a:gd name="connsiteX13" fmla="*/ 386967 w 421617"/>
                <a:gd name="connsiteY13" fmla="*/ 272447 h 280740"/>
                <a:gd name="connsiteX14" fmla="*/ 378687 w 421617"/>
                <a:gd name="connsiteY14" fmla="*/ 263195 h 280740"/>
                <a:gd name="connsiteX15" fmla="*/ 377715 w 421617"/>
                <a:gd name="connsiteY15" fmla="*/ 263195 h 280740"/>
                <a:gd name="connsiteX16" fmla="*/ 157834 w 421617"/>
                <a:gd name="connsiteY16" fmla="*/ 263195 h 280740"/>
                <a:gd name="connsiteX17" fmla="*/ 114614 w 421617"/>
                <a:gd name="connsiteY17" fmla="*/ 227944 h 280740"/>
                <a:gd name="connsiteX18" fmla="*/ 114614 w 421617"/>
                <a:gd name="connsiteY18" fmla="*/ 227134 h 280740"/>
                <a:gd name="connsiteX19" fmla="*/ 383009 w 421617"/>
                <a:gd name="connsiteY19" fmla="*/ 194557 h 280740"/>
                <a:gd name="connsiteX20" fmla="*/ 405889 w 421617"/>
                <a:gd name="connsiteY20" fmla="*/ 172164 h 280740"/>
                <a:gd name="connsiteX21" fmla="*/ 421529 w 421617"/>
                <a:gd name="connsiteY21" fmla="*/ 62682 h 280740"/>
                <a:gd name="connsiteX22" fmla="*/ 419449 w 421617"/>
                <a:gd name="connsiteY22" fmla="*/ 55686 h 280740"/>
                <a:gd name="connsiteX23" fmla="*/ 396191 w 421617"/>
                <a:gd name="connsiteY23" fmla="*/ 115654 h 280740"/>
                <a:gd name="connsiteX24" fmla="*/ 303836 w 421617"/>
                <a:gd name="connsiteY24" fmla="*/ 121569 h 280740"/>
                <a:gd name="connsiteX25" fmla="*/ 305754 w 421617"/>
                <a:gd name="connsiteY25" fmla="*/ 70246 h 280740"/>
                <a:gd name="connsiteX26" fmla="*/ 402674 w 421617"/>
                <a:gd name="connsiteY26" fmla="*/ 70246 h 280740"/>
                <a:gd name="connsiteX27" fmla="*/ 209158 w 421617"/>
                <a:gd name="connsiteY27" fmla="*/ 127647 h 280740"/>
                <a:gd name="connsiteX28" fmla="*/ 206997 w 421617"/>
                <a:gd name="connsiteY28" fmla="*/ 70219 h 280740"/>
                <a:gd name="connsiteX29" fmla="*/ 295786 w 421617"/>
                <a:gd name="connsiteY29" fmla="*/ 70219 h 280740"/>
                <a:gd name="connsiteX30" fmla="*/ 293841 w 421617"/>
                <a:gd name="connsiteY30" fmla="*/ 122218 h 280740"/>
                <a:gd name="connsiteX31" fmla="*/ 293490 w 421617"/>
                <a:gd name="connsiteY31" fmla="*/ 132131 h 280740"/>
                <a:gd name="connsiteX32" fmla="*/ 291491 w 421617"/>
                <a:gd name="connsiteY32" fmla="*/ 188047 h 280740"/>
                <a:gd name="connsiteX33" fmla="*/ 211859 w 421617"/>
                <a:gd name="connsiteY33" fmla="*/ 197636 h 280740"/>
                <a:gd name="connsiteX34" fmla="*/ 209644 w 421617"/>
                <a:gd name="connsiteY34" fmla="*/ 137480 h 280740"/>
                <a:gd name="connsiteX35" fmla="*/ 197245 w 421617"/>
                <a:gd name="connsiteY35" fmla="*/ 70219 h 280740"/>
                <a:gd name="connsiteX36" fmla="*/ 199433 w 421617"/>
                <a:gd name="connsiteY36" fmla="*/ 128268 h 280740"/>
                <a:gd name="connsiteX37" fmla="*/ 96111 w 421617"/>
                <a:gd name="connsiteY37" fmla="*/ 134887 h 280740"/>
                <a:gd name="connsiteX38" fmla="*/ 83199 w 421617"/>
                <a:gd name="connsiteY38" fmla="*/ 70219 h 280740"/>
                <a:gd name="connsiteX39" fmla="*/ 98056 w 421617"/>
                <a:gd name="connsiteY39" fmla="*/ 144611 h 280740"/>
                <a:gd name="connsiteX40" fmla="*/ 199784 w 421617"/>
                <a:gd name="connsiteY40" fmla="*/ 138128 h 280740"/>
                <a:gd name="connsiteX41" fmla="*/ 202080 w 421617"/>
                <a:gd name="connsiteY41" fmla="*/ 198852 h 280740"/>
                <a:gd name="connsiteX42" fmla="*/ 111130 w 421617"/>
                <a:gd name="connsiteY42" fmla="*/ 209873 h 280740"/>
                <a:gd name="connsiteX43" fmla="*/ 380875 w 421617"/>
                <a:gd name="connsiteY43" fmla="*/ 177242 h 280740"/>
                <a:gd name="connsiteX44" fmla="*/ 301405 w 421617"/>
                <a:gd name="connsiteY44" fmla="*/ 186858 h 280740"/>
                <a:gd name="connsiteX45" fmla="*/ 303485 w 421617"/>
                <a:gd name="connsiteY45" fmla="*/ 131564 h 280740"/>
                <a:gd name="connsiteX46" fmla="*/ 394787 w 421617"/>
                <a:gd name="connsiteY46" fmla="*/ 125729 h 280740"/>
                <a:gd name="connsiteX47" fmla="*/ 388520 w 421617"/>
                <a:gd name="connsiteY47" fmla="*/ 169678 h 280740"/>
                <a:gd name="connsiteX48" fmla="*/ 380875 w 421617"/>
                <a:gd name="connsiteY48" fmla="*/ 177242 h 280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21617" h="280740">
                  <a:moveTo>
                    <a:pt x="419449" y="55686"/>
                  </a:moveTo>
                  <a:cubicBezTo>
                    <a:pt x="417774" y="53767"/>
                    <a:pt x="415351" y="52664"/>
                    <a:pt x="412804" y="52661"/>
                  </a:cubicBezTo>
                  <a:lnTo>
                    <a:pt x="79687" y="52661"/>
                  </a:lnTo>
                  <a:lnTo>
                    <a:pt x="70557" y="7064"/>
                  </a:lnTo>
                  <a:cubicBezTo>
                    <a:pt x="69745" y="2964"/>
                    <a:pt x="66147" y="11"/>
                    <a:pt x="61967" y="14"/>
                  </a:cubicBezTo>
                  <a:lnTo>
                    <a:pt x="9266" y="14"/>
                  </a:lnTo>
                  <a:cubicBezTo>
                    <a:pt x="4425" y="-255"/>
                    <a:pt x="283" y="3451"/>
                    <a:pt x="14" y="8292"/>
                  </a:cubicBezTo>
                  <a:cubicBezTo>
                    <a:pt x="-255" y="13134"/>
                    <a:pt x="3451" y="17276"/>
                    <a:pt x="8292" y="17545"/>
                  </a:cubicBezTo>
                  <a:cubicBezTo>
                    <a:pt x="8617" y="17563"/>
                    <a:pt x="8942" y="17563"/>
                    <a:pt x="9266" y="17545"/>
                  </a:cubicBezTo>
                  <a:lnTo>
                    <a:pt x="54782" y="17545"/>
                  </a:lnTo>
                  <a:lnTo>
                    <a:pt x="97515" y="231348"/>
                  </a:lnTo>
                  <a:cubicBezTo>
                    <a:pt x="103322" y="260056"/>
                    <a:pt x="128544" y="280705"/>
                    <a:pt x="157834" y="280726"/>
                  </a:cubicBezTo>
                  <a:lnTo>
                    <a:pt x="377715" y="280726"/>
                  </a:lnTo>
                  <a:cubicBezTo>
                    <a:pt x="382555" y="280996"/>
                    <a:pt x="386699" y="277288"/>
                    <a:pt x="386967" y="272447"/>
                  </a:cubicBezTo>
                  <a:cubicBezTo>
                    <a:pt x="387237" y="267606"/>
                    <a:pt x="383531" y="263465"/>
                    <a:pt x="378687" y="263195"/>
                  </a:cubicBezTo>
                  <a:cubicBezTo>
                    <a:pt x="378363" y="263176"/>
                    <a:pt x="378039" y="263176"/>
                    <a:pt x="377715" y="263195"/>
                  </a:cubicBezTo>
                  <a:lnTo>
                    <a:pt x="157834" y="263195"/>
                  </a:lnTo>
                  <a:cubicBezTo>
                    <a:pt x="136870" y="263241"/>
                    <a:pt x="118784" y="248490"/>
                    <a:pt x="114614" y="227944"/>
                  </a:cubicBezTo>
                  <a:lnTo>
                    <a:pt x="114614" y="227134"/>
                  </a:lnTo>
                  <a:lnTo>
                    <a:pt x="383009" y="194557"/>
                  </a:lnTo>
                  <a:cubicBezTo>
                    <a:pt x="394819" y="193116"/>
                    <a:pt x="404195" y="183939"/>
                    <a:pt x="405889" y="172164"/>
                  </a:cubicBezTo>
                  <a:lnTo>
                    <a:pt x="421529" y="62682"/>
                  </a:lnTo>
                  <a:cubicBezTo>
                    <a:pt x="421891" y="60158"/>
                    <a:pt x="421132" y="57602"/>
                    <a:pt x="419449" y="55686"/>
                  </a:cubicBezTo>
                  <a:close/>
                  <a:moveTo>
                    <a:pt x="396191" y="115654"/>
                  </a:moveTo>
                  <a:lnTo>
                    <a:pt x="303836" y="121569"/>
                  </a:lnTo>
                  <a:lnTo>
                    <a:pt x="305754" y="70246"/>
                  </a:lnTo>
                  <a:lnTo>
                    <a:pt x="402674" y="70246"/>
                  </a:lnTo>
                  <a:close/>
                  <a:moveTo>
                    <a:pt x="209158" y="127647"/>
                  </a:moveTo>
                  <a:lnTo>
                    <a:pt x="206997" y="70219"/>
                  </a:lnTo>
                  <a:lnTo>
                    <a:pt x="295786" y="70219"/>
                  </a:lnTo>
                  <a:lnTo>
                    <a:pt x="293841" y="122218"/>
                  </a:lnTo>
                  <a:close/>
                  <a:moveTo>
                    <a:pt x="293490" y="132131"/>
                  </a:moveTo>
                  <a:lnTo>
                    <a:pt x="291491" y="188047"/>
                  </a:lnTo>
                  <a:lnTo>
                    <a:pt x="211859" y="197636"/>
                  </a:lnTo>
                  <a:lnTo>
                    <a:pt x="209644" y="137480"/>
                  </a:lnTo>
                  <a:close/>
                  <a:moveTo>
                    <a:pt x="197245" y="70219"/>
                  </a:moveTo>
                  <a:lnTo>
                    <a:pt x="199433" y="128268"/>
                  </a:lnTo>
                  <a:lnTo>
                    <a:pt x="96111" y="134887"/>
                  </a:lnTo>
                  <a:lnTo>
                    <a:pt x="83199" y="70219"/>
                  </a:lnTo>
                  <a:close/>
                  <a:moveTo>
                    <a:pt x="98056" y="144611"/>
                  </a:moveTo>
                  <a:lnTo>
                    <a:pt x="199784" y="138128"/>
                  </a:lnTo>
                  <a:lnTo>
                    <a:pt x="202080" y="198852"/>
                  </a:lnTo>
                  <a:lnTo>
                    <a:pt x="111130" y="209873"/>
                  </a:lnTo>
                  <a:close/>
                  <a:moveTo>
                    <a:pt x="380875" y="177242"/>
                  </a:moveTo>
                  <a:lnTo>
                    <a:pt x="301405" y="186858"/>
                  </a:lnTo>
                  <a:lnTo>
                    <a:pt x="303485" y="131564"/>
                  </a:lnTo>
                  <a:lnTo>
                    <a:pt x="394787" y="125729"/>
                  </a:lnTo>
                  <a:lnTo>
                    <a:pt x="388520" y="169678"/>
                  </a:lnTo>
                  <a:cubicBezTo>
                    <a:pt x="387977" y="173639"/>
                    <a:pt x="384841" y="176741"/>
                    <a:pt x="380875" y="177242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37" name="Graphic 49">
            <a:extLst>
              <a:ext uri="{FF2B5EF4-FFF2-40B4-BE49-F238E27FC236}">
                <a16:creationId xmlns:a16="http://schemas.microsoft.com/office/drawing/2014/main" id="{BBD77F53-D4D4-C1FA-F877-AE58B3CDE10C}"/>
              </a:ext>
            </a:extLst>
          </p:cNvPr>
          <p:cNvGrpSpPr/>
          <p:nvPr/>
        </p:nvGrpSpPr>
        <p:grpSpPr>
          <a:xfrm>
            <a:off x="4903759" y="1115103"/>
            <a:ext cx="196876" cy="299719"/>
            <a:chOff x="6431679" y="350131"/>
            <a:chExt cx="274860" cy="427559"/>
          </a:xfrm>
          <a:solidFill>
            <a:schemeClr val="bg1"/>
          </a:solidFill>
        </p:grpSpPr>
        <p:sp>
          <p:nvSpPr>
            <p:cNvPr id="438" name="Freeform 437">
              <a:extLst>
                <a:ext uri="{FF2B5EF4-FFF2-40B4-BE49-F238E27FC236}">
                  <a16:creationId xmlns:a16="http://schemas.microsoft.com/office/drawing/2014/main" id="{A41015B2-CE3E-13FE-6DFD-5833B7B393F0}"/>
                </a:ext>
              </a:extLst>
            </p:cNvPr>
            <p:cNvSpPr/>
            <p:nvPr/>
          </p:nvSpPr>
          <p:spPr>
            <a:xfrm>
              <a:off x="6438275" y="350122"/>
              <a:ext cx="267163" cy="428129"/>
            </a:xfrm>
            <a:custGeom>
              <a:avLst/>
              <a:gdLst>
                <a:gd name="connsiteX0" fmla="*/ 133032 w 267163"/>
                <a:gd name="connsiteY0" fmla="*/ 8 h 428129"/>
                <a:gd name="connsiteX1" fmla="*/ 140728 w 267163"/>
                <a:gd name="connsiteY1" fmla="*/ 4509 h 428129"/>
                <a:gd name="connsiteX2" fmla="*/ 267164 w 267163"/>
                <a:gd name="connsiteY2" fmla="*/ 291424 h 428129"/>
                <a:gd name="connsiteX3" fmla="*/ 133582 w 267163"/>
                <a:gd name="connsiteY3" fmla="*/ 428130 h 428129"/>
                <a:gd name="connsiteX4" fmla="*/ 0 w 267163"/>
                <a:gd name="connsiteY4" fmla="*/ 291424 h 428129"/>
                <a:gd name="connsiteX5" fmla="*/ 126436 w 267163"/>
                <a:gd name="connsiteY5" fmla="*/ 4509 h 428129"/>
                <a:gd name="connsiteX6" fmla="*/ 133032 w 267163"/>
                <a:gd name="connsiteY6" fmla="*/ 8 h 428129"/>
                <a:gd name="connsiteX7" fmla="*/ 133032 w 267163"/>
                <a:gd name="connsiteY7" fmla="*/ 410690 h 428129"/>
                <a:gd name="connsiteX8" fmla="*/ 249573 w 267163"/>
                <a:gd name="connsiteY8" fmla="*/ 291424 h 428129"/>
                <a:gd name="connsiteX9" fmla="*/ 133032 w 267163"/>
                <a:gd name="connsiteY9" fmla="*/ 25887 h 428129"/>
                <a:gd name="connsiteX10" fmla="*/ 16492 w 267163"/>
                <a:gd name="connsiteY10" fmla="*/ 291424 h 428129"/>
                <a:gd name="connsiteX11" fmla="*/ 133032 w 267163"/>
                <a:gd name="connsiteY11" fmla="*/ 410690 h 428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7163" h="428129">
                  <a:moveTo>
                    <a:pt x="133032" y="8"/>
                  </a:moveTo>
                  <a:cubicBezTo>
                    <a:pt x="136232" y="-136"/>
                    <a:pt x="139225" y="1615"/>
                    <a:pt x="140728" y="4509"/>
                  </a:cubicBezTo>
                  <a:cubicBezTo>
                    <a:pt x="146226" y="13510"/>
                    <a:pt x="267164" y="219414"/>
                    <a:pt x="267164" y="291424"/>
                  </a:cubicBezTo>
                  <a:cubicBezTo>
                    <a:pt x="267164" y="366925"/>
                    <a:pt x="207358" y="428130"/>
                    <a:pt x="133582" y="428130"/>
                  </a:cubicBezTo>
                  <a:cubicBezTo>
                    <a:pt x="59807" y="428130"/>
                    <a:pt x="0" y="366925"/>
                    <a:pt x="0" y="291424"/>
                  </a:cubicBezTo>
                  <a:cubicBezTo>
                    <a:pt x="0" y="219414"/>
                    <a:pt x="120938" y="13510"/>
                    <a:pt x="126436" y="4509"/>
                  </a:cubicBezTo>
                  <a:cubicBezTo>
                    <a:pt x="127840" y="2049"/>
                    <a:pt x="130274" y="389"/>
                    <a:pt x="133032" y="8"/>
                  </a:cubicBezTo>
                  <a:close/>
                  <a:moveTo>
                    <a:pt x="133032" y="410690"/>
                  </a:moveTo>
                  <a:cubicBezTo>
                    <a:pt x="197384" y="410658"/>
                    <a:pt x="249542" y="357280"/>
                    <a:pt x="249573" y="291424"/>
                  </a:cubicBezTo>
                  <a:cubicBezTo>
                    <a:pt x="249573" y="232915"/>
                    <a:pt x="159419" y="72018"/>
                    <a:pt x="133032" y="25887"/>
                  </a:cubicBezTo>
                  <a:cubicBezTo>
                    <a:pt x="106646" y="72018"/>
                    <a:pt x="16492" y="232915"/>
                    <a:pt x="16492" y="291424"/>
                  </a:cubicBezTo>
                  <a:cubicBezTo>
                    <a:pt x="16522" y="357280"/>
                    <a:pt x="68681" y="410658"/>
                    <a:pt x="133032" y="410690"/>
                  </a:cubicBezTo>
                  <a:close/>
                </a:path>
              </a:pathLst>
            </a:custGeom>
            <a:grpFill/>
            <a:ln w="1066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39" name="Freeform 438">
              <a:extLst>
                <a:ext uri="{FF2B5EF4-FFF2-40B4-BE49-F238E27FC236}">
                  <a16:creationId xmlns:a16="http://schemas.microsoft.com/office/drawing/2014/main" id="{AE278AB4-0D9D-347E-A20D-929EFA1DD9C6}"/>
                </a:ext>
              </a:extLst>
            </p:cNvPr>
            <p:cNvSpPr/>
            <p:nvPr/>
          </p:nvSpPr>
          <p:spPr>
            <a:xfrm>
              <a:off x="6474553" y="631419"/>
              <a:ext cx="103352" cy="106890"/>
            </a:xfrm>
            <a:custGeom>
              <a:avLst/>
              <a:gdLst>
                <a:gd name="connsiteX0" fmla="*/ 103351 w 103352"/>
                <a:gd name="connsiteY0" fmla="*/ 97889 h 106890"/>
                <a:gd name="connsiteX1" fmla="*/ 94800 w 103352"/>
                <a:gd name="connsiteY1" fmla="*/ 106890 h 106890"/>
                <a:gd name="connsiteX2" fmla="*/ 94556 w 103352"/>
                <a:gd name="connsiteY2" fmla="*/ 106890 h 106890"/>
                <a:gd name="connsiteX3" fmla="*/ 0 w 103352"/>
                <a:gd name="connsiteY3" fmla="*/ 9658 h 106890"/>
                <a:gd name="connsiteX4" fmla="*/ 4 w 103352"/>
                <a:gd name="connsiteY4" fmla="*/ 9001 h 106890"/>
                <a:gd name="connsiteX5" fmla="*/ 8800 w 103352"/>
                <a:gd name="connsiteY5" fmla="*/ 0 h 106890"/>
                <a:gd name="connsiteX6" fmla="*/ 17595 w 103352"/>
                <a:gd name="connsiteY6" fmla="*/ 9001 h 106890"/>
                <a:gd name="connsiteX7" fmla="*/ 95655 w 103352"/>
                <a:gd name="connsiteY7" fmla="*/ 90012 h 106890"/>
                <a:gd name="connsiteX8" fmla="*/ 103351 w 103352"/>
                <a:gd name="connsiteY8" fmla="*/ 97889 h 106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352" h="106890">
                  <a:moveTo>
                    <a:pt x="103351" y="97889"/>
                  </a:moveTo>
                  <a:cubicBezTo>
                    <a:pt x="103418" y="102791"/>
                    <a:pt x="99590" y="106821"/>
                    <a:pt x="94800" y="106890"/>
                  </a:cubicBezTo>
                  <a:cubicBezTo>
                    <a:pt x="94719" y="106891"/>
                    <a:pt x="94637" y="106891"/>
                    <a:pt x="94556" y="106890"/>
                  </a:cubicBezTo>
                  <a:cubicBezTo>
                    <a:pt x="42209" y="106762"/>
                    <a:pt x="-125" y="63229"/>
                    <a:pt x="0" y="9658"/>
                  </a:cubicBezTo>
                  <a:cubicBezTo>
                    <a:pt x="1" y="9439"/>
                    <a:pt x="2" y="9221"/>
                    <a:pt x="4" y="9001"/>
                  </a:cubicBezTo>
                  <a:cubicBezTo>
                    <a:pt x="4" y="4030"/>
                    <a:pt x="3942" y="0"/>
                    <a:pt x="8800" y="0"/>
                  </a:cubicBezTo>
                  <a:cubicBezTo>
                    <a:pt x="13657" y="0"/>
                    <a:pt x="17595" y="4030"/>
                    <a:pt x="17595" y="9001"/>
                  </a:cubicBezTo>
                  <a:cubicBezTo>
                    <a:pt x="17674" y="53272"/>
                    <a:pt x="52402" y="89313"/>
                    <a:pt x="95655" y="90012"/>
                  </a:cubicBezTo>
                  <a:cubicBezTo>
                    <a:pt x="99788" y="90291"/>
                    <a:pt x="103079" y="93659"/>
                    <a:pt x="103351" y="97889"/>
                  </a:cubicBezTo>
                  <a:close/>
                </a:path>
              </a:pathLst>
            </a:custGeom>
            <a:grpFill/>
            <a:ln w="1066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40" name="Freeform 439">
              <a:extLst>
                <a:ext uri="{FF2B5EF4-FFF2-40B4-BE49-F238E27FC236}">
                  <a16:creationId xmlns:a16="http://schemas.microsoft.com/office/drawing/2014/main" id="{AE9736C5-AA98-E244-51A7-71B7DD95DA90}"/>
                </a:ext>
              </a:extLst>
            </p:cNvPr>
            <p:cNvSpPr/>
            <p:nvPr/>
          </p:nvSpPr>
          <p:spPr>
            <a:xfrm>
              <a:off x="6498716" y="556034"/>
              <a:ext cx="47249" cy="56257"/>
            </a:xfrm>
            <a:custGeom>
              <a:avLst/>
              <a:gdLst>
                <a:gd name="connsiteX0" fmla="*/ 28 w 47249"/>
                <a:gd name="connsiteY0" fmla="*/ 12377 h 56257"/>
                <a:gd name="connsiteX1" fmla="*/ 12067 w 47249"/>
                <a:gd name="connsiteY1" fmla="*/ 2307 h 56257"/>
                <a:gd name="connsiteX2" fmla="*/ 21907 w 47249"/>
                <a:gd name="connsiteY2" fmla="*/ 14627 h 56257"/>
                <a:gd name="connsiteX3" fmla="*/ 11022 w 47249"/>
                <a:gd name="connsiteY3" fmla="*/ 24753 h 56257"/>
                <a:gd name="connsiteX4" fmla="*/ 4 w 47249"/>
                <a:gd name="connsiteY4" fmla="*/ 12904 h 56257"/>
                <a:gd name="connsiteX5" fmla="*/ 28 w 47249"/>
                <a:gd name="connsiteY5" fmla="*/ 12377 h 56257"/>
                <a:gd name="connsiteX6" fmla="*/ 15420 w 47249"/>
                <a:gd name="connsiteY6" fmla="*/ 12377 h 56257"/>
                <a:gd name="connsiteX7" fmla="*/ 12122 w 47249"/>
                <a:gd name="connsiteY7" fmla="*/ 7876 h 56257"/>
                <a:gd name="connsiteX8" fmla="*/ 8824 w 47249"/>
                <a:gd name="connsiteY8" fmla="*/ 12377 h 56257"/>
                <a:gd name="connsiteX9" fmla="*/ 12122 w 47249"/>
                <a:gd name="connsiteY9" fmla="*/ 16877 h 56257"/>
                <a:gd name="connsiteX10" fmla="*/ 15420 w 47249"/>
                <a:gd name="connsiteY10" fmla="*/ 12377 h 56257"/>
                <a:gd name="connsiteX11" fmla="*/ 33011 w 47249"/>
                <a:gd name="connsiteY11" fmla="*/ 2250 h 56257"/>
                <a:gd name="connsiteX12" fmla="*/ 36310 w 47249"/>
                <a:gd name="connsiteY12" fmla="*/ 0 h 56257"/>
                <a:gd name="connsiteX13" fmla="*/ 40707 w 47249"/>
                <a:gd name="connsiteY13" fmla="*/ 4501 h 56257"/>
                <a:gd name="connsiteX14" fmla="*/ 39608 w 47249"/>
                <a:gd name="connsiteY14" fmla="*/ 6751 h 56257"/>
                <a:gd name="connsiteX15" fmla="*/ 15420 w 47249"/>
                <a:gd name="connsiteY15" fmla="*/ 54007 h 56257"/>
                <a:gd name="connsiteX16" fmla="*/ 12122 w 47249"/>
                <a:gd name="connsiteY16" fmla="*/ 56258 h 56257"/>
                <a:gd name="connsiteX17" fmla="*/ 7724 w 47249"/>
                <a:gd name="connsiteY17" fmla="*/ 51757 h 56257"/>
                <a:gd name="connsiteX18" fmla="*/ 8824 w 47249"/>
                <a:gd name="connsiteY18" fmla="*/ 49507 h 56257"/>
                <a:gd name="connsiteX19" fmla="*/ 25315 w 47249"/>
                <a:gd name="connsiteY19" fmla="*/ 43881 h 56257"/>
                <a:gd name="connsiteX20" fmla="*/ 37354 w 47249"/>
                <a:gd name="connsiteY20" fmla="*/ 33811 h 56257"/>
                <a:gd name="connsiteX21" fmla="*/ 47194 w 47249"/>
                <a:gd name="connsiteY21" fmla="*/ 46131 h 56257"/>
                <a:gd name="connsiteX22" fmla="*/ 36310 w 47249"/>
                <a:gd name="connsiteY22" fmla="*/ 56258 h 56257"/>
                <a:gd name="connsiteX23" fmla="*/ 25315 w 47249"/>
                <a:gd name="connsiteY23" fmla="*/ 43881 h 56257"/>
                <a:gd name="connsiteX24" fmla="*/ 40707 w 47249"/>
                <a:gd name="connsiteY24" fmla="*/ 43881 h 56257"/>
                <a:gd name="connsiteX25" fmla="*/ 37409 w 47249"/>
                <a:gd name="connsiteY25" fmla="*/ 39380 h 56257"/>
                <a:gd name="connsiteX26" fmla="*/ 34111 w 47249"/>
                <a:gd name="connsiteY26" fmla="*/ 43881 h 56257"/>
                <a:gd name="connsiteX27" fmla="*/ 37409 w 47249"/>
                <a:gd name="connsiteY27" fmla="*/ 48382 h 56257"/>
                <a:gd name="connsiteX28" fmla="*/ 40707 w 47249"/>
                <a:gd name="connsiteY28" fmla="*/ 43881 h 56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7249" h="56257">
                  <a:moveTo>
                    <a:pt x="28" y="12377"/>
                  </a:moveTo>
                  <a:cubicBezTo>
                    <a:pt x="635" y="6194"/>
                    <a:pt x="6025" y="1685"/>
                    <a:pt x="12067" y="2307"/>
                  </a:cubicBezTo>
                  <a:cubicBezTo>
                    <a:pt x="18108" y="2929"/>
                    <a:pt x="22514" y="8444"/>
                    <a:pt x="21907" y="14627"/>
                  </a:cubicBezTo>
                  <a:cubicBezTo>
                    <a:pt x="21344" y="20355"/>
                    <a:pt x="16648" y="24724"/>
                    <a:pt x="11022" y="24753"/>
                  </a:cubicBezTo>
                  <a:cubicBezTo>
                    <a:pt x="4782" y="24595"/>
                    <a:pt x="-151" y="19290"/>
                    <a:pt x="4" y="12904"/>
                  </a:cubicBezTo>
                  <a:cubicBezTo>
                    <a:pt x="8" y="12728"/>
                    <a:pt x="16" y="12552"/>
                    <a:pt x="28" y="12377"/>
                  </a:cubicBezTo>
                  <a:close/>
                  <a:moveTo>
                    <a:pt x="15420" y="12377"/>
                  </a:moveTo>
                  <a:cubicBezTo>
                    <a:pt x="15420" y="10126"/>
                    <a:pt x="14321" y="7876"/>
                    <a:pt x="12122" y="7876"/>
                  </a:cubicBezTo>
                  <a:cubicBezTo>
                    <a:pt x="9923" y="7876"/>
                    <a:pt x="8824" y="10126"/>
                    <a:pt x="8824" y="12377"/>
                  </a:cubicBezTo>
                  <a:cubicBezTo>
                    <a:pt x="8824" y="14627"/>
                    <a:pt x="9923" y="16877"/>
                    <a:pt x="12122" y="16877"/>
                  </a:cubicBezTo>
                  <a:cubicBezTo>
                    <a:pt x="13221" y="16877"/>
                    <a:pt x="15420" y="15752"/>
                    <a:pt x="15420" y="12377"/>
                  </a:cubicBezTo>
                  <a:close/>
                  <a:moveTo>
                    <a:pt x="33011" y="2250"/>
                  </a:moveTo>
                  <a:cubicBezTo>
                    <a:pt x="34111" y="0"/>
                    <a:pt x="35210" y="0"/>
                    <a:pt x="36310" y="0"/>
                  </a:cubicBezTo>
                  <a:cubicBezTo>
                    <a:pt x="38669" y="163"/>
                    <a:pt x="40548" y="2086"/>
                    <a:pt x="40707" y="4501"/>
                  </a:cubicBezTo>
                  <a:cubicBezTo>
                    <a:pt x="40707" y="5626"/>
                    <a:pt x="40707" y="5626"/>
                    <a:pt x="39608" y="6751"/>
                  </a:cubicBezTo>
                  <a:lnTo>
                    <a:pt x="15420" y="54007"/>
                  </a:lnTo>
                  <a:cubicBezTo>
                    <a:pt x="14321" y="55133"/>
                    <a:pt x="14321" y="56258"/>
                    <a:pt x="12122" y="56258"/>
                  </a:cubicBezTo>
                  <a:cubicBezTo>
                    <a:pt x="9762" y="56095"/>
                    <a:pt x="7884" y="54172"/>
                    <a:pt x="7724" y="51757"/>
                  </a:cubicBezTo>
                  <a:cubicBezTo>
                    <a:pt x="7724" y="50632"/>
                    <a:pt x="7724" y="49507"/>
                    <a:pt x="8824" y="49507"/>
                  </a:cubicBezTo>
                  <a:close/>
                  <a:moveTo>
                    <a:pt x="25315" y="43881"/>
                  </a:moveTo>
                  <a:cubicBezTo>
                    <a:pt x="25923" y="37698"/>
                    <a:pt x="31312" y="33190"/>
                    <a:pt x="37354" y="33811"/>
                  </a:cubicBezTo>
                  <a:cubicBezTo>
                    <a:pt x="43395" y="34433"/>
                    <a:pt x="47801" y="39949"/>
                    <a:pt x="47194" y="46131"/>
                  </a:cubicBezTo>
                  <a:cubicBezTo>
                    <a:pt x="46631" y="51860"/>
                    <a:pt x="41935" y="56229"/>
                    <a:pt x="36310" y="56258"/>
                  </a:cubicBezTo>
                  <a:cubicBezTo>
                    <a:pt x="30063" y="55674"/>
                    <a:pt x="25289" y="50300"/>
                    <a:pt x="25315" y="43881"/>
                  </a:cubicBezTo>
                  <a:close/>
                  <a:moveTo>
                    <a:pt x="40707" y="43881"/>
                  </a:moveTo>
                  <a:cubicBezTo>
                    <a:pt x="40707" y="41631"/>
                    <a:pt x="39608" y="39380"/>
                    <a:pt x="37409" y="39380"/>
                  </a:cubicBezTo>
                  <a:cubicBezTo>
                    <a:pt x="35210" y="39380"/>
                    <a:pt x="34111" y="41631"/>
                    <a:pt x="34111" y="43881"/>
                  </a:cubicBezTo>
                  <a:cubicBezTo>
                    <a:pt x="34111" y="46131"/>
                    <a:pt x="35210" y="48382"/>
                    <a:pt x="37409" y="48382"/>
                  </a:cubicBezTo>
                  <a:cubicBezTo>
                    <a:pt x="39608" y="48382"/>
                    <a:pt x="40707" y="46131"/>
                    <a:pt x="40707" y="43881"/>
                  </a:cubicBezTo>
                  <a:close/>
                </a:path>
              </a:pathLst>
            </a:custGeom>
            <a:grpFill/>
            <a:ln w="1066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41" name="Freeform 440">
              <a:extLst>
                <a:ext uri="{FF2B5EF4-FFF2-40B4-BE49-F238E27FC236}">
                  <a16:creationId xmlns:a16="http://schemas.microsoft.com/office/drawing/2014/main" id="{E55ABA4C-54EF-171E-38DF-7E6D30208D6C}"/>
                </a:ext>
              </a:extLst>
            </p:cNvPr>
            <p:cNvSpPr/>
            <p:nvPr/>
          </p:nvSpPr>
          <p:spPr>
            <a:xfrm>
              <a:off x="6552607" y="558274"/>
              <a:ext cx="37421" cy="54055"/>
            </a:xfrm>
            <a:custGeom>
              <a:avLst/>
              <a:gdLst>
                <a:gd name="connsiteX0" fmla="*/ 10 w 37421"/>
                <a:gd name="connsiteY0" fmla="*/ 5636 h 54055"/>
                <a:gd name="connsiteX1" fmla="*/ 4872 w 37421"/>
                <a:gd name="connsiteY1" fmla="*/ 10 h 54055"/>
                <a:gd name="connsiteX2" fmla="*/ 5507 w 37421"/>
                <a:gd name="connsiteY2" fmla="*/ 10 h 54055"/>
                <a:gd name="connsiteX3" fmla="*/ 18700 w 37421"/>
                <a:gd name="connsiteY3" fmla="*/ 10 h 54055"/>
                <a:gd name="connsiteX4" fmla="*/ 37391 w 37421"/>
                <a:gd name="connsiteY4" fmla="*/ 16887 h 54055"/>
                <a:gd name="connsiteX5" fmla="*/ 24198 w 37421"/>
                <a:gd name="connsiteY5" fmla="*/ 31514 h 54055"/>
                <a:gd name="connsiteX6" fmla="*/ 36291 w 37421"/>
                <a:gd name="connsiteY6" fmla="*/ 45016 h 54055"/>
                <a:gd name="connsiteX7" fmla="*/ 37391 w 37421"/>
                <a:gd name="connsiteY7" fmla="*/ 48392 h 54055"/>
                <a:gd name="connsiteX8" fmla="*/ 32529 w 37421"/>
                <a:gd name="connsiteY8" fmla="*/ 54018 h 54055"/>
                <a:gd name="connsiteX9" fmla="*/ 31894 w 37421"/>
                <a:gd name="connsiteY9" fmla="*/ 54018 h 54055"/>
                <a:gd name="connsiteX10" fmla="*/ 27496 w 37421"/>
                <a:gd name="connsiteY10" fmla="*/ 51767 h 54055"/>
                <a:gd name="connsiteX11" fmla="*/ 11004 w 37421"/>
                <a:gd name="connsiteY11" fmla="*/ 31514 h 54055"/>
                <a:gd name="connsiteX12" fmla="*/ 11004 w 37421"/>
                <a:gd name="connsiteY12" fmla="*/ 31514 h 54055"/>
                <a:gd name="connsiteX13" fmla="*/ 11004 w 37421"/>
                <a:gd name="connsiteY13" fmla="*/ 47267 h 54055"/>
                <a:gd name="connsiteX14" fmla="*/ 5507 w 37421"/>
                <a:gd name="connsiteY14" fmla="*/ 52892 h 54055"/>
                <a:gd name="connsiteX15" fmla="*/ 10 w 37421"/>
                <a:gd name="connsiteY15" fmla="*/ 47267 h 54055"/>
                <a:gd name="connsiteX16" fmla="*/ 11004 w 37421"/>
                <a:gd name="connsiteY16" fmla="*/ 22513 h 54055"/>
                <a:gd name="connsiteX17" fmla="*/ 18700 w 37421"/>
                <a:gd name="connsiteY17" fmla="*/ 22513 h 54055"/>
                <a:gd name="connsiteX18" fmla="*/ 25297 w 37421"/>
                <a:gd name="connsiteY18" fmla="*/ 17459 h 54055"/>
                <a:gd name="connsiteX19" fmla="*/ 25297 w 37421"/>
                <a:gd name="connsiteY19" fmla="*/ 15762 h 54055"/>
                <a:gd name="connsiteX20" fmla="*/ 19239 w 37421"/>
                <a:gd name="connsiteY20" fmla="*/ 9011 h 54055"/>
                <a:gd name="connsiteX21" fmla="*/ 18700 w 37421"/>
                <a:gd name="connsiteY21" fmla="*/ 9011 h 54055"/>
                <a:gd name="connsiteX22" fmla="*/ 11004 w 37421"/>
                <a:gd name="connsiteY22" fmla="*/ 9011 h 54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421" h="54055">
                  <a:moveTo>
                    <a:pt x="10" y="5636"/>
                  </a:moveTo>
                  <a:cubicBezTo>
                    <a:pt x="-166" y="2708"/>
                    <a:pt x="2011" y="190"/>
                    <a:pt x="4872" y="10"/>
                  </a:cubicBezTo>
                  <a:cubicBezTo>
                    <a:pt x="5084" y="-3"/>
                    <a:pt x="5296" y="-3"/>
                    <a:pt x="5507" y="10"/>
                  </a:cubicBezTo>
                  <a:lnTo>
                    <a:pt x="18700" y="10"/>
                  </a:lnTo>
                  <a:cubicBezTo>
                    <a:pt x="29695" y="10"/>
                    <a:pt x="37391" y="5636"/>
                    <a:pt x="37391" y="16887"/>
                  </a:cubicBezTo>
                  <a:cubicBezTo>
                    <a:pt x="36989" y="24370"/>
                    <a:pt x="31453" y="30506"/>
                    <a:pt x="24198" y="31514"/>
                  </a:cubicBezTo>
                  <a:lnTo>
                    <a:pt x="36291" y="45016"/>
                  </a:lnTo>
                  <a:cubicBezTo>
                    <a:pt x="37137" y="45914"/>
                    <a:pt x="37542" y="47154"/>
                    <a:pt x="37391" y="48392"/>
                  </a:cubicBezTo>
                  <a:cubicBezTo>
                    <a:pt x="37567" y="51319"/>
                    <a:pt x="35390" y="53838"/>
                    <a:pt x="32529" y="54018"/>
                  </a:cubicBezTo>
                  <a:cubicBezTo>
                    <a:pt x="32317" y="54031"/>
                    <a:pt x="32105" y="54031"/>
                    <a:pt x="31894" y="54018"/>
                  </a:cubicBezTo>
                  <a:cubicBezTo>
                    <a:pt x="30117" y="54255"/>
                    <a:pt x="28377" y="53364"/>
                    <a:pt x="27496" y="51767"/>
                  </a:cubicBezTo>
                  <a:lnTo>
                    <a:pt x="11004" y="31514"/>
                  </a:lnTo>
                  <a:lnTo>
                    <a:pt x="11004" y="31514"/>
                  </a:lnTo>
                  <a:lnTo>
                    <a:pt x="11004" y="47267"/>
                  </a:lnTo>
                  <a:cubicBezTo>
                    <a:pt x="11004" y="50373"/>
                    <a:pt x="8543" y="52892"/>
                    <a:pt x="5507" y="52892"/>
                  </a:cubicBezTo>
                  <a:cubicBezTo>
                    <a:pt x="2472" y="52892"/>
                    <a:pt x="10" y="50373"/>
                    <a:pt x="10" y="47267"/>
                  </a:cubicBezTo>
                  <a:close/>
                  <a:moveTo>
                    <a:pt x="11004" y="22513"/>
                  </a:moveTo>
                  <a:lnTo>
                    <a:pt x="18700" y="22513"/>
                  </a:lnTo>
                  <a:cubicBezTo>
                    <a:pt x="21886" y="22981"/>
                    <a:pt x="24840" y="20719"/>
                    <a:pt x="25297" y="17459"/>
                  </a:cubicBezTo>
                  <a:cubicBezTo>
                    <a:pt x="25376" y="16896"/>
                    <a:pt x="25376" y="16325"/>
                    <a:pt x="25297" y="15762"/>
                  </a:cubicBezTo>
                  <a:cubicBezTo>
                    <a:pt x="25446" y="12187"/>
                    <a:pt x="22734" y="9163"/>
                    <a:pt x="19239" y="9011"/>
                  </a:cubicBezTo>
                  <a:cubicBezTo>
                    <a:pt x="19060" y="9003"/>
                    <a:pt x="18880" y="9003"/>
                    <a:pt x="18700" y="9011"/>
                  </a:cubicBezTo>
                  <a:lnTo>
                    <a:pt x="11004" y="9011"/>
                  </a:lnTo>
                  <a:close/>
                </a:path>
              </a:pathLst>
            </a:custGeom>
            <a:grpFill/>
            <a:ln w="1066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42" name="Freeform 441">
              <a:extLst>
                <a:ext uri="{FF2B5EF4-FFF2-40B4-BE49-F238E27FC236}">
                  <a16:creationId xmlns:a16="http://schemas.microsoft.com/office/drawing/2014/main" id="{6892F71D-CFD4-6D99-A3FD-951093F9FB68}"/>
                </a:ext>
              </a:extLst>
            </p:cNvPr>
            <p:cNvSpPr/>
            <p:nvPr/>
          </p:nvSpPr>
          <p:spPr>
            <a:xfrm>
              <a:off x="6593296" y="557159"/>
              <a:ext cx="45077" cy="54007"/>
            </a:xfrm>
            <a:custGeom>
              <a:avLst/>
              <a:gdLst>
                <a:gd name="connsiteX0" fmla="*/ 0 w 45077"/>
                <a:gd name="connsiteY0" fmla="*/ 5626 h 54007"/>
                <a:gd name="connsiteX1" fmla="*/ 5497 w 45077"/>
                <a:gd name="connsiteY1" fmla="*/ 0 h 54007"/>
                <a:gd name="connsiteX2" fmla="*/ 10994 w 45077"/>
                <a:gd name="connsiteY2" fmla="*/ 5626 h 54007"/>
                <a:gd name="connsiteX3" fmla="*/ 10994 w 45077"/>
                <a:gd name="connsiteY3" fmla="*/ 21378 h 54007"/>
                <a:gd name="connsiteX4" fmla="*/ 34083 w 45077"/>
                <a:gd name="connsiteY4" fmla="*/ 21378 h 54007"/>
                <a:gd name="connsiteX5" fmla="*/ 34083 w 45077"/>
                <a:gd name="connsiteY5" fmla="*/ 5626 h 54007"/>
                <a:gd name="connsiteX6" fmla="*/ 39580 w 45077"/>
                <a:gd name="connsiteY6" fmla="*/ 0 h 54007"/>
                <a:gd name="connsiteX7" fmla="*/ 45077 w 45077"/>
                <a:gd name="connsiteY7" fmla="*/ 5626 h 54007"/>
                <a:gd name="connsiteX8" fmla="*/ 45077 w 45077"/>
                <a:gd name="connsiteY8" fmla="*/ 48382 h 54007"/>
                <a:gd name="connsiteX9" fmla="*/ 39580 w 45077"/>
                <a:gd name="connsiteY9" fmla="*/ 54007 h 54007"/>
                <a:gd name="connsiteX10" fmla="*/ 34083 w 45077"/>
                <a:gd name="connsiteY10" fmla="*/ 48382 h 54007"/>
                <a:gd name="connsiteX11" fmla="*/ 34083 w 45077"/>
                <a:gd name="connsiteY11" fmla="*/ 31504 h 54007"/>
                <a:gd name="connsiteX12" fmla="*/ 10994 w 45077"/>
                <a:gd name="connsiteY12" fmla="*/ 31504 h 54007"/>
                <a:gd name="connsiteX13" fmla="*/ 10994 w 45077"/>
                <a:gd name="connsiteY13" fmla="*/ 48382 h 54007"/>
                <a:gd name="connsiteX14" fmla="*/ 5497 w 45077"/>
                <a:gd name="connsiteY14" fmla="*/ 54007 h 54007"/>
                <a:gd name="connsiteX15" fmla="*/ 0 w 45077"/>
                <a:gd name="connsiteY15" fmla="*/ 48382 h 54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77" h="54007">
                  <a:moveTo>
                    <a:pt x="0" y="5626"/>
                  </a:moveTo>
                  <a:cubicBezTo>
                    <a:pt x="0" y="2519"/>
                    <a:pt x="2462" y="0"/>
                    <a:pt x="5497" y="0"/>
                  </a:cubicBezTo>
                  <a:cubicBezTo>
                    <a:pt x="8533" y="0"/>
                    <a:pt x="10994" y="2519"/>
                    <a:pt x="10994" y="5626"/>
                  </a:cubicBezTo>
                  <a:lnTo>
                    <a:pt x="10994" y="21378"/>
                  </a:lnTo>
                  <a:lnTo>
                    <a:pt x="34083" y="21378"/>
                  </a:lnTo>
                  <a:lnTo>
                    <a:pt x="34083" y="5626"/>
                  </a:lnTo>
                  <a:cubicBezTo>
                    <a:pt x="34083" y="2519"/>
                    <a:pt x="36544" y="0"/>
                    <a:pt x="39580" y="0"/>
                  </a:cubicBezTo>
                  <a:cubicBezTo>
                    <a:pt x="42615" y="0"/>
                    <a:pt x="45077" y="2519"/>
                    <a:pt x="45077" y="5626"/>
                  </a:cubicBezTo>
                  <a:lnTo>
                    <a:pt x="45077" y="48382"/>
                  </a:lnTo>
                  <a:cubicBezTo>
                    <a:pt x="45077" y="51488"/>
                    <a:pt x="42615" y="54007"/>
                    <a:pt x="39580" y="54007"/>
                  </a:cubicBezTo>
                  <a:cubicBezTo>
                    <a:pt x="36544" y="54007"/>
                    <a:pt x="34083" y="51488"/>
                    <a:pt x="34083" y="48382"/>
                  </a:cubicBezTo>
                  <a:lnTo>
                    <a:pt x="34083" y="31504"/>
                  </a:lnTo>
                  <a:lnTo>
                    <a:pt x="10994" y="31504"/>
                  </a:lnTo>
                  <a:lnTo>
                    <a:pt x="10994" y="48382"/>
                  </a:lnTo>
                  <a:cubicBezTo>
                    <a:pt x="10994" y="51488"/>
                    <a:pt x="8533" y="54007"/>
                    <a:pt x="5497" y="54007"/>
                  </a:cubicBezTo>
                  <a:cubicBezTo>
                    <a:pt x="2462" y="54007"/>
                    <a:pt x="0" y="51488"/>
                    <a:pt x="0" y="48382"/>
                  </a:cubicBezTo>
                  <a:close/>
                </a:path>
              </a:pathLst>
            </a:custGeom>
            <a:grpFill/>
            <a:ln w="10668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43" name="Graphic 51">
            <a:extLst>
              <a:ext uri="{FF2B5EF4-FFF2-40B4-BE49-F238E27FC236}">
                <a16:creationId xmlns:a16="http://schemas.microsoft.com/office/drawing/2014/main" id="{68197AE5-7D78-77E6-BBC3-B9FA8BDC1936}"/>
              </a:ext>
            </a:extLst>
          </p:cNvPr>
          <p:cNvGrpSpPr/>
          <p:nvPr/>
        </p:nvGrpSpPr>
        <p:grpSpPr>
          <a:xfrm>
            <a:off x="7533722" y="1877181"/>
            <a:ext cx="333388" cy="302971"/>
            <a:chOff x="10103383" y="1437261"/>
            <a:chExt cx="465444" cy="432198"/>
          </a:xfrm>
          <a:solidFill>
            <a:schemeClr val="bg1"/>
          </a:solidFill>
        </p:grpSpPr>
        <p:sp>
          <p:nvSpPr>
            <p:cNvPr id="444" name="Freeform 443">
              <a:extLst>
                <a:ext uri="{FF2B5EF4-FFF2-40B4-BE49-F238E27FC236}">
                  <a16:creationId xmlns:a16="http://schemas.microsoft.com/office/drawing/2014/main" id="{08A8D8C4-0D05-A3D1-C1BB-AD516F61379E}"/>
                </a:ext>
              </a:extLst>
            </p:cNvPr>
            <p:cNvSpPr/>
            <p:nvPr/>
          </p:nvSpPr>
          <p:spPr>
            <a:xfrm>
              <a:off x="10168275" y="1556067"/>
              <a:ext cx="208690" cy="24011"/>
            </a:xfrm>
            <a:custGeom>
              <a:avLst/>
              <a:gdLst>
                <a:gd name="connsiteX0" fmla="*/ 12249 w 208690"/>
                <a:gd name="connsiteY0" fmla="*/ 24011 h 24011"/>
                <a:gd name="connsiteX1" fmla="*/ 196442 w 208690"/>
                <a:gd name="connsiteY1" fmla="*/ 24011 h 24011"/>
                <a:gd name="connsiteX2" fmla="*/ 208690 w 208690"/>
                <a:gd name="connsiteY2" fmla="*/ 12006 h 24011"/>
                <a:gd name="connsiteX3" fmla="*/ 196442 w 208690"/>
                <a:gd name="connsiteY3" fmla="*/ 0 h 24011"/>
                <a:gd name="connsiteX4" fmla="*/ 12249 w 208690"/>
                <a:gd name="connsiteY4" fmla="*/ 0 h 24011"/>
                <a:gd name="connsiteX5" fmla="*/ 0 w 208690"/>
                <a:gd name="connsiteY5" fmla="*/ 12006 h 24011"/>
                <a:gd name="connsiteX6" fmla="*/ 12249 w 208690"/>
                <a:gd name="connsiteY6" fmla="*/ 24011 h 2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8690" h="24011">
                  <a:moveTo>
                    <a:pt x="12249" y="24011"/>
                  </a:moveTo>
                  <a:lnTo>
                    <a:pt x="196442" y="24011"/>
                  </a:lnTo>
                  <a:cubicBezTo>
                    <a:pt x="203206" y="24011"/>
                    <a:pt x="208690" y="18636"/>
                    <a:pt x="208690" y="12006"/>
                  </a:cubicBezTo>
                  <a:cubicBezTo>
                    <a:pt x="208690" y="5375"/>
                    <a:pt x="203206" y="0"/>
                    <a:pt x="196442" y="0"/>
                  </a:cubicBezTo>
                  <a:lnTo>
                    <a:pt x="12249" y="0"/>
                  </a:lnTo>
                  <a:cubicBezTo>
                    <a:pt x="5484" y="0"/>
                    <a:pt x="0" y="5375"/>
                    <a:pt x="0" y="12006"/>
                  </a:cubicBezTo>
                  <a:cubicBezTo>
                    <a:pt x="0" y="18636"/>
                    <a:pt x="5484" y="24011"/>
                    <a:pt x="12249" y="24011"/>
                  </a:cubicBezTo>
                  <a:close/>
                </a:path>
              </a:pathLst>
            </a:custGeom>
            <a:grpFill/>
            <a:ln w="2406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45" name="Freeform 444">
              <a:extLst>
                <a:ext uri="{FF2B5EF4-FFF2-40B4-BE49-F238E27FC236}">
                  <a16:creationId xmlns:a16="http://schemas.microsoft.com/office/drawing/2014/main" id="{8628E436-4E9E-3953-BA53-78E069514089}"/>
                </a:ext>
              </a:extLst>
            </p:cNvPr>
            <p:cNvSpPr/>
            <p:nvPr/>
          </p:nvSpPr>
          <p:spPr>
            <a:xfrm>
              <a:off x="10168275" y="1620608"/>
              <a:ext cx="169617" cy="24010"/>
            </a:xfrm>
            <a:custGeom>
              <a:avLst/>
              <a:gdLst>
                <a:gd name="connsiteX0" fmla="*/ 12249 w 169617"/>
                <a:gd name="connsiteY0" fmla="*/ 24011 h 24010"/>
                <a:gd name="connsiteX1" fmla="*/ 157369 w 169617"/>
                <a:gd name="connsiteY1" fmla="*/ 24011 h 24010"/>
                <a:gd name="connsiteX2" fmla="*/ 169618 w 169617"/>
                <a:gd name="connsiteY2" fmla="*/ 12005 h 24010"/>
                <a:gd name="connsiteX3" fmla="*/ 157369 w 169617"/>
                <a:gd name="connsiteY3" fmla="*/ 0 h 24010"/>
                <a:gd name="connsiteX4" fmla="*/ 12249 w 169617"/>
                <a:gd name="connsiteY4" fmla="*/ 0 h 24010"/>
                <a:gd name="connsiteX5" fmla="*/ 0 w 169617"/>
                <a:gd name="connsiteY5" fmla="*/ 12005 h 24010"/>
                <a:gd name="connsiteX6" fmla="*/ 12249 w 169617"/>
                <a:gd name="connsiteY6" fmla="*/ 24011 h 2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617" h="24010">
                  <a:moveTo>
                    <a:pt x="12249" y="24011"/>
                  </a:moveTo>
                  <a:lnTo>
                    <a:pt x="157369" y="24011"/>
                  </a:lnTo>
                  <a:cubicBezTo>
                    <a:pt x="164134" y="24011"/>
                    <a:pt x="169618" y="18636"/>
                    <a:pt x="169618" y="12005"/>
                  </a:cubicBezTo>
                  <a:cubicBezTo>
                    <a:pt x="169618" y="5375"/>
                    <a:pt x="164134" y="0"/>
                    <a:pt x="157369" y="0"/>
                  </a:cubicBezTo>
                  <a:lnTo>
                    <a:pt x="12249" y="0"/>
                  </a:lnTo>
                  <a:cubicBezTo>
                    <a:pt x="5484" y="0"/>
                    <a:pt x="0" y="5375"/>
                    <a:pt x="0" y="12005"/>
                  </a:cubicBezTo>
                  <a:cubicBezTo>
                    <a:pt x="0" y="18636"/>
                    <a:pt x="5484" y="24011"/>
                    <a:pt x="12249" y="24011"/>
                  </a:cubicBezTo>
                  <a:close/>
                </a:path>
              </a:pathLst>
            </a:custGeom>
            <a:grpFill/>
            <a:ln w="2406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46" name="Freeform 445">
              <a:extLst>
                <a:ext uri="{FF2B5EF4-FFF2-40B4-BE49-F238E27FC236}">
                  <a16:creationId xmlns:a16="http://schemas.microsoft.com/office/drawing/2014/main" id="{D43A7EA1-14D2-BC58-1431-8879A1AF762B}"/>
                </a:ext>
              </a:extLst>
            </p:cNvPr>
            <p:cNvSpPr/>
            <p:nvPr/>
          </p:nvSpPr>
          <p:spPr>
            <a:xfrm>
              <a:off x="10168275" y="1751805"/>
              <a:ext cx="169617" cy="24011"/>
            </a:xfrm>
            <a:custGeom>
              <a:avLst/>
              <a:gdLst>
                <a:gd name="connsiteX0" fmla="*/ 12249 w 169617"/>
                <a:gd name="connsiteY0" fmla="*/ 24011 h 24011"/>
                <a:gd name="connsiteX1" fmla="*/ 157369 w 169617"/>
                <a:gd name="connsiteY1" fmla="*/ 24011 h 24011"/>
                <a:gd name="connsiteX2" fmla="*/ 169618 w 169617"/>
                <a:gd name="connsiteY2" fmla="*/ 12006 h 24011"/>
                <a:gd name="connsiteX3" fmla="*/ 157369 w 169617"/>
                <a:gd name="connsiteY3" fmla="*/ 0 h 24011"/>
                <a:gd name="connsiteX4" fmla="*/ 12249 w 169617"/>
                <a:gd name="connsiteY4" fmla="*/ 0 h 24011"/>
                <a:gd name="connsiteX5" fmla="*/ 0 w 169617"/>
                <a:gd name="connsiteY5" fmla="*/ 12006 h 24011"/>
                <a:gd name="connsiteX6" fmla="*/ 12249 w 169617"/>
                <a:gd name="connsiteY6" fmla="*/ 24011 h 2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617" h="24011">
                  <a:moveTo>
                    <a:pt x="12249" y="24011"/>
                  </a:moveTo>
                  <a:lnTo>
                    <a:pt x="157369" y="24011"/>
                  </a:lnTo>
                  <a:cubicBezTo>
                    <a:pt x="164134" y="24011"/>
                    <a:pt x="169618" y="18635"/>
                    <a:pt x="169618" y="12006"/>
                  </a:cubicBezTo>
                  <a:cubicBezTo>
                    <a:pt x="169618" y="5376"/>
                    <a:pt x="164134" y="0"/>
                    <a:pt x="157369" y="0"/>
                  </a:cubicBezTo>
                  <a:lnTo>
                    <a:pt x="12249" y="0"/>
                  </a:lnTo>
                  <a:cubicBezTo>
                    <a:pt x="5484" y="0"/>
                    <a:pt x="0" y="5376"/>
                    <a:pt x="0" y="12006"/>
                  </a:cubicBezTo>
                  <a:cubicBezTo>
                    <a:pt x="0" y="18635"/>
                    <a:pt x="5484" y="24011"/>
                    <a:pt x="12249" y="24011"/>
                  </a:cubicBezTo>
                  <a:close/>
                </a:path>
              </a:pathLst>
            </a:custGeom>
            <a:grpFill/>
            <a:ln w="2406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47" name="Freeform 446">
              <a:extLst>
                <a:ext uri="{FF2B5EF4-FFF2-40B4-BE49-F238E27FC236}">
                  <a16:creationId xmlns:a16="http://schemas.microsoft.com/office/drawing/2014/main" id="{A11C7895-0F3C-0C27-C9C2-61AC33B59BED}"/>
                </a:ext>
              </a:extLst>
            </p:cNvPr>
            <p:cNvSpPr/>
            <p:nvPr/>
          </p:nvSpPr>
          <p:spPr>
            <a:xfrm>
              <a:off x="10168275" y="1685126"/>
              <a:ext cx="129442" cy="24011"/>
            </a:xfrm>
            <a:custGeom>
              <a:avLst/>
              <a:gdLst>
                <a:gd name="connsiteX0" fmla="*/ 117194 w 129442"/>
                <a:gd name="connsiteY0" fmla="*/ 0 h 24011"/>
                <a:gd name="connsiteX1" fmla="*/ 12249 w 129442"/>
                <a:gd name="connsiteY1" fmla="*/ 0 h 24011"/>
                <a:gd name="connsiteX2" fmla="*/ 0 w 129442"/>
                <a:gd name="connsiteY2" fmla="*/ 12006 h 24011"/>
                <a:gd name="connsiteX3" fmla="*/ 12249 w 129442"/>
                <a:gd name="connsiteY3" fmla="*/ 24011 h 24011"/>
                <a:gd name="connsiteX4" fmla="*/ 117194 w 129442"/>
                <a:gd name="connsiteY4" fmla="*/ 24011 h 24011"/>
                <a:gd name="connsiteX5" fmla="*/ 129442 w 129442"/>
                <a:gd name="connsiteY5" fmla="*/ 12006 h 24011"/>
                <a:gd name="connsiteX6" fmla="*/ 117194 w 129442"/>
                <a:gd name="connsiteY6" fmla="*/ 0 h 2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442" h="24011">
                  <a:moveTo>
                    <a:pt x="117194" y="0"/>
                  </a:moveTo>
                  <a:lnTo>
                    <a:pt x="12249" y="0"/>
                  </a:lnTo>
                  <a:cubicBezTo>
                    <a:pt x="5484" y="0"/>
                    <a:pt x="0" y="5376"/>
                    <a:pt x="0" y="12006"/>
                  </a:cubicBezTo>
                  <a:cubicBezTo>
                    <a:pt x="0" y="18635"/>
                    <a:pt x="5484" y="24011"/>
                    <a:pt x="12249" y="24011"/>
                  </a:cubicBezTo>
                  <a:lnTo>
                    <a:pt x="117194" y="24011"/>
                  </a:lnTo>
                  <a:cubicBezTo>
                    <a:pt x="123959" y="24011"/>
                    <a:pt x="129442" y="18635"/>
                    <a:pt x="129442" y="12006"/>
                  </a:cubicBezTo>
                  <a:cubicBezTo>
                    <a:pt x="129442" y="5376"/>
                    <a:pt x="123959" y="0"/>
                    <a:pt x="117194" y="0"/>
                  </a:cubicBezTo>
                  <a:close/>
                </a:path>
              </a:pathLst>
            </a:custGeom>
            <a:grpFill/>
            <a:ln w="2406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48" name="Freeform 447">
              <a:extLst>
                <a:ext uri="{FF2B5EF4-FFF2-40B4-BE49-F238E27FC236}">
                  <a16:creationId xmlns:a16="http://schemas.microsoft.com/office/drawing/2014/main" id="{D444856E-3EA0-C484-BAF6-CC66DD9E9348}"/>
                </a:ext>
              </a:extLst>
            </p:cNvPr>
            <p:cNvSpPr/>
            <p:nvPr/>
          </p:nvSpPr>
          <p:spPr>
            <a:xfrm>
              <a:off x="10104411" y="1438533"/>
              <a:ext cx="460932" cy="436760"/>
            </a:xfrm>
            <a:custGeom>
              <a:avLst/>
              <a:gdLst>
                <a:gd name="connsiteX0" fmla="*/ 451407 w 460932"/>
                <a:gd name="connsiteY0" fmla="*/ 69272 h 436760"/>
                <a:gd name="connsiteX1" fmla="*/ 433745 w 460932"/>
                <a:gd name="connsiteY1" fmla="*/ 52032 h 436760"/>
                <a:gd name="connsiteX2" fmla="*/ 387666 w 460932"/>
                <a:gd name="connsiteY2" fmla="*/ 52032 h 436760"/>
                <a:gd name="connsiteX3" fmla="*/ 376128 w 460932"/>
                <a:gd name="connsiteY3" fmla="*/ 63389 h 436760"/>
                <a:gd name="connsiteX4" fmla="*/ 351631 w 460932"/>
                <a:gd name="connsiteY4" fmla="*/ 87400 h 436760"/>
                <a:gd name="connsiteX5" fmla="*/ 351631 w 460932"/>
                <a:gd name="connsiteY5" fmla="*/ 76811 h 436760"/>
                <a:gd name="connsiteX6" fmla="*/ 348961 w 460932"/>
                <a:gd name="connsiteY6" fmla="*/ 70448 h 436760"/>
                <a:gd name="connsiteX7" fmla="*/ 343351 w 460932"/>
                <a:gd name="connsiteY7" fmla="*/ 64950 h 436760"/>
                <a:gd name="connsiteX8" fmla="*/ 343351 w 460932"/>
                <a:gd name="connsiteY8" fmla="*/ 64950 h 436760"/>
                <a:gd name="connsiteX9" fmla="*/ 282108 w 460932"/>
                <a:gd name="connsiteY9" fmla="*/ 4922 h 436760"/>
                <a:gd name="connsiteX10" fmla="*/ 282108 w 460932"/>
                <a:gd name="connsiteY10" fmla="*/ 4922 h 436760"/>
                <a:gd name="connsiteX11" fmla="*/ 279658 w 460932"/>
                <a:gd name="connsiteY11" fmla="*/ 2641 h 436760"/>
                <a:gd name="connsiteX12" fmla="*/ 273142 w 460932"/>
                <a:gd name="connsiteY12" fmla="*/ 0 h 436760"/>
                <a:gd name="connsiteX13" fmla="*/ 43923 w 460932"/>
                <a:gd name="connsiteY13" fmla="*/ 0 h 436760"/>
                <a:gd name="connsiteX14" fmla="*/ 0 w 460932"/>
                <a:gd name="connsiteY14" fmla="*/ 42788 h 436760"/>
                <a:gd name="connsiteX15" fmla="*/ 0 w 460932"/>
                <a:gd name="connsiteY15" fmla="*/ 393732 h 436760"/>
                <a:gd name="connsiteX16" fmla="*/ 43923 w 460932"/>
                <a:gd name="connsiteY16" fmla="*/ 436760 h 436760"/>
                <a:gd name="connsiteX17" fmla="*/ 307781 w 460932"/>
                <a:gd name="connsiteY17" fmla="*/ 436760 h 436760"/>
                <a:gd name="connsiteX18" fmla="*/ 351729 w 460932"/>
                <a:gd name="connsiteY18" fmla="*/ 393732 h 436760"/>
                <a:gd name="connsiteX19" fmla="*/ 351729 w 460932"/>
                <a:gd name="connsiteY19" fmla="*/ 212137 h 436760"/>
                <a:gd name="connsiteX20" fmla="*/ 451432 w 460932"/>
                <a:gd name="connsiteY20" fmla="*/ 114436 h 436760"/>
                <a:gd name="connsiteX21" fmla="*/ 451407 w 460932"/>
                <a:gd name="connsiteY21" fmla="*/ 69272 h 436760"/>
                <a:gd name="connsiteX22" fmla="*/ 284827 w 460932"/>
                <a:gd name="connsiteY22" fmla="*/ 32919 h 436760"/>
                <a:gd name="connsiteX23" fmla="*/ 314763 w 460932"/>
                <a:gd name="connsiteY23" fmla="*/ 62261 h 436760"/>
                <a:gd name="connsiteX24" fmla="*/ 284729 w 460932"/>
                <a:gd name="connsiteY24" fmla="*/ 62261 h 436760"/>
                <a:gd name="connsiteX25" fmla="*/ 333429 w 460932"/>
                <a:gd name="connsiteY25" fmla="*/ 393732 h 436760"/>
                <a:gd name="connsiteX26" fmla="*/ 307879 w 460932"/>
                <a:gd name="connsiteY26" fmla="*/ 418752 h 436760"/>
                <a:gd name="connsiteX27" fmla="*/ 43923 w 460932"/>
                <a:gd name="connsiteY27" fmla="*/ 418752 h 436760"/>
                <a:gd name="connsiteX28" fmla="*/ 18397 w 460932"/>
                <a:gd name="connsiteY28" fmla="*/ 393732 h 436760"/>
                <a:gd name="connsiteX29" fmla="*/ 18397 w 460932"/>
                <a:gd name="connsiteY29" fmla="*/ 42788 h 436760"/>
                <a:gd name="connsiteX30" fmla="*/ 43923 w 460932"/>
                <a:gd name="connsiteY30" fmla="*/ 17768 h 436760"/>
                <a:gd name="connsiteX31" fmla="*/ 266356 w 460932"/>
                <a:gd name="connsiteY31" fmla="*/ 17768 h 436760"/>
                <a:gd name="connsiteX32" fmla="*/ 266356 w 460932"/>
                <a:gd name="connsiteY32" fmla="*/ 71265 h 436760"/>
                <a:gd name="connsiteX33" fmla="*/ 275543 w 460932"/>
                <a:gd name="connsiteY33" fmla="*/ 80269 h 436760"/>
                <a:gd name="connsiteX34" fmla="*/ 333037 w 460932"/>
                <a:gd name="connsiteY34" fmla="*/ 80269 h 436760"/>
                <a:gd name="connsiteX35" fmla="*/ 333331 w 460932"/>
                <a:gd name="connsiteY35" fmla="*/ 80557 h 436760"/>
                <a:gd name="connsiteX36" fmla="*/ 333331 w 460932"/>
                <a:gd name="connsiteY36" fmla="*/ 105312 h 436760"/>
                <a:gd name="connsiteX37" fmla="*/ 253324 w 460932"/>
                <a:gd name="connsiteY37" fmla="*/ 183612 h 436760"/>
                <a:gd name="connsiteX38" fmla="*/ 253055 w 460932"/>
                <a:gd name="connsiteY38" fmla="*/ 183876 h 436760"/>
                <a:gd name="connsiteX39" fmla="*/ 253055 w 460932"/>
                <a:gd name="connsiteY39" fmla="*/ 183876 h 436760"/>
                <a:gd name="connsiteX40" fmla="*/ 252614 w 460932"/>
                <a:gd name="connsiteY40" fmla="*/ 184453 h 436760"/>
                <a:gd name="connsiteX41" fmla="*/ 252614 w 460932"/>
                <a:gd name="connsiteY41" fmla="*/ 184597 h 436760"/>
                <a:gd name="connsiteX42" fmla="*/ 252271 w 460932"/>
                <a:gd name="connsiteY42" fmla="*/ 185101 h 436760"/>
                <a:gd name="connsiteX43" fmla="*/ 252148 w 460932"/>
                <a:gd name="connsiteY43" fmla="*/ 185293 h 436760"/>
                <a:gd name="connsiteX44" fmla="*/ 251952 w 460932"/>
                <a:gd name="connsiteY44" fmla="*/ 185797 h 436760"/>
                <a:gd name="connsiteX45" fmla="*/ 251952 w 460932"/>
                <a:gd name="connsiteY45" fmla="*/ 185797 h 436760"/>
                <a:gd name="connsiteX46" fmla="*/ 224344 w 460932"/>
                <a:gd name="connsiteY46" fmla="*/ 266426 h 436760"/>
                <a:gd name="connsiteX47" fmla="*/ 228417 w 460932"/>
                <a:gd name="connsiteY47" fmla="*/ 274453 h 436760"/>
                <a:gd name="connsiteX48" fmla="*/ 230542 w 460932"/>
                <a:gd name="connsiteY48" fmla="*/ 274782 h 436760"/>
                <a:gd name="connsiteX49" fmla="*/ 232624 w 460932"/>
                <a:gd name="connsiteY49" fmla="*/ 274470 h 436760"/>
                <a:gd name="connsiteX50" fmla="*/ 314493 w 460932"/>
                <a:gd name="connsiteY50" fmla="*/ 247698 h 436760"/>
                <a:gd name="connsiteX51" fmla="*/ 314493 w 460932"/>
                <a:gd name="connsiteY51" fmla="*/ 247698 h 436760"/>
                <a:gd name="connsiteX52" fmla="*/ 315081 w 460932"/>
                <a:gd name="connsiteY52" fmla="*/ 247433 h 436760"/>
                <a:gd name="connsiteX53" fmla="*/ 315228 w 460932"/>
                <a:gd name="connsiteY53" fmla="*/ 247433 h 436760"/>
                <a:gd name="connsiteX54" fmla="*/ 315865 w 460932"/>
                <a:gd name="connsiteY54" fmla="*/ 247049 h 436760"/>
                <a:gd name="connsiteX55" fmla="*/ 316453 w 460932"/>
                <a:gd name="connsiteY55" fmla="*/ 246617 h 436760"/>
                <a:gd name="connsiteX56" fmla="*/ 316575 w 460932"/>
                <a:gd name="connsiteY56" fmla="*/ 246473 h 436760"/>
                <a:gd name="connsiteX57" fmla="*/ 316845 w 460932"/>
                <a:gd name="connsiteY57" fmla="*/ 246233 h 436760"/>
                <a:gd name="connsiteX58" fmla="*/ 333111 w 460932"/>
                <a:gd name="connsiteY58" fmla="*/ 230266 h 436760"/>
                <a:gd name="connsiteX59" fmla="*/ 260747 w 460932"/>
                <a:gd name="connsiteY59" fmla="*/ 200036 h 436760"/>
                <a:gd name="connsiteX60" fmla="*/ 300285 w 460932"/>
                <a:gd name="connsiteY60" fmla="*/ 238837 h 436760"/>
                <a:gd name="connsiteX61" fmla="*/ 240782 w 460932"/>
                <a:gd name="connsiteY61" fmla="*/ 258262 h 436760"/>
                <a:gd name="connsiteX62" fmla="*/ 312533 w 460932"/>
                <a:gd name="connsiteY62" fmla="*/ 232691 h 436760"/>
                <a:gd name="connsiteX63" fmla="*/ 267140 w 460932"/>
                <a:gd name="connsiteY63" fmla="*/ 188222 h 436760"/>
                <a:gd name="connsiteX64" fmla="*/ 380684 w 460932"/>
                <a:gd name="connsiteY64" fmla="*/ 76955 h 436760"/>
                <a:gd name="connsiteX65" fmla="*/ 426053 w 460932"/>
                <a:gd name="connsiteY65" fmla="*/ 121400 h 436760"/>
                <a:gd name="connsiteX66" fmla="*/ 442368 w 460932"/>
                <a:gd name="connsiteY66" fmla="*/ 105432 h 436760"/>
                <a:gd name="connsiteX67" fmla="*/ 435435 w 460932"/>
                <a:gd name="connsiteY67" fmla="*/ 112252 h 436760"/>
                <a:gd name="connsiteX68" fmla="*/ 389944 w 460932"/>
                <a:gd name="connsiteY68" fmla="*/ 67879 h 436760"/>
                <a:gd name="connsiteX69" fmla="*/ 396901 w 460932"/>
                <a:gd name="connsiteY69" fmla="*/ 61036 h 436760"/>
                <a:gd name="connsiteX70" fmla="*/ 424534 w 460932"/>
                <a:gd name="connsiteY70" fmla="*/ 61036 h 436760"/>
                <a:gd name="connsiteX71" fmla="*/ 442270 w 460932"/>
                <a:gd name="connsiteY71" fmla="*/ 78420 h 436760"/>
                <a:gd name="connsiteX72" fmla="*/ 442221 w 460932"/>
                <a:gd name="connsiteY72" fmla="*/ 105504 h 436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60932" h="436760">
                  <a:moveTo>
                    <a:pt x="451407" y="69272"/>
                  </a:moveTo>
                  <a:lnTo>
                    <a:pt x="433745" y="52032"/>
                  </a:lnTo>
                  <a:cubicBezTo>
                    <a:pt x="421016" y="39572"/>
                    <a:pt x="400395" y="39572"/>
                    <a:pt x="387666" y="52032"/>
                  </a:cubicBezTo>
                  <a:lnTo>
                    <a:pt x="376128" y="63389"/>
                  </a:lnTo>
                  <a:lnTo>
                    <a:pt x="351631" y="87400"/>
                  </a:lnTo>
                  <a:lnTo>
                    <a:pt x="351631" y="76811"/>
                  </a:lnTo>
                  <a:cubicBezTo>
                    <a:pt x="351631" y="74428"/>
                    <a:pt x="350670" y="72142"/>
                    <a:pt x="348961" y="70448"/>
                  </a:cubicBezTo>
                  <a:lnTo>
                    <a:pt x="343351" y="64950"/>
                  </a:lnTo>
                  <a:lnTo>
                    <a:pt x="343351" y="64950"/>
                  </a:lnTo>
                  <a:lnTo>
                    <a:pt x="282108" y="4922"/>
                  </a:lnTo>
                  <a:lnTo>
                    <a:pt x="282108" y="4922"/>
                  </a:lnTo>
                  <a:lnTo>
                    <a:pt x="279658" y="2641"/>
                  </a:lnTo>
                  <a:cubicBezTo>
                    <a:pt x="277934" y="942"/>
                    <a:pt x="275587" y="-10"/>
                    <a:pt x="273142" y="0"/>
                  </a:cubicBezTo>
                  <a:lnTo>
                    <a:pt x="43923" y="0"/>
                  </a:lnTo>
                  <a:cubicBezTo>
                    <a:pt x="19808" y="91"/>
                    <a:pt x="241" y="19152"/>
                    <a:pt x="0" y="42788"/>
                  </a:cubicBezTo>
                  <a:lnTo>
                    <a:pt x="0" y="393732"/>
                  </a:lnTo>
                  <a:cubicBezTo>
                    <a:pt x="107" y="417463"/>
                    <a:pt x="19714" y="436669"/>
                    <a:pt x="43923" y="436760"/>
                  </a:cubicBezTo>
                  <a:lnTo>
                    <a:pt x="307781" y="436760"/>
                  </a:lnTo>
                  <a:cubicBezTo>
                    <a:pt x="332033" y="436760"/>
                    <a:pt x="351702" y="417503"/>
                    <a:pt x="351729" y="393732"/>
                  </a:cubicBezTo>
                  <a:lnTo>
                    <a:pt x="351729" y="212137"/>
                  </a:lnTo>
                  <a:lnTo>
                    <a:pt x="451432" y="114436"/>
                  </a:lnTo>
                  <a:cubicBezTo>
                    <a:pt x="464109" y="101942"/>
                    <a:pt x="464099" y="81753"/>
                    <a:pt x="451407" y="69272"/>
                  </a:cubicBezTo>
                  <a:close/>
                  <a:moveTo>
                    <a:pt x="284827" y="32919"/>
                  </a:moveTo>
                  <a:lnTo>
                    <a:pt x="314763" y="62261"/>
                  </a:lnTo>
                  <a:lnTo>
                    <a:pt x="284729" y="62261"/>
                  </a:lnTo>
                  <a:close/>
                  <a:moveTo>
                    <a:pt x="333429" y="393732"/>
                  </a:moveTo>
                  <a:cubicBezTo>
                    <a:pt x="333415" y="407553"/>
                    <a:pt x="321979" y="418752"/>
                    <a:pt x="307879" y="418752"/>
                  </a:cubicBezTo>
                  <a:lnTo>
                    <a:pt x="43923" y="418752"/>
                  </a:lnTo>
                  <a:cubicBezTo>
                    <a:pt x="29837" y="418726"/>
                    <a:pt x="18424" y="407539"/>
                    <a:pt x="18397" y="393732"/>
                  </a:cubicBezTo>
                  <a:lnTo>
                    <a:pt x="18397" y="42788"/>
                  </a:lnTo>
                  <a:cubicBezTo>
                    <a:pt x="18424" y="28981"/>
                    <a:pt x="29837" y="17795"/>
                    <a:pt x="43923" y="17768"/>
                  </a:cubicBezTo>
                  <a:lnTo>
                    <a:pt x="266356" y="17768"/>
                  </a:lnTo>
                  <a:lnTo>
                    <a:pt x="266356" y="71265"/>
                  </a:lnTo>
                  <a:cubicBezTo>
                    <a:pt x="266356" y="76238"/>
                    <a:pt x="270470" y="80269"/>
                    <a:pt x="275543" y="80269"/>
                  </a:cubicBezTo>
                  <a:lnTo>
                    <a:pt x="333037" y="80269"/>
                  </a:lnTo>
                  <a:lnTo>
                    <a:pt x="333331" y="80557"/>
                  </a:lnTo>
                  <a:lnTo>
                    <a:pt x="333331" y="105312"/>
                  </a:lnTo>
                  <a:lnTo>
                    <a:pt x="253324" y="183612"/>
                  </a:lnTo>
                  <a:lnTo>
                    <a:pt x="253055" y="183876"/>
                  </a:lnTo>
                  <a:lnTo>
                    <a:pt x="253055" y="183876"/>
                  </a:lnTo>
                  <a:cubicBezTo>
                    <a:pt x="252932" y="184068"/>
                    <a:pt x="252736" y="184260"/>
                    <a:pt x="252614" y="184453"/>
                  </a:cubicBezTo>
                  <a:lnTo>
                    <a:pt x="252614" y="184597"/>
                  </a:lnTo>
                  <a:lnTo>
                    <a:pt x="252271" y="185101"/>
                  </a:lnTo>
                  <a:lnTo>
                    <a:pt x="252148" y="185293"/>
                  </a:lnTo>
                  <a:lnTo>
                    <a:pt x="251952" y="185797"/>
                  </a:lnTo>
                  <a:lnTo>
                    <a:pt x="251952" y="185797"/>
                  </a:lnTo>
                  <a:lnTo>
                    <a:pt x="224344" y="266426"/>
                  </a:lnTo>
                  <a:cubicBezTo>
                    <a:pt x="223207" y="269744"/>
                    <a:pt x="225031" y="273339"/>
                    <a:pt x="228417" y="274453"/>
                  </a:cubicBezTo>
                  <a:cubicBezTo>
                    <a:pt x="229102" y="274679"/>
                    <a:pt x="229820" y="274789"/>
                    <a:pt x="230542" y="274782"/>
                  </a:cubicBezTo>
                  <a:cubicBezTo>
                    <a:pt x="231248" y="274777"/>
                    <a:pt x="231949" y="274672"/>
                    <a:pt x="232624" y="274470"/>
                  </a:cubicBezTo>
                  <a:lnTo>
                    <a:pt x="314493" y="247698"/>
                  </a:lnTo>
                  <a:lnTo>
                    <a:pt x="314493" y="247698"/>
                  </a:lnTo>
                  <a:cubicBezTo>
                    <a:pt x="314701" y="247640"/>
                    <a:pt x="314900" y="247551"/>
                    <a:pt x="315081" y="247433"/>
                  </a:cubicBezTo>
                  <a:lnTo>
                    <a:pt x="315228" y="247433"/>
                  </a:lnTo>
                  <a:lnTo>
                    <a:pt x="315865" y="247049"/>
                  </a:lnTo>
                  <a:lnTo>
                    <a:pt x="316453" y="246617"/>
                  </a:lnTo>
                  <a:lnTo>
                    <a:pt x="316575" y="246473"/>
                  </a:lnTo>
                  <a:cubicBezTo>
                    <a:pt x="316683" y="246413"/>
                    <a:pt x="316774" y="246331"/>
                    <a:pt x="316845" y="246233"/>
                  </a:cubicBezTo>
                  <a:lnTo>
                    <a:pt x="333111" y="230266"/>
                  </a:lnTo>
                  <a:close/>
                  <a:moveTo>
                    <a:pt x="260747" y="200036"/>
                  </a:moveTo>
                  <a:lnTo>
                    <a:pt x="300285" y="238837"/>
                  </a:lnTo>
                  <a:lnTo>
                    <a:pt x="240782" y="258262"/>
                  </a:lnTo>
                  <a:close/>
                  <a:moveTo>
                    <a:pt x="312533" y="232691"/>
                  </a:moveTo>
                  <a:lnTo>
                    <a:pt x="267140" y="188222"/>
                  </a:lnTo>
                  <a:lnTo>
                    <a:pt x="380684" y="76955"/>
                  </a:lnTo>
                  <a:lnTo>
                    <a:pt x="426053" y="121400"/>
                  </a:lnTo>
                  <a:close/>
                  <a:moveTo>
                    <a:pt x="442368" y="105432"/>
                  </a:moveTo>
                  <a:lnTo>
                    <a:pt x="435435" y="112252"/>
                  </a:lnTo>
                  <a:lnTo>
                    <a:pt x="389944" y="67879"/>
                  </a:lnTo>
                  <a:lnTo>
                    <a:pt x="396901" y="61036"/>
                  </a:lnTo>
                  <a:cubicBezTo>
                    <a:pt x="404544" y="53588"/>
                    <a:pt x="416891" y="53588"/>
                    <a:pt x="424534" y="61036"/>
                  </a:cubicBezTo>
                  <a:lnTo>
                    <a:pt x="442270" y="78420"/>
                  </a:lnTo>
                  <a:cubicBezTo>
                    <a:pt x="449854" y="85925"/>
                    <a:pt x="449832" y="98025"/>
                    <a:pt x="442221" y="105504"/>
                  </a:cubicBezTo>
                  <a:close/>
                </a:path>
              </a:pathLst>
            </a:custGeom>
            <a:grpFill/>
            <a:ln w="24063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49" name="Graphic 53">
            <a:extLst>
              <a:ext uri="{FF2B5EF4-FFF2-40B4-BE49-F238E27FC236}">
                <a16:creationId xmlns:a16="http://schemas.microsoft.com/office/drawing/2014/main" id="{C0242AF3-61EE-C763-907A-B8E337C5FD6E}"/>
              </a:ext>
            </a:extLst>
          </p:cNvPr>
          <p:cNvGrpSpPr/>
          <p:nvPr/>
        </p:nvGrpSpPr>
        <p:grpSpPr>
          <a:xfrm>
            <a:off x="3998813" y="3832074"/>
            <a:ext cx="309574" cy="302971"/>
            <a:chOff x="5168279" y="4225983"/>
            <a:chExt cx="432198" cy="432198"/>
          </a:xfrm>
          <a:solidFill>
            <a:schemeClr val="bg1"/>
          </a:solidFill>
        </p:grpSpPr>
        <p:sp>
          <p:nvSpPr>
            <p:cNvPr id="450" name="Freeform 449">
              <a:extLst>
                <a:ext uri="{FF2B5EF4-FFF2-40B4-BE49-F238E27FC236}">
                  <a16:creationId xmlns:a16="http://schemas.microsoft.com/office/drawing/2014/main" id="{C9B45C31-49C1-9AE3-F7C4-1880873B277E}"/>
                </a:ext>
              </a:extLst>
            </p:cNvPr>
            <p:cNvSpPr/>
            <p:nvPr/>
          </p:nvSpPr>
          <p:spPr>
            <a:xfrm>
              <a:off x="5371871" y="4358343"/>
              <a:ext cx="34954" cy="34954"/>
            </a:xfrm>
            <a:custGeom>
              <a:avLst/>
              <a:gdLst>
                <a:gd name="connsiteX0" fmla="*/ 34954 w 34954"/>
                <a:gd name="connsiteY0" fmla="*/ 17477 h 34954"/>
                <a:gd name="connsiteX1" fmla="*/ 17477 w 34954"/>
                <a:gd name="connsiteY1" fmla="*/ 34954 h 34954"/>
                <a:gd name="connsiteX2" fmla="*/ 0 w 34954"/>
                <a:gd name="connsiteY2" fmla="*/ 17477 h 34954"/>
                <a:gd name="connsiteX3" fmla="*/ 17477 w 34954"/>
                <a:gd name="connsiteY3" fmla="*/ 0 h 34954"/>
                <a:gd name="connsiteX4" fmla="*/ 34954 w 34954"/>
                <a:gd name="connsiteY4" fmla="*/ 17477 h 3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54" h="34954">
                  <a:moveTo>
                    <a:pt x="34954" y="17477"/>
                  </a:moveTo>
                  <a:cubicBezTo>
                    <a:pt x="34954" y="27129"/>
                    <a:pt x="27129" y="34954"/>
                    <a:pt x="17477" y="34954"/>
                  </a:cubicBezTo>
                  <a:cubicBezTo>
                    <a:pt x="7825" y="34954"/>
                    <a:pt x="0" y="27129"/>
                    <a:pt x="0" y="17477"/>
                  </a:cubicBezTo>
                  <a:cubicBezTo>
                    <a:pt x="0" y="7825"/>
                    <a:pt x="7825" y="0"/>
                    <a:pt x="17477" y="0"/>
                  </a:cubicBezTo>
                  <a:cubicBezTo>
                    <a:pt x="27129" y="0"/>
                    <a:pt x="34954" y="7825"/>
                    <a:pt x="34954" y="17477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51" name="Freeform 450">
              <a:extLst>
                <a:ext uri="{FF2B5EF4-FFF2-40B4-BE49-F238E27FC236}">
                  <a16:creationId xmlns:a16="http://schemas.microsoft.com/office/drawing/2014/main" id="{951872A5-16AC-AA62-E38B-7C667846277C}"/>
                </a:ext>
              </a:extLst>
            </p:cNvPr>
            <p:cNvSpPr/>
            <p:nvPr/>
          </p:nvSpPr>
          <p:spPr>
            <a:xfrm>
              <a:off x="5184031" y="4239813"/>
              <a:ext cx="75656" cy="270881"/>
            </a:xfrm>
            <a:custGeom>
              <a:avLst/>
              <a:gdLst>
                <a:gd name="connsiteX0" fmla="*/ 57856 w 75656"/>
                <a:gd name="connsiteY0" fmla="*/ 2836 h 270881"/>
                <a:gd name="connsiteX1" fmla="*/ 48339 w 75656"/>
                <a:gd name="connsiteY1" fmla="*/ 258608 h 270881"/>
                <a:gd name="connsiteX2" fmla="*/ 57856 w 75656"/>
                <a:gd name="connsiteY2" fmla="*/ 268125 h 270881"/>
                <a:gd name="connsiteX3" fmla="*/ 72815 w 75656"/>
                <a:gd name="connsiteY3" fmla="*/ 267420 h 270881"/>
                <a:gd name="connsiteX4" fmla="*/ 72308 w 75656"/>
                <a:gd name="connsiteY4" fmla="*/ 252647 h 270881"/>
                <a:gd name="connsiteX5" fmla="*/ 63735 w 75656"/>
                <a:gd name="connsiteY5" fmla="*/ 26887 h 270881"/>
                <a:gd name="connsiteX6" fmla="*/ 72308 w 75656"/>
                <a:gd name="connsiteY6" fmla="*/ 18314 h 270881"/>
                <a:gd name="connsiteX7" fmla="*/ 72821 w 75656"/>
                <a:gd name="connsiteY7" fmla="*/ 3376 h 270881"/>
                <a:gd name="connsiteX8" fmla="*/ 57856 w 75656"/>
                <a:gd name="connsiteY8" fmla="*/ 2836 h 270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656" h="270881">
                  <a:moveTo>
                    <a:pt x="57856" y="2836"/>
                  </a:moveTo>
                  <a:cubicBezTo>
                    <a:pt x="-15401" y="70837"/>
                    <a:pt x="-19662" y="185350"/>
                    <a:pt x="48339" y="258608"/>
                  </a:cubicBezTo>
                  <a:cubicBezTo>
                    <a:pt x="51393" y="261896"/>
                    <a:pt x="54567" y="265072"/>
                    <a:pt x="57856" y="268125"/>
                  </a:cubicBezTo>
                  <a:cubicBezTo>
                    <a:pt x="62182" y="272060"/>
                    <a:pt x="68879" y="271744"/>
                    <a:pt x="72815" y="267420"/>
                  </a:cubicBezTo>
                  <a:cubicBezTo>
                    <a:pt x="76679" y="263171"/>
                    <a:pt x="76454" y="256620"/>
                    <a:pt x="72308" y="252647"/>
                  </a:cubicBezTo>
                  <a:cubicBezTo>
                    <a:pt x="7599" y="192672"/>
                    <a:pt x="3761" y="91596"/>
                    <a:pt x="63735" y="26887"/>
                  </a:cubicBezTo>
                  <a:cubicBezTo>
                    <a:pt x="66483" y="23922"/>
                    <a:pt x="69343" y="21062"/>
                    <a:pt x="72308" y="18314"/>
                  </a:cubicBezTo>
                  <a:cubicBezTo>
                    <a:pt x="76564" y="14326"/>
                    <a:pt x="76793" y="7647"/>
                    <a:pt x="72821" y="3376"/>
                  </a:cubicBezTo>
                  <a:cubicBezTo>
                    <a:pt x="68838" y="-905"/>
                    <a:pt x="62138" y="-1147"/>
                    <a:pt x="57856" y="2836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52" name="Freeform 451">
              <a:extLst>
                <a:ext uri="{FF2B5EF4-FFF2-40B4-BE49-F238E27FC236}">
                  <a16:creationId xmlns:a16="http://schemas.microsoft.com/office/drawing/2014/main" id="{702B6EEE-C1E6-EFA3-D541-1D29A236305D}"/>
                </a:ext>
              </a:extLst>
            </p:cNvPr>
            <p:cNvSpPr/>
            <p:nvPr/>
          </p:nvSpPr>
          <p:spPr>
            <a:xfrm>
              <a:off x="5245426" y="4278712"/>
              <a:ext cx="58333" cy="193487"/>
            </a:xfrm>
            <a:custGeom>
              <a:avLst/>
              <a:gdLst>
                <a:gd name="connsiteX0" fmla="*/ 40194 w 58333"/>
                <a:gd name="connsiteY0" fmla="*/ 2808 h 193487"/>
                <a:gd name="connsiteX1" fmla="*/ 0 w 58333"/>
                <a:gd name="connsiteY1" fmla="*/ 96595 h 193487"/>
                <a:gd name="connsiteX2" fmla="*/ 40194 w 58333"/>
                <a:gd name="connsiteY2" fmla="*/ 190382 h 193487"/>
                <a:gd name="connsiteX3" fmla="*/ 55227 w 58333"/>
                <a:gd name="connsiteY3" fmla="*/ 190368 h 193487"/>
                <a:gd name="connsiteX4" fmla="*/ 55213 w 58333"/>
                <a:gd name="connsiteY4" fmla="*/ 175336 h 193487"/>
                <a:gd name="connsiteX5" fmla="*/ 21178 w 58333"/>
                <a:gd name="connsiteY5" fmla="*/ 96595 h 193487"/>
                <a:gd name="connsiteX6" fmla="*/ 55213 w 58333"/>
                <a:gd name="connsiteY6" fmla="*/ 17826 h 193487"/>
                <a:gd name="connsiteX7" fmla="*/ 54722 w 58333"/>
                <a:gd name="connsiteY7" fmla="*/ 2860 h 193487"/>
                <a:gd name="connsiteX8" fmla="*/ 40302 w 58333"/>
                <a:gd name="connsiteY8" fmla="*/ 2808 h 193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333" h="193487">
                  <a:moveTo>
                    <a:pt x="40194" y="2808"/>
                  </a:moveTo>
                  <a:cubicBezTo>
                    <a:pt x="14744" y="27403"/>
                    <a:pt x="259" y="61203"/>
                    <a:pt x="0" y="96595"/>
                  </a:cubicBezTo>
                  <a:cubicBezTo>
                    <a:pt x="262" y="131986"/>
                    <a:pt x="14747" y="165784"/>
                    <a:pt x="40194" y="190382"/>
                  </a:cubicBezTo>
                  <a:cubicBezTo>
                    <a:pt x="44349" y="194529"/>
                    <a:pt x="51079" y="194523"/>
                    <a:pt x="55227" y="190368"/>
                  </a:cubicBezTo>
                  <a:cubicBezTo>
                    <a:pt x="59374" y="186213"/>
                    <a:pt x="59368" y="179483"/>
                    <a:pt x="55213" y="175336"/>
                  </a:cubicBezTo>
                  <a:cubicBezTo>
                    <a:pt x="33751" y="154727"/>
                    <a:pt x="21485" y="126348"/>
                    <a:pt x="21178" y="96595"/>
                  </a:cubicBezTo>
                  <a:cubicBezTo>
                    <a:pt x="21478" y="66832"/>
                    <a:pt x="33744" y="38442"/>
                    <a:pt x="55213" y="17826"/>
                  </a:cubicBezTo>
                  <a:cubicBezTo>
                    <a:pt x="59211" y="13558"/>
                    <a:pt x="58990" y="6857"/>
                    <a:pt x="54722" y="2860"/>
                  </a:cubicBezTo>
                  <a:cubicBezTo>
                    <a:pt x="50671" y="-933"/>
                    <a:pt x="44380" y="-956"/>
                    <a:pt x="40302" y="2808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53" name="Freeform 452">
              <a:extLst>
                <a:ext uri="{FF2B5EF4-FFF2-40B4-BE49-F238E27FC236}">
                  <a16:creationId xmlns:a16="http://schemas.microsoft.com/office/drawing/2014/main" id="{E310E78F-AAF6-8B5A-B692-3588FE8A7BE3}"/>
                </a:ext>
              </a:extLst>
            </p:cNvPr>
            <p:cNvSpPr/>
            <p:nvPr/>
          </p:nvSpPr>
          <p:spPr>
            <a:xfrm>
              <a:off x="5307338" y="4320739"/>
              <a:ext cx="40221" cy="110095"/>
            </a:xfrm>
            <a:custGeom>
              <a:avLst/>
              <a:gdLst>
                <a:gd name="connsiteX0" fmla="*/ 22096 w 40221"/>
                <a:gd name="connsiteY0" fmla="*/ 3136 h 110095"/>
                <a:gd name="connsiteX1" fmla="*/ 0 w 40221"/>
                <a:gd name="connsiteY1" fmla="*/ 54649 h 110095"/>
                <a:gd name="connsiteX2" fmla="*/ 0 w 40221"/>
                <a:gd name="connsiteY2" fmla="*/ 54649 h 110095"/>
                <a:gd name="connsiteX3" fmla="*/ 0 w 40221"/>
                <a:gd name="connsiteY3" fmla="*/ 55432 h 110095"/>
                <a:gd name="connsiteX4" fmla="*/ 0 w 40221"/>
                <a:gd name="connsiteY4" fmla="*/ 55432 h 110095"/>
                <a:gd name="connsiteX5" fmla="*/ 22096 w 40221"/>
                <a:gd name="connsiteY5" fmla="*/ 106945 h 110095"/>
                <a:gd name="connsiteX6" fmla="*/ 37071 w 40221"/>
                <a:gd name="connsiteY6" fmla="*/ 107043 h 110095"/>
                <a:gd name="connsiteX7" fmla="*/ 40221 w 40221"/>
                <a:gd name="connsiteY7" fmla="*/ 99489 h 110095"/>
                <a:gd name="connsiteX8" fmla="*/ 37142 w 40221"/>
                <a:gd name="connsiteY8" fmla="*/ 92061 h 110095"/>
                <a:gd name="connsiteX9" fmla="*/ 21151 w 40221"/>
                <a:gd name="connsiteY9" fmla="*/ 55432 h 110095"/>
                <a:gd name="connsiteX10" fmla="*/ 21151 w 40221"/>
                <a:gd name="connsiteY10" fmla="*/ 55432 h 110095"/>
                <a:gd name="connsiteX11" fmla="*/ 21151 w 40221"/>
                <a:gd name="connsiteY11" fmla="*/ 54649 h 110095"/>
                <a:gd name="connsiteX12" fmla="*/ 21151 w 40221"/>
                <a:gd name="connsiteY12" fmla="*/ 54649 h 110095"/>
                <a:gd name="connsiteX13" fmla="*/ 37142 w 40221"/>
                <a:gd name="connsiteY13" fmla="*/ 18047 h 110095"/>
                <a:gd name="connsiteX14" fmla="*/ 37074 w 40221"/>
                <a:gd name="connsiteY14" fmla="*/ 3068 h 110095"/>
                <a:gd name="connsiteX15" fmla="*/ 22096 w 40221"/>
                <a:gd name="connsiteY15" fmla="*/ 3136 h 110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221" h="110095">
                  <a:moveTo>
                    <a:pt x="22096" y="3136"/>
                  </a:moveTo>
                  <a:cubicBezTo>
                    <a:pt x="8470" y="16887"/>
                    <a:pt x="572" y="35298"/>
                    <a:pt x="0" y="54649"/>
                  </a:cubicBezTo>
                  <a:lnTo>
                    <a:pt x="0" y="54649"/>
                  </a:lnTo>
                  <a:lnTo>
                    <a:pt x="0" y="55432"/>
                  </a:lnTo>
                  <a:lnTo>
                    <a:pt x="0" y="55432"/>
                  </a:lnTo>
                  <a:cubicBezTo>
                    <a:pt x="567" y="74784"/>
                    <a:pt x="8465" y="93197"/>
                    <a:pt x="22096" y="106945"/>
                  </a:cubicBezTo>
                  <a:cubicBezTo>
                    <a:pt x="26204" y="111107"/>
                    <a:pt x="32908" y="111151"/>
                    <a:pt x="37071" y="107043"/>
                  </a:cubicBezTo>
                  <a:cubicBezTo>
                    <a:pt x="39091" y="105049"/>
                    <a:pt x="40226" y="102328"/>
                    <a:pt x="40221" y="99489"/>
                  </a:cubicBezTo>
                  <a:cubicBezTo>
                    <a:pt x="40221" y="96703"/>
                    <a:pt x="39113" y="94031"/>
                    <a:pt x="37142" y="92061"/>
                  </a:cubicBezTo>
                  <a:cubicBezTo>
                    <a:pt x="27435" y="82269"/>
                    <a:pt x="21733" y="69207"/>
                    <a:pt x="21151" y="55432"/>
                  </a:cubicBezTo>
                  <a:lnTo>
                    <a:pt x="21151" y="55432"/>
                  </a:lnTo>
                  <a:lnTo>
                    <a:pt x="21151" y="54649"/>
                  </a:lnTo>
                  <a:lnTo>
                    <a:pt x="21151" y="54649"/>
                  </a:lnTo>
                  <a:cubicBezTo>
                    <a:pt x="21740" y="40883"/>
                    <a:pt x="27442" y="27832"/>
                    <a:pt x="37142" y="18047"/>
                  </a:cubicBezTo>
                  <a:cubicBezTo>
                    <a:pt x="41260" y="13892"/>
                    <a:pt x="41229" y="7186"/>
                    <a:pt x="37074" y="3068"/>
                  </a:cubicBezTo>
                  <a:cubicBezTo>
                    <a:pt x="32920" y="-1049"/>
                    <a:pt x="26214" y="-1019"/>
                    <a:pt x="22096" y="3136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54" name="Freeform 453">
              <a:extLst>
                <a:ext uri="{FF2B5EF4-FFF2-40B4-BE49-F238E27FC236}">
                  <a16:creationId xmlns:a16="http://schemas.microsoft.com/office/drawing/2014/main" id="{8F5B95C9-A25B-6105-D464-6D0BD184983D}"/>
                </a:ext>
              </a:extLst>
            </p:cNvPr>
            <p:cNvSpPr/>
            <p:nvPr/>
          </p:nvSpPr>
          <p:spPr>
            <a:xfrm>
              <a:off x="5520002" y="4239463"/>
              <a:ext cx="75755" cy="271147"/>
            </a:xfrm>
            <a:custGeom>
              <a:avLst/>
              <a:gdLst>
                <a:gd name="connsiteX0" fmla="*/ 17914 w 75755"/>
                <a:gd name="connsiteY0" fmla="*/ 268204 h 271147"/>
                <a:gd name="connsiteX1" fmla="*/ 27403 w 75755"/>
                <a:gd name="connsiteY1" fmla="*/ 12432 h 271147"/>
                <a:gd name="connsiteX2" fmla="*/ 17914 w 75755"/>
                <a:gd name="connsiteY2" fmla="*/ 2943 h 271147"/>
                <a:gd name="connsiteX3" fmla="*/ 2944 w 75755"/>
                <a:gd name="connsiteY3" fmla="*/ 3263 h 271147"/>
                <a:gd name="connsiteX4" fmla="*/ 3262 w 75755"/>
                <a:gd name="connsiteY4" fmla="*/ 18235 h 271147"/>
                <a:gd name="connsiteX5" fmla="*/ 3462 w 75755"/>
                <a:gd name="connsiteY5" fmla="*/ 18421 h 271147"/>
                <a:gd name="connsiteX6" fmla="*/ 12047 w 75755"/>
                <a:gd name="connsiteY6" fmla="*/ 244142 h 271147"/>
                <a:gd name="connsiteX7" fmla="*/ 3462 w 75755"/>
                <a:gd name="connsiteY7" fmla="*/ 252726 h 271147"/>
                <a:gd name="connsiteX8" fmla="*/ 2757 w 75755"/>
                <a:gd name="connsiteY8" fmla="*/ 267686 h 271147"/>
                <a:gd name="connsiteX9" fmla="*/ 17714 w 75755"/>
                <a:gd name="connsiteY9" fmla="*/ 268391 h 271147"/>
                <a:gd name="connsiteX10" fmla="*/ 17914 w 75755"/>
                <a:gd name="connsiteY10" fmla="*/ 268204 h 271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755" h="271147">
                  <a:moveTo>
                    <a:pt x="17914" y="268204"/>
                  </a:moveTo>
                  <a:cubicBezTo>
                    <a:pt x="91163" y="200195"/>
                    <a:pt x="95412" y="85682"/>
                    <a:pt x="27403" y="12432"/>
                  </a:cubicBezTo>
                  <a:cubicBezTo>
                    <a:pt x="24359" y="9153"/>
                    <a:pt x="21193" y="5988"/>
                    <a:pt x="17914" y="2943"/>
                  </a:cubicBezTo>
                  <a:cubicBezTo>
                    <a:pt x="13692" y="-1103"/>
                    <a:pt x="6987" y="-959"/>
                    <a:pt x="2944" y="3263"/>
                  </a:cubicBezTo>
                  <a:cubicBezTo>
                    <a:pt x="-1103" y="7486"/>
                    <a:pt x="-960" y="14189"/>
                    <a:pt x="3262" y="18235"/>
                  </a:cubicBezTo>
                  <a:cubicBezTo>
                    <a:pt x="3327" y="18298"/>
                    <a:pt x="3395" y="18360"/>
                    <a:pt x="3462" y="18421"/>
                  </a:cubicBezTo>
                  <a:cubicBezTo>
                    <a:pt x="68165" y="78382"/>
                    <a:pt x="72006" y="179440"/>
                    <a:pt x="12047" y="244142"/>
                  </a:cubicBezTo>
                  <a:cubicBezTo>
                    <a:pt x="9294" y="247111"/>
                    <a:pt x="6431" y="249975"/>
                    <a:pt x="3462" y="252726"/>
                  </a:cubicBezTo>
                  <a:cubicBezTo>
                    <a:pt x="-862" y="256662"/>
                    <a:pt x="-1178" y="263358"/>
                    <a:pt x="2757" y="267686"/>
                  </a:cubicBezTo>
                  <a:cubicBezTo>
                    <a:pt x="6693" y="272010"/>
                    <a:pt x="13389" y="272327"/>
                    <a:pt x="17714" y="268391"/>
                  </a:cubicBezTo>
                  <a:cubicBezTo>
                    <a:pt x="17782" y="268329"/>
                    <a:pt x="17849" y="268267"/>
                    <a:pt x="17914" y="268204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55" name="Freeform 454">
              <a:extLst>
                <a:ext uri="{FF2B5EF4-FFF2-40B4-BE49-F238E27FC236}">
                  <a16:creationId xmlns:a16="http://schemas.microsoft.com/office/drawing/2014/main" id="{6A8BF6E8-A467-B97D-F072-CC423DBB23A0}"/>
                </a:ext>
              </a:extLst>
            </p:cNvPr>
            <p:cNvSpPr/>
            <p:nvPr/>
          </p:nvSpPr>
          <p:spPr>
            <a:xfrm>
              <a:off x="5476136" y="4278181"/>
              <a:ext cx="58240" cy="193710"/>
            </a:xfrm>
            <a:custGeom>
              <a:avLst/>
              <a:gdLst>
                <a:gd name="connsiteX0" fmla="*/ 18046 w 58240"/>
                <a:gd name="connsiteY0" fmla="*/ 190642 h 193710"/>
                <a:gd name="connsiteX1" fmla="*/ 58241 w 58240"/>
                <a:gd name="connsiteY1" fmla="*/ 96855 h 193710"/>
                <a:gd name="connsiteX2" fmla="*/ 18046 w 58240"/>
                <a:gd name="connsiteY2" fmla="*/ 3068 h 193710"/>
                <a:gd name="connsiteX3" fmla="*/ 3068 w 58240"/>
                <a:gd name="connsiteY3" fmla="*/ 3136 h 193710"/>
                <a:gd name="connsiteX4" fmla="*/ 3136 w 58240"/>
                <a:gd name="connsiteY4" fmla="*/ 18114 h 193710"/>
                <a:gd name="connsiteX5" fmla="*/ 37063 w 58240"/>
                <a:gd name="connsiteY5" fmla="*/ 96855 h 193710"/>
                <a:gd name="connsiteX6" fmla="*/ 3136 w 58240"/>
                <a:gd name="connsiteY6" fmla="*/ 175596 h 193710"/>
                <a:gd name="connsiteX7" fmla="*/ 3068 w 58240"/>
                <a:gd name="connsiteY7" fmla="*/ 190575 h 193710"/>
                <a:gd name="connsiteX8" fmla="*/ 18046 w 58240"/>
                <a:gd name="connsiteY8" fmla="*/ 190642 h 19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240" h="193710">
                  <a:moveTo>
                    <a:pt x="18046" y="190642"/>
                  </a:moveTo>
                  <a:cubicBezTo>
                    <a:pt x="43497" y="166047"/>
                    <a:pt x="57981" y="132247"/>
                    <a:pt x="58241" y="96855"/>
                  </a:cubicBezTo>
                  <a:cubicBezTo>
                    <a:pt x="57971" y="61466"/>
                    <a:pt x="43487" y="27671"/>
                    <a:pt x="18046" y="3068"/>
                  </a:cubicBezTo>
                  <a:cubicBezTo>
                    <a:pt x="13892" y="-1049"/>
                    <a:pt x="7185" y="-1019"/>
                    <a:pt x="3068" y="3136"/>
                  </a:cubicBezTo>
                  <a:cubicBezTo>
                    <a:pt x="-1049" y="7291"/>
                    <a:pt x="-1019" y="13997"/>
                    <a:pt x="3136" y="18114"/>
                  </a:cubicBezTo>
                  <a:cubicBezTo>
                    <a:pt x="24559" y="38742"/>
                    <a:pt x="36785" y="67118"/>
                    <a:pt x="37063" y="96855"/>
                  </a:cubicBezTo>
                  <a:cubicBezTo>
                    <a:pt x="36785" y="126593"/>
                    <a:pt x="24559" y="154969"/>
                    <a:pt x="3136" y="175596"/>
                  </a:cubicBezTo>
                  <a:cubicBezTo>
                    <a:pt x="-1019" y="179714"/>
                    <a:pt x="-1049" y="186420"/>
                    <a:pt x="3068" y="190575"/>
                  </a:cubicBezTo>
                  <a:cubicBezTo>
                    <a:pt x="7185" y="194730"/>
                    <a:pt x="13892" y="194760"/>
                    <a:pt x="18046" y="190642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56" name="Freeform 455">
              <a:extLst>
                <a:ext uri="{FF2B5EF4-FFF2-40B4-BE49-F238E27FC236}">
                  <a16:creationId xmlns:a16="http://schemas.microsoft.com/office/drawing/2014/main" id="{55F49D5E-990D-9F09-C5F2-33A0FAF76641}"/>
                </a:ext>
              </a:extLst>
            </p:cNvPr>
            <p:cNvSpPr/>
            <p:nvPr/>
          </p:nvSpPr>
          <p:spPr>
            <a:xfrm>
              <a:off x="5431987" y="4319520"/>
              <a:ext cx="40477" cy="110340"/>
            </a:xfrm>
            <a:custGeom>
              <a:avLst/>
              <a:gdLst>
                <a:gd name="connsiteX0" fmla="*/ 18381 w 40477"/>
                <a:gd name="connsiteY0" fmla="*/ 106921 h 110340"/>
                <a:gd name="connsiteX1" fmla="*/ 40478 w 40477"/>
                <a:gd name="connsiteY1" fmla="*/ 55408 h 110340"/>
                <a:gd name="connsiteX2" fmla="*/ 40478 w 40477"/>
                <a:gd name="connsiteY2" fmla="*/ 55408 h 110340"/>
                <a:gd name="connsiteX3" fmla="*/ 40478 w 40477"/>
                <a:gd name="connsiteY3" fmla="*/ 54652 h 110340"/>
                <a:gd name="connsiteX4" fmla="*/ 40478 w 40477"/>
                <a:gd name="connsiteY4" fmla="*/ 54652 h 110340"/>
                <a:gd name="connsiteX5" fmla="*/ 18381 w 40477"/>
                <a:gd name="connsiteY5" fmla="*/ 3112 h 110340"/>
                <a:gd name="connsiteX6" fmla="*/ 3368 w 40477"/>
                <a:gd name="connsiteY6" fmla="*/ 3106 h 110340"/>
                <a:gd name="connsiteX7" fmla="*/ 256 w 40477"/>
                <a:gd name="connsiteY7" fmla="*/ 10568 h 110340"/>
                <a:gd name="connsiteX8" fmla="*/ 3336 w 40477"/>
                <a:gd name="connsiteY8" fmla="*/ 18023 h 110340"/>
                <a:gd name="connsiteX9" fmla="*/ 19327 w 40477"/>
                <a:gd name="connsiteY9" fmla="*/ 54652 h 110340"/>
                <a:gd name="connsiteX10" fmla="*/ 19327 w 40477"/>
                <a:gd name="connsiteY10" fmla="*/ 54652 h 110340"/>
                <a:gd name="connsiteX11" fmla="*/ 19327 w 40477"/>
                <a:gd name="connsiteY11" fmla="*/ 55408 h 110340"/>
                <a:gd name="connsiteX12" fmla="*/ 19327 w 40477"/>
                <a:gd name="connsiteY12" fmla="*/ 55408 h 110340"/>
                <a:gd name="connsiteX13" fmla="*/ 3336 w 40477"/>
                <a:gd name="connsiteY13" fmla="*/ 92037 h 110340"/>
                <a:gd name="connsiteX14" fmla="*/ 2874 w 40477"/>
                <a:gd name="connsiteY14" fmla="*/ 107005 h 110340"/>
                <a:gd name="connsiteX15" fmla="*/ 17841 w 40477"/>
                <a:gd name="connsiteY15" fmla="*/ 107466 h 110340"/>
                <a:gd name="connsiteX16" fmla="*/ 18381 w 40477"/>
                <a:gd name="connsiteY16" fmla="*/ 106921 h 110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0477" h="110340">
                  <a:moveTo>
                    <a:pt x="18381" y="106921"/>
                  </a:moveTo>
                  <a:cubicBezTo>
                    <a:pt x="32017" y="93176"/>
                    <a:pt x="39916" y="74761"/>
                    <a:pt x="40478" y="55408"/>
                  </a:cubicBezTo>
                  <a:lnTo>
                    <a:pt x="40478" y="55408"/>
                  </a:lnTo>
                  <a:lnTo>
                    <a:pt x="40478" y="54652"/>
                  </a:lnTo>
                  <a:lnTo>
                    <a:pt x="40478" y="54652"/>
                  </a:lnTo>
                  <a:cubicBezTo>
                    <a:pt x="39910" y="35293"/>
                    <a:pt x="32012" y="16871"/>
                    <a:pt x="18381" y="3112"/>
                  </a:cubicBezTo>
                  <a:cubicBezTo>
                    <a:pt x="14238" y="-1035"/>
                    <a:pt x="7517" y="-1038"/>
                    <a:pt x="3368" y="3106"/>
                  </a:cubicBezTo>
                  <a:cubicBezTo>
                    <a:pt x="1387" y="5086"/>
                    <a:pt x="269" y="7767"/>
                    <a:pt x="256" y="10568"/>
                  </a:cubicBezTo>
                  <a:cubicBezTo>
                    <a:pt x="250" y="13364"/>
                    <a:pt x="1358" y="16047"/>
                    <a:pt x="3336" y="18023"/>
                  </a:cubicBezTo>
                  <a:cubicBezTo>
                    <a:pt x="13041" y="27815"/>
                    <a:pt x="18743" y="40877"/>
                    <a:pt x="19327" y="54652"/>
                  </a:cubicBezTo>
                  <a:lnTo>
                    <a:pt x="19327" y="54652"/>
                  </a:lnTo>
                  <a:lnTo>
                    <a:pt x="19327" y="55408"/>
                  </a:lnTo>
                  <a:lnTo>
                    <a:pt x="19327" y="55408"/>
                  </a:lnTo>
                  <a:cubicBezTo>
                    <a:pt x="18743" y="69184"/>
                    <a:pt x="13041" y="82245"/>
                    <a:pt x="3336" y="92037"/>
                  </a:cubicBezTo>
                  <a:cubicBezTo>
                    <a:pt x="-925" y="96043"/>
                    <a:pt x="-1131" y="102744"/>
                    <a:pt x="2874" y="107005"/>
                  </a:cubicBezTo>
                  <a:cubicBezTo>
                    <a:pt x="6880" y="111266"/>
                    <a:pt x="13581" y="111472"/>
                    <a:pt x="17841" y="107466"/>
                  </a:cubicBezTo>
                  <a:cubicBezTo>
                    <a:pt x="18028" y="107291"/>
                    <a:pt x="18209" y="107109"/>
                    <a:pt x="18381" y="106921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57" name="Freeform 456">
              <a:extLst>
                <a:ext uri="{FF2B5EF4-FFF2-40B4-BE49-F238E27FC236}">
                  <a16:creationId xmlns:a16="http://schemas.microsoft.com/office/drawing/2014/main" id="{44C9ED2C-D74B-D277-C62D-3A9F85C624CA}"/>
                </a:ext>
              </a:extLst>
            </p:cNvPr>
            <p:cNvSpPr/>
            <p:nvPr/>
          </p:nvSpPr>
          <p:spPr>
            <a:xfrm>
              <a:off x="5230650" y="4538354"/>
              <a:ext cx="85710" cy="113397"/>
            </a:xfrm>
            <a:custGeom>
              <a:avLst/>
              <a:gdLst>
                <a:gd name="connsiteX0" fmla="*/ 0 w 85710"/>
                <a:gd name="connsiteY0" fmla="*/ 0 h 113397"/>
                <a:gd name="connsiteX1" fmla="*/ 39411 w 85710"/>
                <a:gd name="connsiteY1" fmla="*/ 0 h 113397"/>
                <a:gd name="connsiteX2" fmla="*/ 54943 w 85710"/>
                <a:gd name="connsiteY2" fmla="*/ 1675 h 113397"/>
                <a:gd name="connsiteX3" fmla="*/ 68449 w 85710"/>
                <a:gd name="connsiteY3" fmla="*/ 7212 h 113397"/>
                <a:gd name="connsiteX4" fmla="*/ 77823 w 85710"/>
                <a:gd name="connsiteY4" fmla="*/ 17288 h 113397"/>
                <a:gd name="connsiteX5" fmla="*/ 81334 w 85710"/>
                <a:gd name="connsiteY5" fmla="*/ 32523 h 113397"/>
                <a:gd name="connsiteX6" fmla="*/ 74365 w 85710"/>
                <a:gd name="connsiteY6" fmla="*/ 52620 h 113397"/>
                <a:gd name="connsiteX7" fmla="*/ 55456 w 85710"/>
                <a:gd name="connsiteY7" fmla="*/ 63101 h 113397"/>
                <a:gd name="connsiteX8" fmla="*/ 85710 w 85710"/>
                <a:gd name="connsiteY8" fmla="*/ 113398 h 113397"/>
                <a:gd name="connsiteX9" fmla="*/ 61399 w 85710"/>
                <a:gd name="connsiteY9" fmla="*/ 113398 h 113397"/>
                <a:gd name="connsiteX10" fmla="*/ 34873 w 85710"/>
                <a:gd name="connsiteY10" fmla="*/ 65343 h 113397"/>
                <a:gd name="connsiteX11" fmla="*/ 20178 w 85710"/>
                <a:gd name="connsiteY11" fmla="*/ 65343 h 113397"/>
                <a:gd name="connsiteX12" fmla="*/ 20178 w 85710"/>
                <a:gd name="connsiteY12" fmla="*/ 113398 h 113397"/>
                <a:gd name="connsiteX13" fmla="*/ 0 w 85710"/>
                <a:gd name="connsiteY13" fmla="*/ 113398 h 113397"/>
                <a:gd name="connsiteX14" fmla="*/ 36683 w 85710"/>
                <a:gd name="connsiteY14" fmla="*/ 48865 h 113397"/>
                <a:gd name="connsiteX15" fmla="*/ 45327 w 85710"/>
                <a:gd name="connsiteY15" fmla="*/ 48217 h 113397"/>
                <a:gd name="connsiteX16" fmla="*/ 53106 w 85710"/>
                <a:gd name="connsiteY16" fmla="*/ 45813 h 113397"/>
                <a:gd name="connsiteX17" fmla="*/ 58779 w 85710"/>
                <a:gd name="connsiteY17" fmla="*/ 40762 h 113397"/>
                <a:gd name="connsiteX18" fmla="*/ 61021 w 85710"/>
                <a:gd name="connsiteY18" fmla="*/ 32361 h 113397"/>
                <a:gd name="connsiteX19" fmla="*/ 58941 w 85710"/>
                <a:gd name="connsiteY19" fmla="*/ 24743 h 113397"/>
                <a:gd name="connsiteX20" fmla="*/ 53539 w 85710"/>
                <a:gd name="connsiteY20" fmla="*/ 20016 h 113397"/>
                <a:gd name="connsiteX21" fmla="*/ 46272 w 85710"/>
                <a:gd name="connsiteY21" fmla="*/ 17612 h 113397"/>
                <a:gd name="connsiteX22" fmla="*/ 38331 w 85710"/>
                <a:gd name="connsiteY22" fmla="*/ 16991 h 113397"/>
                <a:gd name="connsiteX23" fmla="*/ 20178 w 85710"/>
                <a:gd name="connsiteY23" fmla="*/ 16991 h 113397"/>
                <a:gd name="connsiteX24" fmla="*/ 20178 w 85710"/>
                <a:gd name="connsiteY24" fmla="*/ 48865 h 113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5710" h="113397">
                  <a:moveTo>
                    <a:pt x="0" y="0"/>
                  </a:moveTo>
                  <a:lnTo>
                    <a:pt x="39411" y="0"/>
                  </a:lnTo>
                  <a:cubicBezTo>
                    <a:pt x="44634" y="-5"/>
                    <a:pt x="49842" y="554"/>
                    <a:pt x="54943" y="1675"/>
                  </a:cubicBezTo>
                  <a:cubicBezTo>
                    <a:pt x="59747" y="2677"/>
                    <a:pt x="64325" y="4554"/>
                    <a:pt x="68449" y="7212"/>
                  </a:cubicBezTo>
                  <a:cubicBezTo>
                    <a:pt x="72339" y="9768"/>
                    <a:pt x="75554" y="13225"/>
                    <a:pt x="77823" y="17288"/>
                  </a:cubicBezTo>
                  <a:cubicBezTo>
                    <a:pt x="80291" y="21977"/>
                    <a:pt x="81501" y="27226"/>
                    <a:pt x="81334" y="32523"/>
                  </a:cubicBezTo>
                  <a:cubicBezTo>
                    <a:pt x="81642" y="39862"/>
                    <a:pt x="79151" y="47047"/>
                    <a:pt x="74365" y="52620"/>
                  </a:cubicBezTo>
                  <a:cubicBezTo>
                    <a:pt x="69321" y="58015"/>
                    <a:pt x="62705" y="61683"/>
                    <a:pt x="55456" y="63101"/>
                  </a:cubicBezTo>
                  <a:lnTo>
                    <a:pt x="85710" y="113398"/>
                  </a:lnTo>
                  <a:lnTo>
                    <a:pt x="61399" y="113398"/>
                  </a:lnTo>
                  <a:lnTo>
                    <a:pt x="34873" y="65343"/>
                  </a:lnTo>
                  <a:lnTo>
                    <a:pt x="20178" y="65343"/>
                  </a:lnTo>
                  <a:lnTo>
                    <a:pt x="20178" y="113398"/>
                  </a:lnTo>
                  <a:lnTo>
                    <a:pt x="0" y="113398"/>
                  </a:lnTo>
                  <a:close/>
                  <a:moveTo>
                    <a:pt x="36683" y="48865"/>
                  </a:moveTo>
                  <a:cubicBezTo>
                    <a:pt x="39576" y="48863"/>
                    <a:pt x="42465" y="48647"/>
                    <a:pt x="45327" y="48217"/>
                  </a:cubicBezTo>
                  <a:cubicBezTo>
                    <a:pt x="48035" y="47850"/>
                    <a:pt x="50664" y="47039"/>
                    <a:pt x="53106" y="45813"/>
                  </a:cubicBezTo>
                  <a:cubicBezTo>
                    <a:pt x="55400" y="44646"/>
                    <a:pt x="57354" y="42906"/>
                    <a:pt x="58779" y="40762"/>
                  </a:cubicBezTo>
                  <a:cubicBezTo>
                    <a:pt x="60358" y="38252"/>
                    <a:pt x="61140" y="35324"/>
                    <a:pt x="61021" y="32361"/>
                  </a:cubicBezTo>
                  <a:cubicBezTo>
                    <a:pt x="61133" y="29668"/>
                    <a:pt x="60406" y="27007"/>
                    <a:pt x="58941" y="24743"/>
                  </a:cubicBezTo>
                  <a:cubicBezTo>
                    <a:pt x="57531" y="22769"/>
                    <a:pt x="55681" y="21151"/>
                    <a:pt x="53539" y="20016"/>
                  </a:cubicBezTo>
                  <a:cubicBezTo>
                    <a:pt x="51271" y="18806"/>
                    <a:pt x="48814" y="17993"/>
                    <a:pt x="46272" y="17612"/>
                  </a:cubicBezTo>
                  <a:cubicBezTo>
                    <a:pt x="43644" y="17210"/>
                    <a:pt x="40989" y="17002"/>
                    <a:pt x="38331" y="16991"/>
                  </a:cubicBezTo>
                  <a:lnTo>
                    <a:pt x="20178" y="16991"/>
                  </a:lnTo>
                  <a:lnTo>
                    <a:pt x="20178" y="48865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58" name="Freeform 457">
              <a:extLst>
                <a:ext uri="{FF2B5EF4-FFF2-40B4-BE49-F238E27FC236}">
                  <a16:creationId xmlns:a16="http://schemas.microsoft.com/office/drawing/2014/main" id="{2E3D7723-6186-46FA-1D1F-B69E9A9D4E70}"/>
                </a:ext>
              </a:extLst>
            </p:cNvPr>
            <p:cNvSpPr/>
            <p:nvPr/>
          </p:nvSpPr>
          <p:spPr>
            <a:xfrm>
              <a:off x="5331406" y="4538354"/>
              <a:ext cx="73203" cy="113533"/>
            </a:xfrm>
            <a:custGeom>
              <a:avLst/>
              <a:gdLst>
                <a:gd name="connsiteX0" fmla="*/ 0 w 73203"/>
                <a:gd name="connsiteY0" fmla="*/ 0 h 113533"/>
                <a:gd name="connsiteX1" fmla="*/ 73204 w 73203"/>
                <a:gd name="connsiteY1" fmla="*/ 0 h 113533"/>
                <a:gd name="connsiteX2" fmla="*/ 73204 w 73203"/>
                <a:gd name="connsiteY2" fmla="*/ 17612 h 113533"/>
                <a:gd name="connsiteX3" fmla="*/ 20178 w 73203"/>
                <a:gd name="connsiteY3" fmla="*/ 17612 h 113533"/>
                <a:gd name="connsiteX4" fmla="*/ 20178 w 73203"/>
                <a:gd name="connsiteY4" fmla="*/ 48703 h 113533"/>
                <a:gd name="connsiteX5" fmla="*/ 70151 w 73203"/>
                <a:gd name="connsiteY5" fmla="*/ 48703 h 113533"/>
                <a:gd name="connsiteX6" fmla="*/ 70151 w 73203"/>
                <a:gd name="connsiteY6" fmla="*/ 65802 h 113533"/>
                <a:gd name="connsiteX7" fmla="*/ 20178 w 73203"/>
                <a:gd name="connsiteY7" fmla="*/ 65802 h 113533"/>
                <a:gd name="connsiteX8" fmla="*/ 20178 w 73203"/>
                <a:gd name="connsiteY8" fmla="*/ 113533 h 113533"/>
                <a:gd name="connsiteX9" fmla="*/ 0 w 73203"/>
                <a:gd name="connsiteY9" fmla="*/ 113533 h 113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203" h="113533">
                  <a:moveTo>
                    <a:pt x="0" y="0"/>
                  </a:moveTo>
                  <a:lnTo>
                    <a:pt x="73204" y="0"/>
                  </a:lnTo>
                  <a:lnTo>
                    <a:pt x="73204" y="17612"/>
                  </a:lnTo>
                  <a:lnTo>
                    <a:pt x="20178" y="17612"/>
                  </a:lnTo>
                  <a:lnTo>
                    <a:pt x="20178" y="48703"/>
                  </a:lnTo>
                  <a:lnTo>
                    <a:pt x="70151" y="48703"/>
                  </a:lnTo>
                  <a:lnTo>
                    <a:pt x="70151" y="65802"/>
                  </a:lnTo>
                  <a:lnTo>
                    <a:pt x="20178" y="65802"/>
                  </a:lnTo>
                  <a:lnTo>
                    <a:pt x="20178" y="113533"/>
                  </a:lnTo>
                  <a:lnTo>
                    <a:pt x="0" y="113533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59" name="Freeform 458">
              <a:extLst>
                <a:ext uri="{FF2B5EF4-FFF2-40B4-BE49-F238E27FC236}">
                  <a16:creationId xmlns:a16="http://schemas.microsoft.com/office/drawing/2014/main" id="{87C79616-4A0D-EF18-5959-E88D7FC2BEB4}"/>
                </a:ext>
              </a:extLst>
            </p:cNvPr>
            <p:cNvSpPr/>
            <p:nvPr/>
          </p:nvSpPr>
          <p:spPr>
            <a:xfrm>
              <a:off x="5423194" y="4538354"/>
              <a:ext cx="20178" cy="113451"/>
            </a:xfrm>
            <a:custGeom>
              <a:avLst/>
              <a:gdLst>
                <a:gd name="connsiteX0" fmla="*/ 0 w 20178"/>
                <a:gd name="connsiteY0" fmla="*/ 0 h 113451"/>
                <a:gd name="connsiteX1" fmla="*/ 20178 w 20178"/>
                <a:gd name="connsiteY1" fmla="*/ 0 h 113451"/>
                <a:gd name="connsiteX2" fmla="*/ 20178 w 20178"/>
                <a:gd name="connsiteY2" fmla="*/ 113452 h 113451"/>
                <a:gd name="connsiteX3" fmla="*/ 0 w 20178"/>
                <a:gd name="connsiteY3" fmla="*/ 113452 h 113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178" h="113451">
                  <a:moveTo>
                    <a:pt x="0" y="0"/>
                  </a:moveTo>
                  <a:lnTo>
                    <a:pt x="20178" y="0"/>
                  </a:lnTo>
                  <a:lnTo>
                    <a:pt x="20178" y="113452"/>
                  </a:lnTo>
                  <a:lnTo>
                    <a:pt x="0" y="113452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60" name="Freeform 459">
              <a:extLst>
                <a:ext uri="{FF2B5EF4-FFF2-40B4-BE49-F238E27FC236}">
                  <a16:creationId xmlns:a16="http://schemas.microsoft.com/office/drawing/2014/main" id="{27660378-8F95-19D8-578B-CEFE179295BC}"/>
                </a:ext>
              </a:extLst>
            </p:cNvPr>
            <p:cNvSpPr/>
            <p:nvPr/>
          </p:nvSpPr>
          <p:spPr>
            <a:xfrm>
              <a:off x="5468359" y="4538354"/>
              <a:ext cx="102948" cy="113397"/>
            </a:xfrm>
            <a:custGeom>
              <a:avLst/>
              <a:gdLst>
                <a:gd name="connsiteX0" fmla="*/ 0 w 102948"/>
                <a:gd name="connsiteY0" fmla="*/ 0 h 113397"/>
                <a:gd name="connsiteX1" fmla="*/ 40275 w 102948"/>
                <a:gd name="connsiteY1" fmla="*/ 0 h 113397"/>
                <a:gd name="connsiteX2" fmla="*/ 62561 w 102948"/>
                <a:gd name="connsiteY2" fmla="*/ 2890 h 113397"/>
                <a:gd name="connsiteX3" fmla="*/ 82739 w 102948"/>
                <a:gd name="connsiteY3" fmla="*/ 12426 h 113397"/>
                <a:gd name="connsiteX4" fmla="*/ 97326 w 102948"/>
                <a:gd name="connsiteY4" fmla="*/ 29876 h 113397"/>
                <a:gd name="connsiteX5" fmla="*/ 102917 w 102948"/>
                <a:gd name="connsiteY5" fmla="*/ 56699 h 113397"/>
                <a:gd name="connsiteX6" fmla="*/ 97326 w 102948"/>
                <a:gd name="connsiteY6" fmla="*/ 82334 h 113397"/>
                <a:gd name="connsiteX7" fmla="*/ 82739 w 102948"/>
                <a:gd name="connsiteY7" fmla="*/ 99946 h 113397"/>
                <a:gd name="connsiteX8" fmla="*/ 62561 w 102948"/>
                <a:gd name="connsiteY8" fmla="*/ 110129 h 113397"/>
                <a:gd name="connsiteX9" fmla="*/ 40275 w 102948"/>
                <a:gd name="connsiteY9" fmla="*/ 113398 h 113397"/>
                <a:gd name="connsiteX10" fmla="*/ 0 w 102948"/>
                <a:gd name="connsiteY10" fmla="*/ 113398 h 113397"/>
                <a:gd name="connsiteX11" fmla="*/ 37007 w 102948"/>
                <a:gd name="connsiteY11" fmla="*/ 95786 h 113397"/>
                <a:gd name="connsiteX12" fmla="*/ 52701 w 102948"/>
                <a:gd name="connsiteY12" fmla="*/ 93949 h 113397"/>
                <a:gd name="connsiteX13" fmla="*/ 66883 w 102948"/>
                <a:gd name="connsiteY13" fmla="*/ 87709 h 113397"/>
                <a:gd name="connsiteX14" fmla="*/ 77201 w 102948"/>
                <a:gd name="connsiteY14" fmla="*/ 75770 h 113397"/>
                <a:gd name="connsiteX15" fmla="*/ 81226 w 102948"/>
                <a:gd name="connsiteY15" fmla="*/ 56699 h 113397"/>
                <a:gd name="connsiteX16" fmla="*/ 77201 w 102948"/>
                <a:gd name="connsiteY16" fmla="*/ 36845 h 113397"/>
                <a:gd name="connsiteX17" fmla="*/ 66883 w 102948"/>
                <a:gd name="connsiteY17" fmla="*/ 24824 h 113397"/>
                <a:gd name="connsiteX18" fmla="*/ 52701 w 102948"/>
                <a:gd name="connsiteY18" fmla="*/ 18909 h 113397"/>
                <a:gd name="connsiteX19" fmla="*/ 37007 w 102948"/>
                <a:gd name="connsiteY19" fmla="*/ 17288 h 113397"/>
                <a:gd name="connsiteX20" fmla="*/ 20178 w 102948"/>
                <a:gd name="connsiteY20" fmla="*/ 17288 h 113397"/>
                <a:gd name="connsiteX21" fmla="*/ 20178 w 102948"/>
                <a:gd name="connsiteY21" fmla="*/ 95786 h 113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2948" h="113397">
                  <a:moveTo>
                    <a:pt x="0" y="0"/>
                  </a:moveTo>
                  <a:lnTo>
                    <a:pt x="40275" y="0"/>
                  </a:lnTo>
                  <a:cubicBezTo>
                    <a:pt x="47796" y="24"/>
                    <a:pt x="55284" y="994"/>
                    <a:pt x="62561" y="2890"/>
                  </a:cubicBezTo>
                  <a:cubicBezTo>
                    <a:pt x="69840" y="4730"/>
                    <a:pt x="76696" y="7969"/>
                    <a:pt x="82739" y="12426"/>
                  </a:cubicBezTo>
                  <a:cubicBezTo>
                    <a:pt x="88873" y="17048"/>
                    <a:pt x="93865" y="23017"/>
                    <a:pt x="97326" y="29876"/>
                  </a:cubicBezTo>
                  <a:cubicBezTo>
                    <a:pt x="101304" y="38241"/>
                    <a:pt x="103222" y="47439"/>
                    <a:pt x="102917" y="56699"/>
                  </a:cubicBezTo>
                  <a:cubicBezTo>
                    <a:pt x="103158" y="65570"/>
                    <a:pt x="101237" y="74368"/>
                    <a:pt x="97326" y="82334"/>
                  </a:cubicBezTo>
                  <a:cubicBezTo>
                    <a:pt x="93809" y="89200"/>
                    <a:pt x="88830" y="95213"/>
                    <a:pt x="82739" y="99946"/>
                  </a:cubicBezTo>
                  <a:cubicBezTo>
                    <a:pt x="76702" y="104562"/>
                    <a:pt x="69859" y="108017"/>
                    <a:pt x="62561" y="110129"/>
                  </a:cubicBezTo>
                  <a:cubicBezTo>
                    <a:pt x="55327" y="112277"/>
                    <a:pt x="47823" y="113376"/>
                    <a:pt x="40275" y="113398"/>
                  </a:cubicBezTo>
                  <a:lnTo>
                    <a:pt x="0" y="113398"/>
                  </a:lnTo>
                  <a:close/>
                  <a:moveTo>
                    <a:pt x="37007" y="95786"/>
                  </a:moveTo>
                  <a:cubicBezTo>
                    <a:pt x="42291" y="95772"/>
                    <a:pt x="47558" y="95157"/>
                    <a:pt x="52701" y="93949"/>
                  </a:cubicBezTo>
                  <a:cubicBezTo>
                    <a:pt x="57782" y="92790"/>
                    <a:pt x="62596" y="90672"/>
                    <a:pt x="66883" y="87709"/>
                  </a:cubicBezTo>
                  <a:cubicBezTo>
                    <a:pt x="71229" y="84614"/>
                    <a:pt x="74768" y="80518"/>
                    <a:pt x="77201" y="75770"/>
                  </a:cubicBezTo>
                  <a:cubicBezTo>
                    <a:pt x="80084" y="69838"/>
                    <a:pt x="81464" y="63290"/>
                    <a:pt x="81226" y="56699"/>
                  </a:cubicBezTo>
                  <a:cubicBezTo>
                    <a:pt x="81491" y="49854"/>
                    <a:pt x="80111" y="43047"/>
                    <a:pt x="77201" y="36845"/>
                  </a:cubicBezTo>
                  <a:cubicBezTo>
                    <a:pt x="74808" y="32047"/>
                    <a:pt x="71264" y="27917"/>
                    <a:pt x="66883" y="24824"/>
                  </a:cubicBezTo>
                  <a:cubicBezTo>
                    <a:pt x="62607" y="21907"/>
                    <a:pt x="57782" y="19895"/>
                    <a:pt x="52701" y="18909"/>
                  </a:cubicBezTo>
                  <a:cubicBezTo>
                    <a:pt x="47539" y="17836"/>
                    <a:pt x="42280" y="17293"/>
                    <a:pt x="37007" y="17288"/>
                  </a:cubicBezTo>
                  <a:lnTo>
                    <a:pt x="20178" y="17288"/>
                  </a:lnTo>
                  <a:lnTo>
                    <a:pt x="20178" y="95786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61" name="Graphic 55">
            <a:extLst>
              <a:ext uri="{FF2B5EF4-FFF2-40B4-BE49-F238E27FC236}">
                <a16:creationId xmlns:a16="http://schemas.microsoft.com/office/drawing/2014/main" id="{D5C5B588-B8CD-4092-70A5-2DBCF54BDA90}"/>
              </a:ext>
            </a:extLst>
          </p:cNvPr>
          <p:cNvGrpSpPr/>
          <p:nvPr/>
        </p:nvGrpSpPr>
        <p:grpSpPr>
          <a:xfrm>
            <a:off x="6553305" y="3799046"/>
            <a:ext cx="346402" cy="339013"/>
            <a:chOff x="8734618" y="4178867"/>
            <a:chExt cx="483613" cy="483613"/>
          </a:xfrm>
          <a:solidFill>
            <a:schemeClr val="bg1"/>
          </a:solidFill>
        </p:grpSpPr>
        <p:sp>
          <p:nvSpPr>
            <p:cNvPr id="462" name="Freeform 461">
              <a:extLst>
                <a:ext uri="{FF2B5EF4-FFF2-40B4-BE49-F238E27FC236}">
                  <a16:creationId xmlns:a16="http://schemas.microsoft.com/office/drawing/2014/main" id="{8A45DF66-B4DC-0CFB-4214-1F5909949761}"/>
                </a:ext>
              </a:extLst>
            </p:cNvPr>
            <p:cNvSpPr/>
            <p:nvPr/>
          </p:nvSpPr>
          <p:spPr>
            <a:xfrm>
              <a:off x="8737247" y="4228165"/>
              <a:ext cx="489567" cy="423400"/>
            </a:xfrm>
            <a:custGeom>
              <a:avLst/>
              <a:gdLst>
                <a:gd name="connsiteX0" fmla="*/ 403877 w 489567"/>
                <a:gd name="connsiteY0" fmla="*/ 0 h 423400"/>
                <a:gd name="connsiteX1" fmla="*/ 85660 w 489567"/>
                <a:gd name="connsiteY1" fmla="*/ 0 h 423400"/>
                <a:gd name="connsiteX2" fmla="*/ 0 w 489567"/>
                <a:gd name="connsiteY2" fmla="*/ 85660 h 423400"/>
                <a:gd name="connsiteX3" fmla="*/ 0 w 489567"/>
                <a:gd name="connsiteY3" fmla="*/ 269252 h 423400"/>
                <a:gd name="connsiteX4" fmla="*/ 73449 w 489567"/>
                <a:gd name="connsiteY4" fmla="*/ 354035 h 423400"/>
                <a:gd name="connsiteX5" fmla="*/ 73449 w 489567"/>
                <a:gd name="connsiteY5" fmla="*/ 398799 h 423400"/>
                <a:gd name="connsiteX6" fmla="*/ 97752 w 489567"/>
                <a:gd name="connsiteY6" fmla="*/ 423400 h 423400"/>
                <a:gd name="connsiteX7" fmla="*/ 115251 w 489567"/>
                <a:gd name="connsiteY7" fmla="*/ 416179 h 423400"/>
                <a:gd name="connsiteX8" fmla="*/ 176428 w 489567"/>
                <a:gd name="connsiteY8" fmla="*/ 355002 h 423400"/>
                <a:gd name="connsiteX9" fmla="*/ 403908 w 489567"/>
                <a:gd name="connsiteY9" fmla="*/ 355002 h 423400"/>
                <a:gd name="connsiteX10" fmla="*/ 489568 w 489567"/>
                <a:gd name="connsiteY10" fmla="*/ 269342 h 423400"/>
                <a:gd name="connsiteX11" fmla="*/ 489568 w 489567"/>
                <a:gd name="connsiteY11" fmla="*/ 85660 h 423400"/>
                <a:gd name="connsiteX12" fmla="*/ 403877 w 489567"/>
                <a:gd name="connsiteY12" fmla="*/ 0 h 423400"/>
                <a:gd name="connsiteX13" fmla="*/ 465054 w 489567"/>
                <a:gd name="connsiteY13" fmla="*/ 269252 h 423400"/>
                <a:gd name="connsiteX14" fmla="*/ 403877 w 489567"/>
                <a:gd name="connsiteY14" fmla="*/ 330429 h 423400"/>
                <a:gd name="connsiteX15" fmla="*/ 171350 w 489567"/>
                <a:gd name="connsiteY15" fmla="*/ 330429 h 423400"/>
                <a:gd name="connsiteX16" fmla="*/ 162675 w 489567"/>
                <a:gd name="connsiteY16" fmla="*/ 334025 h 423400"/>
                <a:gd name="connsiteX17" fmla="*/ 97901 w 489567"/>
                <a:gd name="connsiteY17" fmla="*/ 398769 h 423400"/>
                <a:gd name="connsiteX18" fmla="*/ 97901 w 489567"/>
                <a:gd name="connsiteY18" fmla="*/ 342670 h 423400"/>
                <a:gd name="connsiteX19" fmla="*/ 85812 w 489567"/>
                <a:gd name="connsiteY19" fmla="*/ 330580 h 423400"/>
                <a:gd name="connsiteX20" fmla="*/ 85660 w 489567"/>
                <a:gd name="connsiteY20" fmla="*/ 330580 h 423400"/>
                <a:gd name="connsiteX21" fmla="*/ 24574 w 489567"/>
                <a:gd name="connsiteY21" fmla="*/ 269252 h 423400"/>
                <a:gd name="connsiteX22" fmla="*/ 24574 w 489567"/>
                <a:gd name="connsiteY22" fmla="*/ 85660 h 423400"/>
                <a:gd name="connsiteX23" fmla="*/ 85660 w 489567"/>
                <a:gd name="connsiteY23" fmla="*/ 24483 h 423400"/>
                <a:gd name="connsiteX24" fmla="*/ 403877 w 489567"/>
                <a:gd name="connsiteY24" fmla="*/ 24483 h 423400"/>
                <a:gd name="connsiteX25" fmla="*/ 465054 w 489567"/>
                <a:gd name="connsiteY25" fmla="*/ 85660 h 42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89567" h="423400">
                  <a:moveTo>
                    <a:pt x="403877" y="0"/>
                  </a:moveTo>
                  <a:lnTo>
                    <a:pt x="85660" y="0"/>
                  </a:lnTo>
                  <a:cubicBezTo>
                    <a:pt x="38372" y="50"/>
                    <a:pt x="50" y="38372"/>
                    <a:pt x="0" y="85660"/>
                  </a:cubicBezTo>
                  <a:lnTo>
                    <a:pt x="0" y="269252"/>
                  </a:lnTo>
                  <a:cubicBezTo>
                    <a:pt x="66" y="311819"/>
                    <a:pt x="31326" y="347902"/>
                    <a:pt x="73449" y="354035"/>
                  </a:cubicBezTo>
                  <a:lnTo>
                    <a:pt x="73449" y="398799"/>
                  </a:lnTo>
                  <a:cubicBezTo>
                    <a:pt x="73367" y="412304"/>
                    <a:pt x="84248" y="423319"/>
                    <a:pt x="97752" y="423400"/>
                  </a:cubicBezTo>
                  <a:cubicBezTo>
                    <a:pt x="104318" y="423439"/>
                    <a:pt x="110624" y="420837"/>
                    <a:pt x="115251" y="416179"/>
                  </a:cubicBezTo>
                  <a:lnTo>
                    <a:pt x="176428" y="355002"/>
                  </a:lnTo>
                  <a:lnTo>
                    <a:pt x="403908" y="355002"/>
                  </a:lnTo>
                  <a:cubicBezTo>
                    <a:pt x="451196" y="354951"/>
                    <a:pt x="489516" y="316631"/>
                    <a:pt x="489568" y="269342"/>
                  </a:cubicBezTo>
                  <a:lnTo>
                    <a:pt x="489568" y="85660"/>
                  </a:lnTo>
                  <a:cubicBezTo>
                    <a:pt x="489516" y="38360"/>
                    <a:pt x="451178" y="33"/>
                    <a:pt x="403877" y="0"/>
                  </a:cubicBezTo>
                  <a:close/>
                  <a:moveTo>
                    <a:pt x="465054" y="269252"/>
                  </a:moveTo>
                  <a:cubicBezTo>
                    <a:pt x="465021" y="303026"/>
                    <a:pt x="437652" y="330395"/>
                    <a:pt x="403877" y="330429"/>
                  </a:cubicBezTo>
                  <a:lnTo>
                    <a:pt x="171350" y="330429"/>
                  </a:lnTo>
                  <a:cubicBezTo>
                    <a:pt x="168096" y="330429"/>
                    <a:pt x="164976" y="331722"/>
                    <a:pt x="162675" y="334025"/>
                  </a:cubicBezTo>
                  <a:lnTo>
                    <a:pt x="97901" y="398769"/>
                  </a:lnTo>
                  <a:lnTo>
                    <a:pt x="97901" y="342670"/>
                  </a:lnTo>
                  <a:cubicBezTo>
                    <a:pt x="97902" y="335993"/>
                    <a:pt x="92489" y="330580"/>
                    <a:pt x="85812" y="330580"/>
                  </a:cubicBezTo>
                  <a:cubicBezTo>
                    <a:pt x="85761" y="330580"/>
                    <a:pt x="85711" y="330580"/>
                    <a:pt x="85660" y="330580"/>
                  </a:cubicBezTo>
                  <a:cubicBezTo>
                    <a:pt x="51863" y="330495"/>
                    <a:pt x="24523" y="303050"/>
                    <a:pt x="24574" y="269252"/>
                  </a:cubicBezTo>
                  <a:lnTo>
                    <a:pt x="24574" y="85660"/>
                  </a:lnTo>
                  <a:cubicBezTo>
                    <a:pt x="24607" y="51922"/>
                    <a:pt x="51922" y="24566"/>
                    <a:pt x="85660" y="24483"/>
                  </a:cubicBezTo>
                  <a:lnTo>
                    <a:pt x="403877" y="24483"/>
                  </a:lnTo>
                  <a:cubicBezTo>
                    <a:pt x="437652" y="24516"/>
                    <a:pt x="465021" y="51887"/>
                    <a:pt x="465054" y="85660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63" name="Freeform 462">
              <a:extLst>
                <a:ext uri="{FF2B5EF4-FFF2-40B4-BE49-F238E27FC236}">
                  <a16:creationId xmlns:a16="http://schemas.microsoft.com/office/drawing/2014/main" id="{CA2F361F-5501-B875-9445-0ADBC7A8E855}"/>
                </a:ext>
              </a:extLst>
            </p:cNvPr>
            <p:cNvSpPr/>
            <p:nvPr/>
          </p:nvSpPr>
          <p:spPr>
            <a:xfrm>
              <a:off x="8775392" y="4326973"/>
              <a:ext cx="101006" cy="150132"/>
            </a:xfrm>
            <a:custGeom>
              <a:avLst/>
              <a:gdLst>
                <a:gd name="connsiteX0" fmla="*/ 83544 w 101006"/>
                <a:gd name="connsiteY0" fmla="*/ 33490 h 150132"/>
                <a:gd name="connsiteX1" fmla="*/ 72149 w 101006"/>
                <a:gd name="connsiteY1" fmla="*/ 24725 h 150132"/>
                <a:gd name="connsiteX2" fmla="*/ 57308 w 101006"/>
                <a:gd name="connsiteY2" fmla="*/ 21158 h 150132"/>
                <a:gd name="connsiteX3" fmla="*/ 48452 w 101006"/>
                <a:gd name="connsiteY3" fmla="*/ 22276 h 150132"/>
                <a:gd name="connsiteX4" fmla="*/ 40382 w 101006"/>
                <a:gd name="connsiteY4" fmla="*/ 25722 h 150132"/>
                <a:gd name="connsiteX5" fmla="*/ 34337 w 101006"/>
                <a:gd name="connsiteY5" fmla="*/ 31767 h 150132"/>
                <a:gd name="connsiteX6" fmla="*/ 32039 w 101006"/>
                <a:gd name="connsiteY6" fmla="*/ 40835 h 150132"/>
                <a:gd name="connsiteX7" fmla="*/ 34034 w 101006"/>
                <a:gd name="connsiteY7" fmla="*/ 49117 h 150132"/>
                <a:gd name="connsiteX8" fmla="*/ 39596 w 101006"/>
                <a:gd name="connsiteY8" fmla="*/ 54951 h 150132"/>
                <a:gd name="connsiteX9" fmla="*/ 48180 w 101006"/>
                <a:gd name="connsiteY9" fmla="*/ 59182 h 150132"/>
                <a:gd name="connsiteX10" fmla="*/ 59243 w 101006"/>
                <a:gd name="connsiteY10" fmla="*/ 62809 h 150132"/>
                <a:gd name="connsiteX11" fmla="*/ 73479 w 101006"/>
                <a:gd name="connsiteY11" fmla="*/ 67857 h 150132"/>
                <a:gd name="connsiteX12" fmla="*/ 86990 w 101006"/>
                <a:gd name="connsiteY12" fmla="*/ 75323 h 150132"/>
                <a:gd name="connsiteX13" fmla="*/ 97055 w 101006"/>
                <a:gd name="connsiteY13" fmla="*/ 87020 h 150132"/>
                <a:gd name="connsiteX14" fmla="*/ 100984 w 101006"/>
                <a:gd name="connsiteY14" fmla="*/ 104551 h 150132"/>
                <a:gd name="connsiteX15" fmla="*/ 96753 w 101006"/>
                <a:gd name="connsiteY15" fmla="*/ 124621 h 150132"/>
                <a:gd name="connsiteX16" fmla="*/ 85448 w 101006"/>
                <a:gd name="connsiteY16" fmla="*/ 138827 h 150132"/>
                <a:gd name="connsiteX17" fmla="*/ 68945 w 101006"/>
                <a:gd name="connsiteY17" fmla="*/ 147321 h 150132"/>
                <a:gd name="connsiteX18" fmla="*/ 48966 w 101006"/>
                <a:gd name="connsiteY18" fmla="*/ 150132 h 150132"/>
                <a:gd name="connsiteX19" fmla="*/ 21763 w 101006"/>
                <a:gd name="connsiteY19" fmla="*/ 144993 h 150132"/>
                <a:gd name="connsiteX20" fmla="*/ 0 w 101006"/>
                <a:gd name="connsiteY20" fmla="*/ 129880 h 150132"/>
                <a:gd name="connsiteX21" fmla="*/ 18135 w 101006"/>
                <a:gd name="connsiteY21" fmla="*/ 112954 h 150132"/>
                <a:gd name="connsiteX22" fmla="*/ 32160 w 101006"/>
                <a:gd name="connsiteY22" fmla="*/ 124440 h 150132"/>
                <a:gd name="connsiteX23" fmla="*/ 58457 w 101006"/>
                <a:gd name="connsiteY23" fmla="*/ 127462 h 150132"/>
                <a:gd name="connsiteX24" fmla="*/ 66829 w 101006"/>
                <a:gd name="connsiteY24" fmla="*/ 123714 h 150132"/>
                <a:gd name="connsiteX25" fmla="*/ 72874 w 101006"/>
                <a:gd name="connsiteY25" fmla="*/ 117155 h 150132"/>
                <a:gd name="connsiteX26" fmla="*/ 75172 w 101006"/>
                <a:gd name="connsiteY26" fmla="*/ 107392 h 150132"/>
                <a:gd name="connsiteX27" fmla="*/ 72572 w 101006"/>
                <a:gd name="connsiteY27" fmla="*/ 98022 h 150132"/>
                <a:gd name="connsiteX28" fmla="*/ 65499 w 101006"/>
                <a:gd name="connsiteY28" fmla="*/ 91554 h 150132"/>
                <a:gd name="connsiteX29" fmla="*/ 55011 w 101006"/>
                <a:gd name="connsiteY29" fmla="*/ 86809 h 150132"/>
                <a:gd name="connsiteX30" fmla="*/ 42316 w 101006"/>
                <a:gd name="connsiteY30" fmla="*/ 82577 h 150132"/>
                <a:gd name="connsiteX31" fmla="*/ 29410 w 101006"/>
                <a:gd name="connsiteY31" fmla="*/ 77741 h 150132"/>
                <a:gd name="connsiteX32" fmla="*/ 17833 w 101006"/>
                <a:gd name="connsiteY32" fmla="*/ 70305 h 150132"/>
                <a:gd name="connsiteX33" fmla="*/ 9461 w 101006"/>
                <a:gd name="connsiteY33" fmla="*/ 58910 h 150132"/>
                <a:gd name="connsiteX34" fmla="*/ 6227 w 101006"/>
                <a:gd name="connsiteY34" fmla="*/ 42044 h 150132"/>
                <a:gd name="connsiteX35" fmla="*/ 10760 w 101006"/>
                <a:gd name="connsiteY35" fmla="*/ 23304 h 150132"/>
                <a:gd name="connsiteX36" fmla="*/ 22669 w 101006"/>
                <a:gd name="connsiteY36" fmla="*/ 10307 h 150132"/>
                <a:gd name="connsiteX37" fmla="*/ 39414 w 101006"/>
                <a:gd name="connsiteY37" fmla="*/ 2630 h 150132"/>
                <a:gd name="connsiteX38" fmla="*/ 58517 w 101006"/>
                <a:gd name="connsiteY38" fmla="*/ 0 h 150132"/>
                <a:gd name="connsiteX39" fmla="*/ 80612 w 101006"/>
                <a:gd name="connsiteY39" fmla="*/ 3839 h 150132"/>
                <a:gd name="connsiteX40" fmla="*/ 100078 w 101006"/>
                <a:gd name="connsiteY40" fmla="*/ 15324 h 15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01006" h="150132">
                  <a:moveTo>
                    <a:pt x="83544" y="33490"/>
                  </a:moveTo>
                  <a:cubicBezTo>
                    <a:pt x="80480" y="29721"/>
                    <a:pt x="76578" y="26719"/>
                    <a:pt x="72149" y="24725"/>
                  </a:cubicBezTo>
                  <a:cubicBezTo>
                    <a:pt x="67532" y="22438"/>
                    <a:pt x="62460" y="21219"/>
                    <a:pt x="57308" y="21158"/>
                  </a:cubicBezTo>
                  <a:cubicBezTo>
                    <a:pt x="54322" y="21172"/>
                    <a:pt x="51348" y="21548"/>
                    <a:pt x="48452" y="22276"/>
                  </a:cubicBezTo>
                  <a:cubicBezTo>
                    <a:pt x="45595" y="22987"/>
                    <a:pt x="42870" y="24150"/>
                    <a:pt x="40382" y="25722"/>
                  </a:cubicBezTo>
                  <a:cubicBezTo>
                    <a:pt x="37932" y="27250"/>
                    <a:pt x="35865" y="29318"/>
                    <a:pt x="34337" y="31767"/>
                  </a:cubicBezTo>
                  <a:cubicBezTo>
                    <a:pt x="32719" y="34508"/>
                    <a:pt x="31921" y="37655"/>
                    <a:pt x="32039" y="40835"/>
                  </a:cubicBezTo>
                  <a:cubicBezTo>
                    <a:pt x="31955" y="43724"/>
                    <a:pt x="32644" y="46583"/>
                    <a:pt x="34034" y="49117"/>
                  </a:cubicBezTo>
                  <a:cubicBezTo>
                    <a:pt x="35427" y="51454"/>
                    <a:pt x="37328" y="53448"/>
                    <a:pt x="39596" y="54951"/>
                  </a:cubicBezTo>
                  <a:cubicBezTo>
                    <a:pt x="42263" y="56724"/>
                    <a:pt x="45149" y="58147"/>
                    <a:pt x="48180" y="59182"/>
                  </a:cubicBezTo>
                  <a:cubicBezTo>
                    <a:pt x="51525" y="60391"/>
                    <a:pt x="55213" y="61600"/>
                    <a:pt x="59243" y="62809"/>
                  </a:cubicBezTo>
                  <a:cubicBezTo>
                    <a:pt x="63837" y="64290"/>
                    <a:pt x="68552" y="65983"/>
                    <a:pt x="73479" y="67857"/>
                  </a:cubicBezTo>
                  <a:cubicBezTo>
                    <a:pt x="78303" y="69716"/>
                    <a:pt x="82849" y="72228"/>
                    <a:pt x="86990" y="75323"/>
                  </a:cubicBezTo>
                  <a:cubicBezTo>
                    <a:pt x="91129" y="78472"/>
                    <a:pt x="94559" y="82457"/>
                    <a:pt x="97055" y="87020"/>
                  </a:cubicBezTo>
                  <a:cubicBezTo>
                    <a:pt x="99844" y="92431"/>
                    <a:pt x="101198" y="98467"/>
                    <a:pt x="100984" y="104551"/>
                  </a:cubicBezTo>
                  <a:cubicBezTo>
                    <a:pt x="101141" y="111478"/>
                    <a:pt x="99693" y="118347"/>
                    <a:pt x="96753" y="124621"/>
                  </a:cubicBezTo>
                  <a:cubicBezTo>
                    <a:pt x="94084" y="130135"/>
                    <a:pt x="90223" y="134988"/>
                    <a:pt x="85448" y="138827"/>
                  </a:cubicBezTo>
                  <a:cubicBezTo>
                    <a:pt x="80552" y="142705"/>
                    <a:pt x="74946" y="145590"/>
                    <a:pt x="68945" y="147321"/>
                  </a:cubicBezTo>
                  <a:cubicBezTo>
                    <a:pt x="62456" y="149218"/>
                    <a:pt x="55726" y="150164"/>
                    <a:pt x="48966" y="150132"/>
                  </a:cubicBezTo>
                  <a:cubicBezTo>
                    <a:pt x="39657" y="150130"/>
                    <a:pt x="30431" y="148387"/>
                    <a:pt x="21763" y="144993"/>
                  </a:cubicBezTo>
                  <a:cubicBezTo>
                    <a:pt x="13339" y="141892"/>
                    <a:pt x="5848" y="136690"/>
                    <a:pt x="0" y="129880"/>
                  </a:cubicBezTo>
                  <a:lnTo>
                    <a:pt x="18135" y="112954"/>
                  </a:lnTo>
                  <a:cubicBezTo>
                    <a:pt x="21773" y="117899"/>
                    <a:pt x="26595" y="121849"/>
                    <a:pt x="32160" y="124440"/>
                  </a:cubicBezTo>
                  <a:cubicBezTo>
                    <a:pt x="40269" y="128604"/>
                    <a:pt x="49615" y="129678"/>
                    <a:pt x="58457" y="127462"/>
                  </a:cubicBezTo>
                  <a:cubicBezTo>
                    <a:pt x="61461" y="126759"/>
                    <a:pt x="64303" y="125486"/>
                    <a:pt x="66829" y="123714"/>
                  </a:cubicBezTo>
                  <a:cubicBezTo>
                    <a:pt x="69288" y="121982"/>
                    <a:pt x="71348" y="119746"/>
                    <a:pt x="72874" y="117155"/>
                  </a:cubicBezTo>
                  <a:cubicBezTo>
                    <a:pt x="74501" y="114166"/>
                    <a:pt x="75295" y="110794"/>
                    <a:pt x="75172" y="107392"/>
                  </a:cubicBezTo>
                  <a:cubicBezTo>
                    <a:pt x="75311" y="104074"/>
                    <a:pt x="74402" y="100795"/>
                    <a:pt x="72572" y="98022"/>
                  </a:cubicBezTo>
                  <a:cubicBezTo>
                    <a:pt x="70689" y="95399"/>
                    <a:pt x="68280" y="93196"/>
                    <a:pt x="65499" y="91554"/>
                  </a:cubicBezTo>
                  <a:cubicBezTo>
                    <a:pt x="62192" y="89584"/>
                    <a:pt x="58674" y="87992"/>
                    <a:pt x="55011" y="86809"/>
                  </a:cubicBezTo>
                  <a:lnTo>
                    <a:pt x="42316" y="82577"/>
                  </a:lnTo>
                  <a:cubicBezTo>
                    <a:pt x="37925" y="81213"/>
                    <a:pt x="33616" y="79598"/>
                    <a:pt x="29410" y="77741"/>
                  </a:cubicBezTo>
                  <a:cubicBezTo>
                    <a:pt x="25173" y="75906"/>
                    <a:pt x="21264" y="73395"/>
                    <a:pt x="17833" y="70305"/>
                  </a:cubicBezTo>
                  <a:cubicBezTo>
                    <a:pt x="14316" y="67098"/>
                    <a:pt x="11470" y="63225"/>
                    <a:pt x="9461" y="58910"/>
                  </a:cubicBezTo>
                  <a:cubicBezTo>
                    <a:pt x="7152" y="53595"/>
                    <a:pt x="6048" y="47836"/>
                    <a:pt x="6227" y="42044"/>
                  </a:cubicBezTo>
                  <a:cubicBezTo>
                    <a:pt x="6052" y="35506"/>
                    <a:pt x="7617" y="29039"/>
                    <a:pt x="10760" y="23304"/>
                  </a:cubicBezTo>
                  <a:cubicBezTo>
                    <a:pt x="13711" y="18138"/>
                    <a:pt x="17780" y="13697"/>
                    <a:pt x="22669" y="10307"/>
                  </a:cubicBezTo>
                  <a:cubicBezTo>
                    <a:pt x="27751" y="6774"/>
                    <a:pt x="33421" y="4175"/>
                    <a:pt x="39414" y="2630"/>
                  </a:cubicBezTo>
                  <a:cubicBezTo>
                    <a:pt x="45639" y="917"/>
                    <a:pt x="52062" y="33"/>
                    <a:pt x="58517" y="0"/>
                  </a:cubicBezTo>
                  <a:cubicBezTo>
                    <a:pt x="66045" y="38"/>
                    <a:pt x="73513" y="1336"/>
                    <a:pt x="80612" y="3839"/>
                  </a:cubicBezTo>
                  <a:cubicBezTo>
                    <a:pt x="87840" y="6248"/>
                    <a:pt x="94474" y="10162"/>
                    <a:pt x="100078" y="15324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64" name="Freeform 463">
              <a:extLst>
                <a:ext uri="{FF2B5EF4-FFF2-40B4-BE49-F238E27FC236}">
                  <a16:creationId xmlns:a16="http://schemas.microsoft.com/office/drawing/2014/main" id="{8D934208-7449-1C4F-1406-01BCF68B25C1}"/>
                </a:ext>
              </a:extLst>
            </p:cNvPr>
            <p:cNvSpPr/>
            <p:nvPr/>
          </p:nvSpPr>
          <p:spPr>
            <a:xfrm>
              <a:off x="8901887" y="4330630"/>
              <a:ext cx="154060" cy="142756"/>
            </a:xfrm>
            <a:custGeom>
              <a:avLst/>
              <a:gdLst>
                <a:gd name="connsiteX0" fmla="*/ 0 w 154060"/>
                <a:gd name="connsiteY0" fmla="*/ 0 h 142756"/>
                <a:gd name="connsiteX1" fmla="*/ 39717 w 154060"/>
                <a:gd name="connsiteY1" fmla="*/ 0 h 142756"/>
                <a:gd name="connsiteX2" fmla="*/ 76804 w 154060"/>
                <a:gd name="connsiteY2" fmla="*/ 101408 h 142756"/>
                <a:gd name="connsiteX3" fmla="*/ 77559 w 154060"/>
                <a:gd name="connsiteY3" fmla="*/ 101408 h 142756"/>
                <a:gd name="connsiteX4" fmla="*/ 114133 w 154060"/>
                <a:gd name="connsiteY4" fmla="*/ 0 h 142756"/>
                <a:gd name="connsiteX5" fmla="*/ 154061 w 154060"/>
                <a:gd name="connsiteY5" fmla="*/ 0 h 142756"/>
                <a:gd name="connsiteX6" fmla="*/ 154061 w 154060"/>
                <a:gd name="connsiteY6" fmla="*/ 142757 h 142756"/>
                <a:gd name="connsiteX7" fmla="*/ 128943 w 154060"/>
                <a:gd name="connsiteY7" fmla="*/ 142757 h 142756"/>
                <a:gd name="connsiteX8" fmla="*/ 128943 w 154060"/>
                <a:gd name="connsiteY8" fmla="*/ 27898 h 142756"/>
                <a:gd name="connsiteX9" fmla="*/ 128429 w 154060"/>
                <a:gd name="connsiteY9" fmla="*/ 27898 h 142756"/>
                <a:gd name="connsiteX10" fmla="*/ 85086 w 154060"/>
                <a:gd name="connsiteY10" fmla="*/ 142757 h 142756"/>
                <a:gd name="connsiteX11" fmla="*/ 67313 w 154060"/>
                <a:gd name="connsiteY11" fmla="*/ 142757 h 142756"/>
                <a:gd name="connsiteX12" fmla="*/ 24574 w 154060"/>
                <a:gd name="connsiteY12" fmla="*/ 27898 h 142756"/>
                <a:gd name="connsiteX13" fmla="*/ 24181 w 154060"/>
                <a:gd name="connsiteY13" fmla="*/ 27898 h 142756"/>
                <a:gd name="connsiteX14" fmla="*/ 24181 w 154060"/>
                <a:gd name="connsiteY14" fmla="*/ 142757 h 142756"/>
                <a:gd name="connsiteX15" fmla="*/ 0 w 154060"/>
                <a:gd name="connsiteY15" fmla="*/ 142757 h 142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4060" h="142756">
                  <a:moveTo>
                    <a:pt x="0" y="0"/>
                  </a:moveTo>
                  <a:lnTo>
                    <a:pt x="39717" y="0"/>
                  </a:lnTo>
                  <a:lnTo>
                    <a:pt x="76804" y="101408"/>
                  </a:lnTo>
                  <a:lnTo>
                    <a:pt x="77559" y="101408"/>
                  </a:lnTo>
                  <a:lnTo>
                    <a:pt x="114133" y="0"/>
                  </a:lnTo>
                  <a:lnTo>
                    <a:pt x="154061" y="0"/>
                  </a:lnTo>
                  <a:lnTo>
                    <a:pt x="154061" y="142757"/>
                  </a:lnTo>
                  <a:lnTo>
                    <a:pt x="128943" y="142757"/>
                  </a:lnTo>
                  <a:lnTo>
                    <a:pt x="128943" y="27898"/>
                  </a:lnTo>
                  <a:lnTo>
                    <a:pt x="128429" y="27898"/>
                  </a:lnTo>
                  <a:lnTo>
                    <a:pt x="85086" y="142757"/>
                  </a:lnTo>
                  <a:lnTo>
                    <a:pt x="67313" y="142757"/>
                  </a:lnTo>
                  <a:lnTo>
                    <a:pt x="24574" y="27898"/>
                  </a:lnTo>
                  <a:lnTo>
                    <a:pt x="24181" y="27898"/>
                  </a:lnTo>
                  <a:lnTo>
                    <a:pt x="24181" y="142757"/>
                  </a:lnTo>
                  <a:lnTo>
                    <a:pt x="0" y="142757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65" name="Freeform 464">
              <a:extLst>
                <a:ext uri="{FF2B5EF4-FFF2-40B4-BE49-F238E27FC236}">
                  <a16:creationId xmlns:a16="http://schemas.microsoft.com/office/drawing/2014/main" id="{9D2DAFAE-D62F-524E-156D-DFC174ABF2AF}"/>
                </a:ext>
              </a:extLst>
            </p:cNvPr>
            <p:cNvSpPr/>
            <p:nvPr/>
          </p:nvSpPr>
          <p:spPr>
            <a:xfrm>
              <a:off x="9076623" y="4327245"/>
              <a:ext cx="101005" cy="149890"/>
            </a:xfrm>
            <a:custGeom>
              <a:avLst/>
              <a:gdLst>
                <a:gd name="connsiteX0" fmla="*/ 83544 w 101005"/>
                <a:gd name="connsiteY0" fmla="*/ 33218 h 149890"/>
                <a:gd name="connsiteX1" fmla="*/ 72119 w 101005"/>
                <a:gd name="connsiteY1" fmla="*/ 24453 h 149890"/>
                <a:gd name="connsiteX2" fmla="*/ 57308 w 101005"/>
                <a:gd name="connsiteY2" fmla="*/ 20916 h 149890"/>
                <a:gd name="connsiteX3" fmla="*/ 48452 w 101005"/>
                <a:gd name="connsiteY3" fmla="*/ 22035 h 149890"/>
                <a:gd name="connsiteX4" fmla="*/ 40382 w 101005"/>
                <a:gd name="connsiteY4" fmla="*/ 25480 h 149890"/>
                <a:gd name="connsiteX5" fmla="*/ 34337 w 101005"/>
                <a:gd name="connsiteY5" fmla="*/ 31526 h 149890"/>
                <a:gd name="connsiteX6" fmla="*/ 32039 w 101005"/>
                <a:gd name="connsiteY6" fmla="*/ 40593 h 149890"/>
                <a:gd name="connsiteX7" fmla="*/ 34034 w 101005"/>
                <a:gd name="connsiteY7" fmla="*/ 48875 h 149890"/>
                <a:gd name="connsiteX8" fmla="*/ 39596 w 101005"/>
                <a:gd name="connsiteY8" fmla="*/ 54709 h 149890"/>
                <a:gd name="connsiteX9" fmla="*/ 48150 w 101005"/>
                <a:gd name="connsiteY9" fmla="*/ 58940 h 149890"/>
                <a:gd name="connsiteX10" fmla="*/ 59243 w 101005"/>
                <a:gd name="connsiteY10" fmla="*/ 62567 h 149890"/>
                <a:gd name="connsiteX11" fmla="*/ 73479 w 101005"/>
                <a:gd name="connsiteY11" fmla="*/ 67615 h 149890"/>
                <a:gd name="connsiteX12" fmla="*/ 86990 w 101005"/>
                <a:gd name="connsiteY12" fmla="*/ 75081 h 149890"/>
                <a:gd name="connsiteX13" fmla="*/ 97055 w 101005"/>
                <a:gd name="connsiteY13" fmla="*/ 86778 h 149890"/>
                <a:gd name="connsiteX14" fmla="*/ 100984 w 101005"/>
                <a:gd name="connsiteY14" fmla="*/ 104309 h 149890"/>
                <a:gd name="connsiteX15" fmla="*/ 96753 w 101005"/>
                <a:gd name="connsiteY15" fmla="*/ 124379 h 149890"/>
                <a:gd name="connsiteX16" fmla="*/ 85448 w 101005"/>
                <a:gd name="connsiteY16" fmla="*/ 138585 h 149890"/>
                <a:gd name="connsiteX17" fmla="*/ 68915 w 101005"/>
                <a:gd name="connsiteY17" fmla="*/ 147079 h 149890"/>
                <a:gd name="connsiteX18" fmla="*/ 48966 w 101005"/>
                <a:gd name="connsiteY18" fmla="*/ 149890 h 149890"/>
                <a:gd name="connsiteX19" fmla="*/ 21763 w 101005"/>
                <a:gd name="connsiteY19" fmla="*/ 144751 h 149890"/>
                <a:gd name="connsiteX20" fmla="*/ 0 w 101005"/>
                <a:gd name="connsiteY20" fmla="*/ 129639 h 149890"/>
                <a:gd name="connsiteX21" fmla="*/ 18136 w 101005"/>
                <a:gd name="connsiteY21" fmla="*/ 112712 h 149890"/>
                <a:gd name="connsiteX22" fmla="*/ 32160 w 101005"/>
                <a:gd name="connsiteY22" fmla="*/ 124198 h 149890"/>
                <a:gd name="connsiteX23" fmla="*/ 49389 w 101005"/>
                <a:gd name="connsiteY23" fmla="*/ 128429 h 149890"/>
                <a:gd name="connsiteX24" fmla="*/ 58457 w 101005"/>
                <a:gd name="connsiteY24" fmla="*/ 127341 h 149890"/>
                <a:gd name="connsiteX25" fmla="*/ 66829 w 101005"/>
                <a:gd name="connsiteY25" fmla="*/ 123593 h 149890"/>
                <a:gd name="connsiteX26" fmla="*/ 72874 w 101005"/>
                <a:gd name="connsiteY26" fmla="*/ 117034 h 149890"/>
                <a:gd name="connsiteX27" fmla="*/ 75202 w 101005"/>
                <a:gd name="connsiteY27" fmla="*/ 107271 h 149890"/>
                <a:gd name="connsiteX28" fmla="*/ 72602 w 101005"/>
                <a:gd name="connsiteY28" fmla="*/ 97901 h 149890"/>
                <a:gd name="connsiteX29" fmla="*/ 65530 w 101005"/>
                <a:gd name="connsiteY29" fmla="*/ 91433 h 149890"/>
                <a:gd name="connsiteX30" fmla="*/ 55041 w 101005"/>
                <a:gd name="connsiteY30" fmla="*/ 86688 h 149890"/>
                <a:gd name="connsiteX31" fmla="*/ 42346 w 101005"/>
                <a:gd name="connsiteY31" fmla="*/ 82456 h 149890"/>
                <a:gd name="connsiteX32" fmla="*/ 29440 w 101005"/>
                <a:gd name="connsiteY32" fmla="*/ 77620 h 149890"/>
                <a:gd name="connsiteX33" fmla="*/ 17833 w 101005"/>
                <a:gd name="connsiteY33" fmla="*/ 70184 h 149890"/>
                <a:gd name="connsiteX34" fmla="*/ 9461 w 101005"/>
                <a:gd name="connsiteY34" fmla="*/ 58789 h 149890"/>
                <a:gd name="connsiteX35" fmla="*/ 6227 w 101005"/>
                <a:gd name="connsiteY35" fmla="*/ 41923 h 149890"/>
                <a:gd name="connsiteX36" fmla="*/ 10791 w 101005"/>
                <a:gd name="connsiteY36" fmla="*/ 23183 h 149890"/>
                <a:gd name="connsiteX37" fmla="*/ 22669 w 101005"/>
                <a:gd name="connsiteY37" fmla="*/ 10186 h 149890"/>
                <a:gd name="connsiteX38" fmla="*/ 39414 w 101005"/>
                <a:gd name="connsiteY38" fmla="*/ 2509 h 149890"/>
                <a:gd name="connsiteX39" fmla="*/ 58457 w 101005"/>
                <a:gd name="connsiteY39" fmla="*/ 0 h 149890"/>
                <a:gd name="connsiteX40" fmla="*/ 80552 w 101005"/>
                <a:gd name="connsiteY40" fmla="*/ 3839 h 149890"/>
                <a:gd name="connsiteX41" fmla="*/ 99987 w 101005"/>
                <a:gd name="connsiteY41" fmla="*/ 15324 h 149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01005" h="149890">
                  <a:moveTo>
                    <a:pt x="83544" y="33218"/>
                  </a:moveTo>
                  <a:cubicBezTo>
                    <a:pt x="80473" y="29442"/>
                    <a:pt x="76562" y="26439"/>
                    <a:pt x="72119" y="24453"/>
                  </a:cubicBezTo>
                  <a:cubicBezTo>
                    <a:pt x="67512" y="22173"/>
                    <a:pt x="62450" y="20965"/>
                    <a:pt x="57308" y="20916"/>
                  </a:cubicBezTo>
                  <a:cubicBezTo>
                    <a:pt x="54322" y="20930"/>
                    <a:pt x="51348" y="21306"/>
                    <a:pt x="48452" y="22035"/>
                  </a:cubicBezTo>
                  <a:cubicBezTo>
                    <a:pt x="45596" y="22745"/>
                    <a:pt x="42869" y="23908"/>
                    <a:pt x="40382" y="25480"/>
                  </a:cubicBezTo>
                  <a:cubicBezTo>
                    <a:pt x="37924" y="27000"/>
                    <a:pt x="35857" y="29070"/>
                    <a:pt x="34337" y="31526"/>
                  </a:cubicBezTo>
                  <a:cubicBezTo>
                    <a:pt x="32719" y="34266"/>
                    <a:pt x="31922" y="37413"/>
                    <a:pt x="32039" y="40593"/>
                  </a:cubicBezTo>
                  <a:cubicBezTo>
                    <a:pt x="31955" y="43482"/>
                    <a:pt x="32644" y="46341"/>
                    <a:pt x="34034" y="48875"/>
                  </a:cubicBezTo>
                  <a:cubicBezTo>
                    <a:pt x="35422" y="51217"/>
                    <a:pt x="37323" y="53212"/>
                    <a:pt x="39596" y="54709"/>
                  </a:cubicBezTo>
                  <a:cubicBezTo>
                    <a:pt x="42253" y="56483"/>
                    <a:pt x="45127" y="57905"/>
                    <a:pt x="48150" y="58940"/>
                  </a:cubicBezTo>
                  <a:cubicBezTo>
                    <a:pt x="51505" y="60149"/>
                    <a:pt x="55223" y="61358"/>
                    <a:pt x="59243" y="62567"/>
                  </a:cubicBezTo>
                  <a:cubicBezTo>
                    <a:pt x="63798" y="64058"/>
                    <a:pt x="68543" y="65741"/>
                    <a:pt x="73479" y="67615"/>
                  </a:cubicBezTo>
                  <a:cubicBezTo>
                    <a:pt x="78300" y="69481"/>
                    <a:pt x="82846" y="71992"/>
                    <a:pt x="86990" y="75081"/>
                  </a:cubicBezTo>
                  <a:cubicBezTo>
                    <a:pt x="91122" y="78238"/>
                    <a:pt x="94549" y="82222"/>
                    <a:pt x="97055" y="86778"/>
                  </a:cubicBezTo>
                  <a:cubicBezTo>
                    <a:pt x="99845" y="92189"/>
                    <a:pt x="101196" y="98225"/>
                    <a:pt x="100984" y="104309"/>
                  </a:cubicBezTo>
                  <a:cubicBezTo>
                    <a:pt x="101142" y="111236"/>
                    <a:pt x="99694" y="118105"/>
                    <a:pt x="96753" y="124379"/>
                  </a:cubicBezTo>
                  <a:cubicBezTo>
                    <a:pt x="94084" y="129894"/>
                    <a:pt x="90221" y="134746"/>
                    <a:pt x="85448" y="138585"/>
                  </a:cubicBezTo>
                  <a:cubicBezTo>
                    <a:pt x="80546" y="142469"/>
                    <a:pt x="74927" y="145355"/>
                    <a:pt x="68915" y="147079"/>
                  </a:cubicBezTo>
                  <a:cubicBezTo>
                    <a:pt x="62437" y="148976"/>
                    <a:pt x="55715" y="149922"/>
                    <a:pt x="48966" y="149890"/>
                  </a:cubicBezTo>
                  <a:cubicBezTo>
                    <a:pt x="39656" y="149888"/>
                    <a:pt x="30431" y="148145"/>
                    <a:pt x="21763" y="144751"/>
                  </a:cubicBezTo>
                  <a:cubicBezTo>
                    <a:pt x="13339" y="141650"/>
                    <a:pt x="5849" y="136448"/>
                    <a:pt x="0" y="129639"/>
                  </a:cubicBezTo>
                  <a:lnTo>
                    <a:pt x="18136" y="112712"/>
                  </a:lnTo>
                  <a:cubicBezTo>
                    <a:pt x="21772" y="117657"/>
                    <a:pt x="26596" y="121607"/>
                    <a:pt x="32160" y="124198"/>
                  </a:cubicBezTo>
                  <a:cubicBezTo>
                    <a:pt x="37504" y="126910"/>
                    <a:pt x="43398" y="128358"/>
                    <a:pt x="49389" y="128429"/>
                  </a:cubicBezTo>
                  <a:cubicBezTo>
                    <a:pt x="52445" y="128419"/>
                    <a:pt x="55486" y="128053"/>
                    <a:pt x="58457" y="127341"/>
                  </a:cubicBezTo>
                  <a:cubicBezTo>
                    <a:pt x="61458" y="126631"/>
                    <a:pt x="64299" y="125360"/>
                    <a:pt x="66829" y="123593"/>
                  </a:cubicBezTo>
                  <a:cubicBezTo>
                    <a:pt x="69299" y="121876"/>
                    <a:pt x="71363" y="119637"/>
                    <a:pt x="72874" y="117034"/>
                  </a:cubicBezTo>
                  <a:cubicBezTo>
                    <a:pt x="74528" y="114053"/>
                    <a:pt x="75332" y="110677"/>
                    <a:pt x="75202" y="107271"/>
                  </a:cubicBezTo>
                  <a:cubicBezTo>
                    <a:pt x="75341" y="103953"/>
                    <a:pt x="74431" y="100674"/>
                    <a:pt x="72602" y="97901"/>
                  </a:cubicBezTo>
                  <a:cubicBezTo>
                    <a:pt x="70719" y="95278"/>
                    <a:pt x="68310" y="93075"/>
                    <a:pt x="65530" y="91433"/>
                  </a:cubicBezTo>
                  <a:cubicBezTo>
                    <a:pt x="62223" y="89463"/>
                    <a:pt x="58705" y="87872"/>
                    <a:pt x="55041" y="86688"/>
                  </a:cubicBezTo>
                  <a:lnTo>
                    <a:pt x="42346" y="82456"/>
                  </a:lnTo>
                  <a:cubicBezTo>
                    <a:pt x="37955" y="81097"/>
                    <a:pt x="33644" y="79482"/>
                    <a:pt x="29440" y="77620"/>
                  </a:cubicBezTo>
                  <a:cubicBezTo>
                    <a:pt x="25193" y="75785"/>
                    <a:pt x="21276" y="73274"/>
                    <a:pt x="17833" y="70184"/>
                  </a:cubicBezTo>
                  <a:cubicBezTo>
                    <a:pt x="14333" y="66961"/>
                    <a:pt x="11492" y="63092"/>
                    <a:pt x="9461" y="58789"/>
                  </a:cubicBezTo>
                  <a:cubicBezTo>
                    <a:pt x="7151" y="53474"/>
                    <a:pt x="6048" y="47715"/>
                    <a:pt x="6227" y="41923"/>
                  </a:cubicBezTo>
                  <a:cubicBezTo>
                    <a:pt x="6060" y="35383"/>
                    <a:pt x="7635" y="28916"/>
                    <a:pt x="10791" y="23183"/>
                  </a:cubicBezTo>
                  <a:cubicBezTo>
                    <a:pt x="13732" y="18019"/>
                    <a:pt x="17788" y="13577"/>
                    <a:pt x="22669" y="10186"/>
                  </a:cubicBezTo>
                  <a:cubicBezTo>
                    <a:pt x="27756" y="6664"/>
                    <a:pt x="33427" y="4066"/>
                    <a:pt x="39414" y="2509"/>
                  </a:cubicBezTo>
                  <a:cubicBezTo>
                    <a:pt x="45626" y="848"/>
                    <a:pt x="52028" y="4"/>
                    <a:pt x="58457" y="0"/>
                  </a:cubicBezTo>
                  <a:cubicBezTo>
                    <a:pt x="65983" y="41"/>
                    <a:pt x="73452" y="1338"/>
                    <a:pt x="80552" y="3839"/>
                  </a:cubicBezTo>
                  <a:cubicBezTo>
                    <a:pt x="87773" y="6241"/>
                    <a:pt x="94398" y="10157"/>
                    <a:pt x="99987" y="15324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66" name="Graphic 57">
            <a:extLst>
              <a:ext uri="{FF2B5EF4-FFF2-40B4-BE49-F238E27FC236}">
                <a16:creationId xmlns:a16="http://schemas.microsoft.com/office/drawing/2014/main" id="{632493DC-1BE7-8955-BEBE-E37905795A29}"/>
              </a:ext>
            </a:extLst>
          </p:cNvPr>
          <p:cNvGrpSpPr/>
          <p:nvPr/>
        </p:nvGrpSpPr>
        <p:grpSpPr>
          <a:xfrm>
            <a:off x="3998813" y="4464551"/>
            <a:ext cx="343910" cy="336574"/>
            <a:chOff x="5168279" y="5128232"/>
            <a:chExt cx="480134" cy="480134"/>
          </a:xfrm>
          <a:solidFill>
            <a:schemeClr val="bg1"/>
          </a:solidFill>
        </p:grpSpPr>
        <p:sp>
          <p:nvSpPr>
            <p:cNvPr id="467" name="Freeform 466">
              <a:extLst>
                <a:ext uri="{FF2B5EF4-FFF2-40B4-BE49-F238E27FC236}">
                  <a16:creationId xmlns:a16="http://schemas.microsoft.com/office/drawing/2014/main" id="{15163807-A578-92A5-B276-3FC5C3F435C0}"/>
                </a:ext>
              </a:extLst>
            </p:cNvPr>
            <p:cNvSpPr/>
            <p:nvPr/>
          </p:nvSpPr>
          <p:spPr>
            <a:xfrm>
              <a:off x="5507163" y="5199111"/>
              <a:ext cx="13503" cy="13503"/>
            </a:xfrm>
            <a:custGeom>
              <a:avLst/>
              <a:gdLst>
                <a:gd name="connsiteX0" fmla="*/ 13504 w 13503"/>
                <a:gd name="connsiteY0" fmla="*/ 6722 h 13503"/>
                <a:gd name="connsiteX1" fmla="*/ 6782 w 13503"/>
                <a:gd name="connsiteY1" fmla="*/ 13504 h 13503"/>
                <a:gd name="connsiteX2" fmla="*/ 0 w 13503"/>
                <a:gd name="connsiteY2" fmla="*/ 6782 h 13503"/>
                <a:gd name="connsiteX3" fmla="*/ 6722 w 13503"/>
                <a:gd name="connsiteY3" fmla="*/ 0 h 13503"/>
                <a:gd name="connsiteX4" fmla="*/ 6752 w 13503"/>
                <a:gd name="connsiteY4" fmla="*/ 0 h 13503"/>
                <a:gd name="connsiteX5" fmla="*/ 13504 w 13503"/>
                <a:gd name="connsiteY5" fmla="*/ 6692 h 13503"/>
                <a:gd name="connsiteX6" fmla="*/ 13504 w 13503"/>
                <a:gd name="connsiteY6" fmla="*/ 6722 h 13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03" h="13503">
                  <a:moveTo>
                    <a:pt x="13504" y="6722"/>
                  </a:moveTo>
                  <a:cubicBezTo>
                    <a:pt x="13522" y="10451"/>
                    <a:pt x="10512" y="13487"/>
                    <a:pt x="6782" y="13504"/>
                  </a:cubicBezTo>
                  <a:cubicBezTo>
                    <a:pt x="3052" y="13520"/>
                    <a:pt x="18" y="10511"/>
                    <a:pt x="0" y="6782"/>
                  </a:cubicBezTo>
                  <a:cubicBezTo>
                    <a:pt x="-15" y="3053"/>
                    <a:pt x="2992" y="17"/>
                    <a:pt x="6722" y="0"/>
                  </a:cubicBezTo>
                  <a:cubicBezTo>
                    <a:pt x="6731" y="0"/>
                    <a:pt x="6743" y="0"/>
                    <a:pt x="6752" y="0"/>
                  </a:cubicBezTo>
                  <a:cubicBezTo>
                    <a:pt x="10464" y="-16"/>
                    <a:pt x="13486" y="2980"/>
                    <a:pt x="13504" y="6692"/>
                  </a:cubicBezTo>
                  <a:cubicBezTo>
                    <a:pt x="13504" y="6702"/>
                    <a:pt x="13504" y="6712"/>
                    <a:pt x="13504" y="672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68" name="Freeform 467">
              <a:extLst>
                <a:ext uri="{FF2B5EF4-FFF2-40B4-BE49-F238E27FC236}">
                  <a16:creationId xmlns:a16="http://schemas.microsoft.com/office/drawing/2014/main" id="{4C77EAA1-B189-00D7-0F7E-4488DB71372B}"/>
                </a:ext>
              </a:extLst>
            </p:cNvPr>
            <p:cNvSpPr/>
            <p:nvPr/>
          </p:nvSpPr>
          <p:spPr>
            <a:xfrm>
              <a:off x="5470373" y="5199111"/>
              <a:ext cx="13503" cy="13503"/>
            </a:xfrm>
            <a:custGeom>
              <a:avLst/>
              <a:gdLst>
                <a:gd name="connsiteX0" fmla="*/ 13504 w 13503"/>
                <a:gd name="connsiteY0" fmla="*/ 6722 h 13503"/>
                <a:gd name="connsiteX1" fmla="*/ 6782 w 13503"/>
                <a:gd name="connsiteY1" fmla="*/ 13504 h 13503"/>
                <a:gd name="connsiteX2" fmla="*/ 0 w 13503"/>
                <a:gd name="connsiteY2" fmla="*/ 6782 h 13503"/>
                <a:gd name="connsiteX3" fmla="*/ 6722 w 13503"/>
                <a:gd name="connsiteY3" fmla="*/ 0 h 13503"/>
                <a:gd name="connsiteX4" fmla="*/ 6752 w 13503"/>
                <a:gd name="connsiteY4" fmla="*/ 0 h 13503"/>
                <a:gd name="connsiteX5" fmla="*/ 13504 w 13503"/>
                <a:gd name="connsiteY5" fmla="*/ 6692 h 13503"/>
                <a:gd name="connsiteX6" fmla="*/ 13504 w 13503"/>
                <a:gd name="connsiteY6" fmla="*/ 6722 h 13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03" h="13503">
                  <a:moveTo>
                    <a:pt x="13504" y="6722"/>
                  </a:moveTo>
                  <a:cubicBezTo>
                    <a:pt x="13522" y="10451"/>
                    <a:pt x="10512" y="13487"/>
                    <a:pt x="6782" y="13504"/>
                  </a:cubicBezTo>
                  <a:cubicBezTo>
                    <a:pt x="3052" y="13520"/>
                    <a:pt x="18" y="10511"/>
                    <a:pt x="0" y="6782"/>
                  </a:cubicBezTo>
                  <a:cubicBezTo>
                    <a:pt x="-15" y="3053"/>
                    <a:pt x="2992" y="17"/>
                    <a:pt x="6722" y="0"/>
                  </a:cubicBezTo>
                  <a:cubicBezTo>
                    <a:pt x="6731" y="0"/>
                    <a:pt x="6743" y="0"/>
                    <a:pt x="6752" y="0"/>
                  </a:cubicBezTo>
                  <a:cubicBezTo>
                    <a:pt x="10464" y="-16"/>
                    <a:pt x="13486" y="2980"/>
                    <a:pt x="13504" y="6692"/>
                  </a:cubicBezTo>
                  <a:cubicBezTo>
                    <a:pt x="13504" y="6702"/>
                    <a:pt x="13504" y="6712"/>
                    <a:pt x="13504" y="672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69" name="Freeform 468">
              <a:extLst>
                <a:ext uri="{FF2B5EF4-FFF2-40B4-BE49-F238E27FC236}">
                  <a16:creationId xmlns:a16="http://schemas.microsoft.com/office/drawing/2014/main" id="{EF0D785C-24D7-001C-C917-6FE938E9DE0E}"/>
                </a:ext>
              </a:extLst>
            </p:cNvPr>
            <p:cNvSpPr/>
            <p:nvPr/>
          </p:nvSpPr>
          <p:spPr>
            <a:xfrm>
              <a:off x="5543983" y="5199111"/>
              <a:ext cx="13443" cy="13443"/>
            </a:xfrm>
            <a:custGeom>
              <a:avLst/>
              <a:gdLst>
                <a:gd name="connsiteX0" fmla="*/ 13444 w 13443"/>
                <a:gd name="connsiteY0" fmla="*/ 6722 h 13443"/>
                <a:gd name="connsiteX1" fmla="*/ 6722 w 13443"/>
                <a:gd name="connsiteY1" fmla="*/ 13444 h 13443"/>
                <a:gd name="connsiteX2" fmla="*/ 0 w 13443"/>
                <a:gd name="connsiteY2" fmla="*/ 6722 h 13443"/>
                <a:gd name="connsiteX3" fmla="*/ 6722 w 13443"/>
                <a:gd name="connsiteY3" fmla="*/ 0 h 13443"/>
                <a:gd name="connsiteX4" fmla="*/ 13444 w 13443"/>
                <a:gd name="connsiteY4" fmla="*/ 6722 h 13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43" h="13443">
                  <a:moveTo>
                    <a:pt x="13444" y="6722"/>
                  </a:moveTo>
                  <a:cubicBezTo>
                    <a:pt x="13444" y="10434"/>
                    <a:pt x="10434" y="13444"/>
                    <a:pt x="6722" y="13444"/>
                  </a:cubicBezTo>
                  <a:cubicBezTo>
                    <a:pt x="3010" y="13444"/>
                    <a:pt x="0" y="10434"/>
                    <a:pt x="0" y="6722"/>
                  </a:cubicBezTo>
                  <a:cubicBezTo>
                    <a:pt x="0" y="3010"/>
                    <a:pt x="3010" y="0"/>
                    <a:pt x="6722" y="0"/>
                  </a:cubicBezTo>
                  <a:cubicBezTo>
                    <a:pt x="10434" y="0"/>
                    <a:pt x="13444" y="3010"/>
                    <a:pt x="13444" y="6722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70" name="Freeform 469">
              <a:extLst>
                <a:ext uri="{FF2B5EF4-FFF2-40B4-BE49-F238E27FC236}">
                  <a16:creationId xmlns:a16="http://schemas.microsoft.com/office/drawing/2014/main" id="{4A18CF52-646F-FDFE-039E-FE0E86F66AE4}"/>
                </a:ext>
              </a:extLst>
            </p:cNvPr>
            <p:cNvSpPr/>
            <p:nvPr/>
          </p:nvSpPr>
          <p:spPr>
            <a:xfrm>
              <a:off x="5332543" y="5337450"/>
              <a:ext cx="99870" cy="99747"/>
            </a:xfrm>
            <a:custGeom>
              <a:avLst/>
              <a:gdLst>
                <a:gd name="connsiteX0" fmla="*/ 49935 w 99870"/>
                <a:gd name="connsiteY0" fmla="*/ 0 h 99747"/>
                <a:gd name="connsiteX1" fmla="*/ 0 w 99870"/>
                <a:gd name="connsiteY1" fmla="*/ 49813 h 99747"/>
                <a:gd name="connsiteX2" fmla="*/ 49812 w 99870"/>
                <a:gd name="connsiteY2" fmla="*/ 99748 h 99747"/>
                <a:gd name="connsiteX3" fmla="*/ 72742 w 99870"/>
                <a:gd name="connsiteY3" fmla="*/ 94196 h 99747"/>
                <a:gd name="connsiteX4" fmla="*/ 75667 w 99870"/>
                <a:gd name="connsiteY4" fmla="*/ 85119 h 99747"/>
                <a:gd name="connsiteX5" fmla="*/ 66590 w 99870"/>
                <a:gd name="connsiteY5" fmla="*/ 82193 h 99747"/>
                <a:gd name="connsiteX6" fmla="*/ 17617 w 99870"/>
                <a:gd name="connsiteY6" fmla="*/ 66469 h 99747"/>
                <a:gd name="connsiteX7" fmla="*/ 33341 w 99870"/>
                <a:gd name="connsiteY7" fmla="*/ 17496 h 99747"/>
                <a:gd name="connsiteX8" fmla="*/ 82314 w 99870"/>
                <a:gd name="connsiteY8" fmla="*/ 33220 h 99747"/>
                <a:gd name="connsiteX9" fmla="*/ 82314 w 99870"/>
                <a:gd name="connsiteY9" fmla="*/ 66469 h 99747"/>
                <a:gd name="connsiteX10" fmla="*/ 85225 w 99870"/>
                <a:gd name="connsiteY10" fmla="*/ 75561 h 99747"/>
                <a:gd name="connsiteX11" fmla="*/ 94318 w 99870"/>
                <a:gd name="connsiteY11" fmla="*/ 72650 h 99747"/>
                <a:gd name="connsiteX12" fmla="*/ 72883 w 99870"/>
                <a:gd name="connsiteY12" fmla="*/ 5543 h 99747"/>
                <a:gd name="connsiteX13" fmla="*/ 49935 w 99870"/>
                <a:gd name="connsiteY13" fmla="*/ 0 h 9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870" h="99747">
                  <a:moveTo>
                    <a:pt x="49935" y="0"/>
                  </a:moveTo>
                  <a:cubicBezTo>
                    <a:pt x="22390" y="-34"/>
                    <a:pt x="34" y="22268"/>
                    <a:pt x="0" y="49813"/>
                  </a:cubicBezTo>
                  <a:cubicBezTo>
                    <a:pt x="-34" y="77357"/>
                    <a:pt x="22268" y="99715"/>
                    <a:pt x="49812" y="99748"/>
                  </a:cubicBezTo>
                  <a:cubicBezTo>
                    <a:pt x="57790" y="99757"/>
                    <a:pt x="65652" y="97854"/>
                    <a:pt x="72742" y="94196"/>
                  </a:cubicBezTo>
                  <a:cubicBezTo>
                    <a:pt x="76056" y="92498"/>
                    <a:pt x="77366" y="88434"/>
                    <a:pt x="75667" y="85119"/>
                  </a:cubicBezTo>
                  <a:cubicBezTo>
                    <a:pt x="73969" y="81804"/>
                    <a:pt x="69905" y="80494"/>
                    <a:pt x="66590" y="82193"/>
                  </a:cubicBezTo>
                  <a:cubicBezTo>
                    <a:pt x="48724" y="91376"/>
                    <a:pt x="26798" y="84334"/>
                    <a:pt x="17617" y="66469"/>
                  </a:cubicBezTo>
                  <a:cubicBezTo>
                    <a:pt x="8436" y="48603"/>
                    <a:pt x="15476" y="26677"/>
                    <a:pt x="33341" y="17496"/>
                  </a:cubicBezTo>
                  <a:cubicBezTo>
                    <a:pt x="51207" y="8315"/>
                    <a:pt x="73133" y="15355"/>
                    <a:pt x="82314" y="33220"/>
                  </a:cubicBezTo>
                  <a:cubicBezTo>
                    <a:pt x="87676" y="43654"/>
                    <a:pt x="87676" y="56034"/>
                    <a:pt x="82314" y="66469"/>
                  </a:cubicBezTo>
                  <a:cubicBezTo>
                    <a:pt x="80607" y="69783"/>
                    <a:pt x="81910" y="73854"/>
                    <a:pt x="85225" y="75561"/>
                  </a:cubicBezTo>
                  <a:cubicBezTo>
                    <a:pt x="88540" y="77268"/>
                    <a:pt x="92610" y="75965"/>
                    <a:pt x="94318" y="72650"/>
                  </a:cubicBezTo>
                  <a:cubicBezTo>
                    <a:pt x="106930" y="48200"/>
                    <a:pt x="97333" y="18155"/>
                    <a:pt x="72883" y="5543"/>
                  </a:cubicBezTo>
                  <a:cubicBezTo>
                    <a:pt x="65788" y="1883"/>
                    <a:pt x="57918" y="-18"/>
                    <a:pt x="49935" y="0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71" name="Freeform 470">
              <a:extLst>
                <a:ext uri="{FF2B5EF4-FFF2-40B4-BE49-F238E27FC236}">
                  <a16:creationId xmlns:a16="http://schemas.microsoft.com/office/drawing/2014/main" id="{2F74CFCD-5416-6642-3702-9136D4299108}"/>
                </a:ext>
              </a:extLst>
            </p:cNvPr>
            <p:cNvSpPr/>
            <p:nvPr/>
          </p:nvSpPr>
          <p:spPr>
            <a:xfrm>
              <a:off x="5265296" y="5270141"/>
              <a:ext cx="234425" cy="234605"/>
            </a:xfrm>
            <a:custGeom>
              <a:avLst/>
              <a:gdLst>
                <a:gd name="connsiteX0" fmla="*/ 227614 w 234425"/>
                <a:gd name="connsiteY0" fmla="*/ 92486 h 234605"/>
                <a:gd name="connsiteX1" fmla="*/ 199316 w 234425"/>
                <a:gd name="connsiteY1" fmla="*/ 92486 h 234605"/>
                <a:gd name="connsiteX2" fmla="*/ 192684 w 234425"/>
                <a:gd name="connsiteY2" fmla="*/ 76551 h 234605"/>
                <a:gd name="connsiteX3" fmla="*/ 212729 w 234425"/>
                <a:gd name="connsiteY3" fmla="*/ 56536 h 234605"/>
                <a:gd name="connsiteX4" fmla="*/ 214680 w 234425"/>
                <a:gd name="connsiteY4" fmla="*/ 51764 h 234605"/>
                <a:gd name="connsiteX5" fmla="*/ 212729 w 234425"/>
                <a:gd name="connsiteY5" fmla="*/ 46993 h 234605"/>
                <a:gd name="connsiteX6" fmla="*/ 187342 w 234425"/>
                <a:gd name="connsiteY6" fmla="*/ 21636 h 234605"/>
                <a:gd name="connsiteX7" fmla="*/ 177879 w 234425"/>
                <a:gd name="connsiteY7" fmla="*/ 21587 h 234605"/>
                <a:gd name="connsiteX8" fmla="*/ 177830 w 234425"/>
                <a:gd name="connsiteY8" fmla="*/ 21636 h 234605"/>
                <a:gd name="connsiteX9" fmla="*/ 157784 w 234425"/>
                <a:gd name="connsiteY9" fmla="*/ 41652 h 234605"/>
                <a:gd name="connsiteX10" fmla="*/ 141850 w 234425"/>
                <a:gd name="connsiteY10" fmla="*/ 35140 h 234605"/>
                <a:gd name="connsiteX11" fmla="*/ 141850 w 234425"/>
                <a:gd name="connsiteY11" fmla="*/ 6722 h 234605"/>
                <a:gd name="connsiteX12" fmla="*/ 135128 w 234425"/>
                <a:gd name="connsiteY12" fmla="*/ 0 h 234605"/>
                <a:gd name="connsiteX13" fmla="*/ 99238 w 234425"/>
                <a:gd name="connsiteY13" fmla="*/ 0 h 234605"/>
                <a:gd name="connsiteX14" fmla="*/ 92516 w 234425"/>
                <a:gd name="connsiteY14" fmla="*/ 6722 h 234605"/>
                <a:gd name="connsiteX15" fmla="*/ 92516 w 234425"/>
                <a:gd name="connsiteY15" fmla="*/ 35140 h 234605"/>
                <a:gd name="connsiteX16" fmla="*/ 76551 w 234425"/>
                <a:gd name="connsiteY16" fmla="*/ 41772 h 234605"/>
                <a:gd name="connsiteX17" fmla="*/ 56536 w 234425"/>
                <a:gd name="connsiteY17" fmla="*/ 21636 h 234605"/>
                <a:gd name="connsiteX18" fmla="*/ 47072 w 234425"/>
                <a:gd name="connsiteY18" fmla="*/ 21587 h 234605"/>
                <a:gd name="connsiteX19" fmla="*/ 47023 w 234425"/>
                <a:gd name="connsiteY19" fmla="*/ 21636 h 234605"/>
                <a:gd name="connsiteX20" fmla="*/ 21636 w 234425"/>
                <a:gd name="connsiteY20" fmla="*/ 47143 h 234605"/>
                <a:gd name="connsiteX21" fmla="*/ 19685 w 234425"/>
                <a:gd name="connsiteY21" fmla="*/ 51914 h 234605"/>
                <a:gd name="connsiteX22" fmla="*/ 21636 w 234425"/>
                <a:gd name="connsiteY22" fmla="*/ 56686 h 234605"/>
                <a:gd name="connsiteX23" fmla="*/ 41682 w 234425"/>
                <a:gd name="connsiteY23" fmla="*/ 76701 h 234605"/>
                <a:gd name="connsiteX24" fmla="*/ 35050 w 234425"/>
                <a:gd name="connsiteY24" fmla="*/ 92636 h 234605"/>
                <a:gd name="connsiteX25" fmla="*/ 6752 w 234425"/>
                <a:gd name="connsiteY25" fmla="*/ 92636 h 234605"/>
                <a:gd name="connsiteX26" fmla="*/ 0 w 234425"/>
                <a:gd name="connsiteY26" fmla="*/ 99358 h 234605"/>
                <a:gd name="connsiteX27" fmla="*/ 0 w 234425"/>
                <a:gd name="connsiteY27" fmla="*/ 135368 h 234605"/>
                <a:gd name="connsiteX28" fmla="*/ 6752 w 234425"/>
                <a:gd name="connsiteY28" fmla="*/ 142120 h 234605"/>
                <a:gd name="connsiteX29" fmla="*/ 35020 w 234425"/>
                <a:gd name="connsiteY29" fmla="*/ 142120 h 234605"/>
                <a:gd name="connsiteX30" fmla="*/ 41652 w 234425"/>
                <a:gd name="connsiteY30" fmla="*/ 158054 h 234605"/>
                <a:gd name="connsiteX31" fmla="*/ 21606 w 234425"/>
                <a:gd name="connsiteY31" fmla="*/ 178070 h 234605"/>
                <a:gd name="connsiteX32" fmla="*/ 21606 w 234425"/>
                <a:gd name="connsiteY32" fmla="*/ 187582 h 234605"/>
                <a:gd name="connsiteX33" fmla="*/ 46993 w 234425"/>
                <a:gd name="connsiteY33" fmla="*/ 212969 h 234605"/>
                <a:gd name="connsiteX34" fmla="*/ 56457 w 234425"/>
                <a:gd name="connsiteY34" fmla="*/ 213017 h 234605"/>
                <a:gd name="connsiteX35" fmla="*/ 56506 w 234425"/>
                <a:gd name="connsiteY35" fmla="*/ 212969 h 234605"/>
                <a:gd name="connsiteX36" fmla="*/ 76521 w 234425"/>
                <a:gd name="connsiteY36" fmla="*/ 192954 h 234605"/>
                <a:gd name="connsiteX37" fmla="*/ 92486 w 234425"/>
                <a:gd name="connsiteY37" fmla="*/ 199586 h 234605"/>
                <a:gd name="connsiteX38" fmla="*/ 92486 w 234425"/>
                <a:gd name="connsiteY38" fmla="*/ 227884 h 234605"/>
                <a:gd name="connsiteX39" fmla="*/ 99208 w 234425"/>
                <a:gd name="connsiteY39" fmla="*/ 234605 h 234605"/>
                <a:gd name="connsiteX40" fmla="*/ 135218 w 234425"/>
                <a:gd name="connsiteY40" fmla="*/ 234605 h 234605"/>
                <a:gd name="connsiteX41" fmla="*/ 141940 w 234425"/>
                <a:gd name="connsiteY41" fmla="*/ 227884 h 234605"/>
                <a:gd name="connsiteX42" fmla="*/ 141940 w 234425"/>
                <a:gd name="connsiteY42" fmla="*/ 199586 h 234605"/>
                <a:gd name="connsiteX43" fmla="*/ 157874 w 234425"/>
                <a:gd name="connsiteY43" fmla="*/ 192954 h 234605"/>
                <a:gd name="connsiteX44" fmla="*/ 177920 w 234425"/>
                <a:gd name="connsiteY44" fmla="*/ 212969 h 234605"/>
                <a:gd name="connsiteX45" fmla="*/ 187383 w 234425"/>
                <a:gd name="connsiteY45" fmla="*/ 213017 h 234605"/>
                <a:gd name="connsiteX46" fmla="*/ 187432 w 234425"/>
                <a:gd name="connsiteY46" fmla="*/ 212969 h 234605"/>
                <a:gd name="connsiteX47" fmla="*/ 212819 w 234425"/>
                <a:gd name="connsiteY47" fmla="*/ 187582 h 234605"/>
                <a:gd name="connsiteX48" fmla="*/ 212819 w 234425"/>
                <a:gd name="connsiteY48" fmla="*/ 178070 h 234605"/>
                <a:gd name="connsiteX49" fmla="*/ 192774 w 234425"/>
                <a:gd name="connsiteY49" fmla="*/ 158054 h 234605"/>
                <a:gd name="connsiteX50" fmla="*/ 199406 w 234425"/>
                <a:gd name="connsiteY50" fmla="*/ 142120 h 234605"/>
                <a:gd name="connsiteX51" fmla="*/ 227704 w 234425"/>
                <a:gd name="connsiteY51" fmla="*/ 142120 h 234605"/>
                <a:gd name="connsiteX52" fmla="*/ 234425 w 234425"/>
                <a:gd name="connsiteY52" fmla="*/ 135398 h 234605"/>
                <a:gd name="connsiteX53" fmla="*/ 234425 w 234425"/>
                <a:gd name="connsiteY53" fmla="*/ 135368 h 234605"/>
                <a:gd name="connsiteX54" fmla="*/ 234425 w 234425"/>
                <a:gd name="connsiteY54" fmla="*/ 99358 h 234605"/>
                <a:gd name="connsiteX55" fmla="*/ 227704 w 234425"/>
                <a:gd name="connsiteY55" fmla="*/ 92636 h 234605"/>
                <a:gd name="connsiteX56" fmla="*/ 220892 w 234425"/>
                <a:gd name="connsiteY56" fmla="*/ 128496 h 234605"/>
                <a:gd name="connsiteX57" fmla="*/ 194064 w 234425"/>
                <a:gd name="connsiteY57" fmla="*/ 128496 h 234605"/>
                <a:gd name="connsiteX58" fmla="*/ 187522 w 234425"/>
                <a:gd name="connsiteY58" fmla="*/ 133717 h 234605"/>
                <a:gd name="connsiteX59" fmla="*/ 178520 w 234425"/>
                <a:gd name="connsiteY59" fmla="*/ 155443 h 234605"/>
                <a:gd name="connsiteX60" fmla="*/ 179480 w 234425"/>
                <a:gd name="connsiteY60" fmla="*/ 163756 h 234605"/>
                <a:gd name="connsiteX61" fmla="*/ 198415 w 234425"/>
                <a:gd name="connsiteY61" fmla="*/ 182691 h 234605"/>
                <a:gd name="connsiteX62" fmla="*/ 182571 w 234425"/>
                <a:gd name="connsiteY62" fmla="*/ 198535 h 234605"/>
                <a:gd name="connsiteX63" fmla="*/ 163636 w 234425"/>
                <a:gd name="connsiteY63" fmla="*/ 179630 h 234605"/>
                <a:gd name="connsiteX64" fmla="*/ 155293 w 234425"/>
                <a:gd name="connsiteY64" fmla="*/ 178670 h 234605"/>
                <a:gd name="connsiteX65" fmla="*/ 133567 w 234425"/>
                <a:gd name="connsiteY65" fmla="*/ 187672 h 234605"/>
                <a:gd name="connsiteX66" fmla="*/ 128376 w 234425"/>
                <a:gd name="connsiteY66" fmla="*/ 194214 h 234605"/>
                <a:gd name="connsiteX67" fmla="*/ 128376 w 234425"/>
                <a:gd name="connsiteY67" fmla="*/ 220952 h 234605"/>
                <a:gd name="connsiteX68" fmla="*/ 105960 w 234425"/>
                <a:gd name="connsiteY68" fmla="*/ 220952 h 234605"/>
                <a:gd name="connsiteX69" fmla="*/ 105960 w 234425"/>
                <a:gd name="connsiteY69" fmla="*/ 194184 h 234605"/>
                <a:gd name="connsiteX70" fmla="*/ 100768 w 234425"/>
                <a:gd name="connsiteY70" fmla="*/ 187642 h 234605"/>
                <a:gd name="connsiteX71" fmla="*/ 79042 w 234425"/>
                <a:gd name="connsiteY71" fmla="*/ 178640 h 234605"/>
                <a:gd name="connsiteX72" fmla="*/ 70700 w 234425"/>
                <a:gd name="connsiteY72" fmla="*/ 179600 h 234605"/>
                <a:gd name="connsiteX73" fmla="*/ 51764 w 234425"/>
                <a:gd name="connsiteY73" fmla="*/ 198505 h 234605"/>
                <a:gd name="connsiteX74" fmla="*/ 35920 w 234425"/>
                <a:gd name="connsiteY74" fmla="*/ 182661 h 234605"/>
                <a:gd name="connsiteX75" fmla="*/ 54855 w 234425"/>
                <a:gd name="connsiteY75" fmla="*/ 163726 h 234605"/>
                <a:gd name="connsiteX76" fmla="*/ 55786 w 234425"/>
                <a:gd name="connsiteY76" fmla="*/ 155173 h 234605"/>
                <a:gd name="connsiteX77" fmla="*/ 46783 w 234425"/>
                <a:gd name="connsiteY77" fmla="*/ 133447 h 234605"/>
                <a:gd name="connsiteX78" fmla="*/ 40241 w 234425"/>
                <a:gd name="connsiteY78" fmla="*/ 128226 h 234605"/>
                <a:gd name="connsiteX79" fmla="*/ 13474 w 234425"/>
                <a:gd name="connsiteY79" fmla="*/ 128226 h 234605"/>
                <a:gd name="connsiteX80" fmla="*/ 13474 w 234425"/>
                <a:gd name="connsiteY80" fmla="*/ 105960 h 234605"/>
                <a:gd name="connsiteX81" fmla="*/ 40211 w 234425"/>
                <a:gd name="connsiteY81" fmla="*/ 105960 h 234605"/>
                <a:gd name="connsiteX82" fmla="*/ 46753 w 234425"/>
                <a:gd name="connsiteY82" fmla="*/ 100738 h 234605"/>
                <a:gd name="connsiteX83" fmla="*/ 55756 w 234425"/>
                <a:gd name="connsiteY83" fmla="*/ 79012 h 234605"/>
                <a:gd name="connsiteX84" fmla="*/ 54825 w 234425"/>
                <a:gd name="connsiteY84" fmla="*/ 70700 h 234605"/>
                <a:gd name="connsiteX85" fmla="*/ 35920 w 234425"/>
                <a:gd name="connsiteY85" fmla="*/ 51764 h 234605"/>
                <a:gd name="connsiteX86" fmla="*/ 51764 w 234425"/>
                <a:gd name="connsiteY86" fmla="*/ 35890 h 234605"/>
                <a:gd name="connsiteX87" fmla="*/ 70700 w 234425"/>
                <a:gd name="connsiteY87" fmla="*/ 54825 h 234605"/>
                <a:gd name="connsiteX88" fmla="*/ 79042 w 234425"/>
                <a:gd name="connsiteY88" fmla="*/ 55786 h 234605"/>
                <a:gd name="connsiteX89" fmla="*/ 100768 w 234425"/>
                <a:gd name="connsiteY89" fmla="*/ 46783 h 234605"/>
                <a:gd name="connsiteX90" fmla="*/ 105960 w 234425"/>
                <a:gd name="connsiteY90" fmla="*/ 40241 h 234605"/>
                <a:gd name="connsiteX91" fmla="*/ 105960 w 234425"/>
                <a:gd name="connsiteY91" fmla="*/ 13444 h 234605"/>
                <a:gd name="connsiteX92" fmla="*/ 128406 w 234425"/>
                <a:gd name="connsiteY92" fmla="*/ 13444 h 234605"/>
                <a:gd name="connsiteX93" fmla="*/ 128406 w 234425"/>
                <a:gd name="connsiteY93" fmla="*/ 40211 h 234605"/>
                <a:gd name="connsiteX94" fmla="*/ 133597 w 234425"/>
                <a:gd name="connsiteY94" fmla="*/ 46753 h 234605"/>
                <a:gd name="connsiteX95" fmla="*/ 155323 w 234425"/>
                <a:gd name="connsiteY95" fmla="*/ 55756 h 234605"/>
                <a:gd name="connsiteX96" fmla="*/ 163666 w 234425"/>
                <a:gd name="connsiteY96" fmla="*/ 54795 h 234605"/>
                <a:gd name="connsiteX97" fmla="*/ 182601 w 234425"/>
                <a:gd name="connsiteY97" fmla="*/ 35860 h 234605"/>
                <a:gd name="connsiteX98" fmla="*/ 198445 w 234425"/>
                <a:gd name="connsiteY98" fmla="*/ 51734 h 234605"/>
                <a:gd name="connsiteX99" fmla="*/ 179510 w 234425"/>
                <a:gd name="connsiteY99" fmla="*/ 70670 h 234605"/>
                <a:gd name="connsiteX100" fmla="*/ 178550 w 234425"/>
                <a:gd name="connsiteY100" fmla="*/ 78982 h 234605"/>
                <a:gd name="connsiteX101" fmla="*/ 187552 w 234425"/>
                <a:gd name="connsiteY101" fmla="*/ 100708 h 234605"/>
                <a:gd name="connsiteX102" fmla="*/ 194064 w 234425"/>
                <a:gd name="connsiteY102" fmla="*/ 105960 h 234605"/>
                <a:gd name="connsiteX103" fmla="*/ 220802 w 234425"/>
                <a:gd name="connsiteY103" fmla="*/ 105960 h 234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34425" h="234605">
                  <a:moveTo>
                    <a:pt x="227614" y="92486"/>
                  </a:moveTo>
                  <a:lnTo>
                    <a:pt x="199316" y="92486"/>
                  </a:lnTo>
                  <a:cubicBezTo>
                    <a:pt x="197658" y="86961"/>
                    <a:pt x="195436" y="81621"/>
                    <a:pt x="192684" y="76551"/>
                  </a:cubicBezTo>
                  <a:lnTo>
                    <a:pt x="212729" y="56536"/>
                  </a:lnTo>
                  <a:cubicBezTo>
                    <a:pt x="213981" y="55262"/>
                    <a:pt x="214680" y="53549"/>
                    <a:pt x="214680" y="51764"/>
                  </a:cubicBezTo>
                  <a:cubicBezTo>
                    <a:pt x="214689" y="49978"/>
                    <a:pt x="213987" y="48261"/>
                    <a:pt x="212729" y="46993"/>
                  </a:cubicBezTo>
                  <a:lnTo>
                    <a:pt x="187342" y="21636"/>
                  </a:lnTo>
                  <a:cubicBezTo>
                    <a:pt x="184743" y="19009"/>
                    <a:pt x="180505" y="18987"/>
                    <a:pt x="177879" y="21587"/>
                  </a:cubicBezTo>
                  <a:cubicBezTo>
                    <a:pt x="177862" y="21603"/>
                    <a:pt x="177846" y="21620"/>
                    <a:pt x="177830" y="21636"/>
                  </a:cubicBezTo>
                  <a:lnTo>
                    <a:pt x="157784" y="41652"/>
                  </a:lnTo>
                  <a:cubicBezTo>
                    <a:pt x="152706" y="38948"/>
                    <a:pt x="147368" y="36766"/>
                    <a:pt x="141850" y="35140"/>
                  </a:cubicBezTo>
                  <a:lnTo>
                    <a:pt x="141850" y="6722"/>
                  </a:lnTo>
                  <a:cubicBezTo>
                    <a:pt x="141850" y="3010"/>
                    <a:pt x="138840" y="0"/>
                    <a:pt x="135128" y="0"/>
                  </a:cubicBezTo>
                  <a:lnTo>
                    <a:pt x="99238" y="0"/>
                  </a:lnTo>
                  <a:cubicBezTo>
                    <a:pt x="95525" y="0"/>
                    <a:pt x="92516" y="3010"/>
                    <a:pt x="92516" y="6722"/>
                  </a:cubicBezTo>
                  <a:lnTo>
                    <a:pt x="92516" y="35140"/>
                  </a:lnTo>
                  <a:cubicBezTo>
                    <a:pt x="86986" y="36810"/>
                    <a:pt x="81637" y="39032"/>
                    <a:pt x="76551" y="41772"/>
                  </a:cubicBezTo>
                  <a:lnTo>
                    <a:pt x="56536" y="21636"/>
                  </a:lnTo>
                  <a:cubicBezTo>
                    <a:pt x="53936" y="19009"/>
                    <a:pt x="49699" y="18987"/>
                    <a:pt x="47072" y="21587"/>
                  </a:cubicBezTo>
                  <a:cubicBezTo>
                    <a:pt x="47056" y="21603"/>
                    <a:pt x="47039" y="21620"/>
                    <a:pt x="47023" y="21636"/>
                  </a:cubicBezTo>
                  <a:lnTo>
                    <a:pt x="21636" y="47143"/>
                  </a:lnTo>
                  <a:cubicBezTo>
                    <a:pt x="20378" y="48411"/>
                    <a:pt x="19676" y="50128"/>
                    <a:pt x="19685" y="51914"/>
                  </a:cubicBezTo>
                  <a:cubicBezTo>
                    <a:pt x="19685" y="53699"/>
                    <a:pt x="20386" y="55412"/>
                    <a:pt x="21636" y="56686"/>
                  </a:cubicBezTo>
                  <a:lnTo>
                    <a:pt x="41682" y="76701"/>
                  </a:lnTo>
                  <a:cubicBezTo>
                    <a:pt x="38930" y="81771"/>
                    <a:pt x="36707" y="87111"/>
                    <a:pt x="35050" y="92636"/>
                  </a:cubicBezTo>
                  <a:lnTo>
                    <a:pt x="6752" y="92636"/>
                  </a:lnTo>
                  <a:cubicBezTo>
                    <a:pt x="3035" y="92636"/>
                    <a:pt x="17" y="95641"/>
                    <a:pt x="0" y="99358"/>
                  </a:cubicBezTo>
                  <a:lnTo>
                    <a:pt x="0" y="135368"/>
                  </a:lnTo>
                  <a:cubicBezTo>
                    <a:pt x="0" y="139097"/>
                    <a:pt x="3023" y="142120"/>
                    <a:pt x="6752" y="142120"/>
                  </a:cubicBezTo>
                  <a:lnTo>
                    <a:pt x="35020" y="142120"/>
                  </a:lnTo>
                  <a:cubicBezTo>
                    <a:pt x="36677" y="147645"/>
                    <a:pt x="38900" y="152984"/>
                    <a:pt x="41652" y="158054"/>
                  </a:cubicBezTo>
                  <a:lnTo>
                    <a:pt x="21606" y="178070"/>
                  </a:lnTo>
                  <a:cubicBezTo>
                    <a:pt x="19009" y="180710"/>
                    <a:pt x="19009" y="184942"/>
                    <a:pt x="21606" y="187582"/>
                  </a:cubicBezTo>
                  <a:lnTo>
                    <a:pt x="46993" y="212969"/>
                  </a:lnTo>
                  <a:cubicBezTo>
                    <a:pt x="49593" y="215595"/>
                    <a:pt x="53830" y="215619"/>
                    <a:pt x="56457" y="213017"/>
                  </a:cubicBezTo>
                  <a:cubicBezTo>
                    <a:pt x="56473" y="213002"/>
                    <a:pt x="56490" y="212984"/>
                    <a:pt x="56506" y="212969"/>
                  </a:cubicBezTo>
                  <a:lnTo>
                    <a:pt x="76521" y="192954"/>
                  </a:lnTo>
                  <a:cubicBezTo>
                    <a:pt x="81613" y="195682"/>
                    <a:pt x="86960" y="197902"/>
                    <a:pt x="92486" y="199586"/>
                  </a:cubicBezTo>
                  <a:lnTo>
                    <a:pt x="92486" y="227884"/>
                  </a:lnTo>
                  <a:cubicBezTo>
                    <a:pt x="92486" y="231596"/>
                    <a:pt x="95495" y="234605"/>
                    <a:pt x="99208" y="234605"/>
                  </a:cubicBezTo>
                  <a:lnTo>
                    <a:pt x="135218" y="234605"/>
                  </a:lnTo>
                  <a:cubicBezTo>
                    <a:pt x="138930" y="234605"/>
                    <a:pt x="141940" y="231596"/>
                    <a:pt x="141940" y="227884"/>
                  </a:cubicBezTo>
                  <a:lnTo>
                    <a:pt x="141940" y="199586"/>
                  </a:lnTo>
                  <a:cubicBezTo>
                    <a:pt x="147458" y="197908"/>
                    <a:pt x="152795" y="195688"/>
                    <a:pt x="157874" y="192954"/>
                  </a:cubicBezTo>
                  <a:lnTo>
                    <a:pt x="177920" y="212969"/>
                  </a:lnTo>
                  <a:cubicBezTo>
                    <a:pt x="180519" y="215595"/>
                    <a:pt x="184756" y="215619"/>
                    <a:pt x="187383" y="213017"/>
                  </a:cubicBezTo>
                  <a:cubicBezTo>
                    <a:pt x="187400" y="213002"/>
                    <a:pt x="187416" y="212984"/>
                    <a:pt x="187432" y="212969"/>
                  </a:cubicBezTo>
                  <a:lnTo>
                    <a:pt x="212819" y="187582"/>
                  </a:lnTo>
                  <a:cubicBezTo>
                    <a:pt x="215415" y="184942"/>
                    <a:pt x="215415" y="180710"/>
                    <a:pt x="212819" y="178070"/>
                  </a:cubicBezTo>
                  <a:lnTo>
                    <a:pt x="192774" y="158054"/>
                  </a:lnTo>
                  <a:cubicBezTo>
                    <a:pt x="195526" y="152984"/>
                    <a:pt x="197748" y="147645"/>
                    <a:pt x="199406" y="142120"/>
                  </a:cubicBezTo>
                  <a:lnTo>
                    <a:pt x="227704" y="142120"/>
                  </a:lnTo>
                  <a:cubicBezTo>
                    <a:pt x="231416" y="142120"/>
                    <a:pt x="234425" y="139110"/>
                    <a:pt x="234425" y="135398"/>
                  </a:cubicBezTo>
                  <a:cubicBezTo>
                    <a:pt x="234425" y="135388"/>
                    <a:pt x="234425" y="135378"/>
                    <a:pt x="234425" y="135368"/>
                  </a:cubicBezTo>
                  <a:lnTo>
                    <a:pt x="234425" y="99358"/>
                  </a:lnTo>
                  <a:cubicBezTo>
                    <a:pt x="234425" y="95645"/>
                    <a:pt x="231416" y="92636"/>
                    <a:pt x="227704" y="92636"/>
                  </a:cubicBezTo>
                  <a:close/>
                  <a:moveTo>
                    <a:pt x="220892" y="128496"/>
                  </a:moveTo>
                  <a:lnTo>
                    <a:pt x="194064" y="128496"/>
                  </a:lnTo>
                  <a:cubicBezTo>
                    <a:pt x="190934" y="128501"/>
                    <a:pt x="188221" y="130666"/>
                    <a:pt x="187522" y="133717"/>
                  </a:cubicBezTo>
                  <a:cubicBezTo>
                    <a:pt x="185742" y="141407"/>
                    <a:pt x="182700" y="148748"/>
                    <a:pt x="178520" y="155443"/>
                  </a:cubicBezTo>
                  <a:cubicBezTo>
                    <a:pt x="176866" y="158100"/>
                    <a:pt x="177264" y="161547"/>
                    <a:pt x="179480" y="163756"/>
                  </a:cubicBezTo>
                  <a:lnTo>
                    <a:pt x="198415" y="182691"/>
                  </a:lnTo>
                  <a:lnTo>
                    <a:pt x="182571" y="198535"/>
                  </a:lnTo>
                  <a:lnTo>
                    <a:pt x="163636" y="179630"/>
                  </a:lnTo>
                  <a:cubicBezTo>
                    <a:pt x="161416" y="177410"/>
                    <a:pt x="157959" y="177010"/>
                    <a:pt x="155293" y="178670"/>
                  </a:cubicBezTo>
                  <a:cubicBezTo>
                    <a:pt x="148593" y="182841"/>
                    <a:pt x="141254" y="185881"/>
                    <a:pt x="133567" y="187672"/>
                  </a:cubicBezTo>
                  <a:cubicBezTo>
                    <a:pt x="130534" y="188393"/>
                    <a:pt x="128388" y="191096"/>
                    <a:pt x="128376" y="194214"/>
                  </a:cubicBezTo>
                  <a:lnTo>
                    <a:pt x="128376" y="220952"/>
                  </a:lnTo>
                  <a:lnTo>
                    <a:pt x="105960" y="220952"/>
                  </a:lnTo>
                  <a:lnTo>
                    <a:pt x="105960" y="194184"/>
                  </a:lnTo>
                  <a:cubicBezTo>
                    <a:pt x="105947" y="191066"/>
                    <a:pt x="103801" y="188363"/>
                    <a:pt x="100768" y="187642"/>
                  </a:cubicBezTo>
                  <a:cubicBezTo>
                    <a:pt x="93082" y="185851"/>
                    <a:pt x="85742" y="182811"/>
                    <a:pt x="79042" y="178640"/>
                  </a:cubicBezTo>
                  <a:cubicBezTo>
                    <a:pt x="76376" y="176980"/>
                    <a:pt x="72919" y="177380"/>
                    <a:pt x="70700" y="179600"/>
                  </a:cubicBezTo>
                  <a:lnTo>
                    <a:pt x="51764" y="198505"/>
                  </a:lnTo>
                  <a:lnTo>
                    <a:pt x="35920" y="182661"/>
                  </a:lnTo>
                  <a:lnTo>
                    <a:pt x="54855" y="163726"/>
                  </a:lnTo>
                  <a:cubicBezTo>
                    <a:pt x="57200" y="161478"/>
                    <a:pt x="57592" y="157872"/>
                    <a:pt x="55786" y="155173"/>
                  </a:cubicBezTo>
                  <a:cubicBezTo>
                    <a:pt x="51615" y="148473"/>
                    <a:pt x="48573" y="141134"/>
                    <a:pt x="46783" y="133447"/>
                  </a:cubicBezTo>
                  <a:cubicBezTo>
                    <a:pt x="46084" y="130396"/>
                    <a:pt x="43372" y="128231"/>
                    <a:pt x="40241" y="128226"/>
                  </a:cubicBezTo>
                  <a:lnTo>
                    <a:pt x="13474" y="128226"/>
                  </a:lnTo>
                  <a:lnTo>
                    <a:pt x="13474" y="105960"/>
                  </a:lnTo>
                  <a:lnTo>
                    <a:pt x="40211" y="105960"/>
                  </a:lnTo>
                  <a:cubicBezTo>
                    <a:pt x="43342" y="105955"/>
                    <a:pt x="46054" y="103790"/>
                    <a:pt x="46753" y="100738"/>
                  </a:cubicBezTo>
                  <a:cubicBezTo>
                    <a:pt x="48543" y="93052"/>
                    <a:pt x="51585" y="85712"/>
                    <a:pt x="55756" y="79012"/>
                  </a:cubicBezTo>
                  <a:cubicBezTo>
                    <a:pt x="57429" y="76365"/>
                    <a:pt x="57042" y="72912"/>
                    <a:pt x="54825" y="70700"/>
                  </a:cubicBezTo>
                  <a:lnTo>
                    <a:pt x="35920" y="51764"/>
                  </a:lnTo>
                  <a:lnTo>
                    <a:pt x="51764" y="35890"/>
                  </a:lnTo>
                  <a:lnTo>
                    <a:pt x="70700" y="54825"/>
                  </a:lnTo>
                  <a:cubicBezTo>
                    <a:pt x="72919" y="57046"/>
                    <a:pt x="76376" y="57444"/>
                    <a:pt x="79042" y="55786"/>
                  </a:cubicBezTo>
                  <a:cubicBezTo>
                    <a:pt x="85742" y="51615"/>
                    <a:pt x="93082" y="48573"/>
                    <a:pt x="100768" y="46783"/>
                  </a:cubicBezTo>
                  <a:cubicBezTo>
                    <a:pt x="103801" y="46063"/>
                    <a:pt x="105947" y="43359"/>
                    <a:pt x="105960" y="40241"/>
                  </a:cubicBezTo>
                  <a:lnTo>
                    <a:pt x="105960" y="13444"/>
                  </a:lnTo>
                  <a:lnTo>
                    <a:pt x="128406" y="13444"/>
                  </a:lnTo>
                  <a:lnTo>
                    <a:pt x="128406" y="40211"/>
                  </a:lnTo>
                  <a:cubicBezTo>
                    <a:pt x="128418" y="43329"/>
                    <a:pt x="130564" y="46033"/>
                    <a:pt x="133597" y="46753"/>
                  </a:cubicBezTo>
                  <a:cubicBezTo>
                    <a:pt x="141284" y="48543"/>
                    <a:pt x="148623" y="51585"/>
                    <a:pt x="155323" y="55756"/>
                  </a:cubicBezTo>
                  <a:cubicBezTo>
                    <a:pt x="157989" y="57414"/>
                    <a:pt x="161446" y="57016"/>
                    <a:pt x="163666" y="54795"/>
                  </a:cubicBezTo>
                  <a:lnTo>
                    <a:pt x="182601" y="35860"/>
                  </a:lnTo>
                  <a:lnTo>
                    <a:pt x="198445" y="51734"/>
                  </a:lnTo>
                  <a:lnTo>
                    <a:pt x="179510" y="70670"/>
                  </a:lnTo>
                  <a:cubicBezTo>
                    <a:pt x="177294" y="72879"/>
                    <a:pt x="176896" y="76325"/>
                    <a:pt x="178550" y="78982"/>
                  </a:cubicBezTo>
                  <a:cubicBezTo>
                    <a:pt x="182730" y="85678"/>
                    <a:pt x="185772" y="93019"/>
                    <a:pt x="187552" y="100708"/>
                  </a:cubicBezTo>
                  <a:cubicBezTo>
                    <a:pt x="188237" y="103761"/>
                    <a:pt x="190936" y="105938"/>
                    <a:pt x="194064" y="105960"/>
                  </a:cubicBezTo>
                  <a:lnTo>
                    <a:pt x="220802" y="105960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72" name="Freeform 471">
              <a:extLst>
                <a:ext uri="{FF2B5EF4-FFF2-40B4-BE49-F238E27FC236}">
                  <a16:creationId xmlns:a16="http://schemas.microsoft.com/office/drawing/2014/main" id="{3ABF55E3-EB4F-FDEF-2754-E78E26790540}"/>
                </a:ext>
              </a:extLst>
            </p:cNvPr>
            <p:cNvSpPr/>
            <p:nvPr/>
          </p:nvSpPr>
          <p:spPr>
            <a:xfrm>
              <a:off x="5533375" y="5489495"/>
              <a:ext cx="123968" cy="123973"/>
            </a:xfrm>
            <a:custGeom>
              <a:avLst/>
              <a:gdLst>
                <a:gd name="connsiteX0" fmla="*/ 122300 w 123968"/>
                <a:gd name="connsiteY0" fmla="*/ 90272 h 123973"/>
                <a:gd name="connsiteX1" fmla="*/ 89681 w 123968"/>
                <a:gd name="connsiteY1" fmla="*/ 57653 h 123973"/>
                <a:gd name="connsiteX2" fmla="*/ 105675 w 123968"/>
                <a:gd name="connsiteY2" fmla="*/ 41659 h 123973"/>
                <a:gd name="connsiteX3" fmla="*/ 105714 w 123968"/>
                <a:gd name="connsiteY3" fmla="*/ 33680 h 123973"/>
                <a:gd name="connsiteX4" fmla="*/ 103485 w 123968"/>
                <a:gd name="connsiteY4" fmla="*/ 32296 h 123973"/>
                <a:gd name="connsiteX5" fmla="*/ 7458 w 123968"/>
                <a:gd name="connsiteY5" fmla="*/ 277 h 123973"/>
                <a:gd name="connsiteX6" fmla="*/ 1666 w 123968"/>
                <a:gd name="connsiteY6" fmla="*/ 1658 h 123973"/>
                <a:gd name="connsiteX7" fmla="*/ 286 w 123968"/>
                <a:gd name="connsiteY7" fmla="*/ 7449 h 123973"/>
                <a:gd name="connsiteX8" fmla="*/ 32305 w 123968"/>
                <a:gd name="connsiteY8" fmla="*/ 103476 h 123973"/>
                <a:gd name="connsiteX9" fmla="*/ 39438 w 123968"/>
                <a:gd name="connsiteY9" fmla="*/ 107050 h 123973"/>
                <a:gd name="connsiteX10" fmla="*/ 41667 w 123968"/>
                <a:gd name="connsiteY10" fmla="*/ 105667 h 123973"/>
                <a:gd name="connsiteX11" fmla="*/ 57662 w 123968"/>
                <a:gd name="connsiteY11" fmla="*/ 89672 h 123973"/>
                <a:gd name="connsiteX12" fmla="*/ 90281 w 123968"/>
                <a:gd name="connsiteY12" fmla="*/ 122291 h 123973"/>
                <a:gd name="connsiteX13" fmla="*/ 98215 w 123968"/>
                <a:gd name="connsiteY13" fmla="*/ 122369 h 123973"/>
                <a:gd name="connsiteX14" fmla="*/ 98293 w 123968"/>
                <a:gd name="connsiteY14" fmla="*/ 122291 h 123973"/>
                <a:gd name="connsiteX15" fmla="*/ 122300 w 123968"/>
                <a:gd name="connsiteY15" fmla="*/ 98285 h 123973"/>
                <a:gd name="connsiteX16" fmla="*/ 122333 w 123968"/>
                <a:gd name="connsiteY16" fmla="*/ 90305 h 123973"/>
                <a:gd name="connsiteX17" fmla="*/ 122300 w 123968"/>
                <a:gd name="connsiteY17" fmla="*/ 90272 h 123973"/>
                <a:gd name="connsiteX18" fmla="*/ 94302 w 123968"/>
                <a:gd name="connsiteY18" fmla="*/ 110288 h 123973"/>
                <a:gd name="connsiteX19" fmla="*/ 61683 w 123968"/>
                <a:gd name="connsiteY19" fmla="*/ 77639 h 123973"/>
                <a:gd name="connsiteX20" fmla="*/ 53701 w 123968"/>
                <a:gd name="connsiteY20" fmla="*/ 77639 h 123973"/>
                <a:gd name="connsiteX21" fmla="*/ 40167 w 123968"/>
                <a:gd name="connsiteY21" fmla="*/ 91173 h 123973"/>
                <a:gd name="connsiteX22" fmla="*/ 14630 w 123968"/>
                <a:gd name="connsiteY22" fmla="*/ 14591 h 123973"/>
                <a:gd name="connsiteX23" fmla="*/ 91211 w 123968"/>
                <a:gd name="connsiteY23" fmla="*/ 40128 h 123973"/>
                <a:gd name="connsiteX24" fmla="*/ 77678 w 123968"/>
                <a:gd name="connsiteY24" fmla="*/ 53662 h 123973"/>
                <a:gd name="connsiteX25" fmla="*/ 77678 w 123968"/>
                <a:gd name="connsiteY25" fmla="*/ 61644 h 123973"/>
                <a:gd name="connsiteX26" fmla="*/ 110297 w 123968"/>
                <a:gd name="connsiteY26" fmla="*/ 94263 h 123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3968" h="123973">
                  <a:moveTo>
                    <a:pt x="122300" y="90272"/>
                  </a:moveTo>
                  <a:lnTo>
                    <a:pt x="89681" y="57653"/>
                  </a:lnTo>
                  <a:lnTo>
                    <a:pt x="105675" y="41659"/>
                  </a:lnTo>
                  <a:cubicBezTo>
                    <a:pt x="107890" y="39465"/>
                    <a:pt x="107908" y="35894"/>
                    <a:pt x="105714" y="33680"/>
                  </a:cubicBezTo>
                  <a:cubicBezTo>
                    <a:pt x="105090" y="33049"/>
                    <a:pt x="104328" y="32575"/>
                    <a:pt x="103485" y="32296"/>
                  </a:cubicBezTo>
                  <a:lnTo>
                    <a:pt x="7458" y="277"/>
                  </a:lnTo>
                  <a:cubicBezTo>
                    <a:pt x="5420" y="-380"/>
                    <a:pt x="3188" y="151"/>
                    <a:pt x="1666" y="1658"/>
                  </a:cubicBezTo>
                  <a:cubicBezTo>
                    <a:pt x="148" y="3173"/>
                    <a:pt x="-386" y="5412"/>
                    <a:pt x="286" y="7449"/>
                  </a:cubicBezTo>
                  <a:lnTo>
                    <a:pt x="32305" y="103476"/>
                  </a:lnTo>
                  <a:cubicBezTo>
                    <a:pt x="33286" y="106432"/>
                    <a:pt x="36482" y="108034"/>
                    <a:pt x="39438" y="107050"/>
                  </a:cubicBezTo>
                  <a:cubicBezTo>
                    <a:pt x="40278" y="106771"/>
                    <a:pt x="41043" y="106297"/>
                    <a:pt x="41667" y="105667"/>
                  </a:cubicBezTo>
                  <a:lnTo>
                    <a:pt x="57662" y="89672"/>
                  </a:lnTo>
                  <a:lnTo>
                    <a:pt x="90281" y="122291"/>
                  </a:lnTo>
                  <a:cubicBezTo>
                    <a:pt x="92451" y="124503"/>
                    <a:pt x="96004" y="124539"/>
                    <a:pt x="98215" y="122369"/>
                  </a:cubicBezTo>
                  <a:cubicBezTo>
                    <a:pt x="98242" y="122342"/>
                    <a:pt x="98269" y="122318"/>
                    <a:pt x="98293" y="122291"/>
                  </a:cubicBezTo>
                  <a:lnTo>
                    <a:pt x="122300" y="98285"/>
                  </a:lnTo>
                  <a:cubicBezTo>
                    <a:pt x="124512" y="96091"/>
                    <a:pt x="124527" y="92520"/>
                    <a:pt x="122333" y="90305"/>
                  </a:cubicBezTo>
                  <a:cubicBezTo>
                    <a:pt x="122324" y="90296"/>
                    <a:pt x="122312" y="90284"/>
                    <a:pt x="122300" y="90272"/>
                  </a:cubicBezTo>
                  <a:close/>
                  <a:moveTo>
                    <a:pt x="94302" y="110288"/>
                  </a:moveTo>
                  <a:lnTo>
                    <a:pt x="61683" y="77639"/>
                  </a:lnTo>
                  <a:cubicBezTo>
                    <a:pt x="59471" y="75448"/>
                    <a:pt x="55912" y="75448"/>
                    <a:pt x="53701" y="77639"/>
                  </a:cubicBezTo>
                  <a:lnTo>
                    <a:pt x="40167" y="91173"/>
                  </a:lnTo>
                  <a:lnTo>
                    <a:pt x="14630" y="14591"/>
                  </a:lnTo>
                  <a:lnTo>
                    <a:pt x="91211" y="40128"/>
                  </a:lnTo>
                  <a:lnTo>
                    <a:pt x="77678" y="53662"/>
                  </a:lnTo>
                  <a:cubicBezTo>
                    <a:pt x="75487" y="55874"/>
                    <a:pt x="75487" y="59433"/>
                    <a:pt x="77678" y="61644"/>
                  </a:cubicBezTo>
                  <a:lnTo>
                    <a:pt x="110297" y="94263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73" name="Freeform 472">
              <a:extLst>
                <a:ext uri="{FF2B5EF4-FFF2-40B4-BE49-F238E27FC236}">
                  <a16:creationId xmlns:a16="http://schemas.microsoft.com/office/drawing/2014/main" id="{793BB9FD-DCCA-BC1E-D493-1F8EC882FCB3}"/>
                </a:ext>
              </a:extLst>
            </p:cNvPr>
            <p:cNvSpPr/>
            <p:nvPr/>
          </p:nvSpPr>
          <p:spPr>
            <a:xfrm>
              <a:off x="5171609" y="5172194"/>
              <a:ext cx="421527" cy="381316"/>
            </a:xfrm>
            <a:custGeom>
              <a:avLst/>
              <a:gdLst>
                <a:gd name="connsiteX0" fmla="*/ 348907 w 421527"/>
                <a:gd name="connsiteY0" fmla="*/ 367873 h 381316"/>
                <a:gd name="connsiteX1" fmla="*/ 13534 w 421527"/>
                <a:gd name="connsiteY1" fmla="*/ 367873 h 381316"/>
                <a:gd name="connsiteX2" fmla="*/ 13534 w 421527"/>
                <a:gd name="connsiteY2" fmla="*/ 367873 h 381316"/>
                <a:gd name="connsiteX3" fmla="*/ 13534 w 421527"/>
                <a:gd name="connsiteY3" fmla="*/ 13534 h 381316"/>
                <a:gd name="connsiteX4" fmla="*/ 13534 w 421527"/>
                <a:gd name="connsiteY4" fmla="*/ 13534 h 381316"/>
                <a:gd name="connsiteX5" fmla="*/ 262393 w 421527"/>
                <a:gd name="connsiteY5" fmla="*/ 13534 h 381316"/>
                <a:gd name="connsiteX6" fmla="*/ 262393 w 421527"/>
                <a:gd name="connsiteY6" fmla="*/ 13534 h 381316"/>
                <a:gd name="connsiteX7" fmla="*/ 262393 w 421527"/>
                <a:gd name="connsiteY7" fmla="*/ 53775 h 381316"/>
                <a:gd name="connsiteX8" fmla="*/ 262393 w 421527"/>
                <a:gd name="connsiteY8" fmla="*/ 53775 h 381316"/>
                <a:gd name="connsiteX9" fmla="*/ 33939 w 421527"/>
                <a:gd name="connsiteY9" fmla="*/ 53775 h 381316"/>
                <a:gd name="connsiteX10" fmla="*/ 26978 w 421527"/>
                <a:gd name="connsiteY10" fmla="*/ 59777 h 381316"/>
                <a:gd name="connsiteX11" fmla="*/ 32840 w 421527"/>
                <a:gd name="connsiteY11" fmla="*/ 67260 h 381316"/>
                <a:gd name="connsiteX12" fmla="*/ 33669 w 421527"/>
                <a:gd name="connsiteY12" fmla="*/ 67309 h 381316"/>
                <a:gd name="connsiteX13" fmla="*/ 387768 w 421527"/>
                <a:gd name="connsiteY13" fmla="*/ 67309 h 381316"/>
                <a:gd name="connsiteX14" fmla="*/ 394730 w 421527"/>
                <a:gd name="connsiteY14" fmla="*/ 61307 h 381316"/>
                <a:gd name="connsiteX15" fmla="*/ 388867 w 421527"/>
                <a:gd name="connsiteY15" fmla="*/ 53824 h 381316"/>
                <a:gd name="connsiteX16" fmla="*/ 388038 w 421527"/>
                <a:gd name="connsiteY16" fmla="*/ 53775 h 381316"/>
                <a:gd name="connsiteX17" fmla="*/ 275987 w 421527"/>
                <a:gd name="connsiteY17" fmla="*/ 53775 h 381316"/>
                <a:gd name="connsiteX18" fmla="*/ 275987 w 421527"/>
                <a:gd name="connsiteY18" fmla="*/ 53775 h 381316"/>
                <a:gd name="connsiteX19" fmla="*/ 275987 w 421527"/>
                <a:gd name="connsiteY19" fmla="*/ 13534 h 381316"/>
                <a:gd name="connsiteX20" fmla="*/ 275987 w 421527"/>
                <a:gd name="connsiteY20" fmla="*/ 13534 h 381316"/>
                <a:gd name="connsiteX21" fmla="*/ 408204 w 421527"/>
                <a:gd name="connsiteY21" fmla="*/ 13534 h 381316"/>
                <a:gd name="connsiteX22" fmla="*/ 408204 w 421527"/>
                <a:gd name="connsiteY22" fmla="*/ 13534 h 381316"/>
                <a:gd name="connsiteX23" fmla="*/ 408204 w 421527"/>
                <a:gd name="connsiteY23" fmla="*/ 303565 h 381316"/>
                <a:gd name="connsiteX24" fmla="*/ 408204 w 421527"/>
                <a:gd name="connsiteY24" fmla="*/ 303565 h 381316"/>
                <a:gd name="connsiteX25" fmla="*/ 421528 w 421527"/>
                <a:gd name="connsiteY25" fmla="*/ 303565 h 381316"/>
                <a:gd name="connsiteX26" fmla="*/ 421528 w 421527"/>
                <a:gd name="connsiteY26" fmla="*/ 303565 h 381316"/>
                <a:gd name="connsiteX27" fmla="*/ 421528 w 421527"/>
                <a:gd name="connsiteY27" fmla="*/ 6782 h 381316"/>
                <a:gd name="connsiteX28" fmla="*/ 414746 w 421527"/>
                <a:gd name="connsiteY28" fmla="*/ 0 h 381316"/>
                <a:gd name="connsiteX29" fmla="*/ 6812 w 421527"/>
                <a:gd name="connsiteY29" fmla="*/ 0 h 381316"/>
                <a:gd name="connsiteX30" fmla="*/ 0 w 421527"/>
                <a:gd name="connsiteY30" fmla="*/ 6782 h 381316"/>
                <a:gd name="connsiteX31" fmla="*/ 0 w 421527"/>
                <a:gd name="connsiteY31" fmla="*/ 374535 h 381316"/>
                <a:gd name="connsiteX32" fmla="*/ 6812 w 421527"/>
                <a:gd name="connsiteY32" fmla="*/ 381316 h 381316"/>
                <a:gd name="connsiteX33" fmla="*/ 348907 w 421527"/>
                <a:gd name="connsiteY33" fmla="*/ 381316 h 381316"/>
                <a:gd name="connsiteX34" fmla="*/ 348907 w 421527"/>
                <a:gd name="connsiteY34" fmla="*/ 367933 h 381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21527" h="381316">
                  <a:moveTo>
                    <a:pt x="348907" y="367873"/>
                  </a:moveTo>
                  <a:lnTo>
                    <a:pt x="13534" y="367873"/>
                  </a:lnTo>
                  <a:lnTo>
                    <a:pt x="13534" y="367873"/>
                  </a:lnTo>
                  <a:lnTo>
                    <a:pt x="13534" y="13534"/>
                  </a:lnTo>
                  <a:lnTo>
                    <a:pt x="13534" y="13534"/>
                  </a:lnTo>
                  <a:lnTo>
                    <a:pt x="262393" y="13534"/>
                  </a:lnTo>
                  <a:lnTo>
                    <a:pt x="262393" y="13534"/>
                  </a:lnTo>
                  <a:lnTo>
                    <a:pt x="262393" y="53775"/>
                  </a:lnTo>
                  <a:lnTo>
                    <a:pt x="262393" y="53775"/>
                  </a:lnTo>
                  <a:lnTo>
                    <a:pt x="33939" y="53775"/>
                  </a:lnTo>
                  <a:cubicBezTo>
                    <a:pt x="30431" y="53715"/>
                    <a:pt x="27435" y="56297"/>
                    <a:pt x="26978" y="59777"/>
                  </a:cubicBezTo>
                  <a:cubicBezTo>
                    <a:pt x="26530" y="63462"/>
                    <a:pt x="29155" y="66812"/>
                    <a:pt x="32840" y="67260"/>
                  </a:cubicBezTo>
                  <a:cubicBezTo>
                    <a:pt x="33115" y="67293"/>
                    <a:pt x="33392" y="67310"/>
                    <a:pt x="33669" y="67309"/>
                  </a:cubicBezTo>
                  <a:lnTo>
                    <a:pt x="387768" y="67309"/>
                  </a:lnTo>
                  <a:cubicBezTo>
                    <a:pt x="391276" y="67369"/>
                    <a:pt x="394274" y="64787"/>
                    <a:pt x="394730" y="61307"/>
                  </a:cubicBezTo>
                  <a:cubicBezTo>
                    <a:pt x="395177" y="57622"/>
                    <a:pt x="392552" y="54271"/>
                    <a:pt x="388867" y="53824"/>
                  </a:cubicBezTo>
                  <a:cubicBezTo>
                    <a:pt x="388593" y="53791"/>
                    <a:pt x="388314" y="53774"/>
                    <a:pt x="388038" y="53775"/>
                  </a:cubicBezTo>
                  <a:lnTo>
                    <a:pt x="275987" y="53775"/>
                  </a:lnTo>
                  <a:lnTo>
                    <a:pt x="275987" y="53775"/>
                  </a:lnTo>
                  <a:lnTo>
                    <a:pt x="275987" y="13534"/>
                  </a:lnTo>
                  <a:lnTo>
                    <a:pt x="275987" y="13534"/>
                  </a:lnTo>
                  <a:lnTo>
                    <a:pt x="408204" y="13534"/>
                  </a:lnTo>
                  <a:lnTo>
                    <a:pt x="408204" y="13534"/>
                  </a:lnTo>
                  <a:lnTo>
                    <a:pt x="408204" y="303565"/>
                  </a:lnTo>
                  <a:lnTo>
                    <a:pt x="408204" y="303565"/>
                  </a:lnTo>
                  <a:lnTo>
                    <a:pt x="421528" y="303565"/>
                  </a:lnTo>
                  <a:lnTo>
                    <a:pt x="421528" y="303565"/>
                  </a:lnTo>
                  <a:lnTo>
                    <a:pt x="421528" y="6782"/>
                  </a:lnTo>
                  <a:cubicBezTo>
                    <a:pt x="421528" y="3036"/>
                    <a:pt x="418491" y="0"/>
                    <a:pt x="414746" y="0"/>
                  </a:cubicBezTo>
                  <a:lnTo>
                    <a:pt x="6812" y="0"/>
                  </a:lnTo>
                  <a:cubicBezTo>
                    <a:pt x="3061" y="0"/>
                    <a:pt x="17" y="3031"/>
                    <a:pt x="0" y="6782"/>
                  </a:cubicBezTo>
                  <a:lnTo>
                    <a:pt x="0" y="374535"/>
                  </a:lnTo>
                  <a:cubicBezTo>
                    <a:pt x="17" y="378286"/>
                    <a:pt x="3061" y="381316"/>
                    <a:pt x="6812" y="381316"/>
                  </a:cubicBezTo>
                  <a:lnTo>
                    <a:pt x="348907" y="381316"/>
                  </a:lnTo>
                  <a:lnTo>
                    <a:pt x="348907" y="367933"/>
                  </a:ln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74" name="Graphic 59">
            <a:extLst>
              <a:ext uri="{FF2B5EF4-FFF2-40B4-BE49-F238E27FC236}">
                <a16:creationId xmlns:a16="http://schemas.microsoft.com/office/drawing/2014/main" id="{16042E36-3C28-DAEB-752C-E97E9457B27E}"/>
              </a:ext>
            </a:extLst>
          </p:cNvPr>
          <p:cNvGrpSpPr/>
          <p:nvPr/>
        </p:nvGrpSpPr>
        <p:grpSpPr>
          <a:xfrm>
            <a:off x="4831317" y="4443114"/>
            <a:ext cx="346402" cy="339013"/>
            <a:chOff x="6330542" y="5097651"/>
            <a:chExt cx="483613" cy="483613"/>
          </a:xfrm>
          <a:solidFill>
            <a:schemeClr val="bg1"/>
          </a:solidFill>
        </p:grpSpPr>
        <p:sp>
          <p:nvSpPr>
            <p:cNvPr id="475" name="Freeform 474">
              <a:extLst>
                <a:ext uri="{FF2B5EF4-FFF2-40B4-BE49-F238E27FC236}">
                  <a16:creationId xmlns:a16="http://schemas.microsoft.com/office/drawing/2014/main" id="{D75529AC-3C31-A789-BFF9-A76A3F3AADF9}"/>
                </a:ext>
              </a:extLst>
            </p:cNvPr>
            <p:cNvSpPr/>
            <p:nvPr/>
          </p:nvSpPr>
          <p:spPr>
            <a:xfrm>
              <a:off x="6333174" y="5101597"/>
              <a:ext cx="484226" cy="484232"/>
            </a:xfrm>
            <a:custGeom>
              <a:avLst/>
              <a:gdLst>
                <a:gd name="connsiteX0" fmla="*/ 471550 w 484226"/>
                <a:gd name="connsiteY0" fmla="*/ 373574 h 484232"/>
                <a:gd name="connsiteX1" fmla="*/ 373528 w 484226"/>
                <a:gd name="connsiteY1" fmla="*/ 308196 h 484232"/>
                <a:gd name="connsiteX2" fmla="*/ 335232 w 484226"/>
                <a:gd name="connsiteY2" fmla="*/ 314422 h 484232"/>
                <a:gd name="connsiteX3" fmla="*/ 306668 w 484226"/>
                <a:gd name="connsiteY3" fmla="*/ 351147 h 484232"/>
                <a:gd name="connsiteX4" fmla="*/ 291041 w 484226"/>
                <a:gd name="connsiteY4" fmla="*/ 354441 h 484232"/>
                <a:gd name="connsiteX5" fmla="*/ 285601 w 484226"/>
                <a:gd name="connsiteY5" fmla="*/ 351419 h 484232"/>
                <a:gd name="connsiteX6" fmla="*/ 200062 w 484226"/>
                <a:gd name="connsiteY6" fmla="*/ 284227 h 484232"/>
                <a:gd name="connsiteX7" fmla="*/ 132870 w 484226"/>
                <a:gd name="connsiteY7" fmla="*/ 198688 h 484232"/>
                <a:gd name="connsiteX8" fmla="*/ 129847 w 484226"/>
                <a:gd name="connsiteY8" fmla="*/ 193247 h 484232"/>
                <a:gd name="connsiteX9" fmla="*/ 133051 w 484226"/>
                <a:gd name="connsiteY9" fmla="*/ 177560 h 484232"/>
                <a:gd name="connsiteX10" fmla="*/ 169745 w 484226"/>
                <a:gd name="connsiteY10" fmla="*/ 148997 h 484232"/>
                <a:gd name="connsiteX11" fmla="*/ 175972 w 484226"/>
                <a:gd name="connsiteY11" fmla="*/ 110700 h 484232"/>
                <a:gd name="connsiteX12" fmla="*/ 110684 w 484226"/>
                <a:gd name="connsiteY12" fmla="*/ 12708 h 484232"/>
                <a:gd name="connsiteX13" fmla="*/ 72297 w 484226"/>
                <a:gd name="connsiteY13" fmla="*/ 4064 h 484232"/>
                <a:gd name="connsiteX14" fmla="*/ 31311 w 484226"/>
                <a:gd name="connsiteY14" fmla="*/ 28698 h 484232"/>
                <a:gd name="connsiteX15" fmla="*/ 4954 w 484226"/>
                <a:gd name="connsiteY15" fmla="*/ 62913 h 484232"/>
                <a:gd name="connsiteX16" fmla="*/ 137948 w 484226"/>
                <a:gd name="connsiteY16" fmla="*/ 346250 h 484232"/>
                <a:gd name="connsiteX17" fmla="*/ 383321 w 484226"/>
                <a:gd name="connsiteY17" fmla="*/ 484231 h 484232"/>
                <a:gd name="connsiteX18" fmla="*/ 421254 w 484226"/>
                <a:gd name="connsiteY18" fmla="*/ 479274 h 484232"/>
                <a:gd name="connsiteX19" fmla="*/ 455470 w 484226"/>
                <a:gd name="connsiteY19" fmla="*/ 452917 h 484232"/>
                <a:gd name="connsiteX20" fmla="*/ 480134 w 484226"/>
                <a:gd name="connsiteY20" fmla="*/ 411961 h 484232"/>
                <a:gd name="connsiteX21" fmla="*/ 471550 w 484226"/>
                <a:gd name="connsiteY21" fmla="*/ 373574 h 484232"/>
                <a:gd name="connsiteX22" fmla="*/ 466291 w 484226"/>
                <a:gd name="connsiteY22" fmla="*/ 403800 h 484232"/>
                <a:gd name="connsiteX23" fmla="*/ 441687 w 484226"/>
                <a:gd name="connsiteY23" fmla="*/ 444665 h 484232"/>
                <a:gd name="connsiteX24" fmla="*/ 417083 w 484226"/>
                <a:gd name="connsiteY24" fmla="*/ 463738 h 484232"/>
                <a:gd name="connsiteX25" fmla="*/ 149434 w 484226"/>
                <a:gd name="connsiteY25" fmla="*/ 334825 h 484232"/>
                <a:gd name="connsiteX26" fmla="*/ 20520 w 484226"/>
                <a:gd name="connsiteY26" fmla="*/ 67175 h 484232"/>
                <a:gd name="connsiteX27" fmla="*/ 39684 w 484226"/>
                <a:gd name="connsiteY27" fmla="*/ 42541 h 484232"/>
                <a:gd name="connsiteX28" fmla="*/ 80609 w 484226"/>
                <a:gd name="connsiteY28" fmla="*/ 17937 h 484232"/>
                <a:gd name="connsiteX29" fmla="*/ 97264 w 484226"/>
                <a:gd name="connsiteY29" fmla="*/ 21685 h 484232"/>
                <a:gd name="connsiteX30" fmla="*/ 132779 w 484226"/>
                <a:gd name="connsiteY30" fmla="*/ 75004 h 484232"/>
                <a:gd name="connsiteX31" fmla="*/ 162582 w 484226"/>
                <a:gd name="connsiteY31" fmla="*/ 119708 h 484232"/>
                <a:gd name="connsiteX32" fmla="*/ 159861 w 484226"/>
                <a:gd name="connsiteY32" fmla="*/ 136332 h 484232"/>
                <a:gd name="connsiteX33" fmla="*/ 123167 w 484226"/>
                <a:gd name="connsiteY33" fmla="*/ 164865 h 484232"/>
                <a:gd name="connsiteX34" fmla="*/ 115702 w 484226"/>
                <a:gd name="connsiteY34" fmla="*/ 201136 h 484232"/>
                <a:gd name="connsiteX35" fmla="*/ 118724 w 484226"/>
                <a:gd name="connsiteY35" fmla="*/ 206426 h 484232"/>
                <a:gd name="connsiteX36" fmla="*/ 188576 w 484226"/>
                <a:gd name="connsiteY36" fmla="*/ 295652 h 484232"/>
                <a:gd name="connsiteX37" fmla="*/ 277803 w 484226"/>
                <a:gd name="connsiteY37" fmla="*/ 365595 h 484232"/>
                <a:gd name="connsiteX38" fmla="*/ 283122 w 484226"/>
                <a:gd name="connsiteY38" fmla="*/ 368617 h 484232"/>
                <a:gd name="connsiteX39" fmla="*/ 319393 w 484226"/>
                <a:gd name="connsiteY39" fmla="*/ 361152 h 484232"/>
                <a:gd name="connsiteX40" fmla="*/ 347926 w 484226"/>
                <a:gd name="connsiteY40" fmla="*/ 324457 h 484232"/>
                <a:gd name="connsiteX41" fmla="*/ 364551 w 484226"/>
                <a:gd name="connsiteY41" fmla="*/ 321737 h 484232"/>
                <a:gd name="connsiteX42" fmla="*/ 462573 w 484226"/>
                <a:gd name="connsiteY42" fmla="*/ 387115 h 484232"/>
                <a:gd name="connsiteX43" fmla="*/ 466291 w 484226"/>
                <a:gd name="connsiteY43" fmla="*/ 403679 h 484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84226" h="484232">
                  <a:moveTo>
                    <a:pt x="471550" y="373574"/>
                  </a:moveTo>
                  <a:lnTo>
                    <a:pt x="373528" y="308196"/>
                  </a:lnTo>
                  <a:cubicBezTo>
                    <a:pt x="361090" y="299984"/>
                    <a:pt x="344429" y="302692"/>
                    <a:pt x="335232" y="314422"/>
                  </a:cubicBezTo>
                  <a:lnTo>
                    <a:pt x="306668" y="351147"/>
                  </a:lnTo>
                  <a:cubicBezTo>
                    <a:pt x="303029" y="356019"/>
                    <a:pt x="296338" y="357431"/>
                    <a:pt x="291041" y="354441"/>
                  </a:cubicBezTo>
                  <a:lnTo>
                    <a:pt x="285601" y="351419"/>
                  </a:lnTo>
                  <a:cubicBezTo>
                    <a:pt x="253548" y="333936"/>
                    <a:pt x="224638" y="311228"/>
                    <a:pt x="200062" y="284227"/>
                  </a:cubicBezTo>
                  <a:cubicBezTo>
                    <a:pt x="173093" y="259622"/>
                    <a:pt x="150387" y="230717"/>
                    <a:pt x="132870" y="198688"/>
                  </a:cubicBezTo>
                  <a:lnTo>
                    <a:pt x="129847" y="193247"/>
                  </a:lnTo>
                  <a:cubicBezTo>
                    <a:pt x="126804" y="187959"/>
                    <a:pt x="128178" y="181231"/>
                    <a:pt x="133051" y="177560"/>
                  </a:cubicBezTo>
                  <a:lnTo>
                    <a:pt x="169745" y="148997"/>
                  </a:lnTo>
                  <a:cubicBezTo>
                    <a:pt x="181475" y="139799"/>
                    <a:pt x="184184" y="123140"/>
                    <a:pt x="175972" y="110700"/>
                  </a:cubicBezTo>
                  <a:lnTo>
                    <a:pt x="110684" y="12708"/>
                  </a:lnTo>
                  <a:cubicBezTo>
                    <a:pt x="102249" y="40"/>
                    <a:pt x="85349" y="-3765"/>
                    <a:pt x="72297" y="4064"/>
                  </a:cubicBezTo>
                  <a:lnTo>
                    <a:pt x="31311" y="28698"/>
                  </a:lnTo>
                  <a:cubicBezTo>
                    <a:pt x="18434" y="36268"/>
                    <a:pt x="8988" y="48530"/>
                    <a:pt x="4954" y="62913"/>
                  </a:cubicBezTo>
                  <a:cubicBezTo>
                    <a:pt x="-9796" y="116685"/>
                    <a:pt x="1297" y="209509"/>
                    <a:pt x="137948" y="346250"/>
                  </a:cubicBezTo>
                  <a:cubicBezTo>
                    <a:pt x="246761" y="455063"/>
                    <a:pt x="327675" y="484231"/>
                    <a:pt x="383321" y="484231"/>
                  </a:cubicBezTo>
                  <a:cubicBezTo>
                    <a:pt x="396131" y="484294"/>
                    <a:pt x="408892" y="482626"/>
                    <a:pt x="421254" y="479274"/>
                  </a:cubicBezTo>
                  <a:cubicBezTo>
                    <a:pt x="435642" y="475248"/>
                    <a:pt x="447907" y="465802"/>
                    <a:pt x="455470" y="452917"/>
                  </a:cubicBezTo>
                  <a:lnTo>
                    <a:pt x="480134" y="411961"/>
                  </a:lnTo>
                  <a:cubicBezTo>
                    <a:pt x="487993" y="398928"/>
                    <a:pt x="484212" y="382019"/>
                    <a:pt x="471550" y="373574"/>
                  </a:cubicBezTo>
                  <a:close/>
                  <a:moveTo>
                    <a:pt x="466291" y="403800"/>
                  </a:moveTo>
                  <a:lnTo>
                    <a:pt x="441687" y="444665"/>
                  </a:lnTo>
                  <a:cubicBezTo>
                    <a:pt x="436255" y="453960"/>
                    <a:pt x="427438" y="460794"/>
                    <a:pt x="417083" y="463738"/>
                  </a:cubicBezTo>
                  <a:cubicBezTo>
                    <a:pt x="367422" y="477370"/>
                    <a:pt x="280704" y="466065"/>
                    <a:pt x="149434" y="334825"/>
                  </a:cubicBezTo>
                  <a:cubicBezTo>
                    <a:pt x="18163" y="203584"/>
                    <a:pt x="6889" y="116957"/>
                    <a:pt x="20520" y="67175"/>
                  </a:cubicBezTo>
                  <a:cubicBezTo>
                    <a:pt x="23491" y="56799"/>
                    <a:pt x="30357" y="47973"/>
                    <a:pt x="39684" y="42541"/>
                  </a:cubicBezTo>
                  <a:lnTo>
                    <a:pt x="80609" y="17937"/>
                  </a:lnTo>
                  <a:cubicBezTo>
                    <a:pt x="86271" y="14538"/>
                    <a:pt x="93604" y="16188"/>
                    <a:pt x="97264" y="21685"/>
                  </a:cubicBezTo>
                  <a:lnTo>
                    <a:pt x="132779" y="75004"/>
                  </a:lnTo>
                  <a:lnTo>
                    <a:pt x="162582" y="119708"/>
                  </a:lnTo>
                  <a:cubicBezTo>
                    <a:pt x="166144" y="125111"/>
                    <a:pt x="164961" y="132345"/>
                    <a:pt x="159861" y="136332"/>
                  </a:cubicBezTo>
                  <a:lnTo>
                    <a:pt x="123167" y="164865"/>
                  </a:lnTo>
                  <a:cubicBezTo>
                    <a:pt x="111989" y="173407"/>
                    <a:pt x="108805" y="188874"/>
                    <a:pt x="115702" y="201136"/>
                  </a:cubicBezTo>
                  <a:lnTo>
                    <a:pt x="118724" y="206426"/>
                  </a:lnTo>
                  <a:cubicBezTo>
                    <a:pt x="136895" y="239838"/>
                    <a:pt x="160502" y="269993"/>
                    <a:pt x="188576" y="295652"/>
                  </a:cubicBezTo>
                  <a:cubicBezTo>
                    <a:pt x="214221" y="323765"/>
                    <a:pt x="244378" y="347405"/>
                    <a:pt x="277803" y="365595"/>
                  </a:cubicBezTo>
                  <a:lnTo>
                    <a:pt x="283122" y="368617"/>
                  </a:lnTo>
                  <a:cubicBezTo>
                    <a:pt x="295386" y="375500"/>
                    <a:pt x="310845" y="372317"/>
                    <a:pt x="319393" y="361152"/>
                  </a:cubicBezTo>
                  <a:lnTo>
                    <a:pt x="347926" y="324457"/>
                  </a:lnTo>
                  <a:cubicBezTo>
                    <a:pt x="351913" y="319358"/>
                    <a:pt x="359146" y="318173"/>
                    <a:pt x="364551" y="321737"/>
                  </a:cubicBezTo>
                  <a:lnTo>
                    <a:pt x="462573" y="387115"/>
                  </a:lnTo>
                  <a:cubicBezTo>
                    <a:pt x="468008" y="390779"/>
                    <a:pt x="469637" y="398045"/>
                    <a:pt x="466291" y="403679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76" name="Freeform 475">
              <a:extLst>
                <a:ext uri="{FF2B5EF4-FFF2-40B4-BE49-F238E27FC236}">
                  <a16:creationId xmlns:a16="http://schemas.microsoft.com/office/drawing/2014/main" id="{077E633A-CA9E-9ADF-889C-716ABBE570E1}"/>
                </a:ext>
              </a:extLst>
            </p:cNvPr>
            <p:cNvSpPr/>
            <p:nvPr/>
          </p:nvSpPr>
          <p:spPr>
            <a:xfrm>
              <a:off x="6599491" y="5166203"/>
              <a:ext cx="161284" cy="161405"/>
            </a:xfrm>
            <a:custGeom>
              <a:avLst/>
              <a:gdLst>
                <a:gd name="connsiteX0" fmla="*/ 8070 w 161284"/>
                <a:gd name="connsiteY0" fmla="*/ 16080 h 161405"/>
                <a:gd name="connsiteX1" fmla="*/ 145144 w 161284"/>
                <a:gd name="connsiteY1" fmla="*/ 153336 h 161405"/>
                <a:gd name="connsiteX2" fmla="*/ 153215 w 161284"/>
                <a:gd name="connsiteY2" fmla="*/ 161406 h 161405"/>
                <a:gd name="connsiteX3" fmla="*/ 161285 w 161284"/>
                <a:gd name="connsiteY3" fmla="*/ 153336 h 161405"/>
                <a:gd name="connsiteX4" fmla="*/ 8070 w 161284"/>
                <a:gd name="connsiteY4" fmla="*/ 0 h 161405"/>
                <a:gd name="connsiteX5" fmla="*/ 0 w 161284"/>
                <a:gd name="connsiteY5" fmla="*/ 8070 h 161405"/>
                <a:gd name="connsiteX6" fmla="*/ 8070 w 161284"/>
                <a:gd name="connsiteY6" fmla="*/ 16141 h 16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1284" h="161405">
                  <a:moveTo>
                    <a:pt x="8070" y="16080"/>
                  </a:moveTo>
                  <a:cubicBezTo>
                    <a:pt x="83789" y="16213"/>
                    <a:pt x="145111" y="77616"/>
                    <a:pt x="145144" y="153336"/>
                  </a:cubicBezTo>
                  <a:cubicBezTo>
                    <a:pt x="145144" y="157793"/>
                    <a:pt x="148756" y="161406"/>
                    <a:pt x="153215" y="161406"/>
                  </a:cubicBezTo>
                  <a:cubicBezTo>
                    <a:pt x="157673" y="161406"/>
                    <a:pt x="161285" y="157793"/>
                    <a:pt x="161285" y="153336"/>
                  </a:cubicBezTo>
                  <a:cubicBezTo>
                    <a:pt x="161200" y="68732"/>
                    <a:pt x="92672" y="150"/>
                    <a:pt x="8070" y="0"/>
                  </a:cubicBezTo>
                  <a:cubicBezTo>
                    <a:pt x="3613" y="0"/>
                    <a:pt x="0" y="3613"/>
                    <a:pt x="0" y="8070"/>
                  </a:cubicBezTo>
                  <a:cubicBezTo>
                    <a:pt x="0" y="12527"/>
                    <a:pt x="3613" y="16141"/>
                    <a:pt x="8070" y="16141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77" name="Freeform 476">
              <a:extLst>
                <a:ext uri="{FF2B5EF4-FFF2-40B4-BE49-F238E27FC236}">
                  <a16:creationId xmlns:a16="http://schemas.microsoft.com/office/drawing/2014/main" id="{AC9B3980-1F8C-46F9-5982-CFEED36150DE}"/>
                </a:ext>
              </a:extLst>
            </p:cNvPr>
            <p:cNvSpPr/>
            <p:nvPr/>
          </p:nvSpPr>
          <p:spPr>
            <a:xfrm>
              <a:off x="6599491" y="5214624"/>
              <a:ext cx="112923" cy="112984"/>
            </a:xfrm>
            <a:custGeom>
              <a:avLst/>
              <a:gdLst>
                <a:gd name="connsiteX0" fmla="*/ 8070 w 112923"/>
                <a:gd name="connsiteY0" fmla="*/ 16020 h 112984"/>
                <a:gd name="connsiteX1" fmla="*/ 96783 w 112923"/>
                <a:gd name="connsiteY1" fmla="*/ 104914 h 112984"/>
                <a:gd name="connsiteX2" fmla="*/ 104853 w 112923"/>
                <a:gd name="connsiteY2" fmla="*/ 112984 h 112984"/>
                <a:gd name="connsiteX3" fmla="*/ 112924 w 112923"/>
                <a:gd name="connsiteY3" fmla="*/ 104914 h 112984"/>
                <a:gd name="connsiteX4" fmla="*/ 8070 w 112923"/>
                <a:gd name="connsiteY4" fmla="*/ 0 h 112984"/>
                <a:gd name="connsiteX5" fmla="*/ 0 w 112923"/>
                <a:gd name="connsiteY5" fmla="*/ 8070 h 112984"/>
                <a:gd name="connsiteX6" fmla="*/ 8070 w 112923"/>
                <a:gd name="connsiteY6" fmla="*/ 16141 h 112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923" h="112984">
                  <a:moveTo>
                    <a:pt x="8070" y="16020"/>
                  </a:moveTo>
                  <a:cubicBezTo>
                    <a:pt x="57103" y="16103"/>
                    <a:pt x="96801" y="55883"/>
                    <a:pt x="96783" y="104914"/>
                  </a:cubicBezTo>
                  <a:cubicBezTo>
                    <a:pt x="96783" y="109371"/>
                    <a:pt x="100395" y="112984"/>
                    <a:pt x="104853" y="112984"/>
                  </a:cubicBezTo>
                  <a:cubicBezTo>
                    <a:pt x="109312" y="112984"/>
                    <a:pt x="112924" y="109371"/>
                    <a:pt x="112924" y="104914"/>
                  </a:cubicBezTo>
                  <a:cubicBezTo>
                    <a:pt x="112857" y="47023"/>
                    <a:pt x="65962" y="100"/>
                    <a:pt x="8070" y="0"/>
                  </a:cubicBezTo>
                  <a:cubicBezTo>
                    <a:pt x="3613" y="0"/>
                    <a:pt x="0" y="3613"/>
                    <a:pt x="0" y="8070"/>
                  </a:cubicBezTo>
                  <a:cubicBezTo>
                    <a:pt x="0" y="12527"/>
                    <a:pt x="3613" y="16141"/>
                    <a:pt x="8070" y="16141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78" name="Freeform 477">
              <a:extLst>
                <a:ext uri="{FF2B5EF4-FFF2-40B4-BE49-F238E27FC236}">
                  <a16:creationId xmlns:a16="http://schemas.microsoft.com/office/drawing/2014/main" id="{469A31AC-6BBD-C715-0E9A-897563027120}"/>
                </a:ext>
              </a:extLst>
            </p:cNvPr>
            <p:cNvSpPr/>
            <p:nvPr/>
          </p:nvSpPr>
          <p:spPr>
            <a:xfrm>
              <a:off x="6599491" y="5263046"/>
              <a:ext cx="64562" cy="64562"/>
            </a:xfrm>
            <a:custGeom>
              <a:avLst/>
              <a:gdLst>
                <a:gd name="connsiteX0" fmla="*/ 8070 w 64562"/>
                <a:gd name="connsiteY0" fmla="*/ 16141 h 64562"/>
                <a:gd name="connsiteX1" fmla="*/ 48422 w 64562"/>
                <a:gd name="connsiteY1" fmla="*/ 56492 h 64562"/>
                <a:gd name="connsiteX2" fmla="*/ 56492 w 64562"/>
                <a:gd name="connsiteY2" fmla="*/ 64562 h 64562"/>
                <a:gd name="connsiteX3" fmla="*/ 64562 w 64562"/>
                <a:gd name="connsiteY3" fmla="*/ 56492 h 64562"/>
                <a:gd name="connsiteX4" fmla="*/ 8070 w 64562"/>
                <a:gd name="connsiteY4" fmla="*/ 0 h 64562"/>
                <a:gd name="connsiteX5" fmla="*/ 0 w 64562"/>
                <a:gd name="connsiteY5" fmla="*/ 8070 h 64562"/>
                <a:gd name="connsiteX6" fmla="*/ 8070 w 64562"/>
                <a:gd name="connsiteY6" fmla="*/ 16141 h 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562" h="64562">
                  <a:moveTo>
                    <a:pt x="8070" y="16141"/>
                  </a:moveTo>
                  <a:cubicBezTo>
                    <a:pt x="30356" y="16141"/>
                    <a:pt x="48422" y="34207"/>
                    <a:pt x="48422" y="56492"/>
                  </a:cubicBezTo>
                  <a:cubicBezTo>
                    <a:pt x="48422" y="60949"/>
                    <a:pt x="52034" y="64562"/>
                    <a:pt x="56492" y="64562"/>
                  </a:cubicBezTo>
                  <a:cubicBezTo>
                    <a:pt x="60950" y="64562"/>
                    <a:pt x="64562" y="60949"/>
                    <a:pt x="64562" y="56492"/>
                  </a:cubicBezTo>
                  <a:cubicBezTo>
                    <a:pt x="64529" y="25306"/>
                    <a:pt x="39257" y="33"/>
                    <a:pt x="8070" y="0"/>
                  </a:cubicBezTo>
                  <a:cubicBezTo>
                    <a:pt x="3613" y="0"/>
                    <a:pt x="0" y="3613"/>
                    <a:pt x="0" y="8070"/>
                  </a:cubicBezTo>
                  <a:cubicBezTo>
                    <a:pt x="0" y="12527"/>
                    <a:pt x="3613" y="16141"/>
                    <a:pt x="8070" y="16141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79" name="Graphic 61">
            <a:extLst>
              <a:ext uri="{FF2B5EF4-FFF2-40B4-BE49-F238E27FC236}">
                <a16:creationId xmlns:a16="http://schemas.microsoft.com/office/drawing/2014/main" id="{F787A0D5-FB55-1E99-1952-7226ED6C8419}"/>
              </a:ext>
            </a:extLst>
          </p:cNvPr>
          <p:cNvGrpSpPr/>
          <p:nvPr/>
        </p:nvGrpSpPr>
        <p:grpSpPr>
          <a:xfrm>
            <a:off x="4775059" y="2582750"/>
            <a:ext cx="313381" cy="306697"/>
            <a:chOff x="6252000" y="2443780"/>
            <a:chExt cx="437513" cy="437513"/>
          </a:xfrm>
          <a:solidFill>
            <a:schemeClr val="bg1"/>
          </a:solidFill>
        </p:grpSpPr>
        <p:sp>
          <p:nvSpPr>
            <p:cNvPr id="480" name="Freeform 479">
              <a:extLst>
                <a:ext uri="{FF2B5EF4-FFF2-40B4-BE49-F238E27FC236}">
                  <a16:creationId xmlns:a16="http://schemas.microsoft.com/office/drawing/2014/main" id="{75B97D54-11EF-B874-569B-DF953966A1EC}"/>
                </a:ext>
              </a:extLst>
            </p:cNvPr>
            <p:cNvSpPr/>
            <p:nvPr/>
          </p:nvSpPr>
          <p:spPr>
            <a:xfrm>
              <a:off x="6362921" y="2447552"/>
              <a:ext cx="214645" cy="439400"/>
            </a:xfrm>
            <a:custGeom>
              <a:avLst/>
              <a:gdLst>
                <a:gd name="connsiteX0" fmla="*/ 165258 w 214645"/>
                <a:gd name="connsiteY0" fmla="*/ 241672 h 439400"/>
                <a:gd name="connsiteX1" fmla="*/ 165258 w 214645"/>
                <a:gd name="connsiteY1" fmla="*/ 56577 h 439400"/>
                <a:gd name="connsiteX2" fmla="*/ 106181 w 214645"/>
                <a:gd name="connsiteY2" fmla="*/ 14 h 439400"/>
                <a:gd name="connsiteX3" fmla="*/ 49618 w 214645"/>
                <a:gd name="connsiteY3" fmla="*/ 56577 h 439400"/>
                <a:gd name="connsiteX4" fmla="*/ 49618 w 214645"/>
                <a:gd name="connsiteY4" fmla="*/ 241590 h 439400"/>
                <a:gd name="connsiteX5" fmla="*/ 16857 w 214645"/>
                <a:gd name="connsiteY5" fmla="*/ 389795 h 439400"/>
                <a:gd name="connsiteX6" fmla="*/ 107042 w 214645"/>
                <a:gd name="connsiteY6" fmla="*/ 439400 h 439400"/>
                <a:gd name="connsiteX7" fmla="*/ 107616 w 214645"/>
                <a:gd name="connsiteY7" fmla="*/ 439400 h 439400"/>
                <a:gd name="connsiteX8" fmla="*/ 214645 w 214645"/>
                <a:gd name="connsiteY8" fmla="*/ 331775 h 439400"/>
                <a:gd name="connsiteX9" fmla="*/ 165040 w 214645"/>
                <a:gd name="connsiteY9" fmla="*/ 241590 h 439400"/>
                <a:gd name="connsiteX10" fmla="*/ 62197 w 214645"/>
                <a:gd name="connsiteY10" fmla="*/ 410907 h 439400"/>
                <a:gd name="connsiteX11" fmla="*/ 28880 w 214645"/>
                <a:gd name="connsiteY11" fmla="*/ 286637 h 439400"/>
                <a:gd name="connsiteX12" fmla="*/ 62197 w 214645"/>
                <a:gd name="connsiteY12" fmla="*/ 253321 h 439400"/>
                <a:gd name="connsiteX13" fmla="*/ 66298 w 214645"/>
                <a:gd name="connsiteY13" fmla="*/ 246184 h 439400"/>
                <a:gd name="connsiteX14" fmla="*/ 66298 w 214645"/>
                <a:gd name="connsiteY14" fmla="*/ 56577 h 439400"/>
                <a:gd name="connsiteX15" fmla="*/ 108748 w 214645"/>
                <a:gd name="connsiteY15" fmla="*/ 16254 h 439400"/>
                <a:gd name="connsiteX16" fmla="*/ 149070 w 214645"/>
                <a:gd name="connsiteY16" fmla="*/ 56577 h 439400"/>
                <a:gd name="connsiteX17" fmla="*/ 149070 w 214645"/>
                <a:gd name="connsiteY17" fmla="*/ 246184 h 439400"/>
                <a:gd name="connsiteX18" fmla="*/ 153172 w 214645"/>
                <a:gd name="connsiteY18" fmla="*/ 253321 h 439400"/>
                <a:gd name="connsiteX19" fmla="*/ 186478 w 214645"/>
                <a:gd name="connsiteY19" fmla="*/ 377602 h 439400"/>
                <a:gd name="connsiteX20" fmla="*/ 62197 w 214645"/>
                <a:gd name="connsiteY20" fmla="*/ 410907 h 43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4645" h="439400">
                  <a:moveTo>
                    <a:pt x="165258" y="241672"/>
                  </a:moveTo>
                  <a:lnTo>
                    <a:pt x="165258" y="56577"/>
                  </a:lnTo>
                  <a:cubicBezTo>
                    <a:pt x="164564" y="24643"/>
                    <a:pt x="138114" y="-681"/>
                    <a:pt x="106181" y="14"/>
                  </a:cubicBezTo>
                  <a:cubicBezTo>
                    <a:pt x="75225" y="687"/>
                    <a:pt x="50292" y="25621"/>
                    <a:pt x="49618" y="56577"/>
                  </a:cubicBezTo>
                  <a:lnTo>
                    <a:pt x="49618" y="241590"/>
                  </a:lnTo>
                  <a:cubicBezTo>
                    <a:pt x="-354" y="273468"/>
                    <a:pt x="-15022" y="339822"/>
                    <a:pt x="16857" y="389795"/>
                  </a:cubicBezTo>
                  <a:cubicBezTo>
                    <a:pt x="36513" y="420607"/>
                    <a:pt x="70496" y="439299"/>
                    <a:pt x="107042" y="439400"/>
                  </a:cubicBezTo>
                  <a:lnTo>
                    <a:pt x="107616" y="439400"/>
                  </a:lnTo>
                  <a:cubicBezTo>
                    <a:pt x="166891" y="439236"/>
                    <a:pt x="214810" y="391050"/>
                    <a:pt x="214645" y="331775"/>
                  </a:cubicBezTo>
                  <a:cubicBezTo>
                    <a:pt x="214542" y="295229"/>
                    <a:pt x="195852" y="261245"/>
                    <a:pt x="165040" y="241590"/>
                  </a:cubicBezTo>
                  <a:close/>
                  <a:moveTo>
                    <a:pt x="62197" y="410907"/>
                  </a:moveTo>
                  <a:cubicBezTo>
                    <a:pt x="18680" y="385791"/>
                    <a:pt x="3764" y="330153"/>
                    <a:pt x="28880" y="286637"/>
                  </a:cubicBezTo>
                  <a:cubicBezTo>
                    <a:pt x="36867" y="272798"/>
                    <a:pt x="48358" y="261308"/>
                    <a:pt x="62197" y="253321"/>
                  </a:cubicBezTo>
                  <a:cubicBezTo>
                    <a:pt x="64745" y="251850"/>
                    <a:pt x="66310" y="249126"/>
                    <a:pt x="66298" y="246184"/>
                  </a:cubicBezTo>
                  <a:lnTo>
                    <a:pt x="66298" y="56577"/>
                  </a:lnTo>
                  <a:cubicBezTo>
                    <a:pt x="66886" y="33720"/>
                    <a:pt x="85891" y="15667"/>
                    <a:pt x="108748" y="16254"/>
                  </a:cubicBezTo>
                  <a:cubicBezTo>
                    <a:pt x="130779" y="16821"/>
                    <a:pt x="148504" y="34546"/>
                    <a:pt x="149070" y="56577"/>
                  </a:cubicBezTo>
                  <a:lnTo>
                    <a:pt x="149070" y="246184"/>
                  </a:lnTo>
                  <a:cubicBezTo>
                    <a:pt x="149059" y="249126"/>
                    <a:pt x="150624" y="251850"/>
                    <a:pt x="153172" y="253321"/>
                  </a:cubicBezTo>
                  <a:cubicBezTo>
                    <a:pt x="196688" y="278442"/>
                    <a:pt x="211599" y="334086"/>
                    <a:pt x="186478" y="377602"/>
                  </a:cubicBezTo>
                  <a:cubicBezTo>
                    <a:pt x="161356" y="421118"/>
                    <a:pt x="105713" y="436029"/>
                    <a:pt x="62197" y="410907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81" name="Freeform 480">
              <a:extLst>
                <a:ext uri="{FF2B5EF4-FFF2-40B4-BE49-F238E27FC236}">
                  <a16:creationId xmlns:a16="http://schemas.microsoft.com/office/drawing/2014/main" id="{CAFB596B-1DC4-5080-83C5-14222BFA62F5}"/>
                </a:ext>
              </a:extLst>
            </p:cNvPr>
            <p:cNvSpPr/>
            <p:nvPr/>
          </p:nvSpPr>
          <p:spPr>
            <a:xfrm>
              <a:off x="6413626" y="2587721"/>
              <a:ext cx="113932" cy="246226"/>
            </a:xfrm>
            <a:custGeom>
              <a:avLst/>
              <a:gdLst>
                <a:gd name="connsiteX0" fmla="*/ 65169 w 113932"/>
                <a:gd name="connsiteY0" fmla="*/ 132895 h 246226"/>
                <a:gd name="connsiteX1" fmla="*/ 65169 w 113932"/>
                <a:gd name="connsiteY1" fmla="*/ 8203 h 246226"/>
                <a:gd name="connsiteX2" fmla="*/ 56966 w 113932"/>
                <a:gd name="connsiteY2" fmla="*/ 0 h 246226"/>
                <a:gd name="connsiteX3" fmla="*/ 48763 w 113932"/>
                <a:gd name="connsiteY3" fmla="*/ 8203 h 246226"/>
                <a:gd name="connsiteX4" fmla="*/ 48763 w 113932"/>
                <a:gd name="connsiteY4" fmla="*/ 132895 h 246226"/>
                <a:gd name="connsiteX5" fmla="*/ 601 w 113932"/>
                <a:gd name="connsiteY5" fmla="*/ 197463 h 246226"/>
                <a:gd name="connsiteX6" fmla="*/ 65169 w 113932"/>
                <a:gd name="connsiteY6" fmla="*/ 245625 h 246226"/>
                <a:gd name="connsiteX7" fmla="*/ 113331 w 113932"/>
                <a:gd name="connsiteY7" fmla="*/ 181057 h 246226"/>
                <a:gd name="connsiteX8" fmla="*/ 65169 w 113932"/>
                <a:gd name="connsiteY8" fmla="*/ 132895 h 246226"/>
                <a:gd name="connsiteX9" fmla="*/ 56966 w 113932"/>
                <a:gd name="connsiteY9" fmla="*/ 229366 h 246226"/>
                <a:gd name="connsiteX10" fmla="*/ 15569 w 113932"/>
                <a:gd name="connsiteY10" fmla="*/ 190069 h 246226"/>
                <a:gd name="connsiteX11" fmla="*/ 54865 w 113932"/>
                <a:gd name="connsiteY11" fmla="*/ 148672 h 246226"/>
                <a:gd name="connsiteX12" fmla="*/ 56966 w 113932"/>
                <a:gd name="connsiteY12" fmla="*/ 148672 h 246226"/>
                <a:gd name="connsiteX13" fmla="*/ 56966 w 113932"/>
                <a:gd name="connsiteY13" fmla="*/ 148672 h 246226"/>
                <a:gd name="connsiteX14" fmla="*/ 98364 w 113932"/>
                <a:gd name="connsiteY14" fmla="*/ 187969 h 246226"/>
                <a:gd name="connsiteX15" fmla="*/ 59067 w 113932"/>
                <a:gd name="connsiteY15" fmla="*/ 229366 h 246226"/>
                <a:gd name="connsiteX16" fmla="*/ 56966 w 113932"/>
                <a:gd name="connsiteY16" fmla="*/ 229366 h 246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3932" h="246226">
                  <a:moveTo>
                    <a:pt x="65169" y="132895"/>
                  </a:moveTo>
                  <a:lnTo>
                    <a:pt x="65169" y="8203"/>
                  </a:lnTo>
                  <a:cubicBezTo>
                    <a:pt x="65169" y="3673"/>
                    <a:pt x="61497" y="0"/>
                    <a:pt x="56966" y="0"/>
                  </a:cubicBezTo>
                  <a:cubicBezTo>
                    <a:pt x="52435" y="0"/>
                    <a:pt x="48763" y="3673"/>
                    <a:pt x="48763" y="8203"/>
                  </a:cubicBezTo>
                  <a:lnTo>
                    <a:pt x="48763" y="132895"/>
                  </a:lnTo>
                  <a:cubicBezTo>
                    <a:pt x="17633" y="137426"/>
                    <a:pt x="-3929" y="166334"/>
                    <a:pt x="601" y="197463"/>
                  </a:cubicBezTo>
                  <a:cubicBezTo>
                    <a:pt x="5132" y="228592"/>
                    <a:pt x="34040" y="250156"/>
                    <a:pt x="65169" y="245625"/>
                  </a:cubicBezTo>
                  <a:cubicBezTo>
                    <a:pt x="96299" y="241094"/>
                    <a:pt x="117862" y="212186"/>
                    <a:pt x="113331" y="181057"/>
                  </a:cubicBezTo>
                  <a:cubicBezTo>
                    <a:pt x="109701" y="156116"/>
                    <a:pt x="90111" y="136523"/>
                    <a:pt x="65169" y="132895"/>
                  </a:cubicBezTo>
                  <a:close/>
                  <a:moveTo>
                    <a:pt x="56966" y="229366"/>
                  </a:moveTo>
                  <a:cubicBezTo>
                    <a:pt x="34683" y="229946"/>
                    <a:pt x="16149" y="212352"/>
                    <a:pt x="15569" y="190069"/>
                  </a:cubicBezTo>
                  <a:cubicBezTo>
                    <a:pt x="14989" y="167786"/>
                    <a:pt x="32582" y="149252"/>
                    <a:pt x="54865" y="148672"/>
                  </a:cubicBezTo>
                  <a:cubicBezTo>
                    <a:pt x="55566" y="148653"/>
                    <a:pt x="56266" y="148653"/>
                    <a:pt x="56966" y="148672"/>
                  </a:cubicBezTo>
                  <a:lnTo>
                    <a:pt x="56966" y="148672"/>
                  </a:lnTo>
                  <a:cubicBezTo>
                    <a:pt x="79249" y="148093"/>
                    <a:pt x="97783" y="165686"/>
                    <a:pt x="98364" y="187969"/>
                  </a:cubicBezTo>
                  <a:cubicBezTo>
                    <a:pt x="98944" y="210252"/>
                    <a:pt x="81350" y="228787"/>
                    <a:pt x="59067" y="229366"/>
                  </a:cubicBezTo>
                  <a:cubicBezTo>
                    <a:pt x="58367" y="229385"/>
                    <a:pt x="57666" y="229385"/>
                    <a:pt x="56966" y="229366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82" name="Freeform 481">
              <a:extLst>
                <a:ext uri="{FF2B5EF4-FFF2-40B4-BE49-F238E27FC236}">
                  <a16:creationId xmlns:a16="http://schemas.microsoft.com/office/drawing/2014/main" id="{4FA4B3E9-ABC4-BCA9-C3C8-D2936A2219B7}"/>
                </a:ext>
              </a:extLst>
            </p:cNvPr>
            <p:cNvSpPr/>
            <p:nvPr/>
          </p:nvSpPr>
          <p:spPr>
            <a:xfrm>
              <a:off x="6548661" y="2502816"/>
              <a:ext cx="67759" cy="16406"/>
            </a:xfrm>
            <a:custGeom>
              <a:avLst/>
              <a:gdLst>
                <a:gd name="connsiteX0" fmla="*/ 59556 w 67759"/>
                <a:gd name="connsiteY0" fmla="*/ 0 h 16406"/>
                <a:gd name="connsiteX1" fmla="*/ 8203 w 67759"/>
                <a:gd name="connsiteY1" fmla="*/ 0 h 16406"/>
                <a:gd name="connsiteX2" fmla="*/ 0 w 67759"/>
                <a:gd name="connsiteY2" fmla="*/ 8203 h 16406"/>
                <a:gd name="connsiteX3" fmla="*/ 8203 w 67759"/>
                <a:gd name="connsiteY3" fmla="*/ 16407 h 16406"/>
                <a:gd name="connsiteX4" fmla="*/ 59556 w 67759"/>
                <a:gd name="connsiteY4" fmla="*/ 16407 h 16406"/>
                <a:gd name="connsiteX5" fmla="*/ 67760 w 67759"/>
                <a:gd name="connsiteY5" fmla="*/ 8203 h 16406"/>
                <a:gd name="connsiteX6" fmla="*/ 59556 w 67759"/>
                <a:gd name="connsiteY6" fmla="*/ 0 h 1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759" h="16406">
                  <a:moveTo>
                    <a:pt x="59556" y="0"/>
                  </a:moveTo>
                  <a:lnTo>
                    <a:pt x="8203" y="0"/>
                  </a:lnTo>
                  <a:cubicBezTo>
                    <a:pt x="3672" y="0"/>
                    <a:pt x="0" y="3673"/>
                    <a:pt x="0" y="8203"/>
                  </a:cubicBezTo>
                  <a:cubicBezTo>
                    <a:pt x="0" y="12734"/>
                    <a:pt x="3672" y="16407"/>
                    <a:pt x="8203" y="16407"/>
                  </a:cubicBezTo>
                  <a:lnTo>
                    <a:pt x="59556" y="16407"/>
                  </a:lnTo>
                  <a:cubicBezTo>
                    <a:pt x="64087" y="16407"/>
                    <a:pt x="67760" y="12734"/>
                    <a:pt x="67760" y="8203"/>
                  </a:cubicBezTo>
                  <a:cubicBezTo>
                    <a:pt x="67760" y="3673"/>
                    <a:pt x="64087" y="0"/>
                    <a:pt x="59556" y="0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83" name="Freeform 482">
              <a:extLst>
                <a:ext uri="{FF2B5EF4-FFF2-40B4-BE49-F238E27FC236}">
                  <a16:creationId xmlns:a16="http://schemas.microsoft.com/office/drawing/2014/main" id="{F63F206A-C710-0CDD-8808-008B52A83061}"/>
                </a:ext>
              </a:extLst>
            </p:cNvPr>
            <p:cNvSpPr/>
            <p:nvPr/>
          </p:nvSpPr>
          <p:spPr>
            <a:xfrm>
              <a:off x="6558997" y="2543915"/>
              <a:ext cx="46485" cy="16406"/>
            </a:xfrm>
            <a:custGeom>
              <a:avLst/>
              <a:gdLst>
                <a:gd name="connsiteX0" fmla="*/ 38282 w 46485"/>
                <a:gd name="connsiteY0" fmla="*/ 0 h 16406"/>
                <a:gd name="connsiteX1" fmla="*/ 8203 w 46485"/>
                <a:gd name="connsiteY1" fmla="*/ 0 h 16406"/>
                <a:gd name="connsiteX2" fmla="*/ 0 w 46485"/>
                <a:gd name="connsiteY2" fmla="*/ 8203 h 16406"/>
                <a:gd name="connsiteX3" fmla="*/ 8203 w 46485"/>
                <a:gd name="connsiteY3" fmla="*/ 16407 h 16406"/>
                <a:gd name="connsiteX4" fmla="*/ 38282 w 46485"/>
                <a:gd name="connsiteY4" fmla="*/ 16407 h 16406"/>
                <a:gd name="connsiteX5" fmla="*/ 46486 w 46485"/>
                <a:gd name="connsiteY5" fmla="*/ 8203 h 16406"/>
                <a:gd name="connsiteX6" fmla="*/ 38282 w 46485"/>
                <a:gd name="connsiteY6" fmla="*/ 0 h 1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85" h="16406">
                  <a:moveTo>
                    <a:pt x="38282" y="0"/>
                  </a:moveTo>
                  <a:lnTo>
                    <a:pt x="8203" y="0"/>
                  </a:lnTo>
                  <a:cubicBezTo>
                    <a:pt x="3672" y="0"/>
                    <a:pt x="0" y="3673"/>
                    <a:pt x="0" y="8203"/>
                  </a:cubicBezTo>
                  <a:cubicBezTo>
                    <a:pt x="0" y="12734"/>
                    <a:pt x="3672" y="16407"/>
                    <a:pt x="8203" y="16407"/>
                  </a:cubicBezTo>
                  <a:lnTo>
                    <a:pt x="38282" y="16407"/>
                  </a:lnTo>
                  <a:cubicBezTo>
                    <a:pt x="42813" y="16407"/>
                    <a:pt x="46486" y="12734"/>
                    <a:pt x="46486" y="8203"/>
                  </a:cubicBezTo>
                  <a:cubicBezTo>
                    <a:pt x="46486" y="3673"/>
                    <a:pt x="42813" y="0"/>
                    <a:pt x="38282" y="0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84" name="Freeform 483">
              <a:extLst>
                <a:ext uri="{FF2B5EF4-FFF2-40B4-BE49-F238E27FC236}">
                  <a16:creationId xmlns:a16="http://schemas.microsoft.com/office/drawing/2014/main" id="{760D1075-1D2A-52CC-8F49-FCAF1B47EC7D}"/>
                </a:ext>
              </a:extLst>
            </p:cNvPr>
            <p:cNvSpPr/>
            <p:nvPr/>
          </p:nvSpPr>
          <p:spPr>
            <a:xfrm>
              <a:off x="6548661" y="2585014"/>
              <a:ext cx="67759" cy="16406"/>
            </a:xfrm>
            <a:custGeom>
              <a:avLst/>
              <a:gdLst>
                <a:gd name="connsiteX0" fmla="*/ 59556 w 67759"/>
                <a:gd name="connsiteY0" fmla="*/ 0 h 16406"/>
                <a:gd name="connsiteX1" fmla="*/ 8203 w 67759"/>
                <a:gd name="connsiteY1" fmla="*/ 0 h 16406"/>
                <a:gd name="connsiteX2" fmla="*/ 0 w 67759"/>
                <a:gd name="connsiteY2" fmla="*/ 8203 h 16406"/>
                <a:gd name="connsiteX3" fmla="*/ 8203 w 67759"/>
                <a:gd name="connsiteY3" fmla="*/ 16407 h 16406"/>
                <a:gd name="connsiteX4" fmla="*/ 59556 w 67759"/>
                <a:gd name="connsiteY4" fmla="*/ 16407 h 16406"/>
                <a:gd name="connsiteX5" fmla="*/ 67760 w 67759"/>
                <a:gd name="connsiteY5" fmla="*/ 8203 h 16406"/>
                <a:gd name="connsiteX6" fmla="*/ 59556 w 67759"/>
                <a:gd name="connsiteY6" fmla="*/ 0 h 1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759" h="16406">
                  <a:moveTo>
                    <a:pt x="59556" y="0"/>
                  </a:moveTo>
                  <a:lnTo>
                    <a:pt x="8203" y="0"/>
                  </a:lnTo>
                  <a:cubicBezTo>
                    <a:pt x="3672" y="0"/>
                    <a:pt x="0" y="3673"/>
                    <a:pt x="0" y="8203"/>
                  </a:cubicBezTo>
                  <a:cubicBezTo>
                    <a:pt x="0" y="12734"/>
                    <a:pt x="3672" y="16407"/>
                    <a:pt x="8203" y="16407"/>
                  </a:cubicBezTo>
                  <a:lnTo>
                    <a:pt x="59556" y="16407"/>
                  </a:lnTo>
                  <a:cubicBezTo>
                    <a:pt x="64087" y="16407"/>
                    <a:pt x="67760" y="12734"/>
                    <a:pt x="67760" y="8203"/>
                  </a:cubicBezTo>
                  <a:cubicBezTo>
                    <a:pt x="67760" y="3673"/>
                    <a:pt x="64087" y="0"/>
                    <a:pt x="59556" y="0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85" name="Freeform 484">
              <a:extLst>
                <a:ext uri="{FF2B5EF4-FFF2-40B4-BE49-F238E27FC236}">
                  <a16:creationId xmlns:a16="http://schemas.microsoft.com/office/drawing/2014/main" id="{C1F28FD4-C400-64D8-DED6-01D8BC61E468}"/>
                </a:ext>
              </a:extLst>
            </p:cNvPr>
            <p:cNvSpPr/>
            <p:nvPr/>
          </p:nvSpPr>
          <p:spPr>
            <a:xfrm>
              <a:off x="6558997" y="2626086"/>
              <a:ext cx="46485" cy="16406"/>
            </a:xfrm>
            <a:custGeom>
              <a:avLst/>
              <a:gdLst>
                <a:gd name="connsiteX0" fmla="*/ 38282 w 46485"/>
                <a:gd name="connsiteY0" fmla="*/ 0 h 16406"/>
                <a:gd name="connsiteX1" fmla="*/ 8203 w 46485"/>
                <a:gd name="connsiteY1" fmla="*/ 0 h 16406"/>
                <a:gd name="connsiteX2" fmla="*/ 0 w 46485"/>
                <a:gd name="connsiteY2" fmla="*/ 8203 h 16406"/>
                <a:gd name="connsiteX3" fmla="*/ 8203 w 46485"/>
                <a:gd name="connsiteY3" fmla="*/ 16407 h 16406"/>
                <a:gd name="connsiteX4" fmla="*/ 38282 w 46485"/>
                <a:gd name="connsiteY4" fmla="*/ 16407 h 16406"/>
                <a:gd name="connsiteX5" fmla="*/ 46486 w 46485"/>
                <a:gd name="connsiteY5" fmla="*/ 8203 h 16406"/>
                <a:gd name="connsiteX6" fmla="*/ 38282 w 46485"/>
                <a:gd name="connsiteY6" fmla="*/ 0 h 1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85" h="16406">
                  <a:moveTo>
                    <a:pt x="38282" y="0"/>
                  </a:moveTo>
                  <a:lnTo>
                    <a:pt x="8203" y="0"/>
                  </a:lnTo>
                  <a:cubicBezTo>
                    <a:pt x="3672" y="0"/>
                    <a:pt x="0" y="3673"/>
                    <a:pt x="0" y="8203"/>
                  </a:cubicBezTo>
                  <a:cubicBezTo>
                    <a:pt x="0" y="12734"/>
                    <a:pt x="3672" y="16407"/>
                    <a:pt x="8203" y="16407"/>
                  </a:cubicBezTo>
                  <a:lnTo>
                    <a:pt x="38282" y="16407"/>
                  </a:lnTo>
                  <a:cubicBezTo>
                    <a:pt x="42813" y="16407"/>
                    <a:pt x="46486" y="12734"/>
                    <a:pt x="46486" y="8203"/>
                  </a:cubicBezTo>
                  <a:cubicBezTo>
                    <a:pt x="46486" y="3673"/>
                    <a:pt x="42813" y="0"/>
                    <a:pt x="38282" y="0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86" name="Freeform 485">
              <a:extLst>
                <a:ext uri="{FF2B5EF4-FFF2-40B4-BE49-F238E27FC236}">
                  <a16:creationId xmlns:a16="http://schemas.microsoft.com/office/drawing/2014/main" id="{33F62D11-F9D3-5CA1-1A36-5A7C7E11A838}"/>
                </a:ext>
              </a:extLst>
            </p:cNvPr>
            <p:cNvSpPr/>
            <p:nvPr/>
          </p:nvSpPr>
          <p:spPr>
            <a:xfrm>
              <a:off x="6548661" y="2667185"/>
              <a:ext cx="67759" cy="16406"/>
            </a:xfrm>
            <a:custGeom>
              <a:avLst/>
              <a:gdLst>
                <a:gd name="connsiteX0" fmla="*/ 59556 w 67759"/>
                <a:gd name="connsiteY0" fmla="*/ 0 h 16406"/>
                <a:gd name="connsiteX1" fmla="*/ 8203 w 67759"/>
                <a:gd name="connsiteY1" fmla="*/ 0 h 16406"/>
                <a:gd name="connsiteX2" fmla="*/ 0 w 67759"/>
                <a:gd name="connsiteY2" fmla="*/ 8203 h 16406"/>
                <a:gd name="connsiteX3" fmla="*/ 8203 w 67759"/>
                <a:gd name="connsiteY3" fmla="*/ 16407 h 16406"/>
                <a:gd name="connsiteX4" fmla="*/ 59556 w 67759"/>
                <a:gd name="connsiteY4" fmla="*/ 16407 h 16406"/>
                <a:gd name="connsiteX5" fmla="*/ 67760 w 67759"/>
                <a:gd name="connsiteY5" fmla="*/ 8203 h 16406"/>
                <a:gd name="connsiteX6" fmla="*/ 59556 w 67759"/>
                <a:gd name="connsiteY6" fmla="*/ 0 h 1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759" h="16406">
                  <a:moveTo>
                    <a:pt x="59556" y="0"/>
                  </a:moveTo>
                  <a:lnTo>
                    <a:pt x="8203" y="0"/>
                  </a:lnTo>
                  <a:cubicBezTo>
                    <a:pt x="3672" y="0"/>
                    <a:pt x="0" y="3673"/>
                    <a:pt x="0" y="8203"/>
                  </a:cubicBezTo>
                  <a:cubicBezTo>
                    <a:pt x="0" y="12734"/>
                    <a:pt x="3672" y="16407"/>
                    <a:pt x="8203" y="16407"/>
                  </a:cubicBezTo>
                  <a:lnTo>
                    <a:pt x="59556" y="16407"/>
                  </a:lnTo>
                  <a:cubicBezTo>
                    <a:pt x="64087" y="16407"/>
                    <a:pt x="67760" y="12734"/>
                    <a:pt x="67760" y="8203"/>
                  </a:cubicBezTo>
                  <a:cubicBezTo>
                    <a:pt x="67760" y="3673"/>
                    <a:pt x="64087" y="0"/>
                    <a:pt x="59556" y="0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87" name="Graphic 63">
            <a:extLst>
              <a:ext uri="{FF2B5EF4-FFF2-40B4-BE49-F238E27FC236}">
                <a16:creationId xmlns:a16="http://schemas.microsoft.com/office/drawing/2014/main" id="{21352BDA-9BF9-2766-E8AB-C5B0DC228C08}"/>
              </a:ext>
            </a:extLst>
          </p:cNvPr>
          <p:cNvGrpSpPr/>
          <p:nvPr/>
        </p:nvGrpSpPr>
        <p:grpSpPr>
          <a:xfrm>
            <a:off x="7469849" y="3165915"/>
            <a:ext cx="373976" cy="365999"/>
            <a:chOff x="10014210" y="3275684"/>
            <a:chExt cx="522110" cy="522110"/>
          </a:xfrm>
          <a:solidFill>
            <a:schemeClr val="bg1"/>
          </a:solidFill>
        </p:grpSpPr>
        <p:sp>
          <p:nvSpPr>
            <p:cNvPr id="488" name="Freeform 487">
              <a:extLst>
                <a:ext uri="{FF2B5EF4-FFF2-40B4-BE49-F238E27FC236}">
                  <a16:creationId xmlns:a16="http://schemas.microsoft.com/office/drawing/2014/main" id="{24EEC65E-688B-A54E-A0EF-9DCC980B01A4}"/>
                </a:ext>
              </a:extLst>
            </p:cNvPr>
            <p:cNvSpPr/>
            <p:nvPr/>
          </p:nvSpPr>
          <p:spPr>
            <a:xfrm>
              <a:off x="10066941" y="3395338"/>
              <a:ext cx="125275" cy="120026"/>
            </a:xfrm>
            <a:custGeom>
              <a:avLst/>
              <a:gdLst>
                <a:gd name="connsiteX0" fmla="*/ 29142 w 125275"/>
                <a:gd name="connsiteY0" fmla="*/ 120027 h 120026"/>
                <a:gd name="connsiteX1" fmla="*/ 24247 w 125275"/>
                <a:gd name="connsiteY1" fmla="*/ 118428 h 120026"/>
                <a:gd name="connsiteX2" fmla="*/ 21212 w 125275"/>
                <a:gd name="connsiteY2" fmla="*/ 109128 h 120026"/>
                <a:gd name="connsiteX3" fmla="*/ 32111 w 125275"/>
                <a:gd name="connsiteY3" fmla="*/ 75386 h 120026"/>
                <a:gd name="connsiteX4" fmla="*/ 3395 w 125275"/>
                <a:gd name="connsiteY4" fmla="*/ 54535 h 120026"/>
                <a:gd name="connsiteX5" fmla="*/ 1632 w 125275"/>
                <a:gd name="connsiteY5" fmla="*/ 42853 h 120026"/>
                <a:gd name="connsiteX6" fmla="*/ 8290 w 125275"/>
                <a:gd name="connsiteY6" fmla="*/ 39459 h 120026"/>
                <a:gd name="connsiteX7" fmla="*/ 43826 w 125275"/>
                <a:gd name="connsiteY7" fmla="*/ 39459 h 120026"/>
                <a:gd name="connsiteX8" fmla="*/ 54953 w 125275"/>
                <a:gd name="connsiteY8" fmla="*/ 5750 h 120026"/>
                <a:gd name="connsiteX9" fmla="*/ 65440 w 125275"/>
                <a:gd name="connsiteY9" fmla="*/ 410 h 120026"/>
                <a:gd name="connsiteX10" fmla="*/ 70780 w 125275"/>
                <a:gd name="connsiteY10" fmla="*/ 5750 h 120026"/>
                <a:gd name="connsiteX11" fmla="*/ 81777 w 125275"/>
                <a:gd name="connsiteY11" fmla="*/ 39459 h 120026"/>
                <a:gd name="connsiteX12" fmla="*/ 116954 w 125275"/>
                <a:gd name="connsiteY12" fmla="*/ 39459 h 120026"/>
                <a:gd name="connsiteX13" fmla="*/ 125275 w 125275"/>
                <a:gd name="connsiteY13" fmla="*/ 47844 h 120026"/>
                <a:gd name="connsiteX14" fmla="*/ 121881 w 125275"/>
                <a:gd name="connsiteY14" fmla="*/ 54535 h 120026"/>
                <a:gd name="connsiteX15" fmla="*/ 93165 w 125275"/>
                <a:gd name="connsiteY15" fmla="*/ 75386 h 120026"/>
                <a:gd name="connsiteX16" fmla="*/ 104228 w 125275"/>
                <a:gd name="connsiteY16" fmla="*/ 109128 h 120026"/>
                <a:gd name="connsiteX17" fmla="*/ 101193 w 125275"/>
                <a:gd name="connsiteY17" fmla="*/ 118428 h 120026"/>
                <a:gd name="connsiteX18" fmla="*/ 91403 w 125275"/>
                <a:gd name="connsiteY18" fmla="*/ 118428 h 120026"/>
                <a:gd name="connsiteX19" fmla="*/ 62720 w 125275"/>
                <a:gd name="connsiteY19" fmla="*/ 97576 h 120026"/>
                <a:gd name="connsiteX20" fmla="*/ 34004 w 125275"/>
                <a:gd name="connsiteY20" fmla="*/ 118428 h 120026"/>
                <a:gd name="connsiteX21" fmla="*/ 29142 w 125275"/>
                <a:gd name="connsiteY21" fmla="*/ 120027 h 120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5275" h="120026">
                  <a:moveTo>
                    <a:pt x="29142" y="120027"/>
                  </a:moveTo>
                  <a:cubicBezTo>
                    <a:pt x="27381" y="120032"/>
                    <a:pt x="25665" y="119471"/>
                    <a:pt x="24247" y="118428"/>
                  </a:cubicBezTo>
                  <a:cubicBezTo>
                    <a:pt x="21318" y="116319"/>
                    <a:pt x="20091" y="112558"/>
                    <a:pt x="21212" y="109128"/>
                  </a:cubicBezTo>
                  <a:lnTo>
                    <a:pt x="32111" y="75386"/>
                  </a:lnTo>
                  <a:lnTo>
                    <a:pt x="3395" y="54535"/>
                  </a:lnTo>
                  <a:cubicBezTo>
                    <a:pt x="-317" y="51796"/>
                    <a:pt x="-1107" y="46566"/>
                    <a:pt x="1632" y="42853"/>
                  </a:cubicBezTo>
                  <a:cubicBezTo>
                    <a:pt x="3193" y="40737"/>
                    <a:pt x="5660" y="39479"/>
                    <a:pt x="8290" y="39459"/>
                  </a:cubicBezTo>
                  <a:lnTo>
                    <a:pt x="43826" y="39459"/>
                  </a:lnTo>
                  <a:lnTo>
                    <a:pt x="54953" y="5750"/>
                  </a:lnTo>
                  <a:cubicBezTo>
                    <a:pt x="56375" y="1380"/>
                    <a:pt x="61070" y="-1011"/>
                    <a:pt x="65440" y="410"/>
                  </a:cubicBezTo>
                  <a:cubicBezTo>
                    <a:pt x="67972" y="1233"/>
                    <a:pt x="69957" y="3218"/>
                    <a:pt x="70780" y="5750"/>
                  </a:cubicBezTo>
                  <a:lnTo>
                    <a:pt x="81777" y="39459"/>
                  </a:lnTo>
                  <a:lnTo>
                    <a:pt x="116954" y="39459"/>
                  </a:lnTo>
                  <a:cubicBezTo>
                    <a:pt x="121567" y="39476"/>
                    <a:pt x="125293" y="43231"/>
                    <a:pt x="125275" y="47844"/>
                  </a:cubicBezTo>
                  <a:cubicBezTo>
                    <a:pt x="125265" y="50486"/>
                    <a:pt x="124007" y="52967"/>
                    <a:pt x="121881" y="54535"/>
                  </a:cubicBezTo>
                  <a:lnTo>
                    <a:pt x="93165" y="75386"/>
                  </a:lnTo>
                  <a:lnTo>
                    <a:pt x="104228" y="109128"/>
                  </a:lnTo>
                  <a:cubicBezTo>
                    <a:pt x="105348" y="112558"/>
                    <a:pt x="104121" y="116319"/>
                    <a:pt x="101193" y="118428"/>
                  </a:cubicBezTo>
                  <a:cubicBezTo>
                    <a:pt x="98265" y="120520"/>
                    <a:pt x="94331" y="120520"/>
                    <a:pt x="91403" y="118428"/>
                  </a:cubicBezTo>
                  <a:lnTo>
                    <a:pt x="62720" y="97576"/>
                  </a:lnTo>
                  <a:lnTo>
                    <a:pt x="34004" y="118428"/>
                  </a:lnTo>
                  <a:cubicBezTo>
                    <a:pt x="32598" y="119471"/>
                    <a:pt x="30892" y="120031"/>
                    <a:pt x="29142" y="120027"/>
                  </a:cubicBezTo>
                  <a:close/>
                </a:path>
              </a:pathLst>
            </a:custGeom>
            <a:noFill/>
            <a:ln w="16073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89" name="Freeform 488">
              <a:extLst>
                <a:ext uri="{FF2B5EF4-FFF2-40B4-BE49-F238E27FC236}">
                  <a16:creationId xmlns:a16="http://schemas.microsoft.com/office/drawing/2014/main" id="{CC77539E-324F-9105-7824-99AE31D83EAD}"/>
                </a:ext>
              </a:extLst>
            </p:cNvPr>
            <p:cNvSpPr/>
            <p:nvPr/>
          </p:nvSpPr>
          <p:spPr>
            <a:xfrm>
              <a:off x="10213828" y="3395403"/>
              <a:ext cx="125222" cy="120027"/>
            </a:xfrm>
            <a:custGeom>
              <a:avLst/>
              <a:gdLst>
                <a:gd name="connsiteX0" fmla="*/ 29066 w 125222"/>
                <a:gd name="connsiteY0" fmla="*/ 120027 h 120027"/>
                <a:gd name="connsiteX1" fmla="*/ 20739 w 125222"/>
                <a:gd name="connsiteY1" fmla="*/ 111646 h 120027"/>
                <a:gd name="connsiteX2" fmla="*/ 21136 w 125222"/>
                <a:gd name="connsiteY2" fmla="*/ 109128 h 120027"/>
                <a:gd name="connsiteX3" fmla="*/ 32068 w 125222"/>
                <a:gd name="connsiteY3" fmla="*/ 75386 h 120027"/>
                <a:gd name="connsiteX4" fmla="*/ 3417 w 125222"/>
                <a:gd name="connsiteY4" fmla="*/ 54535 h 120027"/>
                <a:gd name="connsiteX5" fmla="*/ 1600 w 125222"/>
                <a:gd name="connsiteY5" fmla="*/ 42908 h 120027"/>
                <a:gd name="connsiteX6" fmla="*/ 8312 w 125222"/>
                <a:gd name="connsiteY6" fmla="*/ 39491 h 120027"/>
                <a:gd name="connsiteX7" fmla="*/ 43783 w 125222"/>
                <a:gd name="connsiteY7" fmla="*/ 39491 h 120027"/>
                <a:gd name="connsiteX8" fmla="*/ 54910 w 125222"/>
                <a:gd name="connsiteY8" fmla="*/ 5750 h 120027"/>
                <a:gd name="connsiteX9" fmla="*/ 65397 w 125222"/>
                <a:gd name="connsiteY9" fmla="*/ 410 h 120027"/>
                <a:gd name="connsiteX10" fmla="*/ 70737 w 125222"/>
                <a:gd name="connsiteY10" fmla="*/ 5750 h 120027"/>
                <a:gd name="connsiteX11" fmla="*/ 81701 w 125222"/>
                <a:gd name="connsiteY11" fmla="*/ 39491 h 120027"/>
                <a:gd name="connsiteX12" fmla="*/ 116911 w 125222"/>
                <a:gd name="connsiteY12" fmla="*/ 39491 h 120027"/>
                <a:gd name="connsiteX13" fmla="*/ 125222 w 125222"/>
                <a:gd name="connsiteY13" fmla="*/ 47822 h 120027"/>
                <a:gd name="connsiteX14" fmla="*/ 121806 w 125222"/>
                <a:gd name="connsiteY14" fmla="*/ 54535 h 120027"/>
                <a:gd name="connsiteX15" fmla="*/ 93122 w 125222"/>
                <a:gd name="connsiteY15" fmla="*/ 75386 h 120027"/>
                <a:gd name="connsiteX16" fmla="*/ 104054 w 125222"/>
                <a:gd name="connsiteY16" fmla="*/ 109128 h 120027"/>
                <a:gd name="connsiteX17" fmla="*/ 101052 w 125222"/>
                <a:gd name="connsiteY17" fmla="*/ 118428 h 120027"/>
                <a:gd name="connsiteX18" fmla="*/ 91262 w 125222"/>
                <a:gd name="connsiteY18" fmla="*/ 118428 h 120027"/>
                <a:gd name="connsiteX19" fmla="*/ 62546 w 125222"/>
                <a:gd name="connsiteY19" fmla="*/ 97576 h 120027"/>
                <a:gd name="connsiteX20" fmla="*/ 33961 w 125222"/>
                <a:gd name="connsiteY20" fmla="*/ 118493 h 120027"/>
                <a:gd name="connsiteX21" fmla="*/ 29066 w 125222"/>
                <a:gd name="connsiteY21" fmla="*/ 120027 h 120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5222" h="120027">
                  <a:moveTo>
                    <a:pt x="29066" y="120027"/>
                  </a:moveTo>
                  <a:cubicBezTo>
                    <a:pt x="24452" y="120012"/>
                    <a:pt x="20724" y="116260"/>
                    <a:pt x="20739" y="111646"/>
                  </a:cubicBezTo>
                  <a:cubicBezTo>
                    <a:pt x="20742" y="110791"/>
                    <a:pt x="20876" y="109942"/>
                    <a:pt x="21136" y="109128"/>
                  </a:cubicBezTo>
                  <a:lnTo>
                    <a:pt x="32068" y="75386"/>
                  </a:lnTo>
                  <a:lnTo>
                    <a:pt x="3417" y="54535"/>
                  </a:lnTo>
                  <a:cubicBezTo>
                    <a:pt x="-295" y="51826"/>
                    <a:pt x="-1109" y="46620"/>
                    <a:pt x="1600" y="42908"/>
                  </a:cubicBezTo>
                  <a:cubicBezTo>
                    <a:pt x="3164" y="40764"/>
                    <a:pt x="5658" y="39494"/>
                    <a:pt x="8312" y="39491"/>
                  </a:cubicBezTo>
                  <a:lnTo>
                    <a:pt x="43783" y="39491"/>
                  </a:lnTo>
                  <a:lnTo>
                    <a:pt x="54910" y="5750"/>
                  </a:lnTo>
                  <a:cubicBezTo>
                    <a:pt x="56331" y="1380"/>
                    <a:pt x="61027" y="-1011"/>
                    <a:pt x="65397" y="410"/>
                  </a:cubicBezTo>
                  <a:cubicBezTo>
                    <a:pt x="67928" y="1233"/>
                    <a:pt x="69913" y="3218"/>
                    <a:pt x="70737" y="5750"/>
                  </a:cubicBezTo>
                  <a:lnTo>
                    <a:pt x="81701" y="39491"/>
                  </a:lnTo>
                  <a:lnTo>
                    <a:pt x="116911" y="39491"/>
                  </a:lnTo>
                  <a:cubicBezTo>
                    <a:pt x="121506" y="39497"/>
                    <a:pt x="125228" y="43226"/>
                    <a:pt x="125222" y="47822"/>
                  </a:cubicBezTo>
                  <a:cubicBezTo>
                    <a:pt x="125219" y="50477"/>
                    <a:pt x="123950" y="52970"/>
                    <a:pt x="121806" y="54535"/>
                  </a:cubicBezTo>
                  <a:lnTo>
                    <a:pt x="93122" y="75386"/>
                  </a:lnTo>
                  <a:lnTo>
                    <a:pt x="104054" y="109128"/>
                  </a:lnTo>
                  <a:cubicBezTo>
                    <a:pt x="105182" y="112551"/>
                    <a:pt x="103968" y="116310"/>
                    <a:pt x="101052" y="118428"/>
                  </a:cubicBezTo>
                  <a:cubicBezTo>
                    <a:pt x="98124" y="120520"/>
                    <a:pt x="94190" y="120520"/>
                    <a:pt x="91262" y="118428"/>
                  </a:cubicBezTo>
                  <a:lnTo>
                    <a:pt x="62546" y="97576"/>
                  </a:lnTo>
                  <a:lnTo>
                    <a:pt x="33961" y="118493"/>
                  </a:lnTo>
                  <a:cubicBezTo>
                    <a:pt x="32534" y="119513"/>
                    <a:pt x="30819" y="120051"/>
                    <a:pt x="29066" y="120027"/>
                  </a:cubicBezTo>
                  <a:close/>
                </a:path>
              </a:pathLst>
            </a:custGeom>
            <a:noFill/>
            <a:ln w="16073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90" name="Freeform 489">
              <a:extLst>
                <a:ext uri="{FF2B5EF4-FFF2-40B4-BE49-F238E27FC236}">
                  <a16:creationId xmlns:a16="http://schemas.microsoft.com/office/drawing/2014/main" id="{A9C1919A-D6E1-48B5-2E39-E445506A7275}"/>
                </a:ext>
              </a:extLst>
            </p:cNvPr>
            <p:cNvSpPr/>
            <p:nvPr/>
          </p:nvSpPr>
          <p:spPr>
            <a:xfrm>
              <a:off x="10366643" y="3395468"/>
              <a:ext cx="125352" cy="120034"/>
            </a:xfrm>
            <a:custGeom>
              <a:avLst/>
              <a:gdLst>
                <a:gd name="connsiteX0" fmla="*/ 29066 w 125352"/>
                <a:gd name="connsiteY0" fmla="*/ 120027 h 120034"/>
                <a:gd name="connsiteX1" fmla="*/ 20738 w 125352"/>
                <a:gd name="connsiteY1" fmla="*/ 111646 h 120034"/>
                <a:gd name="connsiteX2" fmla="*/ 21136 w 125352"/>
                <a:gd name="connsiteY2" fmla="*/ 109128 h 120034"/>
                <a:gd name="connsiteX3" fmla="*/ 32101 w 125352"/>
                <a:gd name="connsiteY3" fmla="*/ 75386 h 120034"/>
                <a:gd name="connsiteX4" fmla="*/ 3417 w 125352"/>
                <a:gd name="connsiteY4" fmla="*/ 54535 h 120034"/>
                <a:gd name="connsiteX5" fmla="*/ 1600 w 125352"/>
                <a:gd name="connsiteY5" fmla="*/ 42908 h 120034"/>
                <a:gd name="connsiteX6" fmla="*/ 8312 w 125352"/>
                <a:gd name="connsiteY6" fmla="*/ 39491 h 120034"/>
                <a:gd name="connsiteX7" fmla="*/ 43783 w 125352"/>
                <a:gd name="connsiteY7" fmla="*/ 39491 h 120034"/>
                <a:gd name="connsiteX8" fmla="*/ 54747 w 125352"/>
                <a:gd name="connsiteY8" fmla="*/ 5750 h 120034"/>
                <a:gd name="connsiteX9" fmla="*/ 65235 w 125352"/>
                <a:gd name="connsiteY9" fmla="*/ 410 h 120034"/>
                <a:gd name="connsiteX10" fmla="*/ 70574 w 125352"/>
                <a:gd name="connsiteY10" fmla="*/ 5750 h 120034"/>
                <a:gd name="connsiteX11" fmla="*/ 81571 w 125352"/>
                <a:gd name="connsiteY11" fmla="*/ 39491 h 120034"/>
                <a:gd name="connsiteX12" fmla="*/ 117042 w 125352"/>
                <a:gd name="connsiteY12" fmla="*/ 39491 h 120034"/>
                <a:gd name="connsiteX13" fmla="*/ 125353 w 125352"/>
                <a:gd name="connsiteY13" fmla="*/ 47822 h 120034"/>
                <a:gd name="connsiteX14" fmla="*/ 121936 w 125352"/>
                <a:gd name="connsiteY14" fmla="*/ 54535 h 120034"/>
                <a:gd name="connsiteX15" fmla="*/ 93220 w 125352"/>
                <a:gd name="connsiteY15" fmla="*/ 75386 h 120034"/>
                <a:gd name="connsiteX16" fmla="*/ 104185 w 125352"/>
                <a:gd name="connsiteY16" fmla="*/ 109128 h 120034"/>
                <a:gd name="connsiteX17" fmla="*/ 98862 w 125352"/>
                <a:gd name="connsiteY17" fmla="*/ 119623 h 120034"/>
                <a:gd name="connsiteX18" fmla="*/ 91360 w 125352"/>
                <a:gd name="connsiteY18" fmla="*/ 118428 h 120034"/>
                <a:gd name="connsiteX19" fmla="*/ 62644 w 125352"/>
                <a:gd name="connsiteY19" fmla="*/ 97576 h 120034"/>
                <a:gd name="connsiteX20" fmla="*/ 33961 w 125352"/>
                <a:gd name="connsiteY20" fmla="*/ 118428 h 120034"/>
                <a:gd name="connsiteX21" fmla="*/ 29066 w 125352"/>
                <a:gd name="connsiteY21" fmla="*/ 120027 h 12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5352" h="120034">
                  <a:moveTo>
                    <a:pt x="29066" y="120027"/>
                  </a:moveTo>
                  <a:cubicBezTo>
                    <a:pt x="24452" y="120012"/>
                    <a:pt x="20725" y="116260"/>
                    <a:pt x="20738" y="111646"/>
                  </a:cubicBezTo>
                  <a:cubicBezTo>
                    <a:pt x="20742" y="110791"/>
                    <a:pt x="20875" y="109942"/>
                    <a:pt x="21136" y="109128"/>
                  </a:cubicBezTo>
                  <a:lnTo>
                    <a:pt x="32101" y="75386"/>
                  </a:lnTo>
                  <a:lnTo>
                    <a:pt x="3417" y="54535"/>
                  </a:lnTo>
                  <a:cubicBezTo>
                    <a:pt x="-296" y="51826"/>
                    <a:pt x="-1109" y="46620"/>
                    <a:pt x="1600" y="42908"/>
                  </a:cubicBezTo>
                  <a:cubicBezTo>
                    <a:pt x="3163" y="40764"/>
                    <a:pt x="5659" y="39494"/>
                    <a:pt x="8312" y="39491"/>
                  </a:cubicBezTo>
                  <a:lnTo>
                    <a:pt x="43783" y="39491"/>
                  </a:lnTo>
                  <a:lnTo>
                    <a:pt x="54747" y="5750"/>
                  </a:lnTo>
                  <a:cubicBezTo>
                    <a:pt x="56170" y="1380"/>
                    <a:pt x="60862" y="-1011"/>
                    <a:pt x="65235" y="410"/>
                  </a:cubicBezTo>
                  <a:cubicBezTo>
                    <a:pt x="67764" y="1233"/>
                    <a:pt x="69751" y="3218"/>
                    <a:pt x="70574" y="5750"/>
                  </a:cubicBezTo>
                  <a:lnTo>
                    <a:pt x="81571" y="39491"/>
                  </a:lnTo>
                  <a:lnTo>
                    <a:pt x="117042" y="39491"/>
                  </a:lnTo>
                  <a:cubicBezTo>
                    <a:pt x="121636" y="39497"/>
                    <a:pt x="125359" y="43226"/>
                    <a:pt x="125353" y="47822"/>
                  </a:cubicBezTo>
                  <a:cubicBezTo>
                    <a:pt x="125350" y="50477"/>
                    <a:pt x="124080" y="52970"/>
                    <a:pt x="121936" y="54535"/>
                  </a:cubicBezTo>
                  <a:lnTo>
                    <a:pt x="93220" y="75386"/>
                  </a:lnTo>
                  <a:lnTo>
                    <a:pt x="104185" y="109128"/>
                  </a:lnTo>
                  <a:cubicBezTo>
                    <a:pt x="105614" y="113496"/>
                    <a:pt x="103228" y="118195"/>
                    <a:pt x="98862" y="119623"/>
                  </a:cubicBezTo>
                  <a:cubicBezTo>
                    <a:pt x="96314" y="120455"/>
                    <a:pt x="93524" y="120011"/>
                    <a:pt x="91360" y="118428"/>
                  </a:cubicBezTo>
                  <a:lnTo>
                    <a:pt x="62644" y="97576"/>
                  </a:lnTo>
                  <a:lnTo>
                    <a:pt x="33961" y="118428"/>
                  </a:lnTo>
                  <a:cubicBezTo>
                    <a:pt x="32541" y="119467"/>
                    <a:pt x="30825" y="120027"/>
                    <a:pt x="29066" y="120027"/>
                  </a:cubicBezTo>
                  <a:close/>
                </a:path>
              </a:pathLst>
            </a:custGeom>
            <a:noFill/>
            <a:ln w="16073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91" name="Freeform 490">
              <a:extLst>
                <a:ext uri="{FF2B5EF4-FFF2-40B4-BE49-F238E27FC236}">
                  <a16:creationId xmlns:a16="http://schemas.microsoft.com/office/drawing/2014/main" id="{70F59D31-666C-214D-2256-602C360C7164}"/>
                </a:ext>
              </a:extLst>
            </p:cNvPr>
            <p:cNvSpPr/>
            <p:nvPr/>
          </p:nvSpPr>
          <p:spPr>
            <a:xfrm>
              <a:off x="10141548" y="3527747"/>
              <a:ext cx="125320" cy="120042"/>
            </a:xfrm>
            <a:custGeom>
              <a:avLst/>
              <a:gdLst>
                <a:gd name="connsiteX0" fmla="*/ 29066 w 125320"/>
                <a:gd name="connsiteY0" fmla="*/ 119939 h 120042"/>
                <a:gd name="connsiteX1" fmla="*/ 24171 w 125320"/>
                <a:gd name="connsiteY1" fmla="*/ 118373 h 120042"/>
                <a:gd name="connsiteX2" fmla="*/ 21136 w 125320"/>
                <a:gd name="connsiteY2" fmla="*/ 109040 h 120042"/>
                <a:gd name="connsiteX3" fmla="*/ 32101 w 125320"/>
                <a:gd name="connsiteY3" fmla="*/ 75299 h 120042"/>
                <a:gd name="connsiteX4" fmla="*/ 3417 w 125320"/>
                <a:gd name="connsiteY4" fmla="*/ 54676 h 120042"/>
                <a:gd name="connsiteX5" fmla="*/ 1600 w 125320"/>
                <a:gd name="connsiteY5" fmla="*/ 43049 h 120042"/>
                <a:gd name="connsiteX6" fmla="*/ 8312 w 125320"/>
                <a:gd name="connsiteY6" fmla="*/ 39632 h 120042"/>
                <a:gd name="connsiteX7" fmla="*/ 43783 w 125320"/>
                <a:gd name="connsiteY7" fmla="*/ 39632 h 120042"/>
                <a:gd name="connsiteX8" fmla="*/ 54715 w 125320"/>
                <a:gd name="connsiteY8" fmla="*/ 5728 h 120042"/>
                <a:gd name="connsiteX9" fmla="*/ 65272 w 125320"/>
                <a:gd name="connsiteY9" fmla="*/ 426 h 120042"/>
                <a:gd name="connsiteX10" fmla="*/ 70574 w 125320"/>
                <a:gd name="connsiteY10" fmla="*/ 5728 h 120042"/>
                <a:gd name="connsiteX11" fmla="*/ 81505 w 125320"/>
                <a:gd name="connsiteY11" fmla="*/ 39534 h 120042"/>
                <a:gd name="connsiteX12" fmla="*/ 117009 w 125320"/>
                <a:gd name="connsiteY12" fmla="*/ 39534 h 120042"/>
                <a:gd name="connsiteX13" fmla="*/ 125320 w 125320"/>
                <a:gd name="connsiteY13" fmla="*/ 47865 h 120042"/>
                <a:gd name="connsiteX14" fmla="*/ 121904 w 125320"/>
                <a:gd name="connsiteY14" fmla="*/ 54578 h 120042"/>
                <a:gd name="connsiteX15" fmla="*/ 93188 w 125320"/>
                <a:gd name="connsiteY15" fmla="*/ 75430 h 120042"/>
                <a:gd name="connsiteX16" fmla="*/ 104152 w 125320"/>
                <a:gd name="connsiteY16" fmla="*/ 109171 h 120042"/>
                <a:gd name="connsiteX17" fmla="*/ 101084 w 125320"/>
                <a:gd name="connsiteY17" fmla="*/ 118504 h 120042"/>
                <a:gd name="connsiteX18" fmla="*/ 91295 w 125320"/>
                <a:gd name="connsiteY18" fmla="*/ 118504 h 120042"/>
                <a:gd name="connsiteX19" fmla="*/ 62579 w 125320"/>
                <a:gd name="connsiteY19" fmla="*/ 97652 h 120042"/>
                <a:gd name="connsiteX20" fmla="*/ 33895 w 125320"/>
                <a:gd name="connsiteY20" fmla="*/ 118504 h 120042"/>
                <a:gd name="connsiteX21" fmla="*/ 29066 w 125320"/>
                <a:gd name="connsiteY21" fmla="*/ 119939 h 12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5320" h="120042">
                  <a:moveTo>
                    <a:pt x="29066" y="119939"/>
                  </a:moveTo>
                  <a:cubicBezTo>
                    <a:pt x="27309" y="119952"/>
                    <a:pt x="25595" y="119404"/>
                    <a:pt x="24171" y="118373"/>
                  </a:cubicBezTo>
                  <a:cubicBezTo>
                    <a:pt x="21246" y="116245"/>
                    <a:pt x="20021" y="112480"/>
                    <a:pt x="21136" y="109040"/>
                  </a:cubicBezTo>
                  <a:lnTo>
                    <a:pt x="32101" y="75299"/>
                  </a:lnTo>
                  <a:lnTo>
                    <a:pt x="3417" y="54676"/>
                  </a:lnTo>
                  <a:cubicBezTo>
                    <a:pt x="-295" y="51967"/>
                    <a:pt x="-1109" y="46761"/>
                    <a:pt x="1600" y="43049"/>
                  </a:cubicBezTo>
                  <a:cubicBezTo>
                    <a:pt x="3164" y="40905"/>
                    <a:pt x="5658" y="39635"/>
                    <a:pt x="8312" y="39632"/>
                  </a:cubicBezTo>
                  <a:lnTo>
                    <a:pt x="43783" y="39632"/>
                  </a:lnTo>
                  <a:lnTo>
                    <a:pt x="54715" y="5728"/>
                  </a:lnTo>
                  <a:cubicBezTo>
                    <a:pt x="56166" y="1348"/>
                    <a:pt x="60893" y="-1025"/>
                    <a:pt x="65272" y="426"/>
                  </a:cubicBezTo>
                  <a:cubicBezTo>
                    <a:pt x="67778" y="1257"/>
                    <a:pt x="69743" y="3222"/>
                    <a:pt x="70574" y="5728"/>
                  </a:cubicBezTo>
                  <a:lnTo>
                    <a:pt x="81505" y="39534"/>
                  </a:lnTo>
                  <a:lnTo>
                    <a:pt x="117009" y="39534"/>
                  </a:lnTo>
                  <a:cubicBezTo>
                    <a:pt x="121604" y="39540"/>
                    <a:pt x="125326" y="43270"/>
                    <a:pt x="125320" y="47865"/>
                  </a:cubicBezTo>
                  <a:cubicBezTo>
                    <a:pt x="125317" y="50520"/>
                    <a:pt x="124048" y="53013"/>
                    <a:pt x="121904" y="54578"/>
                  </a:cubicBezTo>
                  <a:lnTo>
                    <a:pt x="93188" y="75430"/>
                  </a:lnTo>
                  <a:lnTo>
                    <a:pt x="104152" y="109171"/>
                  </a:lnTo>
                  <a:cubicBezTo>
                    <a:pt x="105260" y="112617"/>
                    <a:pt x="104021" y="116386"/>
                    <a:pt x="101084" y="118504"/>
                  </a:cubicBezTo>
                  <a:cubicBezTo>
                    <a:pt x="98144" y="120556"/>
                    <a:pt x="94235" y="120556"/>
                    <a:pt x="91295" y="118504"/>
                  </a:cubicBezTo>
                  <a:lnTo>
                    <a:pt x="62579" y="97652"/>
                  </a:lnTo>
                  <a:lnTo>
                    <a:pt x="33895" y="118504"/>
                  </a:lnTo>
                  <a:cubicBezTo>
                    <a:pt x="32476" y="119476"/>
                    <a:pt x="30786" y="119979"/>
                    <a:pt x="29066" y="119939"/>
                  </a:cubicBezTo>
                  <a:close/>
                </a:path>
              </a:pathLst>
            </a:custGeom>
            <a:noFill/>
            <a:ln w="16073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92" name="Freeform 491">
              <a:extLst>
                <a:ext uri="{FF2B5EF4-FFF2-40B4-BE49-F238E27FC236}">
                  <a16:creationId xmlns:a16="http://schemas.microsoft.com/office/drawing/2014/main" id="{3E753E3C-1F33-DE5C-4EAB-4903B31D33F3}"/>
                </a:ext>
              </a:extLst>
            </p:cNvPr>
            <p:cNvSpPr/>
            <p:nvPr/>
          </p:nvSpPr>
          <p:spPr>
            <a:xfrm>
              <a:off x="10294298" y="3520709"/>
              <a:ext cx="125320" cy="120027"/>
            </a:xfrm>
            <a:custGeom>
              <a:avLst/>
              <a:gdLst>
                <a:gd name="connsiteX0" fmla="*/ 29066 w 125320"/>
                <a:gd name="connsiteY0" fmla="*/ 120027 h 120027"/>
                <a:gd name="connsiteX1" fmla="*/ 24171 w 125320"/>
                <a:gd name="connsiteY1" fmla="*/ 118460 h 120027"/>
                <a:gd name="connsiteX2" fmla="*/ 21169 w 125320"/>
                <a:gd name="connsiteY2" fmla="*/ 109128 h 120027"/>
                <a:gd name="connsiteX3" fmla="*/ 32133 w 125320"/>
                <a:gd name="connsiteY3" fmla="*/ 75386 h 120027"/>
                <a:gd name="connsiteX4" fmla="*/ 3417 w 125320"/>
                <a:gd name="connsiteY4" fmla="*/ 54535 h 120027"/>
                <a:gd name="connsiteX5" fmla="*/ 1600 w 125320"/>
                <a:gd name="connsiteY5" fmla="*/ 42908 h 120027"/>
                <a:gd name="connsiteX6" fmla="*/ 8312 w 125320"/>
                <a:gd name="connsiteY6" fmla="*/ 39491 h 120027"/>
                <a:gd name="connsiteX7" fmla="*/ 43783 w 125320"/>
                <a:gd name="connsiteY7" fmla="*/ 39491 h 120027"/>
                <a:gd name="connsiteX8" fmla="*/ 54747 w 125320"/>
                <a:gd name="connsiteY8" fmla="*/ 5750 h 120027"/>
                <a:gd name="connsiteX9" fmla="*/ 65235 w 125320"/>
                <a:gd name="connsiteY9" fmla="*/ 410 h 120027"/>
                <a:gd name="connsiteX10" fmla="*/ 70574 w 125320"/>
                <a:gd name="connsiteY10" fmla="*/ 5750 h 120027"/>
                <a:gd name="connsiteX11" fmla="*/ 81538 w 125320"/>
                <a:gd name="connsiteY11" fmla="*/ 39491 h 120027"/>
                <a:gd name="connsiteX12" fmla="*/ 117009 w 125320"/>
                <a:gd name="connsiteY12" fmla="*/ 39491 h 120027"/>
                <a:gd name="connsiteX13" fmla="*/ 125320 w 125320"/>
                <a:gd name="connsiteY13" fmla="*/ 47822 h 120027"/>
                <a:gd name="connsiteX14" fmla="*/ 121904 w 125320"/>
                <a:gd name="connsiteY14" fmla="*/ 54535 h 120027"/>
                <a:gd name="connsiteX15" fmla="*/ 93220 w 125320"/>
                <a:gd name="connsiteY15" fmla="*/ 75386 h 120027"/>
                <a:gd name="connsiteX16" fmla="*/ 104184 w 125320"/>
                <a:gd name="connsiteY16" fmla="*/ 109128 h 120027"/>
                <a:gd name="connsiteX17" fmla="*/ 101150 w 125320"/>
                <a:gd name="connsiteY17" fmla="*/ 118460 h 120027"/>
                <a:gd name="connsiteX18" fmla="*/ 91360 w 125320"/>
                <a:gd name="connsiteY18" fmla="*/ 118460 h 120027"/>
                <a:gd name="connsiteX19" fmla="*/ 62546 w 125320"/>
                <a:gd name="connsiteY19" fmla="*/ 97609 h 120027"/>
                <a:gd name="connsiteX20" fmla="*/ 33830 w 125320"/>
                <a:gd name="connsiteY20" fmla="*/ 118460 h 120027"/>
                <a:gd name="connsiteX21" fmla="*/ 29066 w 125320"/>
                <a:gd name="connsiteY21" fmla="*/ 120027 h 120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5320" h="120027">
                  <a:moveTo>
                    <a:pt x="29066" y="120027"/>
                  </a:moveTo>
                  <a:cubicBezTo>
                    <a:pt x="27309" y="120040"/>
                    <a:pt x="25595" y="119492"/>
                    <a:pt x="24171" y="118460"/>
                  </a:cubicBezTo>
                  <a:cubicBezTo>
                    <a:pt x="21267" y="116320"/>
                    <a:pt x="20058" y="112561"/>
                    <a:pt x="21169" y="109128"/>
                  </a:cubicBezTo>
                  <a:lnTo>
                    <a:pt x="32133" y="75386"/>
                  </a:lnTo>
                  <a:lnTo>
                    <a:pt x="3417" y="54535"/>
                  </a:lnTo>
                  <a:cubicBezTo>
                    <a:pt x="-295" y="51826"/>
                    <a:pt x="-1109" y="46621"/>
                    <a:pt x="1600" y="42908"/>
                  </a:cubicBezTo>
                  <a:cubicBezTo>
                    <a:pt x="3164" y="40764"/>
                    <a:pt x="5658" y="39494"/>
                    <a:pt x="8312" y="39491"/>
                  </a:cubicBezTo>
                  <a:lnTo>
                    <a:pt x="43783" y="39491"/>
                  </a:lnTo>
                  <a:lnTo>
                    <a:pt x="54747" y="5750"/>
                  </a:lnTo>
                  <a:cubicBezTo>
                    <a:pt x="56170" y="1380"/>
                    <a:pt x="60862" y="-1011"/>
                    <a:pt x="65235" y="410"/>
                  </a:cubicBezTo>
                  <a:cubicBezTo>
                    <a:pt x="67764" y="1233"/>
                    <a:pt x="69751" y="3218"/>
                    <a:pt x="70574" y="5750"/>
                  </a:cubicBezTo>
                  <a:lnTo>
                    <a:pt x="81538" y="39491"/>
                  </a:lnTo>
                  <a:lnTo>
                    <a:pt x="117009" y="39491"/>
                  </a:lnTo>
                  <a:cubicBezTo>
                    <a:pt x="121603" y="39497"/>
                    <a:pt x="125327" y="43226"/>
                    <a:pt x="125320" y="47822"/>
                  </a:cubicBezTo>
                  <a:cubicBezTo>
                    <a:pt x="125317" y="50477"/>
                    <a:pt x="124047" y="52970"/>
                    <a:pt x="121904" y="54535"/>
                  </a:cubicBezTo>
                  <a:lnTo>
                    <a:pt x="93220" y="75386"/>
                  </a:lnTo>
                  <a:lnTo>
                    <a:pt x="104184" y="109128"/>
                  </a:lnTo>
                  <a:cubicBezTo>
                    <a:pt x="105300" y="112567"/>
                    <a:pt x="104074" y="116333"/>
                    <a:pt x="101150" y="118460"/>
                  </a:cubicBezTo>
                  <a:cubicBezTo>
                    <a:pt x="98210" y="120513"/>
                    <a:pt x="94300" y="120513"/>
                    <a:pt x="91360" y="118460"/>
                  </a:cubicBezTo>
                  <a:lnTo>
                    <a:pt x="62546" y="97609"/>
                  </a:lnTo>
                  <a:lnTo>
                    <a:pt x="33830" y="118460"/>
                  </a:lnTo>
                  <a:cubicBezTo>
                    <a:pt x="32448" y="119475"/>
                    <a:pt x="30780" y="120024"/>
                    <a:pt x="29066" y="120027"/>
                  </a:cubicBezTo>
                  <a:close/>
                </a:path>
              </a:pathLst>
            </a:custGeom>
            <a:noFill/>
            <a:ln w="16073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93" name="Freeform 492">
              <a:extLst>
                <a:ext uri="{FF2B5EF4-FFF2-40B4-BE49-F238E27FC236}">
                  <a16:creationId xmlns:a16="http://schemas.microsoft.com/office/drawing/2014/main" id="{63AEA4D2-573A-435F-A17E-1C35164F5064}"/>
                </a:ext>
              </a:extLst>
            </p:cNvPr>
            <p:cNvSpPr/>
            <p:nvPr/>
          </p:nvSpPr>
          <p:spPr>
            <a:xfrm>
              <a:off x="10022139" y="3333050"/>
              <a:ext cx="510917" cy="459774"/>
            </a:xfrm>
            <a:custGeom>
              <a:avLst/>
              <a:gdLst>
                <a:gd name="connsiteX0" fmla="*/ 434102 w 510917"/>
                <a:gd name="connsiteY0" fmla="*/ 0 h 459774"/>
                <a:gd name="connsiteX1" fmla="*/ 76620 w 510917"/>
                <a:gd name="connsiteY1" fmla="*/ 0 h 459774"/>
                <a:gd name="connsiteX2" fmla="*/ 0 w 510917"/>
                <a:gd name="connsiteY2" fmla="*/ 76620 h 459774"/>
                <a:gd name="connsiteX3" fmla="*/ 0 w 510917"/>
                <a:gd name="connsiteY3" fmla="*/ 297929 h 459774"/>
                <a:gd name="connsiteX4" fmla="*/ 76620 w 510917"/>
                <a:gd name="connsiteY4" fmla="*/ 374549 h 459774"/>
                <a:gd name="connsiteX5" fmla="*/ 100278 w 510917"/>
                <a:gd name="connsiteY5" fmla="*/ 374549 h 459774"/>
                <a:gd name="connsiteX6" fmla="*/ 85300 w 510917"/>
                <a:gd name="connsiteY6" fmla="*/ 449602 h 459774"/>
                <a:gd name="connsiteX7" fmla="*/ 91999 w 510917"/>
                <a:gd name="connsiteY7" fmla="*/ 459613 h 459774"/>
                <a:gd name="connsiteX8" fmla="*/ 97602 w 510917"/>
                <a:gd name="connsiteY8" fmla="*/ 458804 h 459774"/>
                <a:gd name="connsiteX9" fmla="*/ 257498 w 510917"/>
                <a:gd name="connsiteY9" fmla="*/ 374712 h 459774"/>
                <a:gd name="connsiteX10" fmla="*/ 434134 w 510917"/>
                <a:gd name="connsiteY10" fmla="*/ 374712 h 459774"/>
                <a:gd name="connsiteX11" fmla="*/ 510917 w 510917"/>
                <a:gd name="connsiteY11" fmla="*/ 298092 h 459774"/>
                <a:gd name="connsiteX12" fmla="*/ 510917 w 510917"/>
                <a:gd name="connsiteY12" fmla="*/ 76620 h 459774"/>
                <a:gd name="connsiteX13" fmla="*/ 434102 w 510917"/>
                <a:gd name="connsiteY13" fmla="*/ 0 h 459774"/>
                <a:gd name="connsiteX14" fmla="*/ 493688 w 510917"/>
                <a:gd name="connsiteY14" fmla="*/ 297929 h 459774"/>
                <a:gd name="connsiteX15" fmla="*/ 434102 w 510917"/>
                <a:gd name="connsiteY15" fmla="*/ 357515 h 459774"/>
                <a:gd name="connsiteX16" fmla="*/ 255344 w 510917"/>
                <a:gd name="connsiteY16" fmla="*/ 357515 h 459774"/>
                <a:gd name="connsiteX17" fmla="*/ 251396 w 510917"/>
                <a:gd name="connsiteY17" fmla="*/ 358494 h 459774"/>
                <a:gd name="connsiteX18" fmla="*/ 105499 w 510917"/>
                <a:gd name="connsiteY18" fmla="*/ 435375 h 459774"/>
                <a:gd name="connsiteX19" fmla="*/ 119008 w 510917"/>
                <a:gd name="connsiteY19" fmla="*/ 367794 h 459774"/>
                <a:gd name="connsiteX20" fmla="*/ 112287 w 510917"/>
                <a:gd name="connsiteY20" fmla="*/ 357743 h 459774"/>
                <a:gd name="connsiteX21" fmla="*/ 112286 w 510917"/>
                <a:gd name="connsiteY21" fmla="*/ 357743 h 459774"/>
                <a:gd name="connsiteX22" fmla="*/ 110655 w 510917"/>
                <a:gd name="connsiteY22" fmla="*/ 357580 h 459774"/>
                <a:gd name="connsiteX23" fmla="*/ 76620 w 510917"/>
                <a:gd name="connsiteY23" fmla="*/ 357580 h 459774"/>
                <a:gd name="connsiteX24" fmla="*/ 17034 w 510917"/>
                <a:gd name="connsiteY24" fmla="*/ 297929 h 459774"/>
                <a:gd name="connsiteX25" fmla="*/ 17034 w 510917"/>
                <a:gd name="connsiteY25" fmla="*/ 76620 h 459774"/>
                <a:gd name="connsiteX26" fmla="*/ 76620 w 510917"/>
                <a:gd name="connsiteY26" fmla="*/ 17034 h 459774"/>
                <a:gd name="connsiteX27" fmla="*/ 434102 w 510917"/>
                <a:gd name="connsiteY27" fmla="*/ 17034 h 459774"/>
                <a:gd name="connsiteX28" fmla="*/ 493688 w 510917"/>
                <a:gd name="connsiteY28" fmla="*/ 76620 h 45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10917" h="459774">
                  <a:moveTo>
                    <a:pt x="434102" y="0"/>
                  </a:moveTo>
                  <a:lnTo>
                    <a:pt x="76620" y="0"/>
                  </a:lnTo>
                  <a:cubicBezTo>
                    <a:pt x="34334" y="72"/>
                    <a:pt x="72" y="34334"/>
                    <a:pt x="0" y="76620"/>
                  </a:cubicBezTo>
                  <a:lnTo>
                    <a:pt x="0" y="297929"/>
                  </a:lnTo>
                  <a:cubicBezTo>
                    <a:pt x="72" y="340217"/>
                    <a:pt x="34334" y="374477"/>
                    <a:pt x="76620" y="374549"/>
                  </a:cubicBezTo>
                  <a:lnTo>
                    <a:pt x="100278" y="374549"/>
                  </a:lnTo>
                  <a:lnTo>
                    <a:pt x="85300" y="449602"/>
                  </a:lnTo>
                  <a:cubicBezTo>
                    <a:pt x="84385" y="454216"/>
                    <a:pt x="87385" y="458697"/>
                    <a:pt x="91999" y="459613"/>
                  </a:cubicBezTo>
                  <a:cubicBezTo>
                    <a:pt x="93904" y="459989"/>
                    <a:pt x="95881" y="459705"/>
                    <a:pt x="97602" y="458804"/>
                  </a:cubicBezTo>
                  <a:lnTo>
                    <a:pt x="257498" y="374712"/>
                  </a:lnTo>
                  <a:lnTo>
                    <a:pt x="434134" y="374712"/>
                  </a:lnTo>
                  <a:cubicBezTo>
                    <a:pt x="476484" y="374731"/>
                    <a:pt x="510846" y="340442"/>
                    <a:pt x="510917" y="298092"/>
                  </a:cubicBezTo>
                  <a:lnTo>
                    <a:pt x="510917" y="76620"/>
                  </a:lnTo>
                  <a:cubicBezTo>
                    <a:pt x="510846" y="34257"/>
                    <a:pt x="476465" y="-36"/>
                    <a:pt x="434102" y="0"/>
                  </a:cubicBezTo>
                  <a:close/>
                  <a:moveTo>
                    <a:pt x="493688" y="297929"/>
                  </a:moveTo>
                  <a:cubicBezTo>
                    <a:pt x="493652" y="330822"/>
                    <a:pt x="466995" y="357479"/>
                    <a:pt x="434102" y="357515"/>
                  </a:cubicBezTo>
                  <a:lnTo>
                    <a:pt x="255344" y="357515"/>
                  </a:lnTo>
                  <a:cubicBezTo>
                    <a:pt x="253968" y="357508"/>
                    <a:pt x="252611" y="357844"/>
                    <a:pt x="251396" y="358494"/>
                  </a:cubicBezTo>
                  <a:lnTo>
                    <a:pt x="105499" y="435375"/>
                  </a:lnTo>
                  <a:lnTo>
                    <a:pt x="119008" y="367794"/>
                  </a:lnTo>
                  <a:cubicBezTo>
                    <a:pt x="119928" y="363163"/>
                    <a:pt x="116918" y="358664"/>
                    <a:pt x="112287" y="357743"/>
                  </a:cubicBezTo>
                  <a:cubicBezTo>
                    <a:pt x="112287" y="357743"/>
                    <a:pt x="112287" y="357743"/>
                    <a:pt x="112286" y="357743"/>
                  </a:cubicBezTo>
                  <a:cubicBezTo>
                    <a:pt x="111749" y="357639"/>
                    <a:pt x="111203" y="357583"/>
                    <a:pt x="110655" y="357580"/>
                  </a:cubicBezTo>
                  <a:lnTo>
                    <a:pt x="76620" y="357580"/>
                  </a:lnTo>
                  <a:cubicBezTo>
                    <a:pt x="43701" y="357544"/>
                    <a:pt x="17034" y="330848"/>
                    <a:pt x="17034" y="297929"/>
                  </a:cubicBezTo>
                  <a:lnTo>
                    <a:pt x="17034" y="76620"/>
                  </a:lnTo>
                  <a:cubicBezTo>
                    <a:pt x="17070" y="43726"/>
                    <a:pt x="43726" y="17070"/>
                    <a:pt x="76620" y="17034"/>
                  </a:cubicBezTo>
                  <a:lnTo>
                    <a:pt x="434102" y="17034"/>
                  </a:lnTo>
                  <a:cubicBezTo>
                    <a:pt x="466995" y="17070"/>
                    <a:pt x="493652" y="43726"/>
                    <a:pt x="493688" y="76620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494" name="Graphic 65">
            <a:extLst>
              <a:ext uri="{FF2B5EF4-FFF2-40B4-BE49-F238E27FC236}">
                <a16:creationId xmlns:a16="http://schemas.microsoft.com/office/drawing/2014/main" id="{9EE3CFE8-AF4F-874E-905F-617B4F63A160}"/>
              </a:ext>
            </a:extLst>
          </p:cNvPr>
          <p:cNvGrpSpPr/>
          <p:nvPr/>
        </p:nvGrpSpPr>
        <p:grpSpPr>
          <a:xfrm>
            <a:off x="6508993" y="5080948"/>
            <a:ext cx="437385" cy="356009"/>
            <a:chOff x="8672754" y="6007544"/>
            <a:chExt cx="610635" cy="507859"/>
          </a:xfrm>
          <a:solidFill>
            <a:schemeClr val="bg1"/>
          </a:solidFill>
        </p:grpSpPr>
        <p:sp>
          <p:nvSpPr>
            <p:cNvPr id="495" name="Freeform 494">
              <a:extLst>
                <a:ext uri="{FF2B5EF4-FFF2-40B4-BE49-F238E27FC236}">
                  <a16:creationId xmlns:a16="http://schemas.microsoft.com/office/drawing/2014/main" id="{9836FDA1-6807-B44C-C60B-5C2F775C8D5C}"/>
                </a:ext>
              </a:extLst>
            </p:cNvPr>
            <p:cNvSpPr/>
            <p:nvPr/>
          </p:nvSpPr>
          <p:spPr>
            <a:xfrm>
              <a:off x="8721887" y="6330226"/>
              <a:ext cx="488096" cy="185177"/>
            </a:xfrm>
            <a:custGeom>
              <a:avLst/>
              <a:gdLst>
                <a:gd name="connsiteX0" fmla="*/ 312439 w 488096"/>
                <a:gd name="connsiteY0" fmla="*/ 157853 h 185177"/>
                <a:gd name="connsiteX1" fmla="*/ 249326 w 488096"/>
                <a:gd name="connsiteY1" fmla="*/ 164960 h 185177"/>
                <a:gd name="connsiteX2" fmla="*/ 137933 w 488096"/>
                <a:gd name="connsiteY2" fmla="*/ 133430 h 185177"/>
                <a:gd name="connsiteX3" fmla="*/ 100639 w 488096"/>
                <a:gd name="connsiteY3" fmla="*/ 137578 h 185177"/>
                <a:gd name="connsiteX4" fmla="*/ 91058 w 488096"/>
                <a:gd name="connsiteY4" fmla="*/ 142741 h 185177"/>
                <a:gd name="connsiteX5" fmla="*/ 93668 w 488096"/>
                <a:gd name="connsiteY5" fmla="*/ 48616 h 185177"/>
                <a:gd name="connsiteX6" fmla="*/ 195107 w 488096"/>
                <a:gd name="connsiteY6" fmla="*/ 43134 h 185177"/>
                <a:gd name="connsiteX7" fmla="*/ 201648 w 488096"/>
                <a:gd name="connsiteY7" fmla="*/ 46412 h 185177"/>
                <a:gd name="connsiteX8" fmla="*/ 239372 w 488096"/>
                <a:gd name="connsiteY8" fmla="*/ 56274 h 185177"/>
                <a:gd name="connsiteX9" fmla="*/ 305095 w 488096"/>
                <a:gd name="connsiteY9" fmla="*/ 58130 h 185177"/>
                <a:gd name="connsiteX10" fmla="*/ 342933 w 488096"/>
                <a:gd name="connsiteY10" fmla="*/ 90037 h 185177"/>
                <a:gd name="connsiteX11" fmla="*/ 244994 w 488096"/>
                <a:gd name="connsiteY11" fmla="*/ 87339 h 185177"/>
                <a:gd name="connsiteX12" fmla="*/ 235685 w 488096"/>
                <a:gd name="connsiteY12" fmla="*/ 96259 h 185177"/>
                <a:gd name="connsiteX13" fmla="*/ 244507 w 488096"/>
                <a:gd name="connsiteY13" fmla="*/ 105671 h 185177"/>
                <a:gd name="connsiteX14" fmla="*/ 352486 w 488096"/>
                <a:gd name="connsiteY14" fmla="*/ 108572 h 185177"/>
                <a:gd name="connsiteX15" fmla="*/ 352744 w 488096"/>
                <a:gd name="connsiteY15" fmla="*/ 108572 h 185177"/>
                <a:gd name="connsiteX16" fmla="*/ 361695 w 488096"/>
                <a:gd name="connsiteY16" fmla="*/ 99638 h 185177"/>
                <a:gd name="connsiteX17" fmla="*/ 361695 w 488096"/>
                <a:gd name="connsiteY17" fmla="*/ 99609 h 185177"/>
                <a:gd name="connsiteX18" fmla="*/ 360777 w 488096"/>
                <a:gd name="connsiteY18" fmla="*/ 87542 h 185177"/>
                <a:gd name="connsiteX19" fmla="*/ 433786 w 488096"/>
                <a:gd name="connsiteY19" fmla="*/ 52735 h 185177"/>
                <a:gd name="connsiteX20" fmla="*/ 434131 w 488096"/>
                <a:gd name="connsiteY20" fmla="*/ 52735 h 185177"/>
                <a:gd name="connsiteX21" fmla="*/ 465687 w 488096"/>
                <a:gd name="connsiteY21" fmla="*/ 57173 h 185177"/>
                <a:gd name="connsiteX22" fmla="*/ 18392 w 488096"/>
                <a:gd name="connsiteY22" fmla="*/ 160261 h 185177"/>
                <a:gd name="connsiteX23" fmla="*/ 22265 w 488096"/>
                <a:gd name="connsiteY23" fmla="*/ 18943 h 185177"/>
                <a:gd name="connsiteX24" fmla="*/ 76169 w 488096"/>
                <a:gd name="connsiteY24" fmla="*/ 20393 h 185177"/>
                <a:gd name="connsiteX25" fmla="*/ 72267 w 488096"/>
                <a:gd name="connsiteY25" fmla="*/ 161914 h 185177"/>
                <a:gd name="connsiteX26" fmla="*/ 426184 w 488096"/>
                <a:gd name="connsiteY26" fmla="*/ 36753 h 185177"/>
                <a:gd name="connsiteX27" fmla="*/ 355039 w 488096"/>
                <a:gd name="connsiteY27" fmla="*/ 70719 h 185177"/>
                <a:gd name="connsiteX28" fmla="*/ 305611 w 488096"/>
                <a:gd name="connsiteY28" fmla="*/ 39914 h 185177"/>
                <a:gd name="connsiteX29" fmla="*/ 239917 w 488096"/>
                <a:gd name="connsiteY29" fmla="*/ 38087 h 185177"/>
                <a:gd name="connsiteX30" fmla="*/ 210254 w 488096"/>
                <a:gd name="connsiteY30" fmla="*/ 30284 h 185177"/>
                <a:gd name="connsiteX31" fmla="*/ 203599 w 488096"/>
                <a:gd name="connsiteY31" fmla="*/ 26774 h 185177"/>
                <a:gd name="connsiteX32" fmla="*/ 94357 w 488096"/>
                <a:gd name="connsiteY32" fmla="*/ 26774 h 185177"/>
                <a:gd name="connsiteX33" fmla="*/ 94787 w 488096"/>
                <a:gd name="connsiteY33" fmla="*/ 11459 h 185177"/>
                <a:gd name="connsiteX34" fmla="*/ 85870 w 488096"/>
                <a:gd name="connsiteY34" fmla="*/ 2032 h 185177"/>
                <a:gd name="connsiteX35" fmla="*/ 85865 w 488096"/>
                <a:gd name="connsiteY35" fmla="*/ 2032 h 185177"/>
                <a:gd name="connsiteX36" fmla="*/ 13716 w 488096"/>
                <a:gd name="connsiteY36" fmla="*/ 2 h 185177"/>
                <a:gd name="connsiteX37" fmla="*/ 4393 w 488096"/>
                <a:gd name="connsiteY37" fmla="*/ 9023 h 185177"/>
                <a:gd name="connsiteX38" fmla="*/ 4 w 488096"/>
                <a:gd name="connsiteY38" fmla="*/ 168760 h 185177"/>
                <a:gd name="connsiteX39" fmla="*/ 8832 w 488096"/>
                <a:gd name="connsiteY39" fmla="*/ 178216 h 185177"/>
                <a:gd name="connsiteX40" fmla="*/ 8840 w 488096"/>
                <a:gd name="connsiteY40" fmla="*/ 178216 h 185177"/>
                <a:gd name="connsiteX41" fmla="*/ 8840 w 488096"/>
                <a:gd name="connsiteY41" fmla="*/ 178216 h 185177"/>
                <a:gd name="connsiteX42" fmla="*/ 80902 w 488096"/>
                <a:gd name="connsiteY42" fmla="*/ 180217 h 185177"/>
                <a:gd name="connsiteX43" fmla="*/ 81161 w 488096"/>
                <a:gd name="connsiteY43" fmla="*/ 180217 h 185177"/>
                <a:gd name="connsiteX44" fmla="*/ 90283 w 488096"/>
                <a:gd name="connsiteY44" fmla="*/ 171196 h 185177"/>
                <a:gd name="connsiteX45" fmla="*/ 90484 w 488096"/>
                <a:gd name="connsiteY45" fmla="*/ 163539 h 185177"/>
                <a:gd name="connsiteX46" fmla="*/ 109188 w 488096"/>
                <a:gd name="connsiteY46" fmla="*/ 153415 h 185177"/>
                <a:gd name="connsiteX47" fmla="*/ 133142 w 488096"/>
                <a:gd name="connsiteY47" fmla="*/ 150747 h 185177"/>
                <a:gd name="connsiteX48" fmla="*/ 245023 w 488096"/>
                <a:gd name="connsiteY48" fmla="*/ 182654 h 185177"/>
                <a:gd name="connsiteX49" fmla="*/ 245568 w 488096"/>
                <a:gd name="connsiteY49" fmla="*/ 182654 h 185177"/>
                <a:gd name="connsiteX50" fmla="*/ 320787 w 488096"/>
                <a:gd name="connsiteY50" fmla="*/ 173952 h 185177"/>
                <a:gd name="connsiteX51" fmla="*/ 321905 w 488096"/>
                <a:gd name="connsiteY51" fmla="*/ 173314 h 185177"/>
                <a:gd name="connsiteX52" fmla="*/ 483961 w 488096"/>
                <a:gd name="connsiteY52" fmla="*/ 67354 h 185177"/>
                <a:gd name="connsiteX53" fmla="*/ 486829 w 488096"/>
                <a:gd name="connsiteY53" fmla="*/ 55084 h 185177"/>
                <a:gd name="connsiteX54" fmla="*/ 426213 w 488096"/>
                <a:gd name="connsiteY54" fmla="*/ 36463 h 185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8096" h="185177">
                  <a:moveTo>
                    <a:pt x="312439" y="157853"/>
                  </a:moveTo>
                  <a:cubicBezTo>
                    <a:pt x="292667" y="166883"/>
                    <a:pt x="270578" y="169369"/>
                    <a:pt x="249326" y="164960"/>
                  </a:cubicBezTo>
                  <a:lnTo>
                    <a:pt x="137933" y="133430"/>
                  </a:lnTo>
                  <a:cubicBezTo>
                    <a:pt x="125440" y="129874"/>
                    <a:pt x="112070" y="131362"/>
                    <a:pt x="100639" y="137578"/>
                  </a:cubicBezTo>
                  <a:lnTo>
                    <a:pt x="91058" y="142741"/>
                  </a:lnTo>
                  <a:lnTo>
                    <a:pt x="93668" y="48616"/>
                  </a:lnTo>
                  <a:cubicBezTo>
                    <a:pt x="123966" y="28231"/>
                    <a:pt x="162833" y="26131"/>
                    <a:pt x="195107" y="43134"/>
                  </a:cubicBezTo>
                  <a:lnTo>
                    <a:pt x="201648" y="46412"/>
                  </a:lnTo>
                  <a:cubicBezTo>
                    <a:pt x="213333" y="52515"/>
                    <a:pt x="226225" y="55885"/>
                    <a:pt x="239372" y="56274"/>
                  </a:cubicBezTo>
                  <a:lnTo>
                    <a:pt x="305095" y="58130"/>
                  </a:lnTo>
                  <a:cubicBezTo>
                    <a:pt x="323495" y="58620"/>
                    <a:pt x="339152" y="71824"/>
                    <a:pt x="342933" y="90037"/>
                  </a:cubicBezTo>
                  <a:lnTo>
                    <a:pt x="244994" y="87339"/>
                  </a:lnTo>
                  <a:cubicBezTo>
                    <a:pt x="239989" y="87203"/>
                    <a:pt x="235820" y="91197"/>
                    <a:pt x="235685" y="96259"/>
                  </a:cubicBezTo>
                  <a:cubicBezTo>
                    <a:pt x="235551" y="101320"/>
                    <a:pt x="239501" y="105535"/>
                    <a:pt x="244507" y="105671"/>
                  </a:cubicBezTo>
                  <a:lnTo>
                    <a:pt x="352486" y="108572"/>
                  </a:lnTo>
                  <a:lnTo>
                    <a:pt x="352744" y="108572"/>
                  </a:lnTo>
                  <a:cubicBezTo>
                    <a:pt x="357656" y="108604"/>
                    <a:pt x="361663" y="104604"/>
                    <a:pt x="361695" y="99638"/>
                  </a:cubicBezTo>
                  <a:cubicBezTo>
                    <a:pt x="361695" y="99629"/>
                    <a:pt x="361695" y="99618"/>
                    <a:pt x="361695" y="99609"/>
                  </a:cubicBezTo>
                  <a:cubicBezTo>
                    <a:pt x="361807" y="95566"/>
                    <a:pt x="361497" y="91522"/>
                    <a:pt x="360777" y="87542"/>
                  </a:cubicBezTo>
                  <a:lnTo>
                    <a:pt x="433786" y="52735"/>
                  </a:lnTo>
                  <a:lnTo>
                    <a:pt x="434131" y="52735"/>
                  </a:lnTo>
                  <a:cubicBezTo>
                    <a:pt x="444527" y="47369"/>
                    <a:pt x="457132" y="49141"/>
                    <a:pt x="465687" y="57173"/>
                  </a:cubicBezTo>
                  <a:close/>
                  <a:moveTo>
                    <a:pt x="18392" y="160261"/>
                  </a:moveTo>
                  <a:lnTo>
                    <a:pt x="22265" y="18943"/>
                  </a:lnTo>
                  <a:lnTo>
                    <a:pt x="76169" y="20393"/>
                  </a:lnTo>
                  <a:lnTo>
                    <a:pt x="72267" y="161914"/>
                  </a:lnTo>
                  <a:close/>
                  <a:moveTo>
                    <a:pt x="426184" y="36753"/>
                  </a:moveTo>
                  <a:lnTo>
                    <a:pt x="355039" y="70719"/>
                  </a:lnTo>
                  <a:cubicBezTo>
                    <a:pt x="345197" y="52251"/>
                    <a:pt x="326349" y="40506"/>
                    <a:pt x="305611" y="39914"/>
                  </a:cubicBezTo>
                  <a:lnTo>
                    <a:pt x="239917" y="38087"/>
                  </a:lnTo>
                  <a:cubicBezTo>
                    <a:pt x="229581" y="37733"/>
                    <a:pt x="219451" y="35067"/>
                    <a:pt x="210254" y="30284"/>
                  </a:cubicBezTo>
                  <a:lnTo>
                    <a:pt x="203599" y="26774"/>
                  </a:lnTo>
                  <a:cubicBezTo>
                    <a:pt x="169378" y="8704"/>
                    <a:pt x="128578" y="8704"/>
                    <a:pt x="94357" y="26774"/>
                  </a:cubicBezTo>
                  <a:lnTo>
                    <a:pt x="94787" y="11459"/>
                  </a:lnTo>
                  <a:cubicBezTo>
                    <a:pt x="94899" y="6366"/>
                    <a:pt x="90907" y="2145"/>
                    <a:pt x="85870" y="2032"/>
                  </a:cubicBezTo>
                  <a:cubicBezTo>
                    <a:pt x="85868" y="2032"/>
                    <a:pt x="85867" y="2032"/>
                    <a:pt x="85865" y="2032"/>
                  </a:cubicBezTo>
                  <a:lnTo>
                    <a:pt x="13716" y="2"/>
                  </a:lnTo>
                  <a:cubicBezTo>
                    <a:pt x="8684" y="-97"/>
                    <a:pt x="4518" y="3935"/>
                    <a:pt x="4393" y="9023"/>
                  </a:cubicBezTo>
                  <a:lnTo>
                    <a:pt x="4" y="168760"/>
                  </a:lnTo>
                  <a:cubicBezTo>
                    <a:pt x="-141" y="173836"/>
                    <a:pt x="3812" y="178071"/>
                    <a:pt x="8832" y="178216"/>
                  </a:cubicBezTo>
                  <a:cubicBezTo>
                    <a:pt x="8835" y="178216"/>
                    <a:pt x="8837" y="178216"/>
                    <a:pt x="8840" y="178216"/>
                  </a:cubicBezTo>
                  <a:lnTo>
                    <a:pt x="8840" y="178216"/>
                  </a:lnTo>
                  <a:lnTo>
                    <a:pt x="80902" y="180217"/>
                  </a:lnTo>
                  <a:lnTo>
                    <a:pt x="81161" y="180217"/>
                  </a:lnTo>
                  <a:cubicBezTo>
                    <a:pt x="86128" y="180235"/>
                    <a:pt x="90189" y="176217"/>
                    <a:pt x="90283" y="171196"/>
                  </a:cubicBezTo>
                  <a:lnTo>
                    <a:pt x="90484" y="163539"/>
                  </a:lnTo>
                  <a:lnTo>
                    <a:pt x="109188" y="153415"/>
                  </a:lnTo>
                  <a:cubicBezTo>
                    <a:pt x="116532" y="149430"/>
                    <a:pt x="125117" y="148473"/>
                    <a:pt x="133142" y="150747"/>
                  </a:cubicBezTo>
                  <a:lnTo>
                    <a:pt x="245023" y="182654"/>
                  </a:lnTo>
                  <a:lnTo>
                    <a:pt x="245568" y="182654"/>
                  </a:lnTo>
                  <a:cubicBezTo>
                    <a:pt x="270916" y="187933"/>
                    <a:pt x="297272" y="184884"/>
                    <a:pt x="320787" y="173952"/>
                  </a:cubicBezTo>
                  <a:cubicBezTo>
                    <a:pt x="321188" y="173798"/>
                    <a:pt x="321567" y="173580"/>
                    <a:pt x="321905" y="173314"/>
                  </a:cubicBezTo>
                  <a:lnTo>
                    <a:pt x="483961" y="67354"/>
                  </a:lnTo>
                  <a:cubicBezTo>
                    <a:pt x="488040" y="64720"/>
                    <a:pt x="489311" y="59285"/>
                    <a:pt x="486829" y="55084"/>
                  </a:cubicBezTo>
                  <a:cubicBezTo>
                    <a:pt x="474778" y="33513"/>
                    <a:pt x="448096" y="25315"/>
                    <a:pt x="426213" y="36463"/>
                  </a:cubicBez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96" name="Freeform 495">
              <a:extLst>
                <a:ext uri="{FF2B5EF4-FFF2-40B4-BE49-F238E27FC236}">
                  <a16:creationId xmlns:a16="http://schemas.microsoft.com/office/drawing/2014/main" id="{398BCAF4-B740-BA48-74F6-EC410AF7CE38}"/>
                </a:ext>
              </a:extLst>
            </p:cNvPr>
            <p:cNvSpPr/>
            <p:nvPr/>
          </p:nvSpPr>
          <p:spPr>
            <a:xfrm>
              <a:off x="8720601" y="6057693"/>
              <a:ext cx="221934" cy="163732"/>
            </a:xfrm>
            <a:custGeom>
              <a:avLst/>
              <a:gdLst>
                <a:gd name="connsiteX0" fmla="*/ 66784 w 221934"/>
                <a:gd name="connsiteY0" fmla="*/ 163732 h 163732"/>
                <a:gd name="connsiteX1" fmla="*/ 66439 w 221934"/>
                <a:gd name="connsiteY1" fmla="*/ 163732 h 163732"/>
                <a:gd name="connsiteX2" fmla="*/ 58206 w 221934"/>
                <a:gd name="connsiteY2" fmla="*/ 159933 h 163732"/>
                <a:gd name="connsiteX3" fmla="*/ 3069 w 221934"/>
                <a:gd name="connsiteY3" fmla="*/ 99397 h 163732"/>
                <a:gd name="connsiteX4" fmla="*/ 3786 w 221934"/>
                <a:gd name="connsiteY4" fmla="*/ 82718 h 163732"/>
                <a:gd name="connsiteX5" fmla="*/ 20281 w 221934"/>
                <a:gd name="connsiteY5" fmla="*/ 83443 h 163732"/>
                <a:gd name="connsiteX6" fmla="*/ 67329 w 221934"/>
                <a:gd name="connsiteY6" fmla="*/ 135103 h 163732"/>
                <a:gd name="connsiteX7" fmla="*/ 202504 w 221934"/>
                <a:gd name="connsiteY7" fmla="*/ 2980 h 163732"/>
                <a:gd name="connsiteX8" fmla="*/ 218987 w 221934"/>
                <a:gd name="connsiteY8" fmla="*/ 3964 h 163732"/>
                <a:gd name="connsiteX9" fmla="*/ 218712 w 221934"/>
                <a:gd name="connsiteY9" fmla="*/ 19949 h 163732"/>
                <a:gd name="connsiteX10" fmla="*/ 74816 w 221934"/>
                <a:gd name="connsiteY10" fmla="*/ 160426 h 163732"/>
                <a:gd name="connsiteX11" fmla="*/ 66784 w 221934"/>
                <a:gd name="connsiteY11" fmla="*/ 163732 h 16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934" h="163732">
                  <a:moveTo>
                    <a:pt x="66784" y="163732"/>
                  </a:moveTo>
                  <a:lnTo>
                    <a:pt x="66439" y="163732"/>
                  </a:lnTo>
                  <a:cubicBezTo>
                    <a:pt x="63301" y="163640"/>
                    <a:pt x="60332" y="162270"/>
                    <a:pt x="58206" y="159933"/>
                  </a:cubicBezTo>
                  <a:lnTo>
                    <a:pt x="3069" y="99397"/>
                  </a:lnTo>
                  <a:cubicBezTo>
                    <a:pt x="-1288" y="94591"/>
                    <a:pt x="-967" y="87124"/>
                    <a:pt x="3786" y="82718"/>
                  </a:cubicBezTo>
                  <a:cubicBezTo>
                    <a:pt x="8539" y="78313"/>
                    <a:pt x="15924" y="78637"/>
                    <a:pt x="20281" y="83443"/>
                  </a:cubicBezTo>
                  <a:lnTo>
                    <a:pt x="67329" y="135103"/>
                  </a:lnTo>
                  <a:lnTo>
                    <a:pt x="202504" y="2980"/>
                  </a:lnTo>
                  <a:cubicBezTo>
                    <a:pt x="207324" y="-1350"/>
                    <a:pt x="214704" y="-909"/>
                    <a:pt x="218987" y="3964"/>
                  </a:cubicBezTo>
                  <a:cubicBezTo>
                    <a:pt x="223020" y="8554"/>
                    <a:pt x="222901" y="15504"/>
                    <a:pt x="218712" y="19949"/>
                  </a:cubicBezTo>
                  <a:lnTo>
                    <a:pt x="74816" y="160426"/>
                  </a:lnTo>
                  <a:cubicBezTo>
                    <a:pt x="72661" y="162535"/>
                    <a:pt x="69783" y="163720"/>
                    <a:pt x="66784" y="163732"/>
                  </a:cubicBezTo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97" name="Freeform 496">
              <a:extLst>
                <a:ext uri="{FF2B5EF4-FFF2-40B4-BE49-F238E27FC236}">
                  <a16:creationId xmlns:a16="http://schemas.microsoft.com/office/drawing/2014/main" id="{FBBBEA72-92F3-6D87-39D2-91AB1F6E2459}"/>
                </a:ext>
              </a:extLst>
            </p:cNvPr>
            <p:cNvSpPr/>
            <p:nvPr/>
          </p:nvSpPr>
          <p:spPr>
            <a:xfrm>
              <a:off x="8672754" y="6032054"/>
              <a:ext cx="260069" cy="262960"/>
            </a:xfrm>
            <a:custGeom>
              <a:avLst/>
              <a:gdLst>
                <a:gd name="connsiteX0" fmla="*/ 129777 w 260069"/>
                <a:gd name="connsiteY0" fmla="*/ 262960 h 262960"/>
                <a:gd name="connsiteX1" fmla="*/ 3294 w 260069"/>
                <a:gd name="connsiteY1" fmla="*/ 160800 h 262960"/>
                <a:gd name="connsiteX2" fmla="*/ 101134 w 260069"/>
                <a:gd name="connsiteY2" fmla="*/ 3303 h 262960"/>
                <a:gd name="connsiteX3" fmla="*/ 208209 w 260069"/>
                <a:gd name="connsiteY3" fmla="*/ 26357 h 262960"/>
                <a:gd name="connsiteX4" fmla="*/ 209586 w 260069"/>
                <a:gd name="connsiteY4" fmla="*/ 36277 h 262960"/>
                <a:gd name="connsiteX5" fmla="*/ 199775 w 260069"/>
                <a:gd name="connsiteY5" fmla="*/ 37669 h 262960"/>
                <a:gd name="connsiteX6" fmla="*/ 37241 w 260069"/>
                <a:gd name="connsiteY6" fmla="*/ 60881 h 262960"/>
                <a:gd name="connsiteX7" fmla="*/ 60197 w 260069"/>
                <a:gd name="connsiteY7" fmla="*/ 225220 h 262960"/>
                <a:gd name="connsiteX8" fmla="*/ 222731 w 260069"/>
                <a:gd name="connsiteY8" fmla="*/ 202009 h 262960"/>
                <a:gd name="connsiteX9" fmla="*/ 243121 w 260069"/>
                <a:gd name="connsiteY9" fmla="*/ 105225 h 262960"/>
                <a:gd name="connsiteX10" fmla="*/ 248385 w 260069"/>
                <a:gd name="connsiteY10" fmla="*/ 96740 h 262960"/>
                <a:gd name="connsiteX11" fmla="*/ 256777 w 260069"/>
                <a:gd name="connsiteY11" fmla="*/ 102063 h 262960"/>
                <a:gd name="connsiteX12" fmla="*/ 158981 w 260069"/>
                <a:gd name="connsiteY12" fmla="*/ 259595 h 262960"/>
                <a:gd name="connsiteX13" fmla="*/ 129663 w 260069"/>
                <a:gd name="connsiteY13" fmla="*/ 262960 h 26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0069" h="262960">
                  <a:moveTo>
                    <a:pt x="129777" y="262960"/>
                  </a:moveTo>
                  <a:cubicBezTo>
                    <a:pt x="69252" y="262783"/>
                    <a:pt x="16835" y="220447"/>
                    <a:pt x="3294" y="160800"/>
                  </a:cubicBezTo>
                  <a:cubicBezTo>
                    <a:pt x="-12702" y="89991"/>
                    <a:pt x="31102" y="19477"/>
                    <a:pt x="101134" y="3303"/>
                  </a:cubicBezTo>
                  <a:cubicBezTo>
                    <a:pt x="138441" y="-5313"/>
                    <a:pt x="177609" y="3120"/>
                    <a:pt x="208209" y="26357"/>
                  </a:cubicBezTo>
                  <a:cubicBezTo>
                    <a:pt x="211298" y="28712"/>
                    <a:pt x="211915" y="33153"/>
                    <a:pt x="209586" y="36277"/>
                  </a:cubicBezTo>
                  <a:cubicBezTo>
                    <a:pt x="207257" y="39401"/>
                    <a:pt x="202864" y="40024"/>
                    <a:pt x="199775" y="37669"/>
                  </a:cubicBezTo>
                  <a:cubicBezTo>
                    <a:pt x="148553" y="-1302"/>
                    <a:pt x="75784" y="9090"/>
                    <a:pt x="37241" y="60881"/>
                  </a:cubicBezTo>
                  <a:cubicBezTo>
                    <a:pt x="-1302" y="112671"/>
                    <a:pt x="8976" y="186249"/>
                    <a:pt x="60197" y="225220"/>
                  </a:cubicBezTo>
                  <a:cubicBezTo>
                    <a:pt x="111419" y="264193"/>
                    <a:pt x="184188" y="253800"/>
                    <a:pt x="222731" y="202009"/>
                  </a:cubicBezTo>
                  <a:cubicBezTo>
                    <a:pt x="243305" y="174363"/>
                    <a:pt x="250766" y="138948"/>
                    <a:pt x="243121" y="105225"/>
                  </a:cubicBezTo>
                  <a:cubicBezTo>
                    <a:pt x="242258" y="101412"/>
                    <a:pt x="244615" y="97613"/>
                    <a:pt x="248385" y="96740"/>
                  </a:cubicBezTo>
                  <a:cubicBezTo>
                    <a:pt x="252156" y="95867"/>
                    <a:pt x="255913" y="98250"/>
                    <a:pt x="256777" y="102063"/>
                  </a:cubicBezTo>
                  <a:cubicBezTo>
                    <a:pt x="272763" y="172864"/>
                    <a:pt x="228992" y="243373"/>
                    <a:pt x="158981" y="259595"/>
                  </a:cubicBezTo>
                  <a:cubicBezTo>
                    <a:pt x="149365" y="261832"/>
                    <a:pt x="139530" y="262960"/>
                    <a:pt x="129663" y="262960"/>
                  </a:cubicBezTo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98" name="Freeform 497">
              <a:extLst>
                <a:ext uri="{FF2B5EF4-FFF2-40B4-BE49-F238E27FC236}">
                  <a16:creationId xmlns:a16="http://schemas.microsoft.com/office/drawing/2014/main" id="{FE1A2C07-63AD-CDFD-B467-D389C95AC057}"/>
                </a:ext>
              </a:extLst>
            </p:cNvPr>
            <p:cNvSpPr/>
            <p:nvPr/>
          </p:nvSpPr>
          <p:spPr>
            <a:xfrm>
              <a:off x="9093164" y="6125937"/>
              <a:ext cx="73790" cy="74603"/>
            </a:xfrm>
            <a:custGeom>
              <a:avLst/>
              <a:gdLst>
                <a:gd name="connsiteX0" fmla="*/ 36921 w 73790"/>
                <a:gd name="connsiteY0" fmla="*/ 12357 h 74603"/>
                <a:gd name="connsiteX1" fmla="*/ 12278 w 73790"/>
                <a:gd name="connsiteY1" fmla="*/ 37215 h 74603"/>
                <a:gd name="connsiteX2" fmla="*/ 36863 w 73790"/>
                <a:gd name="connsiteY2" fmla="*/ 62131 h 74603"/>
                <a:gd name="connsiteX3" fmla="*/ 61506 w 73790"/>
                <a:gd name="connsiteY3" fmla="*/ 37273 h 74603"/>
                <a:gd name="connsiteX4" fmla="*/ 36921 w 73790"/>
                <a:gd name="connsiteY4" fmla="*/ 12357 h 74603"/>
                <a:gd name="connsiteX5" fmla="*/ 36921 w 73790"/>
                <a:gd name="connsiteY5" fmla="*/ 74604 h 74603"/>
                <a:gd name="connsiteX6" fmla="*/ 0 w 73790"/>
                <a:gd name="connsiteY6" fmla="*/ 37331 h 74603"/>
                <a:gd name="connsiteX7" fmla="*/ 36863 w 73790"/>
                <a:gd name="connsiteY7" fmla="*/ 0 h 74603"/>
                <a:gd name="connsiteX8" fmla="*/ 73784 w 73790"/>
                <a:gd name="connsiteY8" fmla="*/ 37273 h 74603"/>
                <a:gd name="connsiteX9" fmla="*/ 38240 w 73790"/>
                <a:gd name="connsiteY9" fmla="*/ 74604 h 74603"/>
                <a:gd name="connsiteX10" fmla="*/ 36921 w 73790"/>
                <a:gd name="connsiteY10" fmla="*/ 74604 h 74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790" h="74603">
                  <a:moveTo>
                    <a:pt x="36921" y="12357"/>
                  </a:moveTo>
                  <a:cubicBezTo>
                    <a:pt x="23326" y="12341"/>
                    <a:pt x="12295" y="23470"/>
                    <a:pt x="12278" y="37215"/>
                  </a:cubicBezTo>
                  <a:cubicBezTo>
                    <a:pt x="12261" y="50960"/>
                    <a:pt x="23268" y="62115"/>
                    <a:pt x="36863" y="62131"/>
                  </a:cubicBezTo>
                  <a:cubicBezTo>
                    <a:pt x="50458" y="62147"/>
                    <a:pt x="61489" y="51018"/>
                    <a:pt x="61506" y="37273"/>
                  </a:cubicBezTo>
                  <a:cubicBezTo>
                    <a:pt x="61523" y="23528"/>
                    <a:pt x="50516" y="12373"/>
                    <a:pt x="36921" y="12357"/>
                  </a:cubicBezTo>
                  <a:moveTo>
                    <a:pt x="36921" y="74604"/>
                  </a:moveTo>
                  <a:cubicBezTo>
                    <a:pt x="16547" y="74620"/>
                    <a:pt x="17" y="57932"/>
                    <a:pt x="0" y="37331"/>
                  </a:cubicBezTo>
                  <a:cubicBezTo>
                    <a:pt x="-17" y="16730"/>
                    <a:pt x="16490" y="16"/>
                    <a:pt x="36863" y="0"/>
                  </a:cubicBezTo>
                  <a:cubicBezTo>
                    <a:pt x="57237" y="-16"/>
                    <a:pt x="73767" y="16672"/>
                    <a:pt x="73784" y="37273"/>
                  </a:cubicBezTo>
                  <a:cubicBezTo>
                    <a:pt x="74151" y="57501"/>
                    <a:pt x="58247" y="74207"/>
                    <a:pt x="38240" y="74604"/>
                  </a:cubicBezTo>
                  <a:lnTo>
                    <a:pt x="36921" y="74604"/>
                  </a:lnTo>
                  <a:close/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499" name="Freeform 498">
              <a:extLst>
                <a:ext uri="{FF2B5EF4-FFF2-40B4-BE49-F238E27FC236}">
                  <a16:creationId xmlns:a16="http://schemas.microsoft.com/office/drawing/2014/main" id="{38E8FDD9-1A84-D58F-B3CE-9F4411F6BC33}"/>
                </a:ext>
              </a:extLst>
            </p:cNvPr>
            <p:cNvSpPr/>
            <p:nvPr/>
          </p:nvSpPr>
          <p:spPr>
            <a:xfrm>
              <a:off x="8976434" y="6007544"/>
              <a:ext cx="306955" cy="310541"/>
            </a:xfrm>
            <a:custGeom>
              <a:avLst/>
              <a:gdLst>
                <a:gd name="connsiteX0" fmla="*/ 160535 w 306955"/>
                <a:gd name="connsiteY0" fmla="*/ 272735 h 310541"/>
                <a:gd name="connsiteX1" fmla="*/ 160535 w 306955"/>
                <a:gd name="connsiteY1" fmla="*/ 256549 h 310541"/>
                <a:gd name="connsiteX2" fmla="*/ 153073 w 306955"/>
                <a:gd name="connsiteY2" fmla="*/ 249911 h 310541"/>
                <a:gd name="connsiteX3" fmla="*/ 146507 w 306955"/>
                <a:gd name="connsiteY3" fmla="*/ 256549 h 310541"/>
                <a:gd name="connsiteX4" fmla="*/ 146507 w 306955"/>
                <a:gd name="connsiteY4" fmla="*/ 272735 h 310541"/>
                <a:gd name="connsiteX5" fmla="*/ 37753 w 306955"/>
                <a:gd name="connsiteY5" fmla="*/ 162744 h 310541"/>
                <a:gd name="connsiteX6" fmla="*/ 53760 w 306955"/>
                <a:gd name="connsiteY6" fmla="*/ 162744 h 310541"/>
                <a:gd name="connsiteX7" fmla="*/ 60760 w 306955"/>
                <a:gd name="connsiteY7" fmla="*/ 155666 h 310541"/>
                <a:gd name="connsiteX8" fmla="*/ 53760 w 306955"/>
                <a:gd name="connsiteY8" fmla="*/ 148589 h 310541"/>
                <a:gd name="connsiteX9" fmla="*/ 37753 w 306955"/>
                <a:gd name="connsiteY9" fmla="*/ 148589 h 310541"/>
                <a:gd name="connsiteX10" fmla="*/ 146507 w 306955"/>
                <a:gd name="connsiteY10" fmla="*/ 38655 h 310541"/>
                <a:gd name="connsiteX11" fmla="*/ 146507 w 306955"/>
                <a:gd name="connsiteY11" fmla="*/ 54841 h 310541"/>
                <a:gd name="connsiteX12" fmla="*/ 153073 w 306955"/>
                <a:gd name="connsiteY12" fmla="*/ 62386 h 310541"/>
                <a:gd name="connsiteX13" fmla="*/ 160535 w 306955"/>
                <a:gd name="connsiteY13" fmla="*/ 55748 h 310541"/>
                <a:gd name="connsiteX14" fmla="*/ 160535 w 306955"/>
                <a:gd name="connsiteY14" fmla="*/ 54841 h 310541"/>
                <a:gd name="connsiteX15" fmla="*/ 160535 w 306955"/>
                <a:gd name="connsiteY15" fmla="*/ 38655 h 310541"/>
                <a:gd name="connsiteX16" fmla="*/ 269260 w 306955"/>
                <a:gd name="connsiteY16" fmla="*/ 148647 h 310541"/>
                <a:gd name="connsiteX17" fmla="*/ 253253 w 306955"/>
                <a:gd name="connsiteY17" fmla="*/ 148647 h 310541"/>
                <a:gd name="connsiteX18" fmla="*/ 246253 w 306955"/>
                <a:gd name="connsiteY18" fmla="*/ 155724 h 310541"/>
                <a:gd name="connsiteX19" fmla="*/ 253253 w 306955"/>
                <a:gd name="connsiteY19" fmla="*/ 162802 h 310541"/>
                <a:gd name="connsiteX20" fmla="*/ 269260 w 306955"/>
                <a:gd name="connsiteY20" fmla="*/ 162802 h 310541"/>
                <a:gd name="connsiteX21" fmla="*/ 160535 w 306955"/>
                <a:gd name="connsiteY21" fmla="*/ 272793 h 310541"/>
                <a:gd name="connsiteX22" fmla="*/ 299956 w 306955"/>
                <a:gd name="connsiteY22" fmla="*/ 148647 h 310541"/>
                <a:gd name="connsiteX23" fmla="*/ 283174 w 306955"/>
                <a:gd name="connsiteY23" fmla="*/ 148647 h 310541"/>
                <a:gd name="connsiteX24" fmla="*/ 160449 w 306955"/>
                <a:gd name="connsiteY24" fmla="*/ 24500 h 310541"/>
                <a:gd name="connsiteX25" fmla="*/ 160449 w 306955"/>
                <a:gd name="connsiteY25" fmla="*/ 7561 h 310541"/>
                <a:gd name="connsiteX26" fmla="*/ 153882 w 306955"/>
                <a:gd name="connsiteY26" fmla="*/ 15 h 310541"/>
                <a:gd name="connsiteX27" fmla="*/ 146421 w 306955"/>
                <a:gd name="connsiteY27" fmla="*/ 6653 h 310541"/>
                <a:gd name="connsiteX28" fmla="*/ 146421 w 306955"/>
                <a:gd name="connsiteY28" fmla="*/ 7561 h 310541"/>
                <a:gd name="connsiteX29" fmla="*/ 146421 w 306955"/>
                <a:gd name="connsiteY29" fmla="*/ 24442 h 310541"/>
                <a:gd name="connsiteX30" fmla="*/ 23753 w 306955"/>
                <a:gd name="connsiteY30" fmla="*/ 148647 h 310541"/>
                <a:gd name="connsiteX31" fmla="*/ 7000 w 306955"/>
                <a:gd name="connsiteY31" fmla="*/ 148647 h 310541"/>
                <a:gd name="connsiteX32" fmla="*/ 0 w 306955"/>
                <a:gd name="connsiteY32" fmla="*/ 155724 h 310541"/>
                <a:gd name="connsiteX33" fmla="*/ 7000 w 306955"/>
                <a:gd name="connsiteY33" fmla="*/ 162802 h 310541"/>
                <a:gd name="connsiteX34" fmla="*/ 23753 w 306955"/>
                <a:gd name="connsiteY34" fmla="*/ 162802 h 310541"/>
                <a:gd name="connsiteX35" fmla="*/ 146507 w 306955"/>
                <a:gd name="connsiteY35" fmla="*/ 286948 h 310541"/>
                <a:gd name="connsiteX36" fmla="*/ 146507 w 306955"/>
                <a:gd name="connsiteY36" fmla="*/ 303888 h 310541"/>
                <a:gd name="connsiteX37" fmla="*/ 153968 w 306955"/>
                <a:gd name="connsiteY37" fmla="*/ 310527 h 310541"/>
                <a:gd name="connsiteX38" fmla="*/ 160535 w 306955"/>
                <a:gd name="connsiteY38" fmla="*/ 303888 h 310541"/>
                <a:gd name="connsiteX39" fmla="*/ 160535 w 306955"/>
                <a:gd name="connsiteY39" fmla="*/ 286948 h 310541"/>
                <a:gd name="connsiteX40" fmla="*/ 283260 w 306955"/>
                <a:gd name="connsiteY40" fmla="*/ 162802 h 310541"/>
                <a:gd name="connsiteX41" fmla="*/ 299956 w 306955"/>
                <a:gd name="connsiteY41" fmla="*/ 162802 h 310541"/>
                <a:gd name="connsiteX42" fmla="*/ 306955 w 306955"/>
                <a:gd name="connsiteY42" fmla="*/ 155724 h 310541"/>
                <a:gd name="connsiteX43" fmla="*/ 299956 w 306955"/>
                <a:gd name="connsiteY43" fmla="*/ 148647 h 310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06955" h="310541">
                  <a:moveTo>
                    <a:pt x="160535" y="272735"/>
                  </a:moveTo>
                  <a:lnTo>
                    <a:pt x="160535" y="256549"/>
                  </a:lnTo>
                  <a:cubicBezTo>
                    <a:pt x="160288" y="252633"/>
                    <a:pt x="156946" y="249661"/>
                    <a:pt x="153073" y="249911"/>
                  </a:cubicBezTo>
                  <a:cubicBezTo>
                    <a:pt x="149545" y="250139"/>
                    <a:pt x="146733" y="252982"/>
                    <a:pt x="146507" y="256549"/>
                  </a:cubicBezTo>
                  <a:lnTo>
                    <a:pt x="146507" y="272735"/>
                  </a:lnTo>
                  <a:cubicBezTo>
                    <a:pt x="87981" y="269109"/>
                    <a:pt x="41324" y="221919"/>
                    <a:pt x="37753" y="162744"/>
                  </a:cubicBezTo>
                  <a:lnTo>
                    <a:pt x="53760" y="162744"/>
                  </a:lnTo>
                  <a:cubicBezTo>
                    <a:pt x="57627" y="162744"/>
                    <a:pt x="60760" y="159575"/>
                    <a:pt x="60760" y="155666"/>
                  </a:cubicBezTo>
                  <a:cubicBezTo>
                    <a:pt x="60760" y="151757"/>
                    <a:pt x="57627" y="148589"/>
                    <a:pt x="53760" y="148589"/>
                  </a:cubicBezTo>
                  <a:lnTo>
                    <a:pt x="37753" y="148589"/>
                  </a:lnTo>
                  <a:cubicBezTo>
                    <a:pt x="41339" y="89430"/>
                    <a:pt x="87999" y="42266"/>
                    <a:pt x="146507" y="38655"/>
                  </a:cubicBezTo>
                  <a:lnTo>
                    <a:pt x="146507" y="54841"/>
                  </a:lnTo>
                  <a:cubicBezTo>
                    <a:pt x="146260" y="58757"/>
                    <a:pt x="149198" y="62136"/>
                    <a:pt x="153073" y="62386"/>
                  </a:cubicBezTo>
                  <a:cubicBezTo>
                    <a:pt x="156946" y="62637"/>
                    <a:pt x="160288" y="59665"/>
                    <a:pt x="160535" y="55748"/>
                  </a:cubicBezTo>
                  <a:cubicBezTo>
                    <a:pt x="160555" y="55446"/>
                    <a:pt x="160555" y="55143"/>
                    <a:pt x="160535" y="54841"/>
                  </a:cubicBezTo>
                  <a:lnTo>
                    <a:pt x="160535" y="38655"/>
                  </a:lnTo>
                  <a:cubicBezTo>
                    <a:pt x="219054" y="42283"/>
                    <a:pt x="265703" y="89476"/>
                    <a:pt x="269260" y="148647"/>
                  </a:cubicBezTo>
                  <a:lnTo>
                    <a:pt x="253253" y="148647"/>
                  </a:lnTo>
                  <a:cubicBezTo>
                    <a:pt x="249386" y="148647"/>
                    <a:pt x="246253" y="151815"/>
                    <a:pt x="246253" y="155724"/>
                  </a:cubicBezTo>
                  <a:cubicBezTo>
                    <a:pt x="246253" y="159633"/>
                    <a:pt x="249386" y="162802"/>
                    <a:pt x="253253" y="162802"/>
                  </a:cubicBezTo>
                  <a:lnTo>
                    <a:pt x="269260" y="162802"/>
                  </a:lnTo>
                  <a:cubicBezTo>
                    <a:pt x="265691" y="221967"/>
                    <a:pt x="219049" y="269152"/>
                    <a:pt x="160535" y="272793"/>
                  </a:cubicBezTo>
                  <a:moveTo>
                    <a:pt x="299956" y="148647"/>
                  </a:moveTo>
                  <a:lnTo>
                    <a:pt x="283174" y="148647"/>
                  </a:lnTo>
                  <a:cubicBezTo>
                    <a:pt x="279545" y="81683"/>
                    <a:pt x="226674" y="28200"/>
                    <a:pt x="160449" y="24500"/>
                  </a:cubicBezTo>
                  <a:lnTo>
                    <a:pt x="160449" y="7561"/>
                  </a:lnTo>
                  <a:cubicBezTo>
                    <a:pt x="160695" y="3644"/>
                    <a:pt x="157758" y="265"/>
                    <a:pt x="153882" y="15"/>
                  </a:cubicBezTo>
                  <a:cubicBezTo>
                    <a:pt x="150009" y="-236"/>
                    <a:pt x="146667" y="2736"/>
                    <a:pt x="146421" y="6653"/>
                  </a:cubicBezTo>
                  <a:cubicBezTo>
                    <a:pt x="146401" y="6955"/>
                    <a:pt x="146401" y="7258"/>
                    <a:pt x="146421" y="7561"/>
                  </a:cubicBezTo>
                  <a:lnTo>
                    <a:pt x="146421" y="24442"/>
                  </a:lnTo>
                  <a:cubicBezTo>
                    <a:pt x="80201" y="28187"/>
                    <a:pt x="27365" y="81687"/>
                    <a:pt x="23753" y="148647"/>
                  </a:cubicBezTo>
                  <a:lnTo>
                    <a:pt x="7000" y="148647"/>
                  </a:lnTo>
                  <a:cubicBezTo>
                    <a:pt x="3133" y="148647"/>
                    <a:pt x="0" y="151815"/>
                    <a:pt x="0" y="155724"/>
                  </a:cubicBezTo>
                  <a:cubicBezTo>
                    <a:pt x="0" y="159633"/>
                    <a:pt x="3133" y="162802"/>
                    <a:pt x="7000" y="162802"/>
                  </a:cubicBezTo>
                  <a:lnTo>
                    <a:pt x="23753" y="162802"/>
                  </a:lnTo>
                  <a:cubicBezTo>
                    <a:pt x="27371" y="229781"/>
                    <a:pt x="80265" y="283276"/>
                    <a:pt x="146507" y="286948"/>
                  </a:cubicBezTo>
                  <a:lnTo>
                    <a:pt x="146507" y="303888"/>
                  </a:lnTo>
                  <a:cubicBezTo>
                    <a:pt x="146753" y="307803"/>
                    <a:pt x="150095" y="310777"/>
                    <a:pt x="153968" y="310527"/>
                  </a:cubicBezTo>
                  <a:cubicBezTo>
                    <a:pt x="157497" y="310298"/>
                    <a:pt x="160308" y="307455"/>
                    <a:pt x="160535" y="303888"/>
                  </a:cubicBezTo>
                  <a:lnTo>
                    <a:pt x="160535" y="286948"/>
                  </a:lnTo>
                  <a:cubicBezTo>
                    <a:pt x="226766" y="283261"/>
                    <a:pt x="279645" y="229771"/>
                    <a:pt x="283260" y="162802"/>
                  </a:cubicBezTo>
                  <a:lnTo>
                    <a:pt x="299956" y="162802"/>
                  </a:lnTo>
                  <a:cubicBezTo>
                    <a:pt x="303823" y="162802"/>
                    <a:pt x="306955" y="159633"/>
                    <a:pt x="306955" y="155724"/>
                  </a:cubicBezTo>
                  <a:cubicBezTo>
                    <a:pt x="306955" y="151815"/>
                    <a:pt x="303823" y="148647"/>
                    <a:pt x="299956" y="148647"/>
                  </a:cubicBezTo>
                </a:path>
              </a:pathLst>
            </a:custGeom>
            <a:grpFill/>
            <a:ln w="2857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500" name="Graphic 67">
            <a:extLst>
              <a:ext uri="{FF2B5EF4-FFF2-40B4-BE49-F238E27FC236}">
                <a16:creationId xmlns:a16="http://schemas.microsoft.com/office/drawing/2014/main" id="{DC0C49F9-6E82-E5FB-154A-A8BB0E4121F6}"/>
              </a:ext>
            </a:extLst>
          </p:cNvPr>
          <p:cNvGrpSpPr/>
          <p:nvPr/>
        </p:nvGrpSpPr>
        <p:grpSpPr>
          <a:xfrm>
            <a:off x="5671766" y="4436064"/>
            <a:ext cx="329561" cy="301984"/>
            <a:chOff x="7503897" y="5087595"/>
            <a:chExt cx="460101" cy="430791"/>
          </a:xfrm>
          <a:solidFill>
            <a:schemeClr val="bg1"/>
          </a:solidFill>
        </p:grpSpPr>
        <p:sp>
          <p:nvSpPr>
            <p:cNvPr id="501" name="Freeform 500">
              <a:extLst>
                <a:ext uri="{FF2B5EF4-FFF2-40B4-BE49-F238E27FC236}">
                  <a16:creationId xmlns:a16="http://schemas.microsoft.com/office/drawing/2014/main" id="{841F6BE5-A451-8763-3EFD-B9A702BA471E}"/>
                </a:ext>
              </a:extLst>
            </p:cNvPr>
            <p:cNvSpPr/>
            <p:nvPr/>
          </p:nvSpPr>
          <p:spPr>
            <a:xfrm>
              <a:off x="7575651" y="5119745"/>
              <a:ext cx="388347" cy="283513"/>
            </a:xfrm>
            <a:custGeom>
              <a:avLst/>
              <a:gdLst>
                <a:gd name="connsiteX0" fmla="*/ 116715 w 388347"/>
                <a:gd name="connsiteY0" fmla="*/ 283513 h 283513"/>
                <a:gd name="connsiteX1" fmla="*/ 116095 w 388347"/>
                <a:gd name="connsiteY1" fmla="*/ 283513 h 283513"/>
                <a:gd name="connsiteX2" fmla="*/ 101704 w 388347"/>
                <a:gd name="connsiteY2" fmla="*/ 276987 h 283513"/>
                <a:gd name="connsiteX3" fmla="*/ 5146 w 388347"/>
                <a:gd name="connsiteY3" fmla="*/ 172140 h 283513"/>
                <a:gd name="connsiteX4" fmla="*/ 6852 w 388347"/>
                <a:gd name="connsiteY4" fmla="*/ 143348 h 283513"/>
                <a:gd name="connsiteX5" fmla="*/ 35135 w 388347"/>
                <a:gd name="connsiteY5" fmla="*/ 144501 h 283513"/>
                <a:gd name="connsiteX6" fmla="*/ 117433 w 388347"/>
                <a:gd name="connsiteY6" fmla="*/ 233945 h 283513"/>
                <a:gd name="connsiteX7" fmla="*/ 354309 w 388347"/>
                <a:gd name="connsiteY7" fmla="*/ 5195 h 283513"/>
                <a:gd name="connsiteX8" fmla="*/ 383152 w 388347"/>
                <a:gd name="connsiteY8" fmla="*/ 6817 h 283513"/>
                <a:gd name="connsiteX9" fmla="*/ 382666 w 388347"/>
                <a:gd name="connsiteY9" fmla="*/ 34564 h 283513"/>
                <a:gd name="connsiteX10" fmla="*/ 130747 w 388347"/>
                <a:gd name="connsiteY10" fmla="*/ 277770 h 283513"/>
                <a:gd name="connsiteX11" fmla="*/ 116715 w 388347"/>
                <a:gd name="connsiteY11" fmla="*/ 283513 h 283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8347" h="283513">
                  <a:moveTo>
                    <a:pt x="116715" y="283513"/>
                  </a:moveTo>
                  <a:lnTo>
                    <a:pt x="116095" y="283513"/>
                  </a:lnTo>
                  <a:cubicBezTo>
                    <a:pt x="110618" y="283350"/>
                    <a:pt x="105436" y="280997"/>
                    <a:pt x="101704" y="276987"/>
                  </a:cubicBezTo>
                  <a:lnTo>
                    <a:pt x="5146" y="172140"/>
                  </a:lnTo>
                  <a:cubicBezTo>
                    <a:pt x="-2334" y="163718"/>
                    <a:pt x="-1570" y="150828"/>
                    <a:pt x="6852" y="143348"/>
                  </a:cubicBezTo>
                  <a:cubicBezTo>
                    <a:pt x="15055" y="136062"/>
                    <a:pt x="27552" y="136572"/>
                    <a:pt x="35135" y="144501"/>
                  </a:cubicBezTo>
                  <a:lnTo>
                    <a:pt x="117433" y="233945"/>
                  </a:lnTo>
                  <a:lnTo>
                    <a:pt x="354309" y="5195"/>
                  </a:lnTo>
                  <a:cubicBezTo>
                    <a:pt x="362721" y="-2322"/>
                    <a:pt x="375634" y="-1596"/>
                    <a:pt x="383152" y="6817"/>
                  </a:cubicBezTo>
                  <a:cubicBezTo>
                    <a:pt x="390263" y="14774"/>
                    <a:pt x="390051" y="26861"/>
                    <a:pt x="382666" y="34564"/>
                  </a:cubicBezTo>
                  <a:lnTo>
                    <a:pt x="130747" y="277770"/>
                  </a:lnTo>
                  <a:cubicBezTo>
                    <a:pt x="126987" y="281425"/>
                    <a:pt x="121959" y="283484"/>
                    <a:pt x="116715" y="283513"/>
                  </a:cubicBezTo>
                  <a:close/>
                </a:path>
              </a:pathLst>
            </a:custGeom>
            <a:grpFill/>
            <a:ln w="32147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02" name="Freeform 501">
              <a:extLst>
                <a:ext uri="{FF2B5EF4-FFF2-40B4-BE49-F238E27FC236}">
                  <a16:creationId xmlns:a16="http://schemas.microsoft.com/office/drawing/2014/main" id="{24927191-6AF9-A525-96B9-627EF6157E2A}"/>
                </a:ext>
              </a:extLst>
            </p:cNvPr>
            <p:cNvSpPr/>
            <p:nvPr/>
          </p:nvSpPr>
          <p:spPr>
            <a:xfrm>
              <a:off x="7503897" y="5087595"/>
              <a:ext cx="430837" cy="430791"/>
            </a:xfrm>
            <a:custGeom>
              <a:avLst/>
              <a:gdLst>
                <a:gd name="connsiteX0" fmla="*/ 425345 w 430837"/>
                <a:gd name="connsiteY0" fmla="*/ 167253 h 430791"/>
                <a:gd name="connsiteX1" fmla="*/ 263539 w 430837"/>
                <a:gd name="connsiteY1" fmla="*/ 425300 h 430791"/>
                <a:gd name="connsiteX2" fmla="*/ 5492 w 430837"/>
                <a:gd name="connsiteY2" fmla="*/ 263493 h 430791"/>
                <a:gd name="connsiteX3" fmla="*/ 167299 w 430837"/>
                <a:gd name="connsiteY3" fmla="*/ 5446 h 430791"/>
                <a:gd name="connsiteX4" fmla="*/ 344875 w 430837"/>
                <a:gd name="connsiteY4" fmla="*/ 43251 h 430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0837" h="430791">
                  <a:moveTo>
                    <a:pt x="425345" y="167253"/>
                  </a:moveTo>
                  <a:cubicBezTo>
                    <a:pt x="451921" y="283191"/>
                    <a:pt x="379478" y="398725"/>
                    <a:pt x="263539" y="425300"/>
                  </a:cubicBezTo>
                  <a:cubicBezTo>
                    <a:pt x="147599" y="451876"/>
                    <a:pt x="32068" y="379433"/>
                    <a:pt x="5492" y="263493"/>
                  </a:cubicBezTo>
                  <a:cubicBezTo>
                    <a:pt x="-21084" y="147554"/>
                    <a:pt x="51359" y="32022"/>
                    <a:pt x="167299" y="5446"/>
                  </a:cubicBezTo>
                  <a:cubicBezTo>
                    <a:pt x="229170" y="-8736"/>
                    <a:pt x="294145" y="5097"/>
                    <a:pt x="344875" y="43251"/>
                  </a:cubicBezTo>
                </a:path>
              </a:pathLst>
            </a:custGeom>
            <a:noFill/>
            <a:ln w="24110" cap="rnd">
              <a:solidFill>
                <a:schemeClr val="bg1"/>
              </a:solidFill>
              <a:prstDash val="solid"/>
              <a:round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503" name="Graphic 69">
            <a:extLst>
              <a:ext uri="{FF2B5EF4-FFF2-40B4-BE49-F238E27FC236}">
                <a16:creationId xmlns:a16="http://schemas.microsoft.com/office/drawing/2014/main" id="{181D5725-2982-1B96-B061-9B18689A3748}"/>
              </a:ext>
            </a:extLst>
          </p:cNvPr>
          <p:cNvGrpSpPr/>
          <p:nvPr/>
        </p:nvGrpSpPr>
        <p:grpSpPr>
          <a:xfrm>
            <a:off x="4818398" y="3827623"/>
            <a:ext cx="309574" cy="302971"/>
            <a:chOff x="6312506" y="4219633"/>
            <a:chExt cx="432198" cy="432198"/>
          </a:xfrm>
          <a:solidFill>
            <a:schemeClr val="bg1"/>
          </a:solidFill>
        </p:grpSpPr>
        <p:sp>
          <p:nvSpPr>
            <p:cNvPr id="504" name="Freeform 503">
              <a:extLst>
                <a:ext uri="{FF2B5EF4-FFF2-40B4-BE49-F238E27FC236}">
                  <a16:creationId xmlns:a16="http://schemas.microsoft.com/office/drawing/2014/main" id="{76D75B98-8B10-4E0D-B22B-96F367711E93}"/>
                </a:ext>
              </a:extLst>
            </p:cNvPr>
            <p:cNvSpPr/>
            <p:nvPr/>
          </p:nvSpPr>
          <p:spPr>
            <a:xfrm>
              <a:off x="6476984" y="4322952"/>
              <a:ext cx="174900" cy="233202"/>
            </a:xfrm>
            <a:custGeom>
              <a:avLst/>
              <a:gdLst>
                <a:gd name="connsiteX0" fmla="*/ 171718 w 174900"/>
                <a:gd name="connsiteY0" fmla="*/ 110591 h 233202"/>
                <a:gd name="connsiteX1" fmla="*/ 11372 w 174900"/>
                <a:gd name="connsiteY1" fmla="*/ 1272 h 233202"/>
                <a:gd name="connsiteX2" fmla="*/ 1271 w 174900"/>
                <a:gd name="connsiteY2" fmla="*/ 3161 h 233202"/>
                <a:gd name="connsiteX3" fmla="*/ 0 w 174900"/>
                <a:gd name="connsiteY3" fmla="*/ 7296 h 233202"/>
                <a:gd name="connsiteX4" fmla="*/ 0 w 174900"/>
                <a:gd name="connsiteY4" fmla="*/ 225907 h 233202"/>
                <a:gd name="connsiteX5" fmla="*/ 3890 w 174900"/>
                <a:gd name="connsiteY5" fmla="*/ 232363 h 233202"/>
                <a:gd name="connsiteX6" fmla="*/ 11372 w 174900"/>
                <a:gd name="connsiteY6" fmla="*/ 231931 h 233202"/>
                <a:gd name="connsiteX7" fmla="*/ 171718 w 174900"/>
                <a:gd name="connsiteY7" fmla="*/ 122612 h 233202"/>
                <a:gd name="connsiteX8" fmla="*/ 173644 w 174900"/>
                <a:gd name="connsiteY8" fmla="*/ 112518 h 233202"/>
                <a:gd name="connsiteX9" fmla="*/ 171718 w 174900"/>
                <a:gd name="connsiteY9" fmla="*/ 110591 h 233202"/>
                <a:gd name="connsiteX10" fmla="*/ 14560 w 174900"/>
                <a:gd name="connsiteY10" fmla="*/ 212131 h 233202"/>
                <a:gd name="connsiteX11" fmla="*/ 14560 w 174900"/>
                <a:gd name="connsiteY11" fmla="*/ 21072 h 233202"/>
                <a:gd name="connsiteX12" fmla="*/ 154673 w 174900"/>
                <a:gd name="connsiteY12" fmla="*/ 116615 h 23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900" h="233202">
                  <a:moveTo>
                    <a:pt x="171718" y="110591"/>
                  </a:moveTo>
                  <a:lnTo>
                    <a:pt x="11372" y="1272"/>
                  </a:lnTo>
                  <a:cubicBezTo>
                    <a:pt x="8061" y="-996"/>
                    <a:pt x="3539" y="-150"/>
                    <a:pt x="1271" y="3161"/>
                  </a:cubicBezTo>
                  <a:cubicBezTo>
                    <a:pt x="438" y="4378"/>
                    <a:pt x="-6" y="5820"/>
                    <a:pt x="0" y="7296"/>
                  </a:cubicBezTo>
                  <a:lnTo>
                    <a:pt x="0" y="225907"/>
                  </a:lnTo>
                  <a:cubicBezTo>
                    <a:pt x="-2" y="228614"/>
                    <a:pt x="1495" y="231099"/>
                    <a:pt x="3890" y="232363"/>
                  </a:cubicBezTo>
                  <a:cubicBezTo>
                    <a:pt x="6270" y="233622"/>
                    <a:pt x="9153" y="233454"/>
                    <a:pt x="11372" y="231931"/>
                  </a:cubicBezTo>
                  <a:lnTo>
                    <a:pt x="171718" y="122612"/>
                  </a:lnTo>
                  <a:cubicBezTo>
                    <a:pt x="175038" y="120356"/>
                    <a:pt x="175899" y="115837"/>
                    <a:pt x="173644" y="112518"/>
                  </a:cubicBezTo>
                  <a:cubicBezTo>
                    <a:pt x="173130" y="111760"/>
                    <a:pt x="172477" y="111106"/>
                    <a:pt x="171718" y="110591"/>
                  </a:cubicBezTo>
                  <a:close/>
                  <a:moveTo>
                    <a:pt x="14560" y="212131"/>
                  </a:moveTo>
                  <a:lnTo>
                    <a:pt x="14560" y="21072"/>
                  </a:lnTo>
                  <a:lnTo>
                    <a:pt x="154673" y="116615"/>
                  </a:ln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05" name="Freeform 504">
              <a:extLst>
                <a:ext uri="{FF2B5EF4-FFF2-40B4-BE49-F238E27FC236}">
                  <a16:creationId xmlns:a16="http://schemas.microsoft.com/office/drawing/2014/main" id="{25A3DE31-4D3D-6997-4242-A01AE3A8FB37}"/>
                </a:ext>
              </a:extLst>
            </p:cNvPr>
            <p:cNvSpPr/>
            <p:nvPr/>
          </p:nvSpPr>
          <p:spPr>
            <a:xfrm>
              <a:off x="6316638" y="4220929"/>
              <a:ext cx="437276" cy="437276"/>
            </a:xfrm>
            <a:custGeom>
              <a:avLst/>
              <a:gdLst>
                <a:gd name="connsiteX0" fmla="*/ 218638 w 437276"/>
                <a:gd name="connsiteY0" fmla="*/ 0 h 437276"/>
                <a:gd name="connsiteX1" fmla="*/ 0 w 437276"/>
                <a:gd name="connsiteY1" fmla="*/ 218638 h 437276"/>
                <a:gd name="connsiteX2" fmla="*/ 218638 w 437276"/>
                <a:gd name="connsiteY2" fmla="*/ 437276 h 437276"/>
                <a:gd name="connsiteX3" fmla="*/ 437276 w 437276"/>
                <a:gd name="connsiteY3" fmla="*/ 218638 h 437276"/>
                <a:gd name="connsiteX4" fmla="*/ 218638 w 437276"/>
                <a:gd name="connsiteY4" fmla="*/ 0 h 437276"/>
                <a:gd name="connsiteX5" fmla="*/ 218638 w 437276"/>
                <a:gd name="connsiteY5" fmla="*/ 422690 h 437276"/>
                <a:gd name="connsiteX6" fmla="*/ 14560 w 437276"/>
                <a:gd name="connsiteY6" fmla="*/ 218665 h 437276"/>
                <a:gd name="connsiteX7" fmla="*/ 218584 w 437276"/>
                <a:gd name="connsiteY7" fmla="*/ 14587 h 437276"/>
                <a:gd name="connsiteX8" fmla="*/ 422663 w 437276"/>
                <a:gd name="connsiteY8" fmla="*/ 218611 h 437276"/>
                <a:gd name="connsiteX9" fmla="*/ 422663 w 437276"/>
                <a:gd name="connsiteY9" fmla="*/ 218638 h 437276"/>
                <a:gd name="connsiteX10" fmla="*/ 218638 w 437276"/>
                <a:gd name="connsiteY10" fmla="*/ 422798 h 43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7276" h="437276">
                  <a:moveTo>
                    <a:pt x="218638" y="0"/>
                  </a:moveTo>
                  <a:cubicBezTo>
                    <a:pt x="97888" y="0"/>
                    <a:pt x="0" y="97888"/>
                    <a:pt x="0" y="218638"/>
                  </a:cubicBezTo>
                  <a:cubicBezTo>
                    <a:pt x="0" y="339389"/>
                    <a:pt x="97888" y="437276"/>
                    <a:pt x="218638" y="437276"/>
                  </a:cubicBezTo>
                  <a:cubicBezTo>
                    <a:pt x="339389" y="437276"/>
                    <a:pt x="437276" y="339389"/>
                    <a:pt x="437276" y="218638"/>
                  </a:cubicBezTo>
                  <a:cubicBezTo>
                    <a:pt x="437187" y="97925"/>
                    <a:pt x="339351" y="89"/>
                    <a:pt x="218638" y="0"/>
                  </a:cubicBezTo>
                  <a:close/>
                  <a:moveTo>
                    <a:pt x="218638" y="422690"/>
                  </a:moveTo>
                  <a:cubicBezTo>
                    <a:pt x="105944" y="422706"/>
                    <a:pt x="14575" y="331361"/>
                    <a:pt x="14560" y="218665"/>
                  </a:cubicBezTo>
                  <a:cubicBezTo>
                    <a:pt x="14545" y="105971"/>
                    <a:pt x="105890" y="14602"/>
                    <a:pt x="218584" y="14587"/>
                  </a:cubicBezTo>
                  <a:cubicBezTo>
                    <a:pt x="331280" y="14572"/>
                    <a:pt x="422646" y="105917"/>
                    <a:pt x="422663" y="218611"/>
                  </a:cubicBezTo>
                  <a:cubicBezTo>
                    <a:pt x="422663" y="218620"/>
                    <a:pt x="422663" y="218629"/>
                    <a:pt x="422663" y="218638"/>
                  </a:cubicBezTo>
                  <a:cubicBezTo>
                    <a:pt x="422587" y="331309"/>
                    <a:pt x="331310" y="422649"/>
                    <a:pt x="218638" y="422798"/>
                  </a:cubicBezTo>
                  <a:close/>
                </a:path>
              </a:pathLst>
            </a:custGeom>
            <a:grpFill/>
            <a:ln w="26789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506" name="Graphic 71">
            <a:extLst>
              <a:ext uri="{FF2B5EF4-FFF2-40B4-BE49-F238E27FC236}">
                <a16:creationId xmlns:a16="http://schemas.microsoft.com/office/drawing/2014/main" id="{C910A760-A023-63E2-5C85-6EB61EA18C09}"/>
              </a:ext>
            </a:extLst>
          </p:cNvPr>
          <p:cNvGrpSpPr/>
          <p:nvPr/>
        </p:nvGrpSpPr>
        <p:grpSpPr>
          <a:xfrm>
            <a:off x="6555798" y="3165915"/>
            <a:ext cx="343909" cy="336573"/>
            <a:chOff x="8738098" y="3275684"/>
            <a:chExt cx="480133" cy="480133"/>
          </a:xfrm>
          <a:solidFill>
            <a:schemeClr val="bg1"/>
          </a:solidFill>
        </p:grpSpPr>
        <p:sp>
          <p:nvSpPr>
            <p:cNvPr id="507" name="Freeform 506">
              <a:extLst>
                <a:ext uri="{FF2B5EF4-FFF2-40B4-BE49-F238E27FC236}">
                  <a16:creationId xmlns:a16="http://schemas.microsoft.com/office/drawing/2014/main" id="{CD78347B-5B77-7211-5F3A-AD72D751ED76}"/>
                </a:ext>
              </a:extLst>
            </p:cNvPr>
            <p:cNvSpPr/>
            <p:nvPr/>
          </p:nvSpPr>
          <p:spPr>
            <a:xfrm>
              <a:off x="8956558" y="3665251"/>
              <a:ext cx="60676" cy="60676"/>
            </a:xfrm>
            <a:custGeom>
              <a:avLst/>
              <a:gdLst>
                <a:gd name="connsiteX0" fmla="*/ 60677 w 60676"/>
                <a:gd name="connsiteY0" fmla="*/ 30338 h 60676"/>
                <a:gd name="connsiteX1" fmla="*/ 30338 w 60676"/>
                <a:gd name="connsiteY1" fmla="*/ 60677 h 60676"/>
                <a:gd name="connsiteX2" fmla="*/ 0 w 60676"/>
                <a:gd name="connsiteY2" fmla="*/ 30338 h 60676"/>
                <a:gd name="connsiteX3" fmla="*/ 30338 w 60676"/>
                <a:gd name="connsiteY3" fmla="*/ 0 h 60676"/>
                <a:gd name="connsiteX4" fmla="*/ 60677 w 60676"/>
                <a:gd name="connsiteY4" fmla="*/ 30338 h 60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76" h="60676">
                  <a:moveTo>
                    <a:pt x="60677" y="30338"/>
                  </a:moveTo>
                  <a:cubicBezTo>
                    <a:pt x="60677" y="47094"/>
                    <a:pt x="47094" y="60677"/>
                    <a:pt x="30338" y="60677"/>
                  </a:cubicBezTo>
                  <a:cubicBezTo>
                    <a:pt x="13583" y="60677"/>
                    <a:pt x="0" y="47094"/>
                    <a:pt x="0" y="30338"/>
                  </a:cubicBezTo>
                  <a:cubicBezTo>
                    <a:pt x="0" y="13583"/>
                    <a:pt x="13583" y="0"/>
                    <a:pt x="30338" y="0"/>
                  </a:cubicBezTo>
                  <a:cubicBezTo>
                    <a:pt x="47094" y="0"/>
                    <a:pt x="60677" y="13583"/>
                    <a:pt x="60677" y="30338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08" name="Freeform 507">
              <a:extLst>
                <a:ext uri="{FF2B5EF4-FFF2-40B4-BE49-F238E27FC236}">
                  <a16:creationId xmlns:a16="http://schemas.microsoft.com/office/drawing/2014/main" id="{E3C21F18-8880-CA1C-6B60-D1DAC0E3B430}"/>
                </a:ext>
              </a:extLst>
            </p:cNvPr>
            <p:cNvSpPr/>
            <p:nvPr/>
          </p:nvSpPr>
          <p:spPr>
            <a:xfrm>
              <a:off x="8752656" y="3339028"/>
              <a:ext cx="470542" cy="131576"/>
            </a:xfrm>
            <a:custGeom>
              <a:avLst/>
              <a:gdLst>
                <a:gd name="connsiteX0" fmla="*/ 465574 w 470542"/>
                <a:gd name="connsiteY0" fmla="*/ 100501 h 131576"/>
                <a:gd name="connsiteX1" fmla="*/ 21559 w 470542"/>
                <a:gd name="connsiteY1" fmla="*/ 83860 h 131576"/>
                <a:gd name="connsiteX2" fmla="*/ 4917 w 470542"/>
                <a:gd name="connsiteY2" fmla="*/ 100501 h 131576"/>
                <a:gd name="connsiteX3" fmla="*/ 5892 w 470542"/>
                <a:gd name="connsiteY3" fmla="*/ 126534 h 131576"/>
                <a:gd name="connsiteX4" fmla="*/ 31924 w 470542"/>
                <a:gd name="connsiteY4" fmla="*/ 125558 h 131576"/>
                <a:gd name="connsiteX5" fmla="*/ 424043 w 470542"/>
                <a:gd name="connsiteY5" fmla="*/ 111174 h 131576"/>
                <a:gd name="connsiteX6" fmla="*/ 438567 w 470542"/>
                <a:gd name="connsiteY6" fmla="*/ 125708 h 131576"/>
                <a:gd name="connsiteX7" fmla="*/ 464674 w 470542"/>
                <a:gd name="connsiteY7" fmla="*/ 126609 h 131576"/>
                <a:gd name="connsiteX8" fmla="*/ 465574 w 470542"/>
                <a:gd name="connsiteY8" fmla="*/ 100501 h 13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0542" h="131576">
                  <a:moveTo>
                    <a:pt x="465574" y="100501"/>
                  </a:moveTo>
                  <a:cubicBezTo>
                    <a:pt x="347558" y="-26706"/>
                    <a:pt x="148766" y="-34156"/>
                    <a:pt x="21559" y="83860"/>
                  </a:cubicBezTo>
                  <a:cubicBezTo>
                    <a:pt x="15805" y="89197"/>
                    <a:pt x="10254" y="94748"/>
                    <a:pt x="4917" y="100501"/>
                  </a:cubicBezTo>
                  <a:cubicBezTo>
                    <a:pt x="-2002" y="107959"/>
                    <a:pt x="-1566" y="119614"/>
                    <a:pt x="5892" y="126534"/>
                  </a:cubicBezTo>
                  <a:cubicBezTo>
                    <a:pt x="13350" y="133453"/>
                    <a:pt x="25005" y="133016"/>
                    <a:pt x="31924" y="125558"/>
                  </a:cubicBezTo>
                  <a:cubicBezTo>
                    <a:pt x="136233" y="13306"/>
                    <a:pt x="311791" y="6866"/>
                    <a:pt x="424043" y="111174"/>
                  </a:cubicBezTo>
                  <a:cubicBezTo>
                    <a:pt x="429063" y="115838"/>
                    <a:pt x="433907" y="120686"/>
                    <a:pt x="438567" y="125708"/>
                  </a:cubicBezTo>
                  <a:cubicBezTo>
                    <a:pt x="445529" y="133166"/>
                    <a:pt x="457217" y="133569"/>
                    <a:pt x="464674" y="126609"/>
                  </a:cubicBezTo>
                  <a:cubicBezTo>
                    <a:pt x="472131" y="119648"/>
                    <a:pt x="472536" y="107959"/>
                    <a:pt x="465574" y="100501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09" name="Freeform 508">
              <a:extLst>
                <a:ext uri="{FF2B5EF4-FFF2-40B4-BE49-F238E27FC236}">
                  <a16:creationId xmlns:a16="http://schemas.microsoft.com/office/drawing/2014/main" id="{01B20B88-24E9-CC68-ABF5-DB179AB25B9A}"/>
                </a:ext>
              </a:extLst>
            </p:cNvPr>
            <p:cNvSpPr/>
            <p:nvPr/>
          </p:nvSpPr>
          <p:spPr>
            <a:xfrm>
              <a:off x="8819784" y="3445651"/>
              <a:ext cx="335811" cy="101093"/>
            </a:xfrm>
            <a:custGeom>
              <a:avLst/>
              <a:gdLst>
                <a:gd name="connsiteX0" fmla="*/ 330867 w 335811"/>
                <a:gd name="connsiteY0" fmla="*/ 69769 h 101093"/>
                <a:gd name="connsiteX1" fmla="*/ 168012 w 335811"/>
                <a:gd name="connsiteY1" fmla="*/ 0 h 101093"/>
                <a:gd name="connsiteX2" fmla="*/ 5337 w 335811"/>
                <a:gd name="connsiteY2" fmla="*/ 69769 h 101093"/>
                <a:gd name="connsiteX3" fmla="*/ 5427 w 335811"/>
                <a:gd name="connsiteY3" fmla="*/ 95757 h 101093"/>
                <a:gd name="connsiteX4" fmla="*/ 31414 w 335811"/>
                <a:gd name="connsiteY4" fmla="*/ 95667 h 101093"/>
                <a:gd name="connsiteX5" fmla="*/ 168012 w 335811"/>
                <a:gd name="connsiteY5" fmla="*/ 36760 h 101093"/>
                <a:gd name="connsiteX6" fmla="*/ 304760 w 335811"/>
                <a:gd name="connsiteY6" fmla="*/ 95667 h 101093"/>
                <a:gd name="connsiteX7" fmla="*/ 330765 w 335811"/>
                <a:gd name="connsiteY7" fmla="*/ 94976 h 101093"/>
                <a:gd name="connsiteX8" fmla="*/ 330867 w 335811"/>
                <a:gd name="connsiteY8" fmla="*/ 69769 h 101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5811" h="101093">
                  <a:moveTo>
                    <a:pt x="330867" y="69769"/>
                  </a:moveTo>
                  <a:cubicBezTo>
                    <a:pt x="288145" y="25601"/>
                    <a:pt x="229460" y="460"/>
                    <a:pt x="168012" y="0"/>
                  </a:cubicBezTo>
                  <a:cubicBezTo>
                    <a:pt x="106626" y="502"/>
                    <a:pt x="48013" y="25640"/>
                    <a:pt x="5337" y="69769"/>
                  </a:cubicBezTo>
                  <a:cubicBezTo>
                    <a:pt x="-1814" y="76970"/>
                    <a:pt x="-1774" y="88605"/>
                    <a:pt x="5427" y="95757"/>
                  </a:cubicBezTo>
                  <a:cubicBezTo>
                    <a:pt x="12628" y="102908"/>
                    <a:pt x="24263" y="102868"/>
                    <a:pt x="31414" y="95667"/>
                  </a:cubicBezTo>
                  <a:cubicBezTo>
                    <a:pt x="67210" y="58515"/>
                    <a:pt x="116424" y="37292"/>
                    <a:pt x="168012" y="36760"/>
                  </a:cubicBezTo>
                  <a:cubicBezTo>
                    <a:pt x="219654" y="37245"/>
                    <a:pt x="268930" y="58472"/>
                    <a:pt x="304760" y="95667"/>
                  </a:cubicBezTo>
                  <a:cubicBezTo>
                    <a:pt x="312133" y="102657"/>
                    <a:pt x="323776" y="102348"/>
                    <a:pt x="330765" y="94976"/>
                  </a:cubicBezTo>
                  <a:cubicBezTo>
                    <a:pt x="337454" y="87921"/>
                    <a:pt x="337499" y="76878"/>
                    <a:pt x="330867" y="69769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10" name="Freeform 509">
              <a:extLst>
                <a:ext uri="{FF2B5EF4-FFF2-40B4-BE49-F238E27FC236}">
                  <a16:creationId xmlns:a16="http://schemas.microsoft.com/office/drawing/2014/main" id="{2B60B1A9-90BA-DF7D-BCFD-9326EE25322B}"/>
                </a:ext>
              </a:extLst>
            </p:cNvPr>
            <p:cNvSpPr/>
            <p:nvPr/>
          </p:nvSpPr>
          <p:spPr>
            <a:xfrm>
              <a:off x="8891399" y="3553140"/>
              <a:ext cx="191548" cy="70256"/>
            </a:xfrm>
            <a:custGeom>
              <a:avLst/>
              <a:gdLst>
                <a:gd name="connsiteX0" fmla="*/ 185792 w 191548"/>
                <a:gd name="connsiteY0" fmla="*/ 38411 h 70256"/>
                <a:gd name="connsiteX1" fmla="*/ 96337 w 191548"/>
                <a:gd name="connsiteY1" fmla="*/ 0 h 70256"/>
                <a:gd name="connsiteX2" fmla="*/ 94897 w 191548"/>
                <a:gd name="connsiteY2" fmla="*/ 0 h 70256"/>
                <a:gd name="connsiteX3" fmla="*/ 5442 w 191548"/>
                <a:gd name="connsiteY3" fmla="*/ 38411 h 70256"/>
                <a:gd name="connsiteX4" fmla="*/ 5322 w 191548"/>
                <a:gd name="connsiteY4" fmla="*/ 64398 h 70256"/>
                <a:gd name="connsiteX5" fmla="*/ 31309 w 191548"/>
                <a:gd name="connsiteY5" fmla="*/ 64518 h 70256"/>
                <a:gd name="connsiteX6" fmla="*/ 94897 w 191548"/>
                <a:gd name="connsiteY6" fmla="*/ 36760 h 70256"/>
                <a:gd name="connsiteX7" fmla="*/ 96247 w 191548"/>
                <a:gd name="connsiteY7" fmla="*/ 36760 h 70256"/>
                <a:gd name="connsiteX8" fmla="*/ 159805 w 191548"/>
                <a:gd name="connsiteY8" fmla="*/ 64518 h 70256"/>
                <a:gd name="connsiteX9" fmla="*/ 185810 w 191548"/>
                <a:gd name="connsiteY9" fmla="*/ 65208 h 70256"/>
                <a:gd name="connsiteX10" fmla="*/ 186500 w 191548"/>
                <a:gd name="connsiteY10" fmla="*/ 39203 h 70256"/>
                <a:gd name="connsiteX11" fmla="*/ 185702 w 191548"/>
                <a:gd name="connsiteY11" fmla="*/ 38411 h 70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1548" h="70256">
                  <a:moveTo>
                    <a:pt x="185792" y="38411"/>
                  </a:moveTo>
                  <a:cubicBezTo>
                    <a:pt x="161924" y="14726"/>
                    <a:pt x="129948" y="996"/>
                    <a:pt x="96337" y="0"/>
                  </a:cubicBezTo>
                  <a:lnTo>
                    <a:pt x="94897" y="0"/>
                  </a:lnTo>
                  <a:cubicBezTo>
                    <a:pt x="61285" y="990"/>
                    <a:pt x="29307" y="14721"/>
                    <a:pt x="5442" y="38411"/>
                  </a:cubicBezTo>
                  <a:cubicBezTo>
                    <a:pt x="-1767" y="45553"/>
                    <a:pt x="-1821" y="57190"/>
                    <a:pt x="5322" y="64398"/>
                  </a:cubicBezTo>
                  <a:cubicBezTo>
                    <a:pt x="12465" y="71606"/>
                    <a:pt x="24100" y="71660"/>
                    <a:pt x="31309" y="64518"/>
                  </a:cubicBezTo>
                  <a:cubicBezTo>
                    <a:pt x="48305" y="47665"/>
                    <a:pt x="70983" y="37765"/>
                    <a:pt x="94897" y="36760"/>
                  </a:cubicBezTo>
                  <a:lnTo>
                    <a:pt x="96247" y="36760"/>
                  </a:lnTo>
                  <a:cubicBezTo>
                    <a:pt x="120151" y="37771"/>
                    <a:pt x="142817" y="47671"/>
                    <a:pt x="159805" y="64518"/>
                  </a:cubicBezTo>
                  <a:cubicBezTo>
                    <a:pt x="166794" y="71891"/>
                    <a:pt x="178437" y="72200"/>
                    <a:pt x="185810" y="65208"/>
                  </a:cubicBezTo>
                  <a:cubicBezTo>
                    <a:pt x="193183" y="58219"/>
                    <a:pt x="193492" y="46576"/>
                    <a:pt x="186500" y="39203"/>
                  </a:cubicBezTo>
                  <a:cubicBezTo>
                    <a:pt x="186242" y="38930"/>
                    <a:pt x="185975" y="38666"/>
                    <a:pt x="185702" y="38411"/>
                  </a:cubicBezTo>
                  <a:close/>
                </a:path>
              </a:pathLst>
            </a:custGeom>
            <a:grpFill/>
            <a:ln w="29766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511" name="Graphic 283">
            <a:extLst>
              <a:ext uri="{FF2B5EF4-FFF2-40B4-BE49-F238E27FC236}">
                <a16:creationId xmlns:a16="http://schemas.microsoft.com/office/drawing/2014/main" id="{C285ADDD-1FA8-F3CB-7E38-B048E47DAA0B}"/>
              </a:ext>
            </a:extLst>
          </p:cNvPr>
          <p:cNvGrpSpPr/>
          <p:nvPr/>
        </p:nvGrpSpPr>
        <p:grpSpPr>
          <a:xfrm>
            <a:off x="8185584" y="1852439"/>
            <a:ext cx="396453" cy="387996"/>
            <a:chOff x="11013451" y="1300103"/>
            <a:chExt cx="587881" cy="587881"/>
          </a:xfrm>
          <a:solidFill>
            <a:schemeClr val="bg1"/>
          </a:solidFill>
        </p:grpSpPr>
        <p:sp>
          <p:nvSpPr>
            <p:cNvPr id="512" name="Freeform 511">
              <a:extLst>
                <a:ext uri="{FF2B5EF4-FFF2-40B4-BE49-F238E27FC236}">
                  <a16:creationId xmlns:a16="http://schemas.microsoft.com/office/drawing/2014/main" id="{93C922FD-DE0D-3DC3-609B-939822943C0B}"/>
                </a:ext>
              </a:extLst>
            </p:cNvPr>
            <p:cNvSpPr/>
            <p:nvPr/>
          </p:nvSpPr>
          <p:spPr>
            <a:xfrm>
              <a:off x="11013451" y="1300103"/>
              <a:ext cx="587881" cy="587881"/>
            </a:xfrm>
            <a:custGeom>
              <a:avLst/>
              <a:gdLst>
                <a:gd name="connsiteX0" fmla="*/ 0 w 587881"/>
                <a:gd name="connsiteY0" fmla="*/ 293941 h 587881"/>
                <a:gd name="connsiteX1" fmla="*/ 293941 w 587881"/>
                <a:gd name="connsiteY1" fmla="*/ 587881 h 587881"/>
                <a:gd name="connsiteX2" fmla="*/ 587881 w 587881"/>
                <a:gd name="connsiteY2" fmla="*/ 293941 h 587881"/>
                <a:gd name="connsiteX3" fmla="*/ 293941 w 587881"/>
                <a:gd name="connsiteY3" fmla="*/ 0 h 587881"/>
                <a:gd name="connsiteX4" fmla="*/ 0 w 587881"/>
                <a:gd name="connsiteY4" fmla="*/ 293941 h 587881"/>
                <a:gd name="connsiteX5" fmla="*/ 19596 w 587881"/>
                <a:gd name="connsiteY5" fmla="*/ 293941 h 587881"/>
                <a:gd name="connsiteX6" fmla="*/ 293941 w 587881"/>
                <a:gd name="connsiteY6" fmla="*/ 19596 h 587881"/>
                <a:gd name="connsiteX7" fmla="*/ 568279 w 587881"/>
                <a:gd name="connsiteY7" fmla="*/ 293941 h 587881"/>
                <a:gd name="connsiteX8" fmla="*/ 293941 w 587881"/>
                <a:gd name="connsiteY8" fmla="*/ 568280 h 587881"/>
                <a:gd name="connsiteX9" fmla="*/ 19596 w 587881"/>
                <a:gd name="connsiteY9" fmla="*/ 293941 h 587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7881" h="587881">
                  <a:moveTo>
                    <a:pt x="0" y="293941"/>
                  </a:moveTo>
                  <a:cubicBezTo>
                    <a:pt x="0" y="456016"/>
                    <a:pt x="131861" y="587881"/>
                    <a:pt x="293941" y="587881"/>
                  </a:cubicBezTo>
                  <a:cubicBezTo>
                    <a:pt x="456021" y="587881"/>
                    <a:pt x="587881" y="456021"/>
                    <a:pt x="587881" y="293941"/>
                  </a:cubicBezTo>
                  <a:cubicBezTo>
                    <a:pt x="587881" y="131861"/>
                    <a:pt x="456014" y="0"/>
                    <a:pt x="293941" y="0"/>
                  </a:cubicBezTo>
                  <a:cubicBezTo>
                    <a:pt x="131867" y="0"/>
                    <a:pt x="0" y="131861"/>
                    <a:pt x="0" y="293941"/>
                  </a:cubicBezTo>
                  <a:close/>
                  <a:moveTo>
                    <a:pt x="19596" y="293941"/>
                  </a:moveTo>
                  <a:cubicBezTo>
                    <a:pt x="19596" y="142668"/>
                    <a:pt x="142667" y="19596"/>
                    <a:pt x="293941" y="19596"/>
                  </a:cubicBezTo>
                  <a:cubicBezTo>
                    <a:pt x="445215" y="19596"/>
                    <a:pt x="568279" y="142667"/>
                    <a:pt x="568279" y="293941"/>
                  </a:cubicBezTo>
                  <a:cubicBezTo>
                    <a:pt x="568279" y="445215"/>
                    <a:pt x="445208" y="568280"/>
                    <a:pt x="293941" y="568280"/>
                  </a:cubicBezTo>
                  <a:cubicBezTo>
                    <a:pt x="142673" y="568280"/>
                    <a:pt x="19596" y="445208"/>
                    <a:pt x="19596" y="293941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13" name="Freeform 512">
              <a:extLst>
                <a:ext uri="{FF2B5EF4-FFF2-40B4-BE49-F238E27FC236}">
                  <a16:creationId xmlns:a16="http://schemas.microsoft.com/office/drawing/2014/main" id="{B3AF2CF8-7CF3-EC9F-6438-8C92DF6DA107}"/>
                </a:ext>
              </a:extLst>
            </p:cNvPr>
            <p:cNvSpPr/>
            <p:nvPr/>
          </p:nvSpPr>
          <p:spPr>
            <a:xfrm>
              <a:off x="11297590" y="1367503"/>
              <a:ext cx="19596" cy="29394"/>
            </a:xfrm>
            <a:custGeom>
              <a:avLst/>
              <a:gdLst>
                <a:gd name="connsiteX0" fmla="*/ 19596 w 19596"/>
                <a:gd name="connsiteY0" fmla="*/ 19596 h 29394"/>
                <a:gd name="connsiteX1" fmla="*/ 19596 w 19596"/>
                <a:gd name="connsiteY1" fmla="*/ 9798 h 29394"/>
                <a:gd name="connsiteX2" fmla="*/ 9798 w 19596"/>
                <a:gd name="connsiteY2" fmla="*/ 0 h 29394"/>
                <a:gd name="connsiteX3" fmla="*/ 0 w 19596"/>
                <a:gd name="connsiteY3" fmla="*/ 9798 h 29394"/>
                <a:gd name="connsiteX4" fmla="*/ 0 w 19596"/>
                <a:gd name="connsiteY4" fmla="*/ 19596 h 29394"/>
                <a:gd name="connsiteX5" fmla="*/ 9798 w 19596"/>
                <a:gd name="connsiteY5" fmla="*/ 29394 h 29394"/>
                <a:gd name="connsiteX6" fmla="*/ 19596 w 19596"/>
                <a:gd name="connsiteY6" fmla="*/ 19596 h 2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96" h="29394">
                  <a:moveTo>
                    <a:pt x="19596" y="19596"/>
                  </a:moveTo>
                  <a:lnTo>
                    <a:pt x="19596" y="9798"/>
                  </a:lnTo>
                  <a:cubicBezTo>
                    <a:pt x="19596" y="4387"/>
                    <a:pt x="15209" y="0"/>
                    <a:pt x="9798" y="0"/>
                  </a:cubicBezTo>
                  <a:cubicBezTo>
                    <a:pt x="4387" y="0"/>
                    <a:pt x="0" y="4387"/>
                    <a:pt x="0" y="9798"/>
                  </a:cubicBezTo>
                  <a:lnTo>
                    <a:pt x="0" y="19596"/>
                  </a:lnTo>
                  <a:cubicBezTo>
                    <a:pt x="0" y="25007"/>
                    <a:pt x="4387" y="29394"/>
                    <a:pt x="9798" y="29394"/>
                  </a:cubicBezTo>
                  <a:cubicBezTo>
                    <a:pt x="15209" y="29394"/>
                    <a:pt x="19596" y="25007"/>
                    <a:pt x="19596" y="19596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14" name="Freeform 513">
              <a:extLst>
                <a:ext uri="{FF2B5EF4-FFF2-40B4-BE49-F238E27FC236}">
                  <a16:creationId xmlns:a16="http://schemas.microsoft.com/office/drawing/2014/main" id="{9E22DDC8-ADCD-E18F-BA16-75FC40DBE46D}"/>
                </a:ext>
              </a:extLst>
            </p:cNvPr>
            <p:cNvSpPr/>
            <p:nvPr/>
          </p:nvSpPr>
          <p:spPr>
            <a:xfrm>
              <a:off x="11297589" y="1788814"/>
              <a:ext cx="19596" cy="29493"/>
            </a:xfrm>
            <a:custGeom>
              <a:avLst/>
              <a:gdLst>
                <a:gd name="connsiteX0" fmla="*/ 1 w 19596"/>
                <a:gd name="connsiteY0" fmla="*/ 9798 h 29493"/>
                <a:gd name="connsiteX1" fmla="*/ 1 w 19596"/>
                <a:gd name="connsiteY1" fmla="*/ 19596 h 29493"/>
                <a:gd name="connsiteX2" fmla="*/ 9699 w 19596"/>
                <a:gd name="connsiteY2" fmla="*/ 29493 h 29493"/>
                <a:gd name="connsiteX3" fmla="*/ 19596 w 19596"/>
                <a:gd name="connsiteY3" fmla="*/ 19795 h 29493"/>
                <a:gd name="connsiteX4" fmla="*/ 19596 w 19596"/>
                <a:gd name="connsiteY4" fmla="*/ 19596 h 29493"/>
                <a:gd name="connsiteX5" fmla="*/ 19596 w 19596"/>
                <a:gd name="connsiteY5" fmla="*/ 9798 h 29493"/>
                <a:gd name="connsiteX6" fmla="*/ 9798 w 19596"/>
                <a:gd name="connsiteY6" fmla="*/ 0 h 29493"/>
                <a:gd name="connsiteX7" fmla="*/ 0 w 19596"/>
                <a:gd name="connsiteY7" fmla="*/ 9798 h 2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96" h="29493">
                  <a:moveTo>
                    <a:pt x="1" y="9798"/>
                  </a:moveTo>
                  <a:lnTo>
                    <a:pt x="1" y="19596"/>
                  </a:lnTo>
                  <a:cubicBezTo>
                    <a:pt x="-54" y="25007"/>
                    <a:pt x="4288" y="29438"/>
                    <a:pt x="9699" y="29493"/>
                  </a:cubicBezTo>
                  <a:cubicBezTo>
                    <a:pt x="15110" y="29548"/>
                    <a:pt x="19541" y="25206"/>
                    <a:pt x="19596" y="19795"/>
                  </a:cubicBezTo>
                  <a:cubicBezTo>
                    <a:pt x="19597" y="19728"/>
                    <a:pt x="19597" y="19662"/>
                    <a:pt x="19596" y="19596"/>
                  </a:cubicBezTo>
                  <a:lnTo>
                    <a:pt x="19596" y="9798"/>
                  </a:lnTo>
                  <a:cubicBezTo>
                    <a:pt x="19596" y="4387"/>
                    <a:pt x="15209" y="0"/>
                    <a:pt x="9798" y="0"/>
                  </a:cubicBezTo>
                  <a:cubicBezTo>
                    <a:pt x="4387" y="0"/>
                    <a:pt x="0" y="4387"/>
                    <a:pt x="0" y="9798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15" name="Freeform 514">
              <a:extLst>
                <a:ext uri="{FF2B5EF4-FFF2-40B4-BE49-F238E27FC236}">
                  <a16:creationId xmlns:a16="http://schemas.microsoft.com/office/drawing/2014/main" id="{F2FFF179-3BAA-A936-4753-42CEF6B2AC88}"/>
                </a:ext>
              </a:extLst>
            </p:cNvPr>
            <p:cNvSpPr/>
            <p:nvPr/>
          </p:nvSpPr>
          <p:spPr>
            <a:xfrm>
              <a:off x="11082036" y="1583057"/>
              <a:ext cx="29394" cy="19596"/>
            </a:xfrm>
            <a:custGeom>
              <a:avLst/>
              <a:gdLst>
                <a:gd name="connsiteX0" fmla="*/ 0 w 29394"/>
                <a:gd name="connsiteY0" fmla="*/ 9798 h 19596"/>
                <a:gd name="connsiteX1" fmla="*/ 9794 w 29394"/>
                <a:gd name="connsiteY1" fmla="*/ 19596 h 19596"/>
                <a:gd name="connsiteX2" fmla="*/ 9798 w 29394"/>
                <a:gd name="connsiteY2" fmla="*/ 19596 h 19596"/>
                <a:gd name="connsiteX3" fmla="*/ 19596 w 29394"/>
                <a:gd name="connsiteY3" fmla="*/ 19596 h 19596"/>
                <a:gd name="connsiteX4" fmla="*/ 29394 w 29394"/>
                <a:gd name="connsiteY4" fmla="*/ 9798 h 19596"/>
                <a:gd name="connsiteX5" fmla="*/ 19596 w 29394"/>
                <a:gd name="connsiteY5" fmla="*/ 0 h 19596"/>
                <a:gd name="connsiteX6" fmla="*/ 9798 w 29394"/>
                <a:gd name="connsiteY6" fmla="*/ 0 h 19596"/>
                <a:gd name="connsiteX7" fmla="*/ 0 w 29394"/>
                <a:gd name="connsiteY7" fmla="*/ 9794 h 19596"/>
                <a:gd name="connsiteX8" fmla="*/ 0 w 29394"/>
                <a:gd name="connsiteY8" fmla="*/ 9798 h 19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4" h="19596">
                  <a:moveTo>
                    <a:pt x="0" y="9798"/>
                  </a:moveTo>
                  <a:cubicBezTo>
                    <a:pt x="-1" y="15208"/>
                    <a:pt x="4384" y="19595"/>
                    <a:pt x="9794" y="19596"/>
                  </a:cubicBezTo>
                  <a:cubicBezTo>
                    <a:pt x="9795" y="19596"/>
                    <a:pt x="9797" y="19596"/>
                    <a:pt x="9798" y="19596"/>
                  </a:cubicBezTo>
                  <a:lnTo>
                    <a:pt x="19596" y="19596"/>
                  </a:lnTo>
                  <a:cubicBezTo>
                    <a:pt x="25007" y="19596"/>
                    <a:pt x="29394" y="15209"/>
                    <a:pt x="29394" y="9798"/>
                  </a:cubicBezTo>
                  <a:cubicBezTo>
                    <a:pt x="29394" y="4387"/>
                    <a:pt x="25007" y="0"/>
                    <a:pt x="19596" y="0"/>
                  </a:cubicBezTo>
                  <a:lnTo>
                    <a:pt x="9798" y="0"/>
                  </a:lnTo>
                  <a:cubicBezTo>
                    <a:pt x="4388" y="-1"/>
                    <a:pt x="1" y="4384"/>
                    <a:pt x="0" y="9794"/>
                  </a:cubicBezTo>
                  <a:cubicBezTo>
                    <a:pt x="0" y="9795"/>
                    <a:pt x="0" y="9797"/>
                    <a:pt x="0" y="9798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16" name="Freeform 515">
              <a:extLst>
                <a:ext uri="{FF2B5EF4-FFF2-40B4-BE49-F238E27FC236}">
                  <a16:creationId xmlns:a16="http://schemas.microsoft.com/office/drawing/2014/main" id="{479795A8-802D-6EC0-803B-C264514291A8}"/>
                </a:ext>
              </a:extLst>
            </p:cNvPr>
            <p:cNvSpPr/>
            <p:nvPr/>
          </p:nvSpPr>
          <p:spPr>
            <a:xfrm>
              <a:off x="11503352" y="1583057"/>
              <a:ext cx="29493" cy="19596"/>
            </a:xfrm>
            <a:custGeom>
              <a:avLst/>
              <a:gdLst>
                <a:gd name="connsiteX0" fmla="*/ 0 w 29493"/>
                <a:gd name="connsiteY0" fmla="*/ 9799 h 19596"/>
                <a:gd name="connsiteX1" fmla="*/ 9793 w 29493"/>
                <a:gd name="connsiteY1" fmla="*/ 19596 h 19596"/>
                <a:gd name="connsiteX2" fmla="*/ 9798 w 29493"/>
                <a:gd name="connsiteY2" fmla="*/ 19596 h 19596"/>
                <a:gd name="connsiteX3" fmla="*/ 19596 w 29493"/>
                <a:gd name="connsiteY3" fmla="*/ 19596 h 19596"/>
                <a:gd name="connsiteX4" fmla="*/ 29493 w 29493"/>
                <a:gd name="connsiteY4" fmla="*/ 9897 h 19596"/>
                <a:gd name="connsiteX5" fmla="*/ 19795 w 29493"/>
                <a:gd name="connsiteY5" fmla="*/ 1 h 19596"/>
                <a:gd name="connsiteX6" fmla="*/ 19596 w 29493"/>
                <a:gd name="connsiteY6" fmla="*/ 1 h 19596"/>
                <a:gd name="connsiteX7" fmla="*/ 9798 w 29493"/>
                <a:gd name="connsiteY7" fmla="*/ 1 h 19596"/>
                <a:gd name="connsiteX8" fmla="*/ 0 w 29493"/>
                <a:gd name="connsiteY8" fmla="*/ 9793 h 19596"/>
                <a:gd name="connsiteX9" fmla="*/ 0 w 29493"/>
                <a:gd name="connsiteY9" fmla="*/ 9799 h 19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493" h="19596">
                  <a:moveTo>
                    <a:pt x="0" y="9799"/>
                  </a:moveTo>
                  <a:cubicBezTo>
                    <a:pt x="-1" y="15208"/>
                    <a:pt x="4383" y="19594"/>
                    <a:pt x="9793" y="19596"/>
                  </a:cubicBezTo>
                  <a:cubicBezTo>
                    <a:pt x="9795" y="19596"/>
                    <a:pt x="9796" y="19596"/>
                    <a:pt x="9798" y="19596"/>
                  </a:cubicBezTo>
                  <a:lnTo>
                    <a:pt x="19596" y="19596"/>
                  </a:lnTo>
                  <a:cubicBezTo>
                    <a:pt x="25007" y="19650"/>
                    <a:pt x="29438" y="15308"/>
                    <a:pt x="29493" y="9897"/>
                  </a:cubicBezTo>
                  <a:cubicBezTo>
                    <a:pt x="29548" y="4486"/>
                    <a:pt x="25206" y="55"/>
                    <a:pt x="19795" y="1"/>
                  </a:cubicBezTo>
                  <a:cubicBezTo>
                    <a:pt x="19728" y="0"/>
                    <a:pt x="19662" y="0"/>
                    <a:pt x="19596" y="1"/>
                  </a:cubicBezTo>
                  <a:lnTo>
                    <a:pt x="9798" y="1"/>
                  </a:lnTo>
                  <a:cubicBezTo>
                    <a:pt x="4388" y="-1"/>
                    <a:pt x="2" y="4383"/>
                    <a:pt x="0" y="9793"/>
                  </a:cubicBezTo>
                  <a:cubicBezTo>
                    <a:pt x="0" y="9795"/>
                    <a:pt x="0" y="9797"/>
                    <a:pt x="0" y="9799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17" name="Freeform 516">
              <a:extLst>
                <a:ext uri="{FF2B5EF4-FFF2-40B4-BE49-F238E27FC236}">
                  <a16:creationId xmlns:a16="http://schemas.microsoft.com/office/drawing/2014/main" id="{F270EE39-8684-8B62-48CF-CFD492F3A89D}"/>
                </a:ext>
              </a:extLst>
            </p:cNvPr>
            <p:cNvSpPr/>
            <p:nvPr/>
          </p:nvSpPr>
          <p:spPr>
            <a:xfrm>
              <a:off x="11145174" y="1430636"/>
              <a:ext cx="26680" cy="26676"/>
            </a:xfrm>
            <a:custGeom>
              <a:avLst/>
              <a:gdLst>
                <a:gd name="connsiteX0" fmla="*/ 2873 w 26680"/>
                <a:gd name="connsiteY0" fmla="*/ 2865 h 26676"/>
                <a:gd name="connsiteX1" fmla="*/ 2860 w 26680"/>
                <a:gd name="connsiteY1" fmla="*/ 16706 h 26676"/>
                <a:gd name="connsiteX2" fmla="*/ 2873 w 26680"/>
                <a:gd name="connsiteY2" fmla="*/ 16719 h 26676"/>
                <a:gd name="connsiteX3" fmla="*/ 9800 w 26680"/>
                <a:gd name="connsiteY3" fmla="*/ 23646 h 26676"/>
                <a:gd name="connsiteX4" fmla="*/ 23650 w 26680"/>
                <a:gd name="connsiteY4" fmla="*/ 23965 h 26676"/>
                <a:gd name="connsiteX5" fmla="*/ 23968 w 26680"/>
                <a:gd name="connsiteY5" fmla="*/ 10115 h 26676"/>
                <a:gd name="connsiteX6" fmla="*/ 23651 w 26680"/>
                <a:gd name="connsiteY6" fmla="*/ 9797 h 26676"/>
                <a:gd name="connsiteX7" fmla="*/ 16724 w 26680"/>
                <a:gd name="connsiteY7" fmla="*/ 2870 h 26676"/>
                <a:gd name="connsiteX8" fmla="*/ 2873 w 26680"/>
                <a:gd name="connsiteY8" fmla="*/ 2865 h 26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680" h="26676">
                  <a:moveTo>
                    <a:pt x="2873" y="2865"/>
                  </a:moveTo>
                  <a:cubicBezTo>
                    <a:pt x="-953" y="6684"/>
                    <a:pt x="-958" y="12881"/>
                    <a:pt x="2860" y="16706"/>
                  </a:cubicBezTo>
                  <a:cubicBezTo>
                    <a:pt x="2864" y="16711"/>
                    <a:pt x="2869" y="16715"/>
                    <a:pt x="2873" y="16719"/>
                  </a:cubicBezTo>
                  <a:lnTo>
                    <a:pt x="9800" y="23646"/>
                  </a:lnTo>
                  <a:cubicBezTo>
                    <a:pt x="13537" y="27559"/>
                    <a:pt x="19738" y="27701"/>
                    <a:pt x="23650" y="23965"/>
                  </a:cubicBezTo>
                  <a:cubicBezTo>
                    <a:pt x="27563" y="20228"/>
                    <a:pt x="27705" y="14027"/>
                    <a:pt x="23968" y="10115"/>
                  </a:cubicBezTo>
                  <a:cubicBezTo>
                    <a:pt x="23865" y="10007"/>
                    <a:pt x="23759" y="9901"/>
                    <a:pt x="23651" y="9797"/>
                  </a:cubicBezTo>
                  <a:lnTo>
                    <a:pt x="16724" y="2870"/>
                  </a:lnTo>
                  <a:cubicBezTo>
                    <a:pt x="12900" y="-955"/>
                    <a:pt x="6700" y="-957"/>
                    <a:pt x="2873" y="2865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18" name="Freeform 517">
              <a:extLst>
                <a:ext uri="{FF2B5EF4-FFF2-40B4-BE49-F238E27FC236}">
                  <a16:creationId xmlns:a16="http://schemas.microsoft.com/office/drawing/2014/main" id="{265A8AE6-2166-20B5-0CC0-F07D6DB91521}"/>
                </a:ext>
              </a:extLst>
            </p:cNvPr>
            <p:cNvSpPr/>
            <p:nvPr/>
          </p:nvSpPr>
          <p:spPr>
            <a:xfrm>
              <a:off x="11443078" y="1728546"/>
              <a:ext cx="26526" cy="26523"/>
            </a:xfrm>
            <a:custGeom>
              <a:avLst/>
              <a:gdLst>
                <a:gd name="connsiteX0" fmla="*/ 2873 w 26526"/>
                <a:gd name="connsiteY0" fmla="*/ 2871 h 26523"/>
                <a:gd name="connsiteX1" fmla="*/ 2861 w 26526"/>
                <a:gd name="connsiteY1" fmla="*/ 16715 h 26523"/>
                <a:gd name="connsiteX2" fmla="*/ 2873 w 26526"/>
                <a:gd name="connsiteY2" fmla="*/ 16726 h 26523"/>
                <a:gd name="connsiteX3" fmla="*/ 9800 w 26526"/>
                <a:gd name="connsiteY3" fmla="*/ 23653 h 26523"/>
                <a:gd name="connsiteX4" fmla="*/ 23656 w 26526"/>
                <a:gd name="connsiteY4" fmla="*/ 23654 h 26523"/>
                <a:gd name="connsiteX5" fmla="*/ 23657 w 26526"/>
                <a:gd name="connsiteY5" fmla="*/ 9798 h 26523"/>
                <a:gd name="connsiteX6" fmla="*/ 16730 w 26526"/>
                <a:gd name="connsiteY6" fmla="*/ 2871 h 26523"/>
                <a:gd name="connsiteX7" fmla="*/ 2876 w 26526"/>
                <a:gd name="connsiteY7" fmla="*/ 2867 h 26523"/>
                <a:gd name="connsiteX8" fmla="*/ 2873 w 26526"/>
                <a:gd name="connsiteY8" fmla="*/ 2871 h 26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526" h="26523">
                  <a:moveTo>
                    <a:pt x="2873" y="2871"/>
                  </a:moveTo>
                  <a:cubicBezTo>
                    <a:pt x="-953" y="6691"/>
                    <a:pt x="-958" y="12889"/>
                    <a:pt x="2861" y="16715"/>
                  </a:cubicBezTo>
                  <a:cubicBezTo>
                    <a:pt x="2865" y="16718"/>
                    <a:pt x="2869" y="16722"/>
                    <a:pt x="2873" y="16726"/>
                  </a:cubicBezTo>
                  <a:lnTo>
                    <a:pt x="9800" y="23653"/>
                  </a:lnTo>
                  <a:cubicBezTo>
                    <a:pt x="13626" y="27479"/>
                    <a:pt x="19829" y="27480"/>
                    <a:pt x="23656" y="23654"/>
                  </a:cubicBezTo>
                  <a:cubicBezTo>
                    <a:pt x="27482" y="19828"/>
                    <a:pt x="27483" y="13624"/>
                    <a:pt x="23657" y="9798"/>
                  </a:cubicBezTo>
                  <a:lnTo>
                    <a:pt x="16730" y="2871"/>
                  </a:lnTo>
                  <a:cubicBezTo>
                    <a:pt x="12905" y="-956"/>
                    <a:pt x="6703" y="-957"/>
                    <a:pt x="2876" y="2867"/>
                  </a:cubicBezTo>
                  <a:cubicBezTo>
                    <a:pt x="2875" y="2869"/>
                    <a:pt x="2874" y="2870"/>
                    <a:pt x="2873" y="2871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19" name="Freeform 518">
              <a:extLst>
                <a:ext uri="{FF2B5EF4-FFF2-40B4-BE49-F238E27FC236}">
                  <a16:creationId xmlns:a16="http://schemas.microsoft.com/office/drawing/2014/main" id="{FA715162-1E5E-FAF9-27A8-F1CC058EBCDA}"/>
                </a:ext>
              </a:extLst>
            </p:cNvPr>
            <p:cNvSpPr/>
            <p:nvPr/>
          </p:nvSpPr>
          <p:spPr>
            <a:xfrm>
              <a:off x="11145118" y="1728608"/>
              <a:ext cx="26521" cy="26521"/>
            </a:xfrm>
            <a:custGeom>
              <a:avLst/>
              <a:gdLst>
                <a:gd name="connsiteX0" fmla="*/ 2930 w 26521"/>
                <a:gd name="connsiteY0" fmla="*/ 9736 h 26521"/>
                <a:gd name="connsiteX1" fmla="*/ 2809 w 26521"/>
                <a:gd name="connsiteY1" fmla="*/ 23591 h 26521"/>
                <a:gd name="connsiteX2" fmla="*/ 16664 w 26521"/>
                <a:gd name="connsiteY2" fmla="*/ 23712 h 26521"/>
                <a:gd name="connsiteX3" fmla="*/ 16785 w 26521"/>
                <a:gd name="connsiteY3" fmla="*/ 23591 h 26521"/>
                <a:gd name="connsiteX4" fmla="*/ 23712 w 26521"/>
                <a:gd name="connsiteY4" fmla="*/ 16664 h 26521"/>
                <a:gd name="connsiteX5" fmla="*/ 23591 w 26521"/>
                <a:gd name="connsiteY5" fmla="*/ 2809 h 26521"/>
                <a:gd name="connsiteX6" fmla="*/ 9857 w 26521"/>
                <a:gd name="connsiteY6" fmla="*/ 2809 h 26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21" h="26521">
                  <a:moveTo>
                    <a:pt x="2930" y="9736"/>
                  </a:moveTo>
                  <a:cubicBezTo>
                    <a:pt x="-929" y="13529"/>
                    <a:pt x="-983" y="19732"/>
                    <a:pt x="2809" y="23591"/>
                  </a:cubicBezTo>
                  <a:cubicBezTo>
                    <a:pt x="6602" y="27450"/>
                    <a:pt x="12805" y="27504"/>
                    <a:pt x="16664" y="23712"/>
                  </a:cubicBezTo>
                  <a:cubicBezTo>
                    <a:pt x="16705" y="23672"/>
                    <a:pt x="16745" y="23631"/>
                    <a:pt x="16785" y="23591"/>
                  </a:cubicBezTo>
                  <a:lnTo>
                    <a:pt x="23712" y="16664"/>
                  </a:lnTo>
                  <a:cubicBezTo>
                    <a:pt x="27504" y="12804"/>
                    <a:pt x="27450" y="6601"/>
                    <a:pt x="23591" y="2809"/>
                  </a:cubicBezTo>
                  <a:cubicBezTo>
                    <a:pt x="19779" y="-937"/>
                    <a:pt x="13669" y="-936"/>
                    <a:pt x="9857" y="2809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20" name="Freeform 519">
              <a:extLst>
                <a:ext uri="{FF2B5EF4-FFF2-40B4-BE49-F238E27FC236}">
                  <a16:creationId xmlns:a16="http://schemas.microsoft.com/office/drawing/2014/main" id="{F8FB7C9B-0D11-1980-310D-DBEA3AD36D32}"/>
                </a:ext>
              </a:extLst>
            </p:cNvPr>
            <p:cNvSpPr/>
            <p:nvPr/>
          </p:nvSpPr>
          <p:spPr>
            <a:xfrm>
              <a:off x="11443081" y="1430637"/>
              <a:ext cx="26519" cy="26519"/>
            </a:xfrm>
            <a:custGeom>
              <a:avLst/>
              <a:gdLst>
                <a:gd name="connsiteX0" fmla="*/ 2869 w 26519"/>
                <a:gd name="connsiteY0" fmla="*/ 9796 h 26519"/>
                <a:gd name="connsiteX1" fmla="*/ 2869 w 26519"/>
                <a:gd name="connsiteY1" fmla="*/ 23650 h 26519"/>
                <a:gd name="connsiteX2" fmla="*/ 16723 w 26519"/>
                <a:gd name="connsiteY2" fmla="*/ 23650 h 26519"/>
                <a:gd name="connsiteX3" fmla="*/ 23650 w 26519"/>
                <a:gd name="connsiteY3" fmla="*/ 16723 h 26519"/>
                <a:gd name="connsiteX4" fmla="*/ 23650 w 26519"/>
                <a:gd name="connsiteY4" fmla="*/ 2869 h 26519"/>
                <a:gd name="connsiteX5" fmla="*/ 9796 w 26519"/>
                <a:gd name="connsiteY5" fmla="*/ 2869 h 26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519" h="26519">
                  <a:moveTo>
                    <a:pt x="2869" y="9796"/>
                  </a:moveTo>
                  <a:cubicBezTo>
                    <a:pt x="-956" y="13622"/>
                    <a:pt x="-956" y="19825"/>
                    <a:pt x="2869" y="23650"/>
                  </a:cubicBezTo>
                  <a:cubicBezTo>
                    <a:pt x="6695" y="27476"/>
                    <a:pt x="12898" y="27476"/>
                    <a:pt x="16723" y="23650"/>
                  </a:cubicBezTo>
                  <a:lnTo>
                    <a:pt x="23650" y="16723"/>
                  </a:lnTo>
                  <a:cubicBezTo>
                    <a:pt x="27476" y="12898"/>
                    <a:pt x="27476" y="6695"/>
                    <a:pt x="23650" y="2869"/>
                  </a:cubicBezTo>
                  <a:cubicBezTo>
                    <a:pt x="19825" y="-956"/>
                    <a:pt x="13622" y="-956"/>
                    <a:pt x="9796" y="2869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  <p:sp>
          <p:nvSpPr>
            <p:cNvPr id="521" name="Freeform 520">
              <a:extLst>
                <a:ext uri="{FF2B5EF4-FFF2-40B4-BE49-F238E27FC236}">
                  <a16:creationId xmlns:a16="http://schemas.microsoft.com/office/drawing/2014/main" id="{A95C9DC1-62BB-A6D9-64ED-324CC397C4D9}"/>
                </a:ext>
              </a:extLst>
            </p:cNvPr>
            <p:cNvSpPr/>
            <p:nvPr/>
          </p:nvSpPr>
          <p:spPr>
            <a:xfrm>
              <a:off x="11268187" y="1418759"/>
              <a:ext cx="156876" cy="213297"/>
            </a:xfrm>
            <a:custGeom>
              <a:avLst/>
              <a:gdLst>
                <a:gd name="connsiteX0" fmla="*/ 146978 w 156876"/>
                <a:gd name="connsiteY0" fmla="*/ 164298 h 213297"/>
                <a:gd name="connsiteX1" fmla="*/ 77002 w 156876"/>
                <a:gd name="connsiteY1" fmla="*/ 164298 h 213297"/>
                <a:gd name="connsiteX2" fmla="*/ 49095 w 156876"/>
                <a:gd name="connsiteY2" fmla="*/ 136324 h 213297"/>
                <a:gd name="connsiteX3" fmla="*/ 49034 w 156876"/>
                <a:gd name="connsiteY3" fmla="*/ 9864 h 213297"/>
                <a:gd name="connsiteX4" fmla="*/ 39300 w 156876"/>
                <a:gd name="connsiteY4" fmla="*/ 0 h 213297"/>
                <a:gd name="connsiteX5" fmla="*/ 39234 w 156876"/>
                <a:gd name="connsiteY5" fmla="*/ 0 h 213297"/>
                <a:gd name="connsiteX6" fmla="*/ 29436 w 156876"/>
                <a:gd name="connsiteY6" fmla="*/ 9733 h 213297"/>
                <a:gd name="connsiteX7" fmla="*/ 29537 w 156876"/>
                <a:gd name="connsiteY7" fmla="*/ 35380 h 213297"/>
                <a:gd name="connsiteX8" fmla="*/ 29404 w 156876"/>
                <a:gd name="connsiteY8" fmla="*/ 36925 h 213297"/>
                <a:gd name="connsiteX9" fmla="*/ 29404 w 156876"/>
                <a:gd name="connsiteY9" fmla="*/ 136295 h 213297"/>
                <a:gd name="connsiteX10" fmla="*/ 1235 w 156876"/>
                <a:gd name="connsiteY10" fmla="*/ 183894 h 213297"/>
                <a:gd name="connsiteX11" fmla="*/ 48834 w 156876"/>
                <a:gd name="connsiteY11" fmla="*/ 212063 h 213297"/>
                <a:gd name="connsiteX12" fmla="*/ 77003 w 156876"/>
                <a:gd name="connsiteY12" fmla="*/ 183894 h 213297"/>
                <a:gd name="connsiteX13" fmla="*/ 146979 w 156876"/>
                <a:gd name="connsiteY13" fmla="*/ 183894 h 213297"/>
                <a:gd name="connsiteX14" fmla="*/ 156876 w 156876"/>
                <a:gd name="connsiteY14" fmla="*/ 174196 h 213297"/>
                <a:gd name="connsiteX15" fmla="*/ 147178 w 156876"/>
                <a:gd name="connsiteY15" fmla="*/ 164299 h 213297"/>
                <a:gd name="connsiteX16" fmla="*/ 146979 w 156876"/>
                <a:gd name="connsiteY16" fmla="*/ 164299 h 213297"/>
                <a:gd name="connsiteX17" fmla="*/ 39204 w 156876"/>
                <a:gd name="connsiteY17" fmla="*/ 193693 h 213297"/>
                <a:gd name="connsiteX18" fmla="*/ 19608 w 156876"/>
                <a:gd name="connsiteY18" fmla="*/ 174097 h 213297"/>
                <a:gd name="connsiteX19" fmla="*/ 39204 w 156876"/>
                <a:gd name="connsiteY19" fmla="*/ 154501 h 213297"/>
                <a:gd name="connsiteX20" fmla="*/ 58800 w 156876"/>
                <a:gd name="connsiteY20" fmla="*/ 174097 h 213297"/>
                <a:gd name="connsiteX21" fmla="*/ 39204 w 156876"/>
                <a:gd name="connsiteY21" fmla="*/ 193693 h 213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6876" h="213297">
                  <a:moveTo>
                    <a:pt x="146978" y="164298"/>
                  </a:moveTo>
                  <a:lnTo>
                    <a:pt x="77002" y="164298"/>
                  </a:lnTo>
                  <a:cubicBezTo>
                    <a:pt x="73434" y="150618"/>
                    <a:pt x="62767" y="139925"/>
                    <a:pt x="49095" y="136324"/>
                  </a:cubicBezTo>
                  <a:lnTo>
                    <a:pt x="49034" y="9864"/>
                  </a:lnTo>
                  <a:cubicBezTo>
                    <a:pt x="49069" y="4453"/>
                    <a:pt x="44712" y="37"/>
                    <a:pt x="39300" y="0"/>
                  </a:cubicBezTo>
                  <a:lnTo>
                    <a:pt x="39234" y="0"/>
                  </a:lnTo>
                  <a:cubicBezTo>
                    <a:pt x="33848" y="0"/>
                    <a:pt x="29473" y="4347"/>
                    <a:pt x="29436" y="9733"/>
                  </a:cubicBezTo>
                  <a:lnTo>
                    <a:pt x="29537" y="35380"/>
                  </a:lnTo>
                  <a:cubicBezTo>
                    <a:pt x="29452" y="35890"/>
                    <a:pt x="29408" y="36407"/>
                    <a:pt x="29404" y="36925"/>
                  </a:cubicBezTo>
                  <a:lnTo>
                    <a:pt x="29404" y="136295"/>
                  </a:lnTo>
                  <a:cubicBezTo>
                    <a:pt x="8481" y="141661"/>
                    <a:pt x="-4130" y="162971"/>
                    <a:pt x="1235" y="183894"/>
                  </a:cubicBezTo>
                  <a:cubicBezTo>
                    <a:pt x="6601" y="204817"/>
                    <a:pt x="27912" y="217428"/>
                    <a:pt x="48834" y="212063"/>
                  </a:cubicBezTo>
                  <a:cubicBezTo>
                    <a:pt x="62660" y="208517"/>
                    <a:pt x="73457" y="197720"/>
                    <a:pt x="77003" y="183894"/>
                  </a:cubicBezTo>
                  <a:lnTo>
                    <a:pt x="146979" y="183894"/>
                  </a:lnTo>
                  <a:cubicBezTo>
                    <a:pt x="152390" y="183949"/>
                    <a:pt x="156821" y="179607"/>
                    <a:pt x="156876" y="174196"/>
                  </a:cubicBezTo>
                  <a:cubicBezTo>
                    <a:pt x="156931" y="168785"/>
                    <a:pt x="152589" y="164354"/>
                    <a:pt x="147178" y="164299"/>
                  </a:cubicBezTo>
                  <a:cubicBezTo>
                    <a:pt x="147112" y="164298"/>
                    <a:pt x="147045" y="164298"/>
                    <a:pt x="146979" y="164299"/>
                  </a:cubicBezTo>
                  <a:close/>
                  <a:moveTo>
                    <a:pt x="39204" y="193693"/>
                  </a:moveTo>
                  <a:cubicBezTo>
                    <a:pt x="28381" y="193693"/>
                    <a:pt x="19608" y="184920"/>
                    <a:pt x="19608" y="174097"/>
                  </a:cubicBezTo>
                  <a:cubicBezTo>
                    <a:pt x="19608" y="163274"/>
                    <a:pt x="28381" y="154501"/>
                    <a:pt x="39204" y="154501"/>
                  </a:cubicBezTo>
                  <a:cubicBezTo>
                    <a:pt x="50027" y="154501"/>
                    <a:pt x="58800" y="163274"/>
                    <a:pt x="58800" y="174097"/>
                  </a:cubicBezTo>
                  <a:cubicBezTo>
                    <a:pt x="58789" y="184915"/>
                    <a:pt x="50022" y="193682"/>
                    <a:pt x="39204" y="193693"/>
                  </a:cubicBezTo>
                  <a:close/>
                </a:path>
              </a:pathLst>
            </a:custGeom>
            <a:grpFill/>
            <a:ln w="99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522" name="Graphic 268">
            <a:extLst>
              <a:ext uri="{FF2B5EF4-FFF2-40B4-BE49-F238E27FC236}">
                <a16:creationId xmlns:a16="http://schemas.microsoft.com/office/drawing/2014/main" id="{CEEF9858-84C4-BB1F-BF90-FDF1717F3677}"/>
              </a:ext>
            </a:extLst>
          </p:cNvPr>
          <p:cNvGrpSpPr>
            <a:grpSpLocks/>
          </p:cNvGrpSpPr>
          <p:nvPr/>
        </p:nvGrpSpPr>
        <p:grpSpPr bwMode="auto">
          <a:xfrm>
            <a:off x="8149105" y="1176219"/>
            <a:ext cx="454025" cy="265112"/>
            <a:chOff x="1793867" y="982299"/>
            <a:chExt cx="453909" cy="265576"/>
          </a:xfrm>
        </p:grpSpPr>
        <p:sp>
          <p:nvSpPr>
            <p:cNvPr id="523" name="Freeform 522">
              <a:extLst>
                <a:ext uri="{FF2B5EF4-FFF2-40B4-BE49-F238E27FC236}">
                  <a16:creationId xmlns:a16="http://schemas.microsoft.com/office/drawing/2014/main" id="{965C78C5-9043-B246-EECC-67744E91A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779" y="1051432"/>
              <a:ext cx="86912" cy="127264"/>
            </a:xfrm>
            <a:custGeom>
              <a:avLst/>
              <a:gdLst>
                <a:gd name="T0" fmla="*/ 0 w 86912"/>
                <a:gd name="T1" fmla="*/ 63632 h 127264"/>
                <a:gd name="T2" fmla="*/ 68935 w 86912"/>
                <a:gd name="T3" fmla="*/ 127265 h 127264"/>
                <a:gd name="T4" fmla="*/ 86912 w 86912"/>
                <a:gd name="T5" fmla="*/ 124771 h 127264"/>
                <a:gd name="T6" fmla="*/ 81850 w 86912"/>
                <a:gd name="T7" fmla="*/ 114170 h 127264"/>
                <a:gd name="T8" fmla="*/ 68935 w 86912"/>
                <a:gd name="T9" fmla="*/ 115678 h 127264"/>
                <a:gd name="T10" fmla="*/ 12552 w 86912"/>
                <a:gd name="T11" fmla="*/ 63632 h 127264"/>
                <a:gd name="T12" fmla="*/ 68935 w 86912"/>
                <a:gd name="T13" fmla="*/ 11587 h 127264"/>
                <a:gd name="T14" fmla="*/ 81850 w 86912"/>
                <a:gd name="T15" fmla="*/ 13095 h 127264"/>
                <a:gd name="T16" fmla="*/ 86912 w 86912"/>
                <a:gd name="T17" fmla="*/ 2493 h 127264"/>
                <a:gd name="T18" fmla="*/ 68935 w 86912"/>
                <a:gd name="T19" fmla="*/ 0 h 127264"/>
                <a:gd name="T20" fmla="*/ 0 w 86912"/>
                <a:gd name="T21" fmla="*/ 63632 h 12726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6912" h="127264">
                  <a:moveTo>
                    <a:pt x="0" y="63632"/>
                  </a:moveTo>
                  <a:cubicBezTo>
                    <a:pt x="50" y="98756"/>
                    <a:pt x="30884" y="127219"/>
                    <a:pt x="68935" y="127265"/>
                  </a:cubicBezTo>
                  <a:cubicBezTo>
                    <a:pt x="75021" y="127179"/>
                    <a:pt x="81067" y="126340"/>
                    <a:pt x="86912" y="124771"/>
                  </a:cubicBezTo>
                  <a:cubicBezTo>
                    <a:pt x="85074" y="121314"/>
                    <a:pt x="83394" y="117794"/>
                    <a:pt x="81850" y="114170"/>
                  </a:cubicBezTo>
                  <a:cubicBezTo>
                    <a:pt x="77625" y="115141"/>
                    <a:pt x="73290" y="115648"/>
                    <a:pt x="68935" y="115678"/>
                  </a:cubicBezTo>
                  <a:cubicBezTo>
                    <a:pt x="37796" y="115678"/>
                    <a:pt x="12552" y="92376"/>
                    <a:pt x="12552" y="63632"/>
                  </a:cubicBezTo>
                  <a:cubicBezTo>
                    <a:pt x="12552" y="34888"/>
                    <a:pt x="37796" y="11587"/>
                    <a:pt x="68935" y="11587"/>
                  </a:cubicBezTo>
                  <a:cubicBezTo>
                    <a:pt x="73290" y="11618"/>
                    <a:pt x="77625" y="12125"/>
                    <a:pt x="81850" y="13095"/>
                  </a:cubicBezTo>
                  <a:cubicBezTo>
                    <a:pt x="83371" y="9470"/>
                    <a:pt x="85074" y="5950"/>
                    <a:pt x="86912" y="2493"/>
                  </a:cubicBezTo>
                  <a:cubicBezTo>
                    <a:pt x="81067" y="924"/>
                    <a:pt x="75021" y="86"/>
                    <a:pt x="68935" y="0"/>
                  </a:cubicBezTo>
                  <a:cubicBezTo>
                    <a:pt x="30884" y="46"/>
                    <a:pt x="50" y="28508"/>
                    <a:pt x="0" y="6363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2384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524" name="Freeform 523">
              <a:extLst>
                <a:ext uri="{FF2B5EF4-FFF2-40B4-BE49-F238E27FC236}">
                  <a16:creationId xmlns:a16="http://schemas.microsoft.com/office/drawing/2014/main" id="{C5B51A2A-C9A9-7582-E224-E8EFC60A9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3867" y="982299"/>
              <a:ext cx="218138" cy="265576"/>
            </a:xfrm>
            <a:custGeom>
              <a:avLst/>
              <a:gdLst/>
              <a:ahLst/>
              <a:cxnLst/>
              <a:rect l="0" t="0" r="r" b="b"/>
              <a:pathLst>
                <a:path w="218138" h="265576">
                  <a:moveTo>
                    <a:pt x="205995" y="243625"/>
                  </a:moveTo>
                  <a:lnTo>
                    <a:pt x="182026" y="252802"/>
                  </a:lnTo>
                  <a:lnTo>
                    <a:pt x="163436" y="233714"/>
                  </a:lnTo>
                  <a:cubicBezTo>
                    <a:pt x="162253" y="232489"/>
                    <a:pt x="160560" y="231788"/>
                    <a:pt x="158782" y="231786"/>
                  </a:cubicBezTo>
                  <a:lnTo>
                    <a:pt x="128934" y="231786"/>
                  </a:lnTo>
                  <a:cubicBezTo>
                    <a:pt x="127156" y="231788"/>
                    <a:pt x="125464" y="232489"/>
                    <a:pt x="124281" y="233714"/>
                  </a:cubicBezTo>
                  <a:lnTo>
                    <a:pt x="105600" y="252802"/>
                  </a:lnTo>
                  <a:lnTo>
                    <a:pt x="78884" y="242556"/>
                  </a:lnTo>
                  <a:lnTo>
                    <a:pt x="80291" y="216910"/>
                  </a:lnTo>
                  <a:cubicBezTo>
                    <a:pt x="80384" y="215273"/>
                    <a:pt x="79725" y="213676"/>
                    <a:pt x="78475" y="212510"/>
                  </a:cubicBezTo>
                  <a:lnTo>
                    <a:pt x="57434" y="193066"/>
                  </a:lnTo>
                  <a:cubicBezTo>
                    <a:pt x="56174" y="191908"/>
                    <a:pt x="54444" y="191292"/>
                    <a:pt x="52667" y="191369"/>
                  </a:cubicBezTo>
                  <a:lnTo>
                    <a:pt x="24975" y="192752"/>
                  </a:lnTo>
                  <a:lnTo>
                    <a:pt x="13785" y="168028"/>
                  </a:lnTo>
                  <a:lnTo>
                    <a:pt x="34441" y="150805"/>
                  </a:lnTo>
                  <a:cubicBezTo>
                    <a:pt x="35773" y="149709"/>
                    <a:pt x="36534" y="148137"/>
                    <a:pt x="36529" y="146489"/>
                  </a:cubicBezTo>
                  <a:lnTo>
                    <a:pt x="36529" y="119021"/>
                  </a:lnTo>
                  <a:cubicBezTo>
                    <a:pt x="36528" y="117374"/>
                    <a:pt x="35769" y="115805"/>
                    <a:pt x="34441" y="114704"/>
                  </a:cubicBezTo>
                  <a:lnTo>
                    <a:pt x="13785" y="97482"/>
                  </a:lnTo>
                  <a:lnTo>
                    <a:pt x="24975" y="72821"/>
                  </a:lnTo>
                  <a:lnTo>
                    <a:pt x="52781" y="74120"/>
                  </a:lnTo>
                  <a:cubicBezTo>
                    <a:pt x="54540" y="74125"/>
                    <a:pt x="56238" y="73528"/>
                    <a:pt x="57547" y="72444"/>
                  </a:cubicBezTo>
                  <a:lnTo>
                    <a:pt x="78589" y="53021"/>
                  </a:lnTo>
                  <a:cubicBezTo>
                    <a:pt x="79838" y="51855"/>
                    <a:pt x="80497" y="50258"/>
                    <a:pt x="80405" y="48621"/>
                  </a:cubicBezTo>
                  <a:lnTo>
                    <a:pt x="78884" y="23038"/>
                  </a:lnTo>
                  <a:lnTo>
                    <a:pt x="105600" y="12708"/>
                  </a:lnTo>
                  <a:lnTo>
                    <a:pt x="124281" y="31796"/>
                  </a:lnTo>
                  <a:cubicBezTo>
                    <a:pt x="125466" y="33015"/>
                    <a:pt x="127159" y="33709"/>
                    <a:pt x="128934" y="33703"/>
                  </a:cubicBezTo>
                  <a:lnTo>
                    <a:pt x="158714" y="33703"/>
                  </a:lnTo>
                  <a:cubicBezTo>
                    <a:pt x="160513" y="33727"/>
                    <a:pt x="162234" y="33032"/>
                    <a:pt x="163436" y="31796"/>
                  </a:cubicBezTo>
                  <a:lnTo>
                    <a:pt x="182026" y="12708"/>
                  </a:lnTo>
                  <a:lnTo>
                    <a:pt x="206018" y="21885"/>
                  </a:lnTo>
                  <a:cubicBezTo>
                    <a:pt x="209922" y="19092"/>
                    <a:pt x="213962" y="16522"/>
                    <a:pt x="218139" y="14175"/>
                  </a:cubicBezTo>
                  <a:cubicBezTo>
                    <a:pt x="217912" y="14070"/>
                    <a:pt x="217912" y="13861"/>
                    <a:pt x="217662" y="13777"/>
                  </a:cubicBezTo>
                  <a:lnTo>
                    <a:pt x="182729" y="430"/>
                  </a:lnTo>
                  <a:cubicBezTo>
                    <a:pt x="180270" y="-481"/>
                    <a:pt x="177457" y="112"/>
                    <a:pt x="175670" y="1918"/>
                  </a:cubicBezTo>
                  <a:lnTo>
                    <a:pt x="155922" y="22137"/>
                  </a:lnTo>
                  <a:lnTo>
                    <a:pt x="131658" y="22137"/>
                  </a:lnTo>
                  <a:lnTo>
                    <a:pt x="111956" y="1918"/>
                  </a:lnTo>
                  <a:cubicBezTo>
                    <a:pt x="110175" y="101"/>
                    <a:pt x="107354" y="-493"/>
                    <a:pt x="104896" y="430"/>
                  </a:cubicBezTo>
                  <a:lnTo>
                    <a:pt x="70009" y="13777"/>
                  </a:lnTo>
                  <a:cubicBezTo>
                    <a:pt x="67545" y="14722"/>
                    <a:pt x="65991" y="16995"/>
                    <a:pt x="66127" y="19455"/>
                  </a:cubicBezTo>
                  <a:lnTo>
                    <a:pt x="67626" y="46693"/>
                  </a:lnTo>
                  <a:lnTo>
                    <a:pt x="50534" y="62491"/>
                  </a:lnTo>
                  <a:lnTo>
                    <a:pt x="21026" y="61108"/>
                  </a:lnTo>
                  <a:cubicBezTo>
                    <a:pt x="18394" y="61053"/>
                    <a:pt x="15981" y="62455"/>
                    <a:pt x="14897" y="64670"/>
                  </a:cubicBezTo>
                  <a:lnTo>
                    <a:pt x="484" y="96832"/>
                  </a:lnTo>
                  <a:cubicBezTo>
                    <a:pt x="-545" y="99099"/>
                    <a:pt x="103" y="101719"/>
                    <a:pt x="2095" y="103348"/>
                  </a:cubicBezTo>
                  <a:lnTo>
                    <a:pt x="23999" y="121577"/>
                  </a:lnTo>
                  <a:lnTo>
                    <a:pt x="23999" y="143933"/>
                  </a:lnTo>
                  <a:lnTo>
                    <a:pt x="2095" y="162162"/>
                  </a:lnTo>
                  <a:cubicBezTo>
                    <a:pt x="103" y="163791"/>
                    <a:pt x="-545" y="166411"/>
                    <a:pt x="484" y="168678"/>
                  </a:cubicBezTo>
                  <a:lnTo>
                    <a:pt x="14943" y="200924"/>
                  </a:lnTo>
                  <a:cubicBezTo>
                    <a:pt x="15976" y="203178"/>
                    <a:pt x="18422" y="204600"/>
                    <a:pt x="21071" y="204485"/>
                  </a:cubicBezTo>
                  <a:lnTo>
                    <a:pt x="50579" y="203082"/>
                  </a:lnTo>
                  <a:lnTo>
                    <a:pt x="67671" y="218880"/>
                  </a:lnTo>
                  <a:lnTo>
                    <a:pt x="66173" y="246118"/>
                  </a:lnTo>
                  <a:cubicBezTo>
                    <a:pt x="66032" y="248574"/>
                    <a:pt x="67589" y="250843"/>
                    <a:pt x="70054" y="251775"/>
                  </a:cubicBezTo>
                  <a:lnTo>
                    <a:pt x="104942" y="265122"/>
                  </a:lnTo>
                  <a:cubicBezTo>
                    <a:pt x="107396" y="266085"/>
                    <a:pt x="110243" y="265485"/>
                    <a:pt x="112001" y="263634"/>
                  </a:cubicBezTo>
                  <a:lnTo>
                    <a:pt x="131749" y="243436"/>
                  </a:lnTo>
                  <a:lnTo>
                    <a:pt x="155922" y="243436"/>
                  </a:lnTo>
                  <a:lnTo>
                    <a:pt x="175670" y="263634"/>
                  </a:lnTo>
                  <a:cubicBezTo>
                    <a:pt x="176851" y="264873"/>
                    <a:pt x="178558" y="265577"/>
                    <a:pt x="180346" y="265562"/>
                  </a:cubicBezTo>
                  <a:cubicBezTo>
                    <a:pt x="181165" y="265574"/>
                    <a:pt x="181978" y="265424"/>
                    <a:pt x="182729" y="265122"/>
                  </a:cubicBezTo>
                  <a:lnTo>
                    <a:pt x="217662" y="251775"/>
                  </a:lnTo>
                  <a:cubicBezTo>
                    <a:pt x="217912" y="251628"/>
                    <a:pt x="217912" y="251419"/>
                    <a:pt x="218139" y="251419"/>
                  </a:cubicBezTo>
                  <a:cubicBezTo>
                    <a:pt x="213947" y="249016"/>
                    <a:pt x="209899" y="246439"/>
                    <a:pt x="205995" y="24368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2384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525" name="Freeform 524">
              <a:extLst>
                <a:ext uri="{FF2B5EF4-FFF2-40B4-BE49-F238E27FC236}">
                  <a16:creationId xmlns:a16="http://schemas.microsoft.com/office/drawing/2014/main" id="{FC8EBA7F-83E1-E013-468B-207C5BB5F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5339" y="1013757"/>
              <a:ext cx="232437" cy="156748"/>
            </a:xfrm>
            <a:custGeom>
              <a:avLst/>
              <a:gdLst>
                <a:gd name="T0" fmla="*/ 69756 w 232437"/>
                <a:gd name="T1" fmla="*/ 156748 h 156748"/>
                <a:gd name="T2" fmla="*/ 69393 w 232437"/>
                <a:gd name="T3" fmla="*/ 156748 h 156748"/>
                <a:gd name="T4" fmla="*/ 60767 w 232437"/>
                <a:gd name="T5" fmla="*/ 153144 h 156748"/>
                <a:gd name="T6" fmla="*/ 2909 w 232437"/>
                <a:gd name="T7" fmla="*/ 95169 h 156748"/>
                <a:gd name="T8" fmla="*/ 4315 w 232437"/>
                <a:gd name="T9" fmla="*/ 79251 h 156748"/>
                <a:gd name="T10" fmla="*/ 20886 w 232437"/>
                <a:gd name="T11" fmla="*/ 79874 h 156748"/>
                <a:gd name="T12" fmla="*/ 70187 w 232437"/>
                <a:gd name="T13" fmla="*/ 129342 h 156748"/>
                <a:gd name="T14" fmla="*/ 212075 w 232437"/>
                <a:gd name="T15" fmla="*/ 2853 h 156748"/>
                <a:gd name="T16" fmla="*/ 229347 w 232437"/>
                <a:gd name="T17" fmla="*/ 3791 h 156748"/>
                <a:gd name="T18" fmla="*/ 229053 w 232437"/>
                <a:gd name="T19" fmla="*/ 19091 h 156748"/>
                <a:gd name="T20" fmla="*/ 78154 w 232437"/>
                <a:gd name="T21" fmla="*/ 153563 h 156748"/>
                <a:gd name="T22" fmla="*/ 69756 w 232437"/>
                <a:gd name="T23" fmla="*/ 156748 h 1567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32437" h="156748">
                  <a:moveTo>
                    <a:pt x="69756" y="156748"/>
                  </a:moveTo>
                  <a:lnTo>
                    <a:pt x="69393" y="156748"/>
                  </a:lnTo>
                  <a:cubicBezTo>
                    <a:pt x="66109" y="156669"/>
                    <a:pt x="62999" y="155369"/>
                    <a:pt x="60767" y="153144"/>
                  </a:cubicBezTo>
                  <a:lnTo>
                    <a:pt x="2909" y="95169"/>
                  </a:lnTo>
                  <a:cubicBezTo>
                    <a:pt x="-1465" y="90415"/>
                    <a:pt x="-835" y="83288"/>
                    <a:pt x="4315" y="79251"/>
                  </a:cubicBezTo>
                  <a:cubicBezTo>
                    <a:pt x="9172" y="75444"/>
                    <a:pt x="16381" y="75715"/>
                    <a:pt x="20886" y="79874"/>
                  </a:cubicBezTo>
                  <a:lnTo>
                    <a:pt x="70187" y="129342"/>
                  </a:lnTo>
                  <a:lnTo>
                    <a:pt x="212075" y="2853"/>
                  </a:lnTo>
                  <a:cubicBezTo>
                    <a:pt x="217125" y="-1291"/>
                    <a:pt x="224858" y="-871"/>
                    <a:pt x="229347" y="3791"/>
                  </a:cubicBezTo>
                  <a:cubicBezTo>
                    <a:pt x="233578" y="8184"/>
                    <a:pt x="233450" y="14839"/>
                    <a:pt x="229053" y="19091"/>
                  </a:cubicBezTo>
                  <a:lnTo>
                    <a:pt x="78154" y="153563"/>
                  </a:lnTo>
                  <a:cubicBezTo>
                    <a:pt x="75908" y="155589"/>
                    <a:pt x="72897" y="156731"/>
                    <a:pt x="69756" y="15674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2384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526" name="Freeform 525">
              <a:extLst>
                <a:ext uri="{FF2B5EF4-FFF2-40B4-BE49-F238E27FC236}">
                  <a16:creationId xmlns:a16="http://schemas.microsoft.com/office/drawing/2014/main" id="{6C2B1E42-06C9-D7C7-7C1F-5AD3A68F46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4892" y="989204"/>
              <a:ext cx="272611" cy="251763"/>
            </a:xfrm>
            <a:custGeom>
              <a:avLst/>
              <a:gdLst>
                <a:gd name="T0" fmla="*/ 136092 w 272611"/>
                <a:gd name="T1" fmla="*/ 251764 h 251763"/>
                <a:gd name="T2" fmla="*/ 0 w 272611"/>
                <a:gd name="T3" fmla="*/ 125623 h 251763"/>
                <a:gd name="T4" fmla="*/ 136653 w 272611"/>
                <a:gd name="T5" fmla="*/ 0 h 251763"/>
                <a:gd name="T6" fmla="*/ 218328 w 272611"/>
                <a:gd name="T7" fmla="*/ 25268 h 251763"/>
                <a:gd name="T8" fmla="*/ 219209 w 272611"/>
                <a:gd name="T9" fmla="*/ 34834 h 251763"/>
                <a:gd name="T10" fmla="*/ 209498 w 272611"/>
                <a:gd name="T11" fmla="*/ 36101 h 251763"/>
                <a:gd name="T12" fmla="*/ 39185 w 272611"/>
                <a:gd name="T13" fmla="*/ 58243 h 251763"/>
                <a:gd name="T14" fmla="*/ 63173 w 272611"/>
                <a:gd name="T15" fmla="*/ 215455 h 251763"/>
                <a:gd name="T16" fmla="*/ 233485 w 272611"/>
                <a:gd name="T17" fmla="*/ 193313 h 251763"/>
                <a:gd name="T18" fmla="*/ 254895 w 272611"/>
                <a:gd name="T19" fmla="*/ 100760 h 251763"/>
                <a:gd name="T20" fmla="*/ 260041 w 272611"/>
                <a:gd name="T21" fmla="*/ 92451 h 251763"/>
                <a:gd name="T22" fmla="*/ 269042 w 272611"/>
                <a:gd name="T23" fmla="*/ 97201 h 251763"/>
                <a:gd name="T24" fmla="*/ 269172 w 272611"/>
                <a:gd name="T25" fmla="*/ 97722 h 251763"/>
                <a:gd name="T26" fmla="*/ 166354 w 272611"/>
                <a:gd name="T27" fmla="*/ 248616 h 251763"/>
                <a:gd name="T28" fmla="*/ 136001 w 272611"/>
                <a:gd name="T29" fmla="*/ 251764 h 2517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2611" h="251763">
                  <a:moveTo>
                    <a:pt x="136092" y="251764"/>
                  </a:moveTo>
                  <a:cubicBezTo>
                    <a:pt x="60775" y="251621"/>
                    <a:pt x="-155" y="195146"/>
                    <a:pt x="0" y="125623"/>
                  </a:cubicBezTo>
                  <a:cubicBezTo>
                    <a:pt x="155" y="56100"/>
                    <a:pt x="61336" y="-143"/>
                    <a:pt x="136653" y="0"/>
                  </a:cubicBezTo>
                  <a:cubicBezTo>
                    <a:pt x="166120" y="56"/>
                    <a:pt x="194775" y="8921"/>
                    <a:pt x="218328" y="25268"/>
                  </a:cubicBezTo>
                  <a:cubicBezTo>
                    <a:pt x="221433" y="27685"/>
                    <a:pt x="221827" y="31968"/>
                    <a:pt x="219209" y="34834"/>
                  </a:cubicBezTo>
                  <a:cubicBezTo>
                    <a:pt x="216794" y="37478"/>
                    <a:pt x="212612" y="38023"/>
                    <a:pt x="209498" y="36101"/>
                  </a:cubicBezTo>
                  <a:cubicBezTo>
                    <a:pt x="155844" y="-1198"/>
                    <a:pt x="79592" y="8716"/>
                    <a:pt x="39185" y="58243"/>
                  </a:cubicBezTo>
                  <a:cubicBezTo>
                    <a:pt x="-1222" y="107770"/>
                    <a:pt x="9518" y="178156"/>
                    <a:pt x="63173" y="215455"/>
                  </a:cubicBezTo>
                  <a:cubicBezTo>
                    <a:pt x="116827" y="252753"/>
                    <a:pt x="193079" y="242840"/>
                    <a:pt x="233485" y="193313"/>
                  </a:cubicBezTo>
                  <a:cubicBezTo>
                    <a:pt x="255049" y="166882"/>
                    <a:pt x="262883" y="133016"/>
                    <a:pt x="254895" y="100760"/>
                  </a:cubicBezTo>
                  <a:cubicBezTo>
                    <a:pt x="253830" y="97154"/>
                    <a:pt x="256134" y="93434"/>
                    <a:pt x="260041" y="92451"/>
                  </a:cubicBezTo>
                  <a:cubicBezTo>
                    <a:pt x="263948" y="91468"/>
                    <a:pt x="267978" y="93595"/>
                    <a:pt x="269042" y="97201"/>
                  </a:cubicBezTo>
                  <a:cubicBezTo>
                    <a:pt x="269093" y="97373"/>
                    <a:pt x="269136" y="97547"/>
                    <a:pt x="269172" y="97722"/>
                  </a:cubicBezTo>
                  <a:cubicBezTo>
                    <a:pt x="285920" y="165599"/>
                    <a:pt x="239887" y="233156"/>
                    <a:pt x="166354" y="248616"/>
                  </a:cubicBezTo>
                  <a:cubicBezTo>
                    <a:pt x="156395" y="250710"/>
                    <a:pt x="146214" y="251766"/>
                    <a:pt x="136001" y="25176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2384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</p:grpSp>
      <p:sp>
        <p:nvSpPr>
          <p:cNvPr id="527" name="TextBox 526">
            <a:extLst>
              <a:ext uri="{FF2B5EF4-FFF2-40B4-BE49-F238E27FC236}">
                <a16:creationId xmlns:a16="http://schemas.microsoft.com/office/drawing/2014/main" id="{557B2DAD-8B5F-0E47-F70B-D02B5E7529D7}"/>
              </a:ext>
            </a:extLst>
          </p:cNvPr>
          <p:cNvSpPr txBox="1"/>
          <p:nvPr/>
        </p:nvSpPr>
        <p:spPr>
          <a:xfrm>
            <a:off x="411476" y="143864"/>
            <a:ext cx="1889272" cy="272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 dirty="0">
                <a:solidFill>
                  <a:schemeClr val="bg2"/>
                </a:solidFill>
                <a:latin typeface="+mj-lt"/>
              </a:rPr>
              <a:t>Ellab Slide Assets </a:t>
            </a:r>
            <a:r>
              <a:rPr lang="en-US" sz="800" dirty="0">
                <a:solidFill>
                  <a:schemeClr val="bg2"/>
                </a:solidFill>
                <a:latin typeface="+mj-lt"/>
              </a:rPr>
              <a:t>V1</a:t>
            </a:r>
            <a:endParaRPr lang="en-US" sz="117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0837C975-8B00-14E8-568D-F81F6A1811CD}"/>
              </a:ext>
            </a:extLst>
          </p:cNvPr>
          <p:cNvSpPr txBox="1"/>
          <p:nvPr/>
        </p:nvSpPr>
        <p:spPr>
          <a:xfrm>
            <a:off x="3898095" y="176287"/>
            <a:ext cx="27235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i="1" u="sng" dirty="0">
                <a:solidFill>
                  <a:schemeClr val="bg2"/>
                </a:solidFill>
                <a:latin typeface="+mn-lt"/>
              </a:rPr>
              <a:t>Copy as needed then delete this slide!</a:t>
            </a:r>
          </a:p>
        </p:txBody>
      </p:sp>
      <p:sp>
        <p:nvSpPr>
          <p:cNvPr id="529" name="Graphic 3" descr="Chemicals">
            <a:extLst>
              <a:ext uri="{FF2B5EF4-FFF2-40B4-BE49-F238E27FC236}">
                <a16:creationId xmlns:a16="http://schemas.microsoft.com/office/drawing/2014/main" id="{1157D240-B4F5-2C40-11C1-11DC45C471F9}"/>
              </a:ext>
            </a:extLst>
          </p:cNvPr>
          <p:cNvSpPr/>
          <p:nvPr/>
        </p:nvSpPr>
        <p:spPr>
          <a:xfrm>
            <a:off x="510087" y="4462781"/>
            <a:ext cx="360363" cy="468312"/>
          </a:xfrm>
          <a:custGeom>
            <a:avLst/>
            <a:gdLst>
              <a:gd name="connsiteX0" fmla="*/ 483994 w 560984"/>
              <a:gd name="connsiteY0" fmla="*/ 385820 h 762057"/>
              <a:gd name="connsiteX1" fmla="*/ 560984 w 560984"/>
              <a:gd name="connsiteY1" fmla="*/ 252470 h 762057"/>
              <a:gd name="connsiteX2" fmla="*/ 478488 w 560984"/>
              <a:gd name="connsiteY2" fmla="*/ 109595 h 762057"/>
              <a:gd name="connsiteX3" fmla="*/ 324002 w 560984"/>
              <a:gd name="connsiteY3" fmla="*/ 109595 h 762057"/>
              <a:gd name="connsiteX4" fmla="*/ 260728 w 560984"/>
              <a:gd name="connsiteY4" fmla="*/ 0 h 762057"/>
              <a:gd name="connsiteX5" fmla="*/ 244221 w 560984"/>
              <a:gd name="connsiteY5" fmla="*/ 9525 h 762057"/>
              <a:gd name="connsiteX6" fmla="*/ 307762 w 560984"/>
              <a:gd name="connsiteY6" fmla="*/ 119567 h 762057"/>
              <a:gd name="connsiteX7" fmla="*/ 236525 w 560984"/>
              <a:gd name="connsiteY7" fmla="*/ 242945 h 762057"/>
              <a:gd name="connsiteX8" fmla="*/ 93412 w 560984"/>
              <a:gd name="connsiteY8" fmla="*/ 242945 h 762057"/>
              <a:gd name="connsiteX9" fmla="*/ 30175 w 560984"/>
              <a:gd name="connsiteY9" fmla="*/ 133407 h 762057"/>
              <a:gd name="connsiteX10" fmla="*/ 13668 w 560984"/>
              <a:gd name="connsiteY10" fmla="*/ 142932 h 762057"/>
              <a:gd name="connsiteX11" fmla="*/ 76952 w 560984"/>
              <a:gd name="connsiteY11" fmla="*/ 252546 h 762057"/>
              <a:gd name="connsiteX12" fmla="*/ 0 w 560984"/>
              <a:gd name="connsiteY12" fmla="*/ 385820 h 762057"/>
              <a:gd name="connsiteX13" fmla="*/ 82496 w 560984"/>
              <a:gd name="connsiteY13" fmla="*/ 528695 h 762057"/>
              <a:gd name="connsiteX14" fmla="*/ 236525 w 560984"/>
              <a:gd name="connsiteY14" fmla="*/ 528695 h 762057"/>
              <a:gd name="connsiteX15" fmla="*/ 313515 w 560984"/>
              <a:gd name="connsiteY15" fmla="*/ 662045 h 762057"/>
              <a:gd name="connsiteX16" fmla="*/ 467354 w 560984"/>
              <a:gd name="connsiteY16" fmla="*/ 662045 h 762057"/>
              <a:gd name="connsiteX17" fmla="*/ 525094 w 560984"/>
              <a:gd name="connsiteY17" fmla="*/ 762057 h 762057"/>
              <a:gd name="connsiteX18" fmla="*/ 541601 w 560984"/>
              <a:gd name="connsiteY18" fmla="*/ 752532 h 762057"/>
              <a:gd name="connsiteX19" fmla="*/ 483927 w 560984"/>
              <a:gd name="connsiteY19" fmla="*/ 652634 h 762057"/>
              <a:gd name="connsiteX20" fmla="*/ 560984 w 560984"/>
              <a:gd name="connsiteY20" fmla="*/ 519170 h 762057"/>
              <a:gd name="connsiteX21" fmla="*/ 324517 w 560984"/>
              <a:gd name="connsiteY21" fmla="*/ 128645 h 762057"/>
              <a:gd name="connsiteX22" fmla="*/ 467496 w 560984"/>
              <a:gd name="connsiteY22" fmla="*/ 128645 h 762057"/>
              <a:gd name="connsiteX23" fmla="*/ 538934 w 560984"/>
              <a:gd name="connsiteY23" fmla="*/ 252470 h 762057"/>
              <a:gd name="connsiteX24" fmla="*/ 467496 w 560984"/>
              <a:gd name="connsiteY24" fmla="*/ 376295 h 762057"/>
              <a:gd name="connsiteX25" fmla="*/ 324517 w 560984"/>
              <a:gd name="connsiteY25" fmla="*/ 376295 h 762057"/>
              <a:gd name="connsiteX26" fmla="*/ 253022 w 560984"/>
              <a:gd name="connsiteY26" fmla="*/ 252470 h 762057"/>
              <a:gd name="connsiteX27" fmla="*/ 22003 w 560984"/>
              <a:gd name="connsiteY27" fmla="*/ 385820 h 762057"/>
              <a:gd name="connsiteX28" fmla="*/ 93488 w 560984"/>
              <a:gd name="connsiteY28" fmla="*/ 261995 h 762057"/>
              <a:gd name="connsiteX29" fmla="*/ 236468 w 560984"/>
              <a:gd name="connsiteY29" fmla="*/ 261995 h 762057"/>
              <a:gd name="connsiteX30" fmla="*/ 307962 w 560984"/>
              <a:gd name="connsiteY30" fmla="*/ 385820 h 762057"/>
              <a:gd name="connsiteX31" fmla="*/ 236468 w 560984"/>
              <a:gd name="connsiteY31" fmla="*/ 509645 h 762057"/>
              <a:gd name="connsiteX32" fmla="*/ 93488 w 560984"/>
              <a:gd name="connsiteY32" fmla="*/ 509645 h 762057"/>
              <a:gd name="connsiteX33" fmla="*/ 253022 w 560984"/>
              <a:gd name="connsiteY33" fmla="*/ 519170 h 762057"/>
              <a:gd name="connsiteX34" fmla="*/ 324517 w 560984"/>
              <a:gd name="connsiteY34" fmla="*/ 395345 h 762057"/>
              <a:gd name="connsiteX35" fmla="*/ 467496 w 560984"/>
              <a:gd name="connsiteY35" fmla="*/ 395345 h 762057"/>
              <a:gd name="connsiteX36" fmla="*/ 538934 w 560984"/>
              <a:gd name="connsiteY36" fmla="*/ 519170 h 762057"/>
              <a:gd name="connsiteX37" fmla="*/ 467496 w 560984"/>
              <a:gd name="connsiteY37" fmla="*/ 642995 h 762057"/>
              <a:gd name="connsiteX38" fmla="*/ 324517 w 560984"/>
              <a:gd name="connsiteY38" fmla="*/ 642995 h 762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560984" h="762057">
                <a:moveTo>
                  <a:pt x="483994" y="385820"/>
                </a:moveTo>
                <a:lnTo>
                  <a:pt x="560984" y="252470"/>
                </a:lnTo>
                <a:lnTo>
                  <a:pt x="478488" y="109595"/>
                </a:lnTo>
                <a:lnTo>
                  <a:pt x="324002" y="109595"/>
                </a:lnTo>
                <a:lnTo>
                  <a:pt x="260728" y="0"/>
                </a:lnTo>
                <a:lnTo>
                  <a:pt x="244221" y="9525"/>
                </a:lnTo>
                <a:lnTo>
                  <a:pt x="307762" y="119567"/>
                </a:lnTo>
                <a:lnTo>
                  <a:pt x="236525" y="242945"/>
                </a:lnTo>
                <a:lnTo>
                  <a:pt x="93412" y="242945"/>
                </a:lnTo>
                <a:lnTo>
                  <a:pt x="30175" y="133407"/>
                </a:lnTo>
                <a:lnTo>
                  <a:pt x="13668" y="142932"/>
                </a:lnTo>
                <a:lnTo>
                  <a:pt x="76952" y="252546"/>
                </a:lnTo>
                <a:lnTo>
                  <a:pt x="0" y="385820"/>
                </a:lnTo>
                <a:lnTo>
                  <a:pt x="82496" y="528695"/>
                </a:lnTo>
                <a:lnTo>
                  <a:pt x="236525" y="528695"/>
                </a:lnTo>
                <a:lnTo>
                  <a:pt x="313515" y="662045"/>
                </a:lnTo>
                <a:lnTo>
                  <a:pt x="467354" y="662045"/>
                </a:lnTo>
                <a:lnTo>
                  <a:pt x="525094" y="762057"/>
                </a:lnTo>
                <a:lnTo>
                  <a:pt x="541601" y="752532"/>
                </a:lnTo>
                <a:lnTo>
                  <a:pt x="483927" y="652634"/>
                </a:lnTo>
                <a:lnTo>
                  <a:pt x="560984" y="519170"/>
                </a:lnTo>
                <a:close/>
                <a:moveTo>
                  <a:pt x="324517" y="128645"/>
                </a:moveTo>
                <a:lnTo>
                  <a:pt x="467496" y="128645"/>
                </a:lnTo>
                <a:lnTo>
                  <a:pt x="538934" y="252470"/>
                </a:lnTo>
                <a:lnTo>
                  <a:pt x="467496" y="376295"/>
                </a:lnTo>
                <a:lnTo>
                  <a:pt x="324517" y="376295"/>
                </a:lnTo>
                <a:lnTo>
                  <a:pt x="253022" y="252470"/>
                </a:lnTo>
                <a:close/>
                <a:moveTo>
                  <a:pt x="22003" y="385820"/>
                </a:moveTo>
                <a:lnTo>
                  <a:pt x="93488" y="261995"/>
                </a:lnTo>
                <a:lnTo>
                  <a:pt x="236468" y="261995"/>
                </a:lnTo>
                <a:lnTo>
                  <a:pt x="307962" y="385820"/>
                </a:lnTo>
                <a:lnTo>
                  <a:pt x="236468" y="509645"/>
                </a:lnTo>
                <a:lnTo>
                  <a:pt x="93488" y="509645"/>
                </a:lnTo>
                <a:close/>
                <a:moveTo>
                  <a:pt x="253022" y="519170"/>
                </a:moveTo>
                <a:lnTo>
                  <a:pt x="324517" y="395345"/>
                </a:lnTo>
                <a:lnTo>
                  <a:pt x="467496" y="395345"/>
                </a:lnTo>
                <a:lnTo>
                  <a:pt x="538934" y="519170"/>
                </a:lnTo>
                <a:lnTo>
                  <a:pt x="467496" y="642995"/>
                </a:lnTo>
                <a:lnTo>
                  <a:pt x="324517" y="642995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bg1"/>
            </a:solidFill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70" dirty="0">
              <a:latin typeface="Avenir Next" panose="020B0503020202020204" pitchFamily="34" charset="0"/>
            </a:endParaRPr>
          </a:p>
        </p:txBody>
      </p:sp>
      <p:grpSp>
        <p:nvGrpSpPr>
          <p:cNvPr id="530" name="Graphic 2" descr="Cell Tower">
            <a:extLst>
              <a:ext uri="{FF2B5EF4-FFF2-40B4-BE49-F238E27FC236}">
                <a16:creationId xmlns:a16="http://schemas.microsoft.com/office/drawing/2014/main" id="{7913D72E-0894-EBB0-1FD4-F14CB75F700C}"/>
              </a:ext>
            </a:extLst>
          </p:cNvPr>
          <p:cNvGrpSpPr>
            <a:grpSpLocks/>
          </p:cNvGrpSpPr>
          <p:nvPr/>
        </p:nvGrpSpPr>
        <p:grpSpPr bwMode="auto">
          <a:xfrm>
            <a:off x="1027612" y="4440556"/>
            <a:ext cx="482600" cy="512762"/>
            <a:chOff x="2516569" y="4040506"/>
            <a:chExt cx="914400" cy="914400"/>
          </a:xfrm>
        </p:grpSpPr>
        <p:sp>
          <p:nvSpPr>
            <p:cNvPr id="531" name="Freeform 530">
              <a:extLst>
                <a:ext uri="{FF2B5EF4-FFF2-40B4-BE49-F238E27FC236}">
                  <a16:creationId xmlns:a16="http://schemas.microsoft.com/office/drawing/2014/main" id="{E78EFC91-443A-45DF-F37D-D3413D5A6180}"/>
                </a:ext>
              </a:extLst>
            </p:cNvPr>
            <p:cNvSpPr/>
            <p:nvPr/>
          </p:nvSpPr>
          <p:spPr>
            <a:xfrm>
              <a:off x="2865485" y="4213194"/>
              <a:ext cx="60158" cy="161366"/>
            </a:xfrm>
            <a:custGeom>
              <a:avLst/>
              <a:gdLst>
                <a:gd name="connsiteX0" fmla="*/ 33343 w 60012"/>
                <a:gd name="connsiteY0" fmla="*/ 161925 h 161925"/>
                <a:gd name="connsiteX1" fmla="*/ 60013 w 60012"/>
                <a:gd name="connsiteY1" fmla="*/ 135255 h 161925"/>
                <a:gd name="connsiteX2" fmla="*/ 60013 w 60012"/>
                <a:gd name="connsiteY2" fmla="*/ 26670 h 161925"/>
                <a:gd name="connsiteX3" fmla="*/ 33343 w 60012"/>
                <a:gd name="connsiteY3" fmla="*/ 0 h 161925"/>
                <a:gd name="connsiteX4" fmla="*/ 33343 w 60012"/>
                <a:gd name="connsiteY4" fmla="*/ 1619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2" h="161925">
                  <a:moveTo>
                    <a:pt x="33343" y="161925"/>
                  </a:moveTo>
                  <a:lnTo>
                    <a:pt x="60013" y="135255"/>
                  </a:lnTo>
                  <a:cubicBezTo>
                    <a:pt x="30788" y="104960"/>
                    <a:pt x="30788" y="56965"/>
                    <a:pt x="60013" y="26670"/>
                  </a:cubicBezTo>
                  <a:lnTo>
                    <a:pt x="33343" y="0"/>
                  </a:lnTo>
                  <a:cubicBezTo>
                    <a:pt x="-11114" y="44821"/>
                    <a:pt x="-11114" y="117104"/>
                    <a:pt x="33343" y="161925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532" name="Freeform 531">
              <a:extLst>
                <a:ext uri="{FF2B5EF4-FFF2-40B4-BE49-F238E27FC236}">
                  <a16:creationId xmlns:a16="http://schemas.microsoft.com/office/drawing/2014/main" id="{7CFB9C72-7F28-E09F-F126-88006FA42DC8}"/>
                </a:ext>
              </a:extLst>
            </p:cNvPr>
            <p:cNvSpPr/>
            <p:nvPr/>
          </p:nvSpPr>
          <p:spPr>
            <a:xfrm>
              <a:off x="2787280" y="4159406"/>
              <a:ext cx="84221" cy="268941"/>
            </a:xfrm>
            <a:custGeom>
              <a:avLst/>
              <a:gdLst>
                <a:gd name="connsiteX0" fmla="*/ 56191 w 82860"/>
                <a:gd name="connsiteY0" fmla="*/ 268605 h 268604"/>
                <a:gd name="connsiteX1" fmla="*/ 82861 w 82860"/>
                <a:gd name="connsiteY1" fmla="*/ 241935 h 268604"/>
                <a:gd name="connsiteX2" fmla="*/ 82178 w 82860"/>
                <a:gd name="connsiteY2" fmla="*/ 27353 h 268604"/>
                <a:gd name="connsiteX3" fmla="*/ 82861 w 82860"/>
                <a:gd name="connsiteY3" fmla="*/ 26670 h 268604"/>
                <a:gd name="connsiteX4" fmla="*/ 56191 w 82860"/>
                <a:gd name="connsiteY4" fmla="*/ 0 h 268604"/>
                <a:gd name="connsiteX5" fmla="*/ 54292 w 82860"/>
                <a:gd name="connsiteY5" fmla="*/ 266707 h 268604"/>
                <a:gd name="connsiteX6" fmla="*/ 56191 w 82860"/>
                <a:gd name="connsiteY6" fmla="*/ 268605 h 26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860" h="268604">
                  <a:moveTo>
                    <a:pt x="56191" y="268605"/>
                  </a:moveTo>
                  <a:lnTo>
                    <a:pt x="82861" y="241935"/>
                  </a:lnTo>
                  <a:cubicBezTo>
                    <a:pt x="23417" y="182869"/>
                    <a:pt x="23111" y="86797"/>
                    <a:pt x="82178" y="27353"/>
                  </a:cubicBezTo>
                  <a:cubicBezTo>
                    <a:pt x="82404" y="27124"/>
                    <a:pt x="82632" y="26897"/>
                    <a:pt x="82861" y="26670"/>
                  </a:cubicBezTo>
                  <a:lnTo>
                    <a:pt x="56191" y="0"/>
                  </a:lnTo>
                  <a:cubicBezTo>
                    <a:pt x="-17983" y="73125"/>
                    <a:pt x="-18832" y="192534"/>
                    <a:pt x="54292" y="266707"/>
                  </a:cubicBezTo>
                  <a:cubicBezTo>
                    <a:pt x="54921" y="267344"/>
                    <a:pt x="55553" y="267976"/>
                    <a:pt x="56191" y="268605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533" name="Freeform 532">
              <a:extLst>
                <a:ext uri="{FF2B5EF4-FFF2-40B4-BE49-F238E27FC236}">
                  <a16:creationId xmlns:a16="http://schemas.microsoft.com/office/drawing/2014/main" id="{909912DA-F546-FEA5-5164-8321BB574DCE}"/>
                </a:ext>
              </a:extLst>
            </p:cNvPr>
            <p:cNvSpPr/>
            <p:nvPr/>
          </p:nvSpPr>
          <p:spPr>
            <a:xfrm>
              <a:off x="2712083" y="4105617"/>
              <a:ext cx="105275" cy="376519"/>
            </a:xfrm>
            <a:custGeom>
              <a:avLst/>
              <a:gdLst>
                <a:gd name="connsiteX0" fmla="*/ 104794 w 104793"/>
                <a:gd name="connsiteY0" fmla="*/ 350520 h 377189"/>
                <a:gd name="connsiteX1" fmla="*/ 104794 w 104793"/>
                <a:gd name="connsiteY1" fmla="*/ 26670 h 377189"/>
                <a:gd name="connsiteX2" fmla="*/ 78124 w 104793"/>
                <a:gd name="connsiteY2" fmla="*/ 0 h 377189"/>
                <a:gd name="connsiteX3" fmla="*/ 78105 w 104793"/>
                <a:gd name="connsiteY3" fmla="*/ 377171 h 377189"/>
                <a:gd name="connsiteX4" fmla="*/ 78124 w 104793"/>
                <a:gd name="connsiteY4" fmla="*/ 377190 h 37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93" h="377189">
                  <a:moveTo>
                    <a:pt x="104794" y="350520"/>
                  </a:moveTo>
                  <a:cubicBezTo>
                    <a:pt x="15879" y="260879"/>
                    <a:pt x="15879" y="116311"/>
                    <a:pt x="104794" y="26670"/>
                  </a:cubicBezTo>
                  <a:lnTo>
                    <a:pt x="78124" y="0"/>
                  </a:lnTo>
                  <a:cubicBezTo>
                    <a:pt x="-26034" y="104147"/>
                    <a:pt x="-26042" y="273012"/>
                    <a:pt x="78105" y="377171"/>
                  </a:cubicBezTo>
                  <a:cubicBezTo>
                    <a:pt x="78112" y="377178"/>
                    <a:pt x="78117" y="377183"/>
                    <a:pt x="78124" y="37719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534" name="Freeform 533">
              <a:extLst>
                <a:ext uri="{FF2B5EF4-FFF2-40B4-BE49-F238E27FC236}">
                  <a16:creationId xmlns:a16="http://schemas.microsoft.com/office/drawing/2014/main" id="{BE65EEE7-BC40-4294-7921-E754FF443A1D}"/>
                </a:ext>
              </a:extLst>
            </p:cNvPr>
            <p:cNvSpPr/>
            <p:nvPr/>
          </p:nvSpPr>
          <p:spPr>
            <a:xfrm>
              <a:off x="3033927" y="4213194"/>
              <a:ext cx="60158" cy="161366"/>
            </a:xfrm>
            <a:custGeom>
              <a:avLst/>
              <a:gdLst>
                <a:gd name="connsiteX0" fmla="*/ 26670 w 60012"/>
                <a:gd name="connsiteY0" fmla="*/ 161925 h 161925"/>
                <a:gd name="connsiteX1" fmla="*/ 26670 w 60012"/>
                <a:gd name="connsiteY1" fmla="*/ 0 h 161925"/>
                <a:gd name="connsiteX2" fmla="*/ 0 w 60012"/>
                <a:gd name="connsiteY2" fmla="*/ 26670 h 161925"/>
                <a:gd name="connsiteX3" fmla="*/ 21907 w 60012"/>
                <a:gd name="connsiteY3" fmla="*/ 80963 h 161925"/>
                <a:gd name="connsiteX4" fmla="*/ 0 w 60012"/>
                <a:gd name="connsiteY4" fmla="*/ 13525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12" h="161925">
                  <a:moveTo>
                    <a:pt x="26670" y="161925"/>
                  </a:moveTo>
                  <a:cubicBezTo>
                    <a:pt x="71127" y="117104"/>
                    <a:pt x="71127" y="44821"/>
                    <a:pt x="26670" y="0"/>
                  </a:cubicBezTo>
                  <a:lnTo>
                    <a:pt x="0" y="26670"/>
                  </a:lnTo>
                  <a:cubicBezTo>
                    <a:pt x="14241" y="41128"/>
                    <a:pt x="22126" y="60669"/>
                    <a:pt x="21907" y="80963"/>
                  </a:cubicBezTo>
                  <a:cubicBezTo>
                    <a:pt x="21941" y="101219"/>
                    <a:pt x="14083" y="120693"/>
                    <a:pt x="0" y="135255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535" name="Freeform 534">
              <a:extLst>
                <a:ext uri="{FF2B5EF4-FFF2-40B4-BE49-F238E27FC236}">
                  <a16:creationId xmlns:a16="http://schemas.microsoft.com/office/drawing/2014/main" id="{B84EE59C-F143-6A6E-CEEB-6B141EB7A64A}"/>
                </a:ext>
              </a:extLst>
            </p:cNvPr>
            <p:cNvSpPr/>
            <p:nvPr/>
          </p:nvSpPr>
          <p:spPr>
            <a:xfrm>
              <a:off x="3085062" y="4159406"/>
              <a:ext cx="84221" cy="268941"/>
            </a:xfrm>
            <a:custGeom>
              <a:avLst/>
              <a:gdLst>
                <a:gd name="connsiteX0" fmla="*/ 0 w 82860"/>
                <a:gd name="connsiteY0" fmla="*/ 241935 h 268604"/>
                <a:gd name="connsiteX1" fmla="*/ 26670 w 82860"/>
                <a:gd name="connsiteY1" fmla="*/ 268605 h 268604"/>
                <a:gd name="connsiteX2" fmla="*/ 28568 w 82860"/>
                <a:gd name="connsiteY2" fmla="*/ 1898 h 268604"/>
                <a:gd name="connsiteX3" fmla="*/ 26670 w 82860"/>
                <a:gd name="connsiteY3" fmla="*/ 0 h 268604"/>
                <a:gd name="connsiteX4" fmla="*/ 0 w 82860"/>
                <a:gd name="connsiteY4" fmla="*/ 26670 h 268604"/>
                <a:gd name="connsiteX5" fmla="*/ 683 w 82860"/>
                <a:gd name="connsiteY5" fmla="*/ 241252 h 268604"/>
                <a:gd name="connsiteX6" fmla="*/ 0 w 82860"/>
                <a:gd name="connsiteY6" fmla="*/ 241935 h 26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860" h="268604">
                  <a:moveTo>
                    <a:pt x="0" y="241935"/>
                  </a:moveTo>
                  <a:lnTo>
                    <a:pt x="26670" y="268605"/>
                  </a:lnTo>
                  <a:cubicBezTo>
                    <a:pt x="100843" y="195480"/>
                    <a:pt x="101693" y="76071"/>
                    <a:pt x="28568" y="1898"/>
                  </a:cubicBezTo>
                  <a:cubicBezTo>
                    <a:pt x="27940" y="1261"/>
                    <a:pt x="27307" y="629"/>
                    <a:pt x="26670" y="0"/>
                  </a:cubicBezTo>
                  <a:lnTo>
                    <a:pt x="0" y="26670"/>
                  </a:lnTo>
                  <a:cubicBezTo>
                    <a:pt x="59444" y="85736"/>
                    <a:pt x="59749" y="181808"/>
                    <a:pt x="683" y="241252"/>
                  </a:cubicBezTo>
                  <a:cubicBezTo>
                    <a:pt x="456" y="241481"/>
                    <a:pt x="229" y="241708"/>
                    <a:pt x="0" y="241935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 dirty="0">
                <a:latin typeface="Avenir Next" panose="020B0503020202020204" pitchFamily="34" charset="0"/>
              </a:endParaRPr>
            </a:p>
          </p:txBody>
        </p:sp>
        <p:sp>
          <p:nvSpPr>
            <p:cNvPr id="536" name="Freeform 535">
              <a:extLst>
                <a:ext uri="{FF2B5EF4-FFF2-40B4-BE49-F238E27FC236}">
                  <a16:creationId xmlns:a16="http://schemas.microsoft.com/office/drawing/2014/main" id="{B6443090-85D5-9A36-F4BA-901C93079D23}"/>
                </a:ext>
              </a:extLst>
            </p:cNvPr>
            <p:cNvSpPr/>
            <p:nvPr/>
          </p:nvSpPr>
          <p:spPr>
            <a:xfrm>
              <a:off x="3139204" y="4105617"/>
              <a:ext cx="105275" cy="376519"/>
            </a:xfrm>
            <a:custGeom>
              <a:avLst/>
              <a:gdLst>
                <a:gd name="connsiteX0" fmla="*/ 0 w 104793"/>
                <a:gd name="connsiteY0" fmla="*/ 350520 h 377189"/>
                <a:gd name="connsiteX1" fmla="*/ 26670 w 104793"/>
                <a:gd name="connsiteY1" fmla="*/ 377190 h 377189"/>
                <a:gd name="connsiteX2" fmla="*/ 26689 w 104793"/>
                <a:gd name="connsiteY2" fmla="*/ 19 h 377189"/>
                <a:gd name="connsiteX3" fmla="*/ 26670 w 104793"/>
                <a:gd name="connsiteY3" fmla="*/ 0 h 377189"/>
                <a:gd name="connsiteX4" fmla="*/ 0 w 104793"/>
                <a:gd name="connsiteY4" fmla="*/ 26670 h 377189"/>
                <a:gd name="connsiteX5" fmla="*/ 0 w 104793"/>
                <a:gd name="connsiteY5" fmla="*/ 350520 h 37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93" h="377189">
                  <a:moveTo>
                    <a:pt x="0" y="350520"/>
                  </a:moveTo>
                  <a:lnTo>
                    <a:pt x="26670" y="377190"/>
                  </a:lnTo>
                  <a:cubicBezTo>
                    <a:pt x="130828" y="273043"/>
                    <a:pt x="130836" y="104178"/>
                    <a:pt x="26689" y="19"/>
                  </a:cubicBezTo>
                  <a:cubicBezTo>
                    <a:pt x="26683" y="13"/>
                    <a:pt x="26677" y="6"/>
                    <a:pt x="26670" y="0"/>
                  </a:cubicBezTo>
                  <a:lnTo>
                    <a:pt x="0" y="26670"/>
                  </a:lnTo>
                  <a:cubicBezTo>
                    <a:pt x="88915" y="116311"/>
                    <a:pt x="88915" y="260879"/>
                    <a:pt x="0" y="35052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>
                <a:latin typeface="Avenir Next" panose="020B0503020202020204" pitchFamily="34" charset="0"/>
              </a:endParaRPr>
            </a:p>
          </p:txBody>
        </p:sp>
        <p:sp>
          <p:nvSpPr>
            <p:cNvPr id="537" name="Freeform 536">
              <a:extLst>
                <a:ext uri="{FF2B5EF4-FFF2-40B4-BE49-F238E27FC236}">
                  <a16:creationId xmlns:a16="http://schemas.microsoft.com/office/drawing/2014/main" id="{86D9B62A-07C7-03A9-8B1D-2A5132A9A3AB}"/>
                </a:ext>
              </a:extLst>
            </p:cNvPr>
            <p:cNvSpPr/>
            <p:nvPr/>
          </p:nvSpPr>
          <p:spPr>
            <a:xfrm>
              <a:off x="2688020" y="4255659"/>
              <a:ext cx="580523" cy="631304"/>
            </a:xfrm>
            <a:custGeom>
              <a:avLst/>
              <a:gdLst>
                <a:gd name="connsiteX0" fmla="*/ 580631 w 580650"/>
                <a:gd name="connsiteY0" fmla="*/ 611687 h 633500"/>
                <a:gd name="connsiteX1" fmla="*/ 580631 w 580650"/>
                <a:gd name="connsiteY1" fmla="*/ 611687 h 633500"/>
                <a:gd name="connsiteX2" fmla="*/ 579012 w 580650"/>
                <a:gd name="connsiteY2" fmla="*/ 606830 h 633500"/>
                <a:gd name="connsiteX3" fmla="*/ 579012 w 580650"/>
                <a:gd name="connsiteY3" fmla="*/ 606258 h 633500"/>
                <a:gd name="connsiteX4" fmla="*/ 307550 w 580650"/>
                <a:gd name="connsiteY4" fmla="*/ 77621 h 633500"/>
                <a:gd name="connsiteX5" fmla="*/ 304406 w 580650"/>
                <a:gd name="connsiteY5" fmla="*/ 73430 h 633500"/>
                <a:gd name="connsiteX6" fmla="*/ 325439 w 580650"/>
                <a:gd name="connsiteY6" fmla="*/ 23822 h 633500"/>
                <a:gd name="connsiteX7" fmla="*/ 275831 w 580650"/>
                <a:gd name="connsiteY7" fmla="*/ 2790 h 633500"/>
                <a:gd name="connsiteX8" fmla="*/ 254799 w 580650"/>
                <a:gd name="connsiteY8" fmla="*/ 52397 h 633500"/>
                <a:gd name="connsiteX9" fmla="*/ 275831 w 580650"/>
                <a:gd name="connsiteY9" fmla="*/ 73430 h 633500"/>
                <a:gd name="connsiteX10" fmla="*/ 273260 w 580650"/>
                <a:gd name="connsiteY10" fmla="*/ 77144 h 633500"/>
                <a:gd name="connsiteX11" fmla="*/ 1797 w 580650"/>
                <a:gd name="connsiteY11" fmla="*/ 605782 h 633500"/>
                <a:gd name="connsiteX12" fmla="*/ 1797 w 580650"/>
                <a:gd name="connsiteY12" fmla="*/ 606353 h 633500"/>
                <a:gd name="connsiteX13" fmla="*/ 178 w 580650"/>
                <a:gd name="connsiteY13" fmla="*/ 611211 h 633500"/>
                <a:gd name="connsiteX14" fmla="*/ 178 w 580650"/>
                <a:gd name="connsiteY14" fmla="*/ 611211 h 633500"/>
                <a:gd name="connsiteX15" fmla="*/ 178 w 580650"/>
                <a:gd name="connsiteY15" fmla="*/ 615974 h 633500"/>
                <a:gd name="connsiteX16" fmla="*/ 178 w 580650"/>
                <a:gd name="connsiteY16" fmla="*/ 617117 h 633500"/>
                <a:gd name="connsiteX17" fmla="*/ 1511 w 580650"/>
                <a:gd name="connsiteY17" fmla="*/ 621593 h 633500"/>
                <a:gd name="connsiteX18" fmla="*/ 1511 w 580650"/>
                <a:gd name="connsiteY18" fmla="*/ 621593 h 633500"/>
                <a:gd name="connsiteX19" fmla="*/ 2845 w 580650"/>
                <a:gd name="connsiteY19" fmla="*/ 623689 h 633500"/>
                <a:gd name="connsiteX20" fmla="*/ 4750 w 580650"/>
                <a:gd name="connsiteY20" fmla="*/ 626451 h 633500"/>
                <a:gd name="connsiteX21" fmla="*/ 4750 w 580650"/>
                <a:gd name="connsiteY21" fmla="*/ 626451 h 633500"/>
                <a:gd name="connsiteX22" fmla="*/ 6274 w 580650"/>
                <a:gd name="connsiteY22" fmla="*/ 627594 h 633500"/>
                <a:gd name="connsiteX23" fmla="*/ 8941 w 580650"/>
                <a:gd name="connsiteY23" fmla="*/ 629690 h 633500"/>
                <a:gd name="connsiteX24" fmla="*/ 11227 w 580650"/>
                <a:gd name="connsiteY24" fmla="*/ 630737 h 633500"/>
                <a:gd name="connsiteX25" fmla="*/ 14084 w 580650"/>
                <a:gd name="connsiteY25" fmla="*/ 631785 h 633500"/>
                <a:gd name="connsiteX26" fmla="*/ 16561 w 580650"/>
                <a:gd name="connsiteY26" fmla="*/ 631785 h 633500"/>
                <a:gd name="connsiteX27" fmla="*/ 18656 w 580650"/>
                <a:gd name="connsiteY27" fmla="*/ 633500 h 633500"/>
                <a:gd name="connsiteX28" fmla="*/ 19990 w 580650"/>
                <a:gd name="connsiteY28" fmla="*/ 633500 h 633500"/>
                <a:gd name="connsiteX29" fmla="*/ 21228 w 580650"/>
                <a:gd name="connsiteY29" fmla="*/ 633500 h 633500"/>
                <a:gd name="connsiteX30" fmla="*/ 26276 w 580650"/>
                <a:gd name="connsiteY30" fmla="*/ 632166 h 633500"/>
                <a:gd name="connsiteX31" fmla="*/ 290309 w 580650"/>
                <a:gd name="connsiteY31" fmla="*/ 516056 h 633500"/>
                <a:gd name="connsiteX32" fmla="*/ 553961 w 580650"/>
                <a:gd name="connsiteY32" fmla="*/ 631880 h 633500"/>
                <a:gd name="connsiteX33" fmla="*/ 561581 w 580650"/>
                <a:gd name="connsiteY33" fmla="*/ 633500 h 633500"/>
                <a:gd name="connsiteX34" fmla="*/ 561581 w 580650"/>
                <a:gd name="connsiteY34" fmla="*/ 633500 h 633500"/>
                <a:gd name="connsiteX35" fmla="*/ 566249 w 580650"/>
                <a:gd name="connsiteY35" fmla="*/ 632833 h 633500"/>
                <a:gd name="connsiteX36" fmla="*/ 567582 w 580650"/>
                <a:gd name="connsiteY36" fmla="*/ 632833 h 633500"/>
                <a:gd name="connsiteX37" fmla="*/ 571106 w 580650"/>
                <a:gd name="connsiteY37" fmla="*/ 631214 h 633500"/>
                <a:gd name="connsiteX38" fmla="*/ 571964 w 580650"/>
                <a:gd name="connsiteY38" fmla="*/ 630642 h 633500"/>
                <a:gd name="connsiteX39" fmla="*/ 575393 w 580650"/>
                <a:gd name="connsiteY39" fmla="*/ 627880 h 633500"/>
                <a:gd name="connsiteX40" fmla="*/ 575393 w 580650"/>
                <a:gd name="connsiteY40" fmla="*/ 627880 h 633500"/>
                <a:gd name="connsiteX41" fmla="*/ 577393 w 580650"/>
                <a:gd name="connsiteY41" fmla="*/ 624927 h 633500"/>
                <a:gd name="connsiteX42" fmla="*/ 578536 w 580650"/>
                <a:gd name="connsiteY42" fmla="*/ 623022 h 633500"/>
                <a:gd name="connsiteX43" fmla="*/ 578536 w 580650"/>
                <a:gd name="connsiteY43" fmla="*/ 623022 h 633500"/>
                <a:gd name="connsiteX44" fmla="*/ 579869 w 580650"/>
                <a:gd name="connsiteY44" fmla="*/ 618450 h 633500"/>
                <a:gd name="connsiteX45" fmla="*/ 579869 w 580650"/>
                <a:gd name="connsiteY45" fmla="*/ 617402 h 633500"/>
                <a:gd name="connsiteX46" fmla="*/ 580631 w 580650"/>
                <a:gd name="connsiteY46" fmla="*/ 611687 h 633500"/>
                <a:gd name="connsiteX47" fmla="*/ 418706 w 580650"/>
                <a:gd name="connsiteY47" fmla="*/ 377849 h 633500"/>
                <a:gd name="connsiteX48" fmla="*/ 322504 w 580650"/>
                <a:gd name="connsiteY48" fmla="*/ 312793 h 633500"/>
                <a:gd name="connsiteX49" fmla="*/ 368891 w 580650"/>
                <a:gd name="connsiteY49" fmla="*/ 281075 h 633500"/>
                <a:gd name="connsiteX50" fmla="*/ 290119 w 580650"/>
                <a:gd name="connsiteY50" fmla="*/ 127532 h 633500"/>
                <a:gd name="connsiteX51" fmla="*/ 351365 w 580650"/>
                <a:gd name="connsiteY51" fmla="*/ 246689 h 633500"/>
                <a:gd name="connsiteX52" fmla="*/ 288690 w 580650"/>
                <a:gd name="connsiteY52" fmla="*/ 289838 h 633500"/>
                <a:gd name="connsiteX53" fmla="*/ 231540 w 580650"/>
                <a:gd name="connsiteY53" fmla="*/ 251738 h 633500"/>
                <a:gd name="connsiteX54" fmla="*/ 227540 w 580650"/>
                <a:gd name="connsiteY54" fmla="*/ 249642 h 633500"/>
                <a:gd name="connsiteX55" fmla="*/ 210299 w 580650"/>
                <a:gd name="connsiteY55" fmla="*/ 282884 h 633500"/>
                <a:gd name="connsiteX56" fmla="*/ 254972 w 580650"/>
                <a:gd name="connsiteY56" fmla="*/ 313079 h 633500"/>
                <a:gd name="connsiteX57" fmla="*/ 161531 w 580650"/>
                <a:gd name="connsiteY57" fmla="*/ 377182 h 633500"/>
                <a:gd name="connsiteX58" fmla="*/ 60090 w 580650"/>
                <a:gd name="connsiteY58" fmla="*/ 575492 h 633500"/>
                <a:gd name="connsiteX59" fmla="*/ 127337 w 580650"/>
                <a:gd name="connsiteY59" fmla="*/ 444428 h 633500"/>
                <a:gd name="connsiteX60" fmla="*/ 242875 w 580650"/>
                <a:gd name="connsiteY60" fmla="*/ 495197 h 633500"/>
                <a:gd name="connsiteX61" fmla="*/ 166675 w 580650"/>
                <a:gd name="connsiteY61" fmla="*/ 420140 h 633500"/>
                <a:gd name="connsiteX62" fmla="*/ 288881 w 580650"/>
                <a:gd name="connsiteY62" fmla="*/ 336034 h 633500"/>
                <a:gd name="connsiteX63" fmla="*/ 413468 w 580650"/>
                <a:gd name="connsiteY63" fmla="*/ 420330 h 633500"/>
                <a:gd name="connsiteX64" fmla="*/ 290309 w 580650"/>
                <a:gd name="connsiteY64" fmla="*/ 474432 h 633500"/>
                <a:gd name="connsiteX65" fmla="*/ 490525 w 580650"/>
                <a:gd name="connsiteY65" fmla="*/ 562443 h 633500"/>
                <a:gd name="connsiteX66" fmla="*/ 337649 w 580650"/>
                <a:gd name="connsiteY66" fmla="*/ 495292 h 633500"/>
                <a:gd name="connsiteX67" fmla="*/ 452996 w 580650"/>
                <a:gd name="connsiteY67" fmla="*/ 444619 h 633500"/>
                <a:gd name="connsiteX68" fmla="*/ 520148 w 580650"/>
                <a:gd name="connsiteY68" fmla="*/ 575397 h 6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580650" h="633500">
                  <a:moveTo>
                    <a:pt x="580631" y="611687"/>
                  </a:moveTo>
                  <a:lnTo>
                    <a:pt x="580631" y="611687"/>
                  </a:lnTo>
                  <a:cubicBezTo>
                    <a:pt x="580338" y="609996"/>
                    <a:pt x="579792" y="608358"/>
                    <a:pt x="579012" y="606830"/>
                  </a:cubicBezTo>
                  <a:cubicBezTo>
                    <a:pt x="579012" y="606830"/>
                    <a:pt x="579012" y="606830"/>
                    <a:pt x="579012" y="606258"/>
                  </a:cubicBezTo>
                  <a:lnTo>
                    <a:pt x="307550" y="77621"/>
                  </a:lnTo>
                  <a:cubicBezTo>
                    <a:pt x="306723" y="76071"/>
                    <a:pt x="305663" y="74657"/>
                    <a:pt x="304406" y="73430"/>
                  </a:cubicBezTo>
                  <a:cubicBezTo>
                    <a:pt x="323913" y="65539"/>
                    <a:pt x="333329" y="43329"/>
                    <a:pt x="325439" y="23822"/>
                  </a:cubicBezTo>
                  <a:cubicBezTo>
                    <a:pt x="317548" y="4316"/>
                    <a:pt x="295338" y="-5100"/>
                    <a:pt x="275831" y="2790"/>
                  </a:cubicBezTo>
                  <a:cubicBezTo>
                    <a:pt x="256325" y="10681"/>
                    <a:pt x="246909" y="32891"/>
                    <a:pt x="254799" y="52397"/>
                  </a:cubicBezTo>
                  <a:cubicBezTo>
                    <a:pt x="258671" y="61968"/>
                    <a:pt x="266261" y="69558"/>
                    <a:pt x="275831" y="73430"/>
                  </a:cubicBezTo>
                  <a:cubicBezTo>
                    <a:pt x="274814" y="74549"/>
                    <a:pt x="273949" y="75798"/>
                    <a:pt x="273260" y="77144"/>
                  </a:cubicBezTo>
                  <a:lnTo>
                    <a:pt x="1797" y="605782"/>
                  </a:lnTo>
                  <a:cubicBezTo>
                    <a:pt x="1797" y="605782"/>
                    <a:pt x="1797" y="605782"/>
                    <a:pt x="1797" y="606353"/>
                  </a:cubicBezTo>
                  <a:cubicBezTo>
                    <a:pt x="1017" y="607882"/>
                    <a:pt x="471" y="609520"/>
                    <a:pt x="178" y="611211"/>
                  </a:cubicBezTo>
                  <a:lnTo>
                    <a:pt x="178" y="611211"/>
                  </a:lnTo>
                  <a:cubicBezTo>
                    <a:pt x="-59" y="612789"/>
                    <a:pt x="-59" y="614395"/>
                    <a:pt x="178" y="615974"/>
                  </a:cubicBezTo>
                  <a:cubicBezTo>
                    <a:pt x="178" y="615974"/>
                    <a:pt x="178" y="616736"/>
                    <a:pt x="178" y="617117"/>
                  </a:cubicBezTo>
                  <a:cubicBezTo>
                    <a:pt x="437" y="618658"/>
                    <a:pt x="885" y="620162"/>
                    <a:pt x="1511" y="621593"/>
                  </a:cubicBezTo>
                  <a:cubicBezTo>
                    <a:pt x="1511" y="621593"/>
                    <a:pt x="1511" y="621593"/>
                    <a:pt x="1511" y="621593"/>
                  </a:cubicBezTo>
                  <a:cubicBezTo>
                    <a:pt x="1511" y="621593"/>
                    <a:pt x="2464" y="622927"/>
                    <a:pt x="2845" y="623689"/>
                  </a:cubicBezTo>
                  <a:cubicBezTo>
                    <a:pt x="3425" y="624646"/>
                    <a:pt x="4061" y="625568"/>
                    <a:pt x="4750" y="626451"/>
                  </a:cubicBezTo>
                  <a:lnTo>
                    <a:pt x="4750" y="626451"/>
                  </a:lnTo>
                  <a:cubicBezTo>
                    <a:pt x="5235" y="626863"/>
                    <a:pt x="5743" y="627244"/>
                    <a:pt x="6274" y="627594"/>
                  </a:cubicBezTo>
                  <a:cubicBezTo>
                    <a:pt x="7097" y="628373"/>
                    <a:pt x="7989" y="629075"/>
                    <a:pt x="8941" y="629690"/>
                  </a:cubicBezTo>
                  <a:cubicBezTo>
                    <a:pt x="9685" y="630078"/>
                    <a:pt x="10448" y="630428"/>
                    <a:pt x="11227" y="630737"/>
                  </a:cubicBezTo>
                  <a:lnTo>
                    <a:pt x="14084" y="631785"/>
                  </a:lnTo>
                  <a:lnTo>
                    <a:pt x="16561" y="631785"/>
                  </a:lnTo>
                  <a:lnTo>
                    <a:pt x="18656" y="633500"/>
                  </a:lnTo>
                  <a:lnTo>
                    <a:pt x="19990" y="633500"/>
                  </a:lnTo>
                  <a:lnTo>
                    <a:pt x="21228" y="633500"/>
                  </a:lnTo>
                  <a:cubicBezTo>
                    <a:pt x="22973" y="633336"/>
                    <a:pt x="24679" y="632885"/>
                    <a:pt x="26276" y="632166"/>
                  </a:cubicBezTo>
                  <a:lnTo>
                    <a:pt x="290309" y="516056"/>
                  </a:lnTo>
                  <a:lnTo>
                    <a:pt x="553961" y="631880"/>
                  </a:lnTo>
                  <a:cubicBezTo>
                    <a:pt x="556353" y="632970"/>
                    <a:pt x="558953" y="633523"/>
                    <a:pt x="561581" y="633500"/>
                  </a:cubicBezTo>
                  <a:lnTo>
                    <a:pt x="561581" y="633500"/>
                  </a:lnTo>
                  <a:cubicBezTo>
                    <a:pt x="563159" y="633471"/>
                    <a:pt x="564727" y="633247"/>
                    <a:pt x="566249" y="632833"/>
                  </a:cubicBezTo>
                  <a:lnTo>
                    <a:pt x="567582" y="632833"/>
                  </a:lnTo>
                  <a:cubicBezTo>
                    <a:pt x="568792" y="632374"/>
                    <a:pt x="569970" y="631833"/>
                    <a:pt x="571106" y="631214"/>
                  </a:cubicBezTo>
                  <a:lnTo>
                    <a:pt x="571964" y="630642"/>
                  </a:lnTo>
                  <a:cubicBezTo>
                    <a:pt x="573210" y="629857"/>
                    <a:pt x="574360" y="628931"/>
                    <a:pt x="575393" y="627880"/>
                  </a:cubicBezTo>
                  <a:lnTo>
                    <a:pt x="575393" y="627880"/>
                  </a:lnTo>
                  <a:cubicBezTo>
                    <a:pt x="576136" y="626949"/>
                    <a:pt x="576804" y="625962"/>
                    <a:pt x="577393" y="624927"/>
                  </a:cubicBezTo>
                  <a:cubicBezTo>
                    <a:pt x="577808" y="624314"/>
                    <a:pt x="578190" y="623677"/>
                    <a:pt x="578536" y="623022"/>
                  </a:cubicBezTo>
                  <a:cubicBezTo>
                    <a:pt x="578536" y="623022"/>
                    <a:pt x="578536" y="623022"/>
                    <a:pt x="578536" y="623022"/>
                  </a:cubicBezTo>
                  <a:cubicBezTo>
                    <a:pt x="579180" y="621564"/>
                    <a:pt x="579628" y="620027"/>
                    <a:pt x="579869" y="618450"/>
                  </a:cubicBezTo>
                  <a:cubicBezTo>
                    <a:pt x="579869" y="618450"/>
                    <a:pt x="579869" y="617783"/>
                    <a:pt x="579869" y="617402"/>
                  </a:cubicBezTo>
                  <a:cubicBezTo>
                    <a:pt x="580468" y="615559"/>
                    <a:pt x="580726" y="613623"/>
                    <a:pt x="580631" y="611687"/>
                  </a:cubicBezTo>
                  <a:close/>
                  <a:moveTo>
                    <a:pt x="418706" y="377849"/>
                  </a:moveTo>
                  <a:lnTo>
                    <a:pt x="322504" y="312793"/>
                  </a:lnTo>
                  <a:lnTo>
                    <a:pt x="368891" y="281075"/>
                  </a:lnTo>
                  <a:close/>
                  <a:moveTo>
                    <a:pt x="290119" y="127532"/>
                  </a:moveTo>
                  <a:lnTo>
                    <a:pt x="351365" y="246689"/>
                  </a:lnTo>
                  <a:lnTo>
                    <a:pt x="288690" y="289838"/>
                  </a:lnTo>
                  <a:lnTo>
                    <a:pt x="231540" y="251738"/>
                  </a:lnTo>
                  <a:cubicBezTo>
                    <a:pt x="230300" y="250873"/>
                    <a:pt x="228956" y="250169"/>
                    <a:pt x="227540" y="249642"/>
                  </a:cubicBezTo>
                  <a:close/>
                  <a:moveTo>
                    <a:pt x="210299" y="282884"/>
                  </a:moveTo>
                  <a:lnTo>
                    <a:pt x="254972" y="313079"/>
                  </a:lnTo>
                  <a:lnTo>
                    <a:pt x="161531" y="377182"/>
                  </a:lnTo>
                  <a:close/>
                  <a:moveTo>
                    <a:pt x="60090" y="575492"/>
                  </a:moveTo>
                  <a:lnTo>
                    <a:pt x="127337" y="444428"/>
                  </a:lnTo>
                  <a:lnTo>
                    <a:pt x="242875" y="495197"/>
                  </a:lnTo>
                  <a:close/>
                  <a:moveTo>
                    <a:pt x="166675" y="420140"/>
                  </a:moveTo>
                  <a:lnTo>
                    <a:pt x="288881" y="336034"/>
                  </a:lnTo>
                  <a:lnTo>
                    <a:pt x="413468" y="420330"/>
                  </a:lnTo>
                  <a:lnTo>
                    <a:pt x="290309" y="474432"/>
                  </a:lnTo>
                  <a:close/>
                  <a:moveTo>
                    <a:pt x="490525" y="562443"/>
                  </a:moveTo>
                  <a:lnTo>
                    <a:pt x="337649" y="495292"/>
                  </a:lnTo>
                  <a:lnTo>
                    <a:pt x="452996" y="444619"/>
                  </a:lnTo>
                  <a:lnTo>
                    <a:pt x="520148" y="57539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0" dirty="0">
                <a:latin typeface="Avenir Next" panose="020B0503020202020204" pitchFamily="34" charset="0"/>
              </a:endParaRPr>
            </a:p>
          </p:txBody>
        </p:sp>
      </p:grpSp>
      <p:sp>
        <p:nvSpPr>
          <p:cNvPr id="538" name="TextBox 537">
            <a:extLst>
              <a:ext uri="{FF2B5EF4-FFF2-40B4-BE49-F238E27FC236}">
                <a16:creationId xmlns:a16="http://schemas.microsoft.com/office/drawing/2014/main" id="{36499E27-85B3-7670-D93E-D327BB5A179A}"/>
              </a:ext>
            </a:extLst>
          </p:cNvPr>
          <p:cNvSpPr txBox="1"/>
          <p:nvPr/>
        </p:nvSpPr>
        <p:spPr>
          <a:xfrm>
            <a:off x="418530" y="3646942"/>
            <a:ext cx="2303202" cy="4515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67" b="1" dirty="0">
                <a:solidFill>
                  <a:schemeClr val="bg2"/>
                </a:solidFill>
                <a:latin typeface="AvenirNext LT Pro Regular" panose="020B0504020202020204" pitchFamily="34" charset="77"/>
              </a:rPr>
              <a:t>Note: </a:t>
            </a:r>
            <a:r>
              <a:rPr lang="en-US" sz="1167" dirty="0">
                <a:solidFill>
                  <a:schemeClr val="bg2"/>
                </a:solidFill>
                <a:latin typeface="+mn-lt"/>
              </a:rPr>
              <a:t>PowerPoint’s</a:t>
            </a:r>
            <a:r>
              <a:rPr lang="en-US" sz="1167" dirty="0">
                <a:solidFill>
                  <a:schemeClr val="bg2"/>
                </a:solidFill>
                <a:latin typeface="AvenirNext LT Pro Regular" panose="020B0504020202020204" pitchFamily="34" charset="77"/>
              </a:rPr>
              <a:t> stock icons can be used in white:</a:t>
            </a:r>
          </a:p>
        </p:txBody>
      </p:sp>
      <p:grpSp>
        <p:nvGrpSpPr>
          <p:cNvPr id="539" name="Group 538">
            <a:extLst>
              <a:ext uri="{FF2B5EF4-FFF2-40B4-BE49-F238E27FC236}">
                <a16:creationId xmlns:a16="http://schemas.microsoft.com/office/drawing/2014/main" id="{A4BE7409-27A0-D8CB-FDB8-26CC85C59EF3}"/>
              </a:ext>
            </a:extLst>
          </p:cNvPr>
          <p:cNvGrpSpPr/>
          <p:nvPr/>
        </p:nvGrpSpPr>
        <p:grpSpPr>
          <a:xfrm>
            <a:off x="1277111" y="1125059"/>
            <a:ext cx="1127740" cy="811383"/>
            <a:chOff x="5625722" y="4330919"/>
            <a:chExt cx="1127740" cy="811383"/>
          </a:xfrm>
        </p:grpSpPr>
        <p:sp>
          <p:nvSpPr>
            <p:cNvPr id="540" name="TextBox 15">
              <a:extLst>
                <a:ext uri="{FF2B5EF4-FFF2-40B4-BE49-F238E27FC236}">
                  <a16:creationId xmlns:a16="http://schemas.microsoft.com/office/drawing/2014/main" id="{C6927377-E41B-8224-52DC-CFCC70AC8C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25722" y="4803748"/>
              <a:ext cx="112774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800" b="1" dirty="0">
                  <a:solidFill>
                    <a:schemeClr val="bg2"/>
                  </a:solidFill>
                  <a:latin typeface="+mj-lt"/>
                </a:rPr>
                <a:t>Monitoring Solutions</a:t>
              </a:r>
            </a:p>
          </p:txBody>
        </p:sp>
        <p:grpSp>
          <p:nvGrpSpPr>
            <p:cNvPr id="541" name="Graphic 205">
              <a:extLst>
                <a:ext uri="{FF2B5EF4-FFF2-40B4-BE49-F238E27FC236}">
                  <a16:creationId xmlns:a16="http://schemas.microsoft.com/office/drawing/2014/main" id="{F515646F-4E27-D827-F538-1A93D6A860DC}"/>
                </a:ext>
              </a:extLst>
            </p:cNvPr>
            <p:cNvGrpSpPr/>
            <p:nvPr userDrawn="1"/>
          </p:nvGrpSpPr>
          <p:grpSpPr>
            <a:xfrm>
              <a:off x="5955277" y="4330919"/>
              <a:ext cx="579821" cy="456651"/>
              <a:chOff x="5527674" y="2836227"/>
              <a:chExt cx="437757" cy="344753"/>
            </a:xfrm>
          </p:grpSpPr>
          <p:sp>
            <p:nvSpPr>
              <p:cNvPr id="542" name="Freeform 541">
                <a:extLst>
                  <a:ext uri="{FF2B5EF4-FFF2-40B4-BE49-F238E27FC236}">
                    <a16:creationId xmlns:a16="http://schemas.microsoft.com/office/drawing/2014/main" id="{24EBD2DC-5AFD-D196-97CC-0174E8A5438C}"/>
                  </a:ext>
                </a:extLst>
              </p:cNvPr>
              <p:cNvSpPr/>
              <p:nvPr/>
            </p:nvSpPr>
            <p:spPr>
              <a:xfrm>
                <a:off x="5672135" y="3055789"/>
                <a:ext cx="44468" cy="10965"/>
              </a:xfrm>
              <a:custGeom>
                <a:avLst/>
                <a:gdLst>
                  <a:gd name="connsiteX0" fmla="*/ 38921 w 44468"/>
                  <a:gd name="connsiteY0" fmla="*/ 10966 h 10965"/>
                  <a:gd name="connsiteX1" fmla="*/ 5548 w 44468"/>
                  <a:gd name="connsiteY1" fmla="*/ 10966 h 10965"/>
                  <a:gd name="connsiteX2" fmla="*/ 0 w 44468"/>
                  <a:gd name="connsiteY2" fmla="*/ 5483 h 10965"/>
                  <a:gd name="connsiteX3" fmla="*/ 5548 w 44468"/>
                  <a:gd name="connsiteY3" fmla="*/ 0 h 10965"/>
                  <a:gd name="connsiteX4" fmla="*/ 38921 w 44468"/>
                  <a:gd name="connsiteY4" fmla="*/ 0 h 10965"/>
                  <a:gd name="connsiteX5" fmla="*/ 44469 w 44468"/>
                  <a:gd name="connsiteY5" fmla="*/ 5483 h 10965"/>
                  <a:gd name="connsiteX6" fmla="*/ 38921 w 44468"/>
                  <a:gd name="connsiteY6" fmla="*/ 10966 h 1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468" h="10965">
                    <a:moveTo>
                      <a:pt x="38921" y="10966"/>
                    </a:moveTo>
                    <a:lnTo>
                      <a:pt x="5548" y="10966"/>
                    </a:lnTo>
                    <a:cubicBezTo>
                      <a:pt x="2484" y="10966"/>
                      <a:pt x="0" y="8511"/>
                      <a:pt x="0" y="5483"/>
                    </a:cubicBezTo>
                    <a:cubicBezTo>
                      <a:pt x="0" y="2455"/>
                      <a:pt x="2484" y="0"/>
                      <a:pt x="5548" y="0"/>
                    </a:cubicBezTo>
                    <a:lnTo>
                      <a:pt x="38921" y="0"/>
                    </a:lnTo>
                    <a:cubicBezTo>
                      <a:pt x="41985" y="0"/>
                      <a:pt x="44469" y="2455"/>
                      <a:pt x="44469" y="5483"/>
                    </a:cubicBezTo>
                    <a:cubicBezTo>
                      <a:pt x="44469" y="8511"/>
                      <a:pt x="41985" y="10966"/>
                      <a:pt x="38921" y="10966"/>
                    </a:cubicBezTo>
                    <a:close/>
                  </a:path>
                </a:pathLst>
              </a:custGeom>
              <a:solidFill>
                <a:schemeClr val="bg1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43" name="Freeform 542">
                <a:extLst>
                  <a:ext uri="{FF2B5EF4-FFF2-40B4-BE49-F238E27FC236}">
                    <a16:creationId xmlns:a16="http://schemas.microsoft.com/office/drawing/2014/main" id="{67A4C0F8-561A-220B-05CB-946A4B6246F2}"/>
                  </a:ext>
                </a:extLst>
              </p:cNvPr>
              <p:cNvSpPr/>
              <p:nvPr/>
            </p:nvSpPr>
            <p:spPr>
              <a:xfrm>
                <a:off x="5602595" y="2906594"/>
                <a:ext cx="165318" cy="90203"/>
              </a:xfrm>
              <a:custGeom>
                <a:avLst/>
                <a:gdLst>
                  <a:gd name="connsiteX0" fmla="*/ 143809 w 165318"/>
                  <a:gd name="connsiteY0" fmla="*/ 391 h 90203"/>
                  <a:gd name="connsiteX1" fmla="*/ 122983 w 165318"/>
                  <a:gd name="connsiteY1" fmla="*/ 20993 h 90203"/>
                  <a:gd name="connsiteX2" fmla="*/ 125084 w 165318"/>
                  <a:gd name="connsiteY2" fmla="*/ 29758 h 90203"/>
                  <a:gd name="connsiteX3" fmla="*/ 104069 w 165318"/>
                  <a:gd name="connsiteY3" fmla="*/ 50526 h 90203"/>
                  <a:gd name="connsiteX4" fmla="*/ 95179 w 165318"/>
                  <a:gd name="connsiteY4" fmla="*/ 48449 h 90203"/>
                  <a:gd name="connsiteX5" fmla="*/ 86290 w 165318"/>
                  <a:gd name="connsiteY5" fmla="*/ 50526 h 90203"/>
                  <a:gd name="connsiteX6" fmla="*/ 65274 w 165318"/>
                  <a:gd name="connsiteY6" fmla="*/ 29758 h 90203"/>
                  <a:gd name="connsiteX7" fmla="*/ 67376 w 165318"/>
                  <a:gd name="connsiteY7" fmla="*/ 20973 h 90203"/>
                  <a:gd name="connsiteX8" fmla="*/ 46907 w 165318"/>
                  <a:gd name="connsiteY8" fmla="*/ 3 h 90203"/>
                  <a:gd name="connsiteX9" fmla="*/ 25688 w 165318"/>
                  <a:gd name="connsiteY9" fmla="*/ 20232 h 90203"/>
                  <a:gd name="connsiteX10" fmla="*/ 27846 w 165318"/>
                  <a:gd name="connsiteY10" fmla="*/ 29737 h 90203"/>
                  <a:gd name="connsiteX11" fmla="*/ 0 w 165318"/>
                  <a:gd name="connsiteY11" fmla="*/ 57317 h 90203"/>
                  <a:gd name="connsiteX12" fmla="*/ 9814 w 165318"/>
                  <a:gd name="connsiteY12" fmla="*/ 67016 h 90203"/>
                  <a:gd name="connsiteX13" fmla="*/ 37723 w 165318"/>
                  <a:gd name="connsiteY13" fmla="*/ 39456 h 90203"/>
                  <a:gd name="connsiteX14" fmla="*/ 55418 w 165318"/>
                  <a:gd name="connsiteY14" fmla="*/ 39456 h 90203"/>
                  <a:gd name="connsiteX15" fmla="*/ 76433 w 165318"/>
                  <a:gd name="connsiteY15" fmla="*/ 60225 h 90203"/>
                  <a:gd name="connsiteX16" fmla="*/ 74332 w 165318"/>
                  <a:gd name="connsiteY16" fmla="*/ 68947 h 90203"/>
                  <a:gd name="connsiteX17" fmla="*/ 94507 w 165318"/>
                  <a:gd name="connsiteY17" fmla="*/ 90193 h 90203"/>
                  <a:gd name="connsiteX18" fmla="*/ 116005 w 165318"/>
                  <a:gd name="connsiteY18" fmla="*/ 70256 h 90203"/>
                  <a:gd name="connsiteX19" fmla="*/ 116005 w 165318"/>
                  <a:gd name="connsiteY19" fmla="*/ 68947 h 90203"/>
                  <a:gd name="connsiteX20" fmla="*/ 113904 w 165318"/>
                  <a:gd name="connsiteY20" fmla="*/ 60204 h 90203"/>
                  <a:gd name="connsiteX21" fmla="*/ 134919 w 165318"/>
                  <a:gd name="connsiteY21" fmla="*/ 39436 h 90203"/>
                  <a:gd name="connsiteX22" fmla="*/ 143767 w 165318"/>
                  <a:gd name="connsiteY22" fmla="*/ 41512 h 90203"/>
                  <a:gd name="connsiteX23" fmla="*/ 165308 w 165318"/>
                  <a:gd name="connsiteY23" fmla="*/ 21533 h 90203"/>
                  <a:gd name="connsiteX24" fmla="*/ 145091 w 165318"/>
                  <a:gd name="connsiteY24" fmla="*/ 246 h 90203"/>
                  <a:gd name="connsiteX25" fmla="*/ 143767 w 165318"/>
                  <a:gd name="connsiteY25" fmla="*/ 246 h 90203"/>
                  <a:gd name="connsiteX26" fmla="*/ 39635 w 165318"/>
                  <a:gd name="connsiteY26" fmla="*/ 21014 h 90203"/>
                  <a:gd name="connsiteX27" fmla="*/ 46570 w 165318"/>
                  <a:gd name="connsiteY27" fmla="*/ 14119 h 90203"/>
                  <a:gd name="connsiteX28" fmla="*/ 53547 w 165318"/>
                  <a:gd name="connsiteY28" fmla="*/ 20973 h 90203"/>
                  <a:gd name="connsiteX29" fmla="*/ 46612 w 165318"/>
                  <a:gd name="connsiteY29" fmla="*/ 27868 h 90203"/>
                  <a:gd name="connsiteX30" fmla="*/ 46612 w 165318"/>
                  <a:gd name="connsiteY30" fmla="*/ 27868 h 90203"/>
                  <a:gd name="connsiteX31" fmla="*/ 39635 w 165318"/>
                  <a:gd name="connsiteY31" fmla="*/ 21014 h 90203"/>
                  <a:gd name="connsiteX32" fmla="*/ 95305 w 165318"/>
                  <a:gd name="connsiteY32" fmla="*/ 75905 h 90203"/>
                  <a:gd name="connsiteX33" fmla="*/ 88349 w 165318"/>
                  <a:gd name="connsiteY33" fmla="*/ 69030 h 90203"/>
                  <a:gd name="connsiteX34" fmla="*/ 95305 w 165318"/>
                  <a:gd name="connsiteY34" fmla="*/ 62156 h 90203"/>
                  <a:gd name="connsiteX35" fmla="*/ 102261 w 165318"/>
                  <a:gd name="connsiteY35" fmla="*/ 69030 h 90203"/>
                  <a:gd name="connsiteX36" fmla="*/ 95305 w 165318"/>
                  <a:gd name="connsiteY36" fmla="*/ 75905 h 90203"/>
                  <a:gd name="connsiteX37" fmla="*/ 143914 w 165318"/>
                  <a:gd name="connsiteY37" fmla="*/ 27847 h 90203"/>
                  <a:gd name="connsiteX38" fmla="*/ 136958 w 165318"/>
                  <a:gd name="connsiteY38" fmla="*/ 20973 h 90203"/>
                  <a:gd name="connsiteX39" fmla="*/ 143914 w 165318"/>
                  <a:gd name="connsiteY39" fmla="*/ 14098 h 90203"/>
                  <a:gd name="connsiteX40" fmla="*/ 150870 w 165318"/>
                  <a:gd name="connsiteY40" fmla="*/ 20973 h 90203"/>
                  <a:gd name="connsiteX41" fmla="*/ 150870 w 165318"/>
                  <a:gd name="connsiteY41" fmla="*/ 20973 h 90203"/>
                  <a:gd name="connsiteX42" fmla="*/ 143935 w 165318"/>
                  <a:gd name="connsiteY42" fmla="*/ 27826 h 90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165318" h="90203">
                    <a:moveTo>
                      <a:pt x="143809" y="391"/>
                    </a:moveTo>
                    <a:cubicBezTo>
                      <a:pt x="132308" y="414"/>
                      <a:pt x="122994" y="9628"/>
                      <a:pt x="122983" y="20993"/>
                    </a:cubicBezTo>
                    <a:cubicBezTo>
                      <a:pt x="123002" y="24034"/>
                      <a:pt x="123720" y="27031"/>
                      <a:pt x="125084" y="29758"/>
                    </a:cubicBezTo>
                    <a:lnTo>
                      <a:pt x="104069" y="50526"/>
                    </a:lnTo>
                    <a:cubicBezTo>
                      <a:pt x="101295" y="49198"/>
                      <a:pt x="98261" y="48489"/>
                      <a:pt x="95179" y="48449"/>
                    </a:cubicBezTo>
                    <a:cubicBezTo>
                      <a:pt x="92095" y="48468"/>
                      <a:pt x="89056" y="49178"/>
                      <a:pt x="86290" y="50526"/>
                    </a:cubicBezTo>
                    <a:lnTo>
                      <a:pt x="65274" y="29758"/>
                    </a:lnTo>
                    <a:cubicBezTo>
                      <a:pt x="66638" y="27024"/>
                      <a:pt x="67357" y="24020"/>
                      <a:pt x="67376" y="20973"/>
                    </a:cubicBezTo>
                    <a:cubicBezTo>
                      <a:pt x="67583" y="9596"/>
                      <a:pt x="58418" y="208"/>
                      <a:pt x="46907" y="3"/>
                    </a:cubicBezTo>
                    <a:cubicBezTo>
                      <a:pt x="35395" y="-201"/>
                      <a:pt x="25895" y="8855"/>
                      <a:pt x="25688" y="20232"/>
                    </a:cubicBezTo>
                    <a:cubicBezTo>
                      <a:pt x="25628" y="23525"/>
                      <a:pt x="26368" y="26784"/>
                      <a:pt x="27846" y="29737"/>
                    </a:cubicBezTo>
                    <a:lnTo>
                      <a:pt x="0" y="57317"/>
                    </a:lnTo>
                    <a:lnTo>
                      <a:pt x="9814" y="67016"/>
                    </a:lnTo>
                    <a:lnTo>
                      <a:pt x="37723" y="39456"/>
                    </a:lnTo>
                    <a:cubicBezTo>
                      <a:pt x="43280" y="42260"/>
                      <a:pt x="49861" y="42260"/>
                      <a:pt x="55418" y="39456"/>
                    </a:cubicBezTo>
                    <a:lnTo>
                      <a:pt x="76433" y="60225"/>
                    </a:lnTo>
                    <a:cubicBezTo>
                      <a:pt x="75080" y="62940"/>
                      <a:pt x="74362" y="65921"/>
                      <a:pt x="74332" y="68947"/>
                    </a:cubicBezTo>
                    <a:cubicBezTo>
                      <a:pt x="73966" y="80320"/>
                      <a:pt x="82999" y="89832"/>
                      <a:pt x="94507" y="90193"/>
                    </a:cubicBezTo>
                    <a:cubicBezTo>
                      <a:pt x="106014" y="90554"/>
                      <a:pt x="115640" y="81628"/>
                      <a:pt x="116005" y="70256"/>
                    </a:cubicBezTo>
                    <a:cubicBezTo>
                      <a:pt x="116005" y="69813"/>
                      <a:pt x="116005" y="69376"/>
                      <a:pt x="116005" y="68947"/>
                    </a:cubicBezTo>
                    <a:cubicBezTo>
                      <a:pt x="115966" y="65915"/>
                      <a:pt x="115248" y="62930"/>
                      <a:pt x="113904" y="60204"/>
                    </a:cubicBezTo>
                    <a:lnTo>
                      <a:pt x="134919" y="39436"/>
                    </a:lnTo>
                    <a:cubicBezTo>
                      <a:pt x="137674" y="40773"/>
                      <a:pt x="140698" y="41483"/>
                      <a:pt x="143767" y="41512"/>
                    </a:cubicBezTo>
                    <a:cubicBezTo>
                      <a:pt x="155298" y="41874"/>
                      <a:pt x="164942" y="32929"/>
                      <a:pt x="165308" y="21533"/>
                    </a:cubicBezTo>
                    <a:cubicBezTo>
                      <a:pt x="165673" y="10138"/>
                      <a:pt x="156622" y="607"/>
                      <a:pt x="145091" y="246"/>
                    </a:cubicBezTo>
                    <a:lnTo>
                      <a:pt x="143767" y="246"/>
                    </a:lnTo>
                    <a:close/>
                    <a:moveTo>
                      <a:pt x="39635" y="21014"/>
                    </a:moveTo>
                    <a:cubicBezTo>
                      <a:pt x="39624" y="17218"/>
                      <a:pt x="42729" y="14131"/>
                      <a:pt x="46570" y="14119"/>
                    </a:cubicBezTo>
                    <a:cubicBezTo>
                      <a:pt x="50412" y="14108"/>
                      <a:pt x="53536" y="17176"/>
                      <a:pt x="53547" y="20973"/>
                    </a:cubicBezTo>
                    <a:cubicBezTo>
                      <a:pt x="53559" y="24769"/>
                      <a:pt x="50454" y="27856"/>
                      <a:pt x="46612" y="27868"/>
                    </a:cubicBezTo>
                    <a:lnTo>
                      <a:pt x="46612" y="27868"/>
                    </a:lnTo>
                    <a:cubicBezTo>
                      <a:pt x="42775" y="27868"/>
                      <a:pt x="39658" y="24806"/>
                      <a:pt x="39635" y="21014"/>
                    </a:cubicBezTo>
                    <a:close/>
                    <a:moveTo>
                      <a:pt x="95305" y="75905"/>
                    </a:moveTo>
                    <a:cubicBezTo>
                      <a:pt x="91463" y="75905"/>
                      <a:pt x="88349" y="72827"/>
                      <a:pt x="88349" y="69030"/>
                    </a:cubicBezTo>
                    <a:cubicBezTo>
                      <a:pt x="88349" y="65234"/>
                      <a:pt x="91463" y="62156"/>
                      <a:pt x="95305" y="62156"/>
                    </a:cubicBezTo>
                    <a:cubicBezTo>
                      <a:pt x="99147" y="62156"/>
                      <a:pt x="102261" y="65234"/>
                      <a:pt x="102261" y="69030"/>
                    </a:cubicBezTo>
                    <a:cubicBezTo>
                      <a:pt x="102261" y="72827"/>
                      <a:pt x="99147" y="75905"/>
                      <a:pt x="95305" y="75905"/>
                    </a:cubicBezTo>
                    <a:close/>
                    <a:moveTo>
                      <a:pt x="143914" y="27847"/>
                    </a:moveTo>
                    <a:cubicBezTo>
                      <a:pt x="140072" y="27847"/>
                      <a:pt x="136958" y="24769"/>
                      <a:pt x="136958" y="20973"/>
                    </a:cubicBezTo>
                    <a:cubicBezTo>
                      <a:pt x="136958" y="17176"/>
                      <a:pt x="140072" y="14098"/>
                      <a:pt x="143914" y="14098"/>
                    </a:cubicBezTo>
                    <a:cubicBezTo>
                      <a:pt x="147756" y="14098"/>
                      <a:pt x="150870" y="17176"/>
                      <a:pt x="150870" y="20973"/>
                    </a:cubicBezTo>
                    <a:lnTo>
                      <a:pt x="150870" y="20973"/>
                    </a:lnTo>
                    <a:cubicBezTo>
                      <a:pt x="150870" y="24758"/>
                      <a:pt x="147765" y="27826"/>
                      <a:pt x="143935" y="27826"/>
                    </a:cubicBezTo>
                    <a:close/>
                  </a:path>
                </a:pathLst>
              </a:custGeom>
              <a:solidFill>
                <a:schemeClr val="bg1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44" name="Freeform 543">
                <a:extLst>
                  <a:ext uri="{FF2B5EF4-FFF2-40B4-BE49-F238E27FC236}">
                    <a16:creationId xmlns:a16="http://schemas.microsoft.com/office/drawing/2014/main" id="{14B92CF1-E773-2D6A-EEEE-C72CA76E9BE5}"/>
                  </a:ext>
                </a:extLst>
              </p:cNvPr>
              <p:cNvSpPr/>
              <p:nvPr/>
            </p:nvSpPr>
            <p:spPr>
              <a:xfrm>
                <a:off x="5527674" y="2836227"/>
                <a:ext cx="333368" cy="318410"/>
              </a:xfrm>
              <a:custGeom>
                <a:avLst/>
                <a:gdLst>
                  <a:gd name="connsiteX0" fmla="*/ 238904 w 333368"/>
                  <a:gd name="connsiteY0" fmla="*/ 285522 h 318410"/>
                  <a:gd name="connsiteX1" fmla="*/ 227808 w 333368"/>
                  <a:gd name="connsiteY1" fmla="*/ 285522 h 318410"/>
                  <a:gd name="connsiteX2" fmla="*/ 200172 w 333368"/>
                  <a:gd name="connsiteY2" fmla="*/ 252583 h 318410"/>
                  <a:gd name="connsiteX3" fmla="*/ 224025 w 333368"/>
                  <a:gd name="connsiteY3" fmla="*/ 252583 h 318410"/>
                  <a:gd name="connsiteX4" fmla="*/ 219402 w 333368"/>
                  <a:gd name="connsiteY4" fmla="*/ 241597 h 318410"/>
                  <a:gd name="connsiteX5" fmla="*/ 22234 w 333368"/>
                  <a:gd name="connsiteY5" fmla="*/ 241597 h 318410"/>
                  <a:gd name="connsiteX6" fmla="*/ 11117 w 333368"/>
                  <a:gd name="connsiteY6" fmla="*/ 230611 h 318410"/>
                  <a:gd name="connsiteX7" fmla="*/ 11117 w 333368"/>
                  <a:gd name="connsiteY7" fmla="*/ 230527 h 318410"/>
                  <a:gd name="connsiteX8" fmla="*/ 11117 w 333368"/>
                  <a:gd name="connsiteY8" fmla="*/ 230527 h 318410"/>
                  <a:gd name="connsiteX9" fmla="*/ 11117 w 333368"/>
                  <a:gd name="connsiteY9" fmla="*/ 208658 h 318410"/>
                  <a:gd name="connsiteX10" fmla="*/ 214757 w 333368"/>
                  <a:gd name="connsiteY10" fmla="*/ 208658 h 318410"/>
                  <a:gd name="connsiteX11" fmla="*/ 215976 w 333368"/>
                  <a:gd name="connsiteY11" fmla="*/ 197672 h 318410"/>
                  <a:gd name="connsiteX12" fmla="*/ 33331 w 333368"/>
                  <a:gd name="connsiteY12" fmla="*/ 197672 h 318410"/>
                  <a:gd name="connsiteX13" fmla="*/ 33331 w 333368"/>
                  <a:gd name="connsiteY13" fmla="*/ 32980 h 318410"/>
                  <a:gd name="connsiteX14" fmla="*/ 300038 w 333368"/>
                  <a:gd name="connsiteY14" fmla="*/ 32980 h 318410"/>
                  <a:gd name="connsiteX15" fmla="*/ 300038 w 333368"/>
                  <a:gd name="connsiteY15" fmla="*/ 123675 h 318410"/>
                  <a:gd name="connsiteX16" fmla="*/ 305166 w 333368"/>
                  <a:gd name="connsiteY16" fmla="*/ 123529 h 318410"/>
                  <a:gd name="connsiteX17" fmla="*/ 311155 w 333368"/>
                  <a:gd name="connsiteY17" fmla="*/ 123737 h 318410"/>
                  <a:gd name="connsiteX18" fmla="*/ 311155 w 333368"/>
                  <a:gd name="connsiteY18" fmla="*/ 27456 h 318410"/>
                  <a:gd name="connsiteX19" fmla="*/ 305586 w 333368"/>
                  <a:gd name="connsiteY19" fmla="*/ 21973 h 318410"/>
                  <a:gd name="connsiteX20" fmla="*/ 27867 w 333368"/>
                  <a:gd name="connsiteY20" fmla="*/ 21973 h 318410"/>
                  <a:gd name="connsiteX21" fmla="*/ 22297 w 333368"/>
                  <a:gd name="connsiteY21" fmla="*/ 27456 h 318410"/>
                  <a:gd name="connsiteX22" fmla="*/ 22297 w 333368"/>
                  <a:gd name="connsiteY22" fmla="*/ 197755 h 318410"/>
                  <a:gd name="connsiteX23" fmla="*/ 11054 w 333368"/>
                  <a:gd name="connsiteY23" fmla="*/ 197755 h 318410"/>
                  <a:gd name="connsiteX24" fmla="*/ 11054 w 333368"/>
                  <a:gd name="connsiteY24" fmla="*/ 21973 h 318410"/>
                  <a:gd name="connsiteX25" fmla="*/ 22171 w 333368"/>
                  <a:gd name="connsiteY25" fmla="*/ 10986 h 318410"/>
                  <a:gd name="connsiteX26" fmla="*/ 311134 w 333368"/>
                  <a:gd name="connsiteY26" fmla="*/ 10986 h 318410"/>
                  <a:gd name="connsiteX27" fmla="*/ 322251 w 333368"/>
                  <a:gd name="connsiteY27" fmla="*/ 21973 h 318410"/>
                  <a:gd name="connsiteX28" fmla="*/ 322251 w 333368"/>
                  <a:gd name="connsiteY28" fmla="*/ 125087 h 318410"/>
                  <a:gd name="connsiteX29" fmla="*/ 333369 w 333368"/>
                  <a:gd name="connsiteY29" fmla="*/ 127932 h 318410"/>
                  <a:gd name="connsiteX30" fmla="*/ 333369 w 333368"/>
                  <a:gd name="connsiteY30" fmla="*/ 22014 h 318410"/>
                  <a:gd name="connsiteX31" fmla="*/ 311134 w 333368"/>
                  <a:gd name="connsiteY31" fmla="*/ 0 h 318410"/>
                  <a:gd name="connsiteX32" fmla="*/ 22234 w 333368"/>
                  <a:gd name="connsiteY32" fmla="*/ 0 h 318410"/>
                  <a:gd name="connsiteX33" fmla="*/ 0 w 333368"/>
                  <a:gd name="connsiteY33" fmla="*/ 21973 h 318410"/>
                  <a:gd name="connsiteX34" fmla="*/ 0 w 333368"/>
                  <a:gd name="connsiteY34" fmla="*/ 230527 h 318410"/>
                  <a:gd name="connsiteX35" fmla="*/ 22234 w 333368"/>
                  <a:gd name="connsiteY35" fmla="*/ 252500 h 318410"/>
                  <a:gd name="connsiteX36" fmla="*/ 133175 w 333368"/>
                  <a:gd name="connsiteY36" fmla="*/ 252500 h 318410"/>
                  <a:gd name="connsiteX37" fmla="*/ 105561 w 333368"/>
                  <a:gd name="connsiteY37" fmla="*/ 285439 h 318410"/>
                  <a:gd name="connsiteX38" fmla="*/ 94444 w 333368"/>
                  <a:gd name="connsiteY38" fmla="*/ 285439 h 318410"/>
                  <a:gd name="connsiteX39" fmla="*/ 78360 w 333368"/>
                  <a:gd name="connsiteY39" fmla="*/ 302503 h 318410"/>
                  <a:gd name="connsiteX40" fmla="*/ 94444 w 333368"/>
                  <a:gd name="connsiteY40" fmla="*/ 318398 h 318410"/>
                  <a:gd name="connsiteX41" fmla="*/ 238904 w 333368"/>
                  <a:gd name="connsiteY41" fmla="*/ 318398 h 318410"/>
                  <a:gd name="connsiteX42" fmla="*/ 256231 w 333368"/>
                  <a:gd name="connsiteY42" fmla="*/ 302567 h 318410"/>
                  <a:gd name="connsiteX43" fmla="*/ 240212 w 333368"/>
                  <a:gd name="connsiteY43" fmla="*/ 285443 h 318410"/>
                  <a:gd name="connsiteX44" fmla="*/ 240081 w 333368"/>
                  <a:gd name="connsiteY44" fmla="*/ 285439 h 318410"/>
                  <a:gd name="connsiteX45" fmla="*/ 144334 w 333368"/>
                  <a:gd name="connsiteY45" fmla="*/ 252583 h 318410"/>
                  <a:gd name="connsiteX46" fmla="*/ 189139 w 333368"/>
                  <a:gd name="connsiteY46" fmla="*/ 252583 h 318410"/>
                  <a:gd name="connsiteX47" fmla="*/ 200824 w 333368"/>
                  <a:gd name="connsiteY47" fmla="*/ 285522 h 318410"/>
                  <a:gd name="connsiteX48" fmla="*/ 132629 w 333368"/>
                  <a:gd name="connsiteY48" fmla="*/ 285522 h 318410"/>
                  <a:gd name="connsiteX49" fmla="*/ 144313 w 333368"/>
                  <a:gd name="connsiteY49" fmla="*/ 252583 h 318410"/>
                  <a:gd name="connsiteX50" fmla="*/ 238904 w 333368"/>
                  <a:gd name="connsiteY50" fmla="*/ 307495 h 318410"/>
                  <a:gd name="connsiteX51" fmla="*/ 94444 w 333368"/>
                  <a:gd name="connsiteY51" fmla="*/ 307495 h 318410"/>
                  <a:gd name="connsiteX52" fmla="*/ 89227 w 333368"/>
                  <a:gd name="connsiteY52" fmla="*/ 301663 h 318410"/>
                  <a:gd name="connsiteX53" fmla="*/ 94444 w 333368"/>
                  <a:gd name="connsiteY53" fmla="*/ 296508 h 318410"/>
                  <a:gd name="connsiteX54" fmla="*/ 238904 w 333368"/>
                  <a:gd name="connsiteY54" fmla="*/ 296508 h 318410"/>
                  <a:gd name="connsiteX55" fmla="*/ 244809 w 333368"/>
                  <a:gd name="connsiteY55" fmla="*/ 301659 h 318410"/>
                  <a:gd name="connsiteX56" fmla="*/ 239597 w 333368"/>
                  <a:gd name="connsiteY56" fmla="*/ 307495 h 318410"/>
                  <a:gd name="connsiteX57" fmla="*/ 238904 w 333368"/>
                  <a:gd name="connsiteY57" fmla="*/ 307495 h 31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333368" h="318410">
                    <a:moveTo>
                      <a:pt x="238904" y="285522"/>
                    </a:moveTo>
                    <a:lnTo>
                      <a:pt x="227808" y="285522"/>
                    </a:lnTo>
                    <a:cubicBezTo>
                      <a:pt x="210743" y="285522"/>
                      <a:pt x="201475" y="274452"/>
                      <a:pt x="200172" y="252583"/>
                    </a:cubicBezTo>
                    <a:lnTo>
                      <a:pt x="224025" y="252583"/>
                    </a:lnTo>
                    <a:cubicBezTo>
                      <a:pt x="222233" y="249029"/>
                      <a:pt x="220689" y="245358"/>
                      <a:pt x="219402" y="241597"/>
                    </a:cubicBezTo>
                    <a:lnTo>
                      <a:pt x="22234" y="241597"/>
                    </a:lnTo>
                    <a:cubicBezTo>
                      <a:pt x="16095" y="241597"/>
                      <a:pt x="11117" y="236678"/>
                      <a:pt x="11117" y="230611"/>
                    </a:cubicBezTo>
                    <a:cubicBezTo>
                      <a:pt x="11117" y="230583"/>
                      <a:pt x="11117" y="230555"/>
                      <a:pt x="11117" y="230527"/>
                    </a:cubicBezTo>
                    <a:lnTo>
                      <a:pt x="11117" y="230527"/>
                    </a:lnTo>
                    <a:lnTo>
                      <a:pt x="11117" y="208658"/>
                    </a:lnTo>
                    <a:lnTo>
                      <a:pt x="214757" y="208658"/>
                    </a:lnTo>
                    <a:cubicBezTo>
                      <a:pt x="214943" y="204976"/>
                      <a:pt x="215350" y="201307"/>
                      <a:pt x="215976" y="197672"/>
                    </a:cubicBezTo>
                    <a:lnTo>
                      <a:pt x="33331" y="197672"/>
                    </a:lnTo>
                    <a:lnTo>
                      <a:pt x="33331" y="32980"/>
                    </a:lnTo>
                    <a:lnTo>
                      <a:pt x="300038" y="32980"/>
                    </a:lnTo>
                    <a:lnTo>
                      <a:pt x="300038" y="123675"/>
                    </a:lnTo>
                    <a:cubicBezTo>
                      <a:pt x="301740" y="123675"/>
                      <a:pt x="303442" y="123529"/>
                      <a:pt x="305166" y="123529"/>
                    </a:cubicBezTo>
                    <a:cubicBezTo>
                      <a:pt x="307164" y="123500"/>
                      <a:pt x="309163" y="123569"/>
                      <a:pt x="311155" y="123737"/>
                    </a:cubicBezTo>
                    <a:lnTo>
                      <a:pt x="311155" y="27456"/>
                    </a:lnTo>
                    <a:cubicBezTo>
                      <a:pt x="311144" y="24424"/>
                      <a:pt x="308654" y="21973"/>
                      <a:pt x="305586" y="21973"/>
                    </a:cubicBezTo>
                    <a:lnTo>
                      <a:pt x="27867" y="21973"/>
                    </a:lnTo>
                    <a:cubicBezTo>
                      <a:pt x="24799" y="21973"/>
                      <a:pt x="22309" y="24424"/>
                      <a:pt x="22297" y="27456"/>
                    </a:cubicBezTo>
                    <a:lnTo>
                      <a:pt x="22297" y="197755"/>
                    </a:lnTo>
                    <a:lnTo>
                      <a:pt x="11054" y="197755"/>
                    </a:lnTo>
                    <a:lnTo>
                      <a:pt x="11054" y="21973"/>
                    </a:lnTo>
                    <a:cubicBezTo>
                      <a:pt x="11054" y="15905"/>
                      <a:pt x="16031" y="10986"/>
                      <a:pt x="22171" y="10986"/>
                    </a:cubicBezTo>
                    <a:lnTo>
                      <a:pt x="311134" y="10986"/>
                    </a:lnTo>
                    <a:cubicBezTo>
                      <a:pt x="317274" y="10986"/>
                      <a:pt x="322251" y="15905"/>
                      <a:pt x="322251" y="21973"/>
                    </a:cubicBezTo>
                    <a:lnTo>
                      <a:pt x="322251" y="125087"/>
                    </a:lnTo>
                    <a:cubicBezTo>
                      <a:pt x="326016" y="125796"/>
                      <a:pt x="329729" y="126746"/>
                      <a:pt x="333369" y="127932"/>
                    </a:cubicBezTo>
                    <a:lnTo>
                      <a:pt x="333369" y="22014"/>
                    </a:lnTo>
                    <a:cubicBezTo>
                      <a:pt x="333369" y="9872"/>
                      <a:pt x="323421" y="23"/>
                      <a:pt x="311134" y="0"/>
                    </a:cubicBezTo>
                    <a:lnTo>
                      <a:pt x="22234" y="0"/>
                    </a:lnTo>
                    <a:cubicBezTo>
                      <a:pt x="9964" y="23"/>
                      <a:pt x="23" y="9847"/>
                      <a:pt x="0" y="21973"/>
                    </a:cubicBezTo>
                    <a:lnTo>
                      <a:pt x="0" y="230527"/>
                    </a:lnTo>
                    <a:cubicBezTo>
                      <a:pt x="23" y="242653"/>
                      <a:pt x="9964" y="252477"/>
                      <a:pt x="22234" y="252500"/>
                    </a:cubicBezTo>
                    <a:lnTo>
                      <a:pt x="133175" y="252500"/>
                    </a:lnTo>
                    <a:cubicBezTo>
                      <a:pt x="131893" y="274369"/>
                      <a:pt x="122667" y="285439"/>
                      <a:pt x="105561" y="285439"/>
                    </a:cubicBezTo>
                    <a:lnTo>
                      <a:pt x="94444" y="285439"/>
                    </a:lnTo>
                    <a:cubicBezTo>
                      <a:pt x="85234" y="285762"/>
                      <a:pt x="78033" y="293402"/>
                      <a:pt x="78360" y="302503"/>
                    </a:cubicBezTo>
                    <a:cubicBezTo>
                      <a:pt x="78671" y="311151"/>
                      <a:pt x="85693" y="318091"/>
                      <a:pt x="94444" y="318398"/>
                    </a:cubicBezTo>
                    <a:lnTo>
                      <a:pt x="238904" y="318398"/>
                    </a:lnTo>
                    <a:cubicBezTo>
                      <a:pt x="248112" y="318755"/>
                      <a:pt x="255870" y="311667"/>
                      <a:pt x="256231" y="302567"/>
                    </a:cubicBezTo>
                    <a:cubicBezTo>
                      <a:pt x="256593" y="293467"/>
                      <a:pt x="249420" y="285800"/>
                      <a:pt x="240212" y="285443"/>
                    </a:cubicBezTo>
                    <a:cubicBezTo>
                      <a:pt x="240168" y="285442"/>
                      <a:pt x="240125" y="285440"/>
                      <a:pt x="240081" y="285439"/>
                    </a:cubicBezTo>
                    <a:close/>
                    <a:moveTo>
                      <a:pt x="144334" y="252583"/>
                    </a:moveTo>
                    <a:lnTo>
                      <a:pt x="189139" y="252583"/>
                    </a:lnTo>
                    <a:cubicBezTo>
                      <a:pt x="189116" y="264559"/>
                      <a:pt x="193239" y="276182"/>
                      <a:pt x="200824" y="285522"/>
                    </a:cubicBezTo>
                    <a:lnTo>
                      <a:pt x="132629" y="285522"/>
                    </a:lnTo>
                    <a:cubicBezTo>
                      <a:pt x="140196" y="276172"/>
                      <a:pt x="144317" y="264556"/>
                      <a:pt x="144313" y="252583"/>
                    </a:cubicBezTo>
                    <a:close/>
                    <a:moveTo>
                      <a:pt x="238904" y="307495"/>
                    </a:moveTo>
                    <a:lnTo>
                      <a:pt x="94444" y="307495"/>
                    </a:lnTo>
                    <a:cubicBezTo>
                      <a:pt x="91374" y="307308"/>
                      <a:pt x="89038" y="304697"/>
                      <a:pt x="89227" y="301663"/>
                    </a:cubicBezTo>
                    <a:cubicBezTo>
                      <a:pt x="89400" y="298890"/>
                      <a:pt x="91637" y="296679"/>
                      <a:pt x="94444" y="296508"/>
                    </a:cubicBezTo>
                    <a:lnTo>
                      <a:pt x="238904" y="296508"/>
                    </a:lnTo>
                    <a:cubicBezTo>
                      <a:pt x="241974" y="296319"/>
                      <a:pt x="244618" y="298625"/>
                      <a:pt x="244809" y="301659"/>
                    </a:cubicBezTo>
                    <a:cubicBezTo>
                      <a:pt x="245001" y="304692"/>
                      <a:pt x="242667" y="307305"/>
                      <a:pt x="239597" y="307495"/>
                    </a:cubicBezTo>
                    <a:cubicBezTo>
                      <a:pt x="239367" y="307515"/>
                      <a:pt x="239135" y="307515"/>
                      <a:pt x="238904" y="307495"/>
                    </a:cubicBezTo>
                    <a:close/>
                  </a:path>
                </a:pathLst>
              </a:custGeom>
              <a:solidFill>
                <a:schemeClr val="bg1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45" name="Freeform 544">
                <a:extLst>
                  <a:ext uri="{FF2B5EF4-FFF2-40B4-BE49-F238E27FC236}">
                    <a16:creationId xmlns:a16="http://schemas.microsoft.com/office/drawing/2014/main" id="{0168B38C-7CE2-2607-2C21-6C75F0F741D4}"/>
                  </a:ext>
                </a:extLst>
              </p:cNvPr>
              <p:cNvSpPr/>
              <p:nvPr/>
            </p:nvSpPr>
            <p:spPr>
              <a:xfrm>
                <a:off x="5756718" y="2974458"/>
                <a:ext cx="208713" cy="206522"/>
              </a:xfrm>
              <a:custGeom>
                <a:avLst/>
                <a:gdLst>
                  <a:gd name="connsiteX0" fmla="*/ 206692 w 208713"/>
                  <a:gd name="connsiteY0" fmla="*/ 175515 h 206522"/>
                  <a:gd name="connsiteX1" fmla="*/ 163105 w 208713"/>
                  <a:gd name="connsiteY1" fmla="*/ 132442 h 206522"/>
                  <a:gd name="connsiteX2" fmla="*/ 153270 w 208713"/>
                  <a:gd name="connsiteY2" fmla="*/ 132442 h 206522"/>
                  <a:gd name="connsiteX3" fmla="*/ 148500 w 208713"/>
                  <a:gd name="connsiteY3" fmla="*/ 137156 h 206522"/>
                  <a:gd name="connsiteX4" fmla="*/ 133789 w 208713"/>
                  <a:gd name="connsiteY4" fmla="*/ 122618 h 206522"/>
                  <a:gd name="connsiteX5" fmla="*/ 124078 w 208713"/>
                  <a:gd name="connsiteY5" fmla="*/ 17320 h 206522"/>
                  <a:gd name="connsiteX6" fmla="*/ 17526 w 208713"/>
                  <a:gd name="connsiteY6" fmla="*/ 26917 h 206522"/>
                  <a:gd name="connsiteX7" fmla="*/ 27237 w 208713"/>
                  <a:gd name="connsiteY7" fmla="*/ 132215 h 206522"/>
                  <a:gd name="connsiteX8" fmla="*/ 123954 w 208713"/>
                  <a:gd name="connsiteY8" fmla="*/ 132317 h 206522"/>
                  <a:gd name="connsiteX9" fmla="*/ 138664 w 208713"/>
                  <a:gd name="connsiteY9" fmla="*/ 146855 h 206522"/>
                  <a:gd name="connsiteX10" fmla="*/ 133873 w 208713"/>
                  <a:gd name="connsiteY10" fmla="*/ 151590 h 206522"/>
                  <a:gd name="connsiteX11" fmla="*/ 133866 w 208713"/>
                  <a:gd name="connsiteY11" fmla="*/ 161282 h 206522"/>
                  <a:gd name="connsiteX12" fmla="*/ 133873 w 208713"/>
                  <a:gd name="connsiteY12" fmla="*/ 161289 h 206522"/>
                  <a:gd name="connsiteX13" fmla="*/ 133873 w 208713"/>
                  <a:gd name="connsiteY13" fmla="*/ 161289 h 206522"/>
                  <a:gd name="connsiteX14" fmla="*/ 177480 w 208713"/>
                  <a:gd name="connsiteY14" fmla="*/ 204445 h 206522"/>
                  <a:gd name="connsiteX15" fmla="*/ 182377 w 208713"/>
                  <a:gd name="connsiteY15" fmla="*/ 206522 h 206522"/>
                  <a:gd name="connsiteX16" fmla="*/ 187294 w 208713"/>
                  <a:gd name="connsiteY16" fmla="*/ 204445 h 206522"/>
                  <a:gd name="connsiteX17" fmla="*/ 206671 w 208713"/>
                  <a:gd name="connsiteY17" fmla="*/ 185297 h 206522"/>
                  <a:gd name="connsiteX18" fmla="*/ 206707 w 208713"/>
                  <a:gd name="connsiteY18" fmla="*/ 175634 h 206522"/>
                  <a:gd name="connsiteX19" fmla="*/ 206671 w 208713"/>
                  <a:gd name="connsiteY19" fmla="*/ 175598 h 206522"/>
                  <a:gd name="connsiteX20" fmla="*/ 75786 w 208713"/>
                  <a:gd name="connsiteY20" fmla="*/ 135910 h 206522"/>
                  <a:gd name="connsiteX21" fmla="*/ 14232 w 208713"/>
                  <a:gd name="connsiteY21" fmla="*/ 75038 h 206522"/>
                  <a:gd name="connsiteX22" fmla="*/ 75828 w 208713"/>
                  <a:gd name="connsiteY22" fmla="*/ 14208 h 206522"/>
                  <a:gd name="connsiteX23" fmla="*/ 137383 w 208713"/>
                  <a:gd name="connsiteY23" fmla="*/ 75080 h 206522"/>
                  <a:gd name="connsiteX24" fmla="*/ 137383 w 208713"/>
                  <a:gd name="connsiteY24" fmla="*/ 75080 h 206522"/>
                  <a:gd name="connsiteX25" fmla="*/ 75786 w 208713"/>
                  <a:gd name="connsiteY25" fmla="*/ 135910 h 206522"/>
                  <a:gd name="connsiteX26" fmla="*/ 182398 w 208713"/>
                  <a:gd name="connsiteY26" fmla="*/ 189907 h 206522"/>
                  <a:gd name="connsiteX27" fmla="*/ 148626 w 208713"/>
                  <a:gd name="connsiteY27" fmla="*/ 156429 h 206522"/>
                  <a:gd name="connsiteX28" fmla="*/ 158188 w 208713"/>
                  <a:gd name="connsiteY28" fmla="*/ 147000 h 206522"/>
                  <a:gd name="connsiteX29" fmla="*/ 191960 w 208713"/>
                  <a:gd name="connsiteY29" fmla="*/ 180375 h 206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08713" h="206522">
                    <a:moveTo>
                      <a:pt x="206692" y="175515"/>
                    </a:moveTo>
                    <a:lnTo>
                      <a:pt x="163105" y="132442"/>
                    </a:lnTo>
                    <a:cubicBezTo>
                      <a:pt x="160389" y="129759"/>
                      <a:pt x="155987" y="129759"/>
                      <a:pt x="153270" y="132442"/>
                    </a:cubicBezTo>
                    <a:lnTo>
                      <a:pt x="148500" y="137156"/>
                    </a:lnTo>
                    <a:lnTo>
                      <a:pt x="133789" y="122618"/>
                    </a:lnTo>
                    <a:cubicBezTo>
                      <a:pt x="160531" y="90891"/>
                      <a:pt x="156183" y="43747"/>
                      <a:pt x="124078" y="17320"/>
                    </a:cubicBezTo>
                    <a:cubicBezTo>
                      <a:pt x="91973" y="-9107"/>
                      <a:pt x="44268" y="-4811"/>
                      <a:pt x="17526" y="26917"/>
                    </a:cubicBezTo>
                    <a:cubicBezTo>
                      <a:pt x="-9216" y="58644"/>
                      <a:pt x="-4868" y="105788"/>
                      <a:pt x="27237" y="132215"/>
                    </a:cubicBezTo>
                    <a:cubicBezTo>
                      <a:pt x="55242" y="155267"/>
                      <a:pt x="95899" y="155310"/>
                      <a:pt x="123954" y="132317"/>
                    </a:cubicBezTo>
                    <a:lnTo>
                      <a:pt x="138664" y="146855"/>
                    </a:lnTo>
                    <a:lnTo>
                      <a:pt x="133873" y="151590"/>
                    </a:lnTo>
                    <a:cubicBezTo>
                      <a:pt x="131163" y="154265"/>
                      <a:pt x="131160" y="158604"/>
                      <a:pt x="133866" y="161282"/>
                    </a:cubicBezTo>
                    <a:cubicBezTo>
                      <a:pt x="133869" y="161285"/>
                      <a:pt x="133871" y="161287"/>
                      <a:pt x="133873" y="161289"/>
                    </a:cubicBezTo>
                    <a:lnTo>
                      <a:pt x="133873" y="161289"/>
                    </a:lnTo>
                    <a:lnTo>
                      <a:pt x="177480" y="204445"/>
                    </a:lnTo>
                    <a:cubicBezTo>
                      <a:pt x="178767" y="205754"/>
                      <a:pt x="180530" y="206502"/>
                      <a:pt x="182377" y="206522"/>
                    </a:cubicBezTo>
                    <a:cubicBezTo>
                      <a:pt x="184229" y="206498"/>
                      <a:pt x="185997" y="205752"/>
                      <a:pt x="187294" y="204445"/>
                    </a:cubicBezTo>
                    <a:lnTo>
                      <a:pt x="206671" y="185297"/>
                    </a:lnTo>
                    <a:cubicBezTo>
                      <a:pt x="209381" y="182638"/>
                      <a:pt x="209397" y="178312"/>
                      <a:pt x="206707" y="175634"/>
                    </a:cubicBezTo>
                    <a:cubicBezTo>
                      <a:pt x="206695" y="175622"/>
                      <a:pt x="206683" y="175610"/>
                      <a:pt x="206671" y="175598"/>
                    </a:cubicBezTo>
                    <a:close/>
                    <a:moveTo>
                      <a:pt x="75786" y="135910"/>
                    </a:moveTo>
                    <a:cubicBezTo>
                      <a:pt x="41779" y="135899"/>
                      <a:pt x="14220" y="108645"/>
                      <a:pt x="14232" y="75038"/>
                    </a:cubicBezTo>
                    <a:cubicBezTo>
                      <a:pt x="14243" y="41431"/>
                      <a:pt x="41821" y="14197"/>
                      <a:pt x="75828" y="14208"/>
                    </a:cubicBezTo>
                    <a:cubicBezTo>
                      <a:pt x="109835" y="14220"/>
                      <a:pt x="137394" y="41473"/>
                      <a:pt x="137383" y="75080"/>
                    </a:cubicBezTo>
                    <a:lnTo>
                      <a:pt x="137383" y="75080"/>
                    </a:lnTo>
                    <a:cubicBezTo>
                      <a:pt x="137371" y="108687"/>
                      <a:pt x="109793" y="135921"/>
                      <a:pt x="75786" y="135910"/>
                    </a:cubicBezTo>
                    <a:close/>
                    <a:moveTo>
                      <a:pt x="182398" y="189907"/>
                    </a:moveTo>
                    <a:lnTo>
                      <a:pt x="148626" y="156429"/>
                    </a:lnTo>
                    <a:lnTo>
                      <a:pt x="158188" y="147000"/>
                    </a:lnTo>
                    <a:lnTo>
                      <a:pt x="191960" y="180375"/>
                    </a:lnTo>
                    <a:close/>
                  </a:path>
                </a:pathLst>
              </a:custGeom>
              <a:solidFill>
                <a:schemeClr val="bg1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+mj-lt"/>
                </a:endParaRPr>
              </a:p>
            </p:txBody>
          </p:sp>
          <p:sp>
            <p:nvSpPr>
              <p:cNvPr id="546" name="Freeform 545">
                <a:extLst>
                  <a:ext uri="{FF2B5EF4-FFF2-40B4-BE49-F238E27FC236}">
                    <a16:creationId xmlns:a16="http://schemas.microsoft.com/office/drawing/2014/main" id="{37064918-520B-0203-A285-21B10B2E3827}"/>
                  </a:ext>
                </a:extLst>
              </p:cNvPr>
              <p:cNvSpPr/>
              <p:nvPr/>
            </p:nvSpPr>
            <p:spPr>
              <a:xfrm>
                <a:off x="5833492" y="3002373"/>
                <a:ext cx="48524" cy="48078"/>
              </a:xfrm>
              <a:custGeom>
                <a:avLst/>
                <a:gdLst>
                  <a:gd name="connsiteX0" fmla="*/ 0 w 48524"/>
                  <a:gd name="connsiteY0" fmla="*/ 0 h 48078"/>
                  <a:gd name="connsiteX1" fmla="*/ 0 w 48524"/>
                  <a:gd name="connsiteY1" fmla="*/ 13728 h 48078"/>
                  <a:gd name="connsiteX2" fmla="*/ 34634 w 48524"/>
                  <a:gd name="connsiteY2" fmla="*/ 48078 h 48078"/>
                  <a:gd name="connsiteX3" fmla="*/ 48525 w 48524"/>
                  <a:gd name="connsiteY3" fmla="*/ 48078 h 48078"/>
                  <a:gd name="connsiteX4" fmla="*/ 0 w 48524"/>
                  <a:gd name="connsiteY4" fmla="*/ 0 h 48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24" h="48078">
                    <a:moveTo>
                      <a:pt x="0" y="0"/>
                    </a:moveTo>
                    <a:lnTo>
                      <a:pt x="0" y="13728"/>
                    </a:lnTo>
                    <a:cubicBezTo>
                      <a:pt x="19143" y="13808"/>
                      <a:pt x="34622" y="29160"/>
                      <a:pt x="34634" y="48078"/>
                    </a:cubicBezTo>
                    <a:lnTo>
                      <a:pt x="48525" y="48078"/>
                    </a:lnTo>
                    <a:cubicBezTo>
                      <a:pt x="48513" y="21579"/>
                      <a:pt x="26815" y="8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08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</p:grpSp>
      </p:grpSp>
      <p:grpSp>
        <p:nvGrpSpPr>
          <p:cNvPr id="547" name="Group 546">
            <a:extLst>
              <a:ext uri="{FF2B5EF4-FFF2-40B4-BE49-F238E27FC236}">
                <a16:creationId xmlns:a16="http://schemas.microsoft.com/office/drawing/2014/main" id="{85B9D132-AA2C-EEB6-D61C-7F5BE9D9A19B}"/>
              </a:ext>
            </a:extLst>
          </p:cNvPr>
          <p:cNvGrpSpPr/>
          <p:nvPr/>
        </p:nvGrpSpPr>
        <p:grpSpPr>
          <a:xfrm>
            <a:off x="2383953" y="1099802"/>
            <a:ext cx="1109662" cy="841468"/>
            <a:chOff x="6759891" y="4312978"/>
            <a:chExt cx="1109662" cy="841468"/>
          </a:xfrm>
        </p:grpSpPr>
        <p:sp>
          <p:nvSpPr>
            <p:cNvPr id="548" name="TextBox 10">
              <a:extLst>
                <a:ext uri="{FF2B5EF4-FFF2-40B4-BE49-F238E27FC236}">
                  <a16:creationId xmlns:a16="http://schemas.microsoft.com/office/drawing/2014/main" id="{48A2F7A7-814D-7786-CE0D-6B4D27F1A2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59891" y="4815892"/>
              <a:ext cx="110966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800" b="1" dirty="0">
                  <a:solidFill>
                    <a:schemeClr val="bg2"/>
                  </a:solidFill>
                  <a:latin typeface="+mj-lt"/>
                </a:rPr>
                <a:t>Field Services &amp; Consulting</a:t>
              </a:r>
            </a:p>
          </p:txBody>
        </p:sp>
        <p:grpSp>
          <p:nvGrpSpPr>
            <p:cNvPr id="549" name="Graphic 329">
              <a:extLst>
                <a:ext uri="{FF2B5EF4-FFF2-40B4-BE49-F238E27FC236}">
                  <a16:creationId xmlns:a16="http://schemas.microsoft.com/office/drawing/2014/main" id="{DE3CED23-7028-20D5-D2E2-42F4832B2766}"/>
                </a:ext>
              </a:extLst>
            </p:cNvPr>
            <p:cNvGrpSpPr/>
            <p:nvPr userDrawn="1"/>
          </p:nvGrpSpPr>
          <p:grpSpPr>
            <a:xfrm>
              <a:off x="7062582" y="4312978"/>
              <a:ext cx="562748" cy="468065"/>
              <a:chOff x="6412938" y="4679128"/>
              <a:chExt cx="376570" cy="313211"/>
            </a:xfrm>
          </p:grpSpPr>
          <p:sp>
            <p:nvSpPr>
              <p:cNvPr id="550" name="Freeform 549">
                <a:extLst>
                  <a:ext uri="{FF2B5EF4-FFF2-40B4-BE49-F238E27FC236}">
                    <a16:creationId xmlns:a16="http://schemas.microsoft.com/office/drawing/2014/main" id="{CEE72D70-B981-6400-6055-9BBA5B751AF2}"/>
                  </a:ext>
                </a:extLst>
              </p:cNvPr>
              <p:cNvSpPr/>
              <p:nvPr/>
            </p:nvSpPr>
            <p:spPr>
              <a:xfrm>
                <a:off x="6443238" y="4878101"/>
                <a:ext cx="300972" cy="114184"/>
              </a:xfrm>
              <a:custGeom>
                <a:avLst/>
                <a:gdLst>
                  <a:gd name="connsiteX0" fmla="*/ 192657 w 300972"/>
                  <a:gd name="connsiteY0" fmla="*/ 97336 h 114184"/>
                  <a:gd name="connsiteX1" fmla="*/ 153740 w 300972"/>
                  <a:gd name="connsiteY1" fmla="*/ 101718 h 114184"/>
                  <a:gd name="connsiteX2" fmla="*/ 85053 w 300972"/>
                  <a:gd name="connsiteY2" fmla="*/ 82276 h 114184"/>
                  <a:gd name="connsiteX3" fmla="*/ 62057 w 300972"/>
                  <a:gd name="connsiteY3" fmla="*/ 84834 h 114184"/>
                  <a:gd name="connsiteX4" fmla="*/ 56148 w 300972"/>
                  <a:gd name="connsiteY4" fmla="*/ 88018 h 114184"/>
                  <a:gd name="connsiteX5" fmla="*/ 57758 w 300972"/>
                  <a:gd name="connsiteY5" fmla="*/ 29978 h 114184"/>
                  <a:gd name="connsiteX6" fmla="*/ 120308 w 300972"/>
                  <a:gd name="connsiteY6" fmla="*/ 26597 h 114184"/>
                  <a:gd name="connsiteX7" fmla="*/ 124341 w 300972"/>
                  <a:gd name="connsiteY7" fmla="*/ 28618 h 114184"/>
                  <a:gd name="connsiteX8" fmla="*/ 147602 w 300972"/>
                  <a:gd name="connsiteY8" fmla="*/ 34700 h 114184"/>
                  <a:gd name="connsiteX9" fmla="*/ 188128 w 300972"/>
                  <a:gd name="connsiteY9" fmla="*/ 35844 h 114184"/>
                  <a:gd name="connsiteX10" fmla="*/ 211461 w 300972"/>
                  <a:gd name="connsiteY10" fmla="*/ 55519 h 114184"/>
                  <a:gd name="connsiteX11" fmla="*/ 151069 w 300972"/>
                  <a:gd name="connsiteY11" fmla="*/ 53855 h 114184"/>
                  <a:gd name="connsiteX12" fmla="*/ 145329 w 300972"/>
                  <a:gd name="connsiteY12" fmla="*/ 59355 h 114184"/>
                  <a:gd name="connsiteX13" fmla="*/ 150769 w 300972"/>
                  <a:gd name="connsiteY13" fmla="*/ 65159 h 114184"/>
                  <a:gd name="connsiteX14" fmla="*/ 217351 w 300972"/>
                  <a:gd name="connsiteY14" fmla="*/ 66948 h 114184"/>
                  <a:gd name="connsiteX15" fmla="*/ 217510 w 300972"/>
                  <a:gd name="connsiteY15" fmla="*/ 66948 h 114184"/>
                  <a:gd name="connsiteX16" fmla="*/ 223029 w 300972"/>
                  <a:gd name="connsiteY16" fmla="*/ 61439 h 114184"/>
                  <a:gd name="connsiteX17" fmla="*/ 223030 w 300972"/>
                  <a:gd name="connsiteY17" fmla="*/ 61421 h 114184"/>
                  <a:gd name="connsiteX18" fmla="*/ 222463 w 300972"/>
                  <a:gd name="connsiteY18" fmla="*/ 53981 h 114184"/>
                  <a:gd name="connsiteX19" fmla="*/ 267483 w 300972"/>
                  <a:gd name="connsiteY19" fmla="*/ 32518 h 114184"/>
                  <a:gd name="connsiteX20" fmla="*/ 267695 w 300972"/>
                  <a:gd name="connsiteY20" fmla="*/ 32518 h 114184"/>
                  <a:gd name="connsiteX21" fmla="*/ 287153 w 300972"/>
                  <a:gd name="connsiteY21" fmla="*/ 35254 h 114184"/>
                  <a:gd name="connsiteX22" fmla="*/ 11341 w 300972"/>
                  <a:gd name="connsiteY22" fmla="*/ 98821 h 114184"/>
                  <a:gd name="connsiteX23" fmla="*/ 13729 w 300972"/>
                  <a:gd name="connsiteY23" fmla="*/ 11681 h 114184"/>
                  <a:gd name="connsiteX24" fmla="*/ 46968 w 300972"/>
                  <a:gd name="connsiteY24" fmla="*/ 12575 h 114184"/>
                  <a:gd name="connsiteX25" fmla="*/ 44562 w 300972"/>
                  <a:gd name="connsiteY25" fmla="*/ 99840 h 114184"/>
                  <a:gd name="connsiteX26" fmla="*/ 262795 w 300972"/>
                  <a:gd name="connsiteY26" fmla="*/ 22662 h 114184"/>
                  <a:gd name="connsiteX27" fmla="*/ 218926 w 300972"/>
                  <a:gd name="connsiteY27" fmla="*/ 43607 h 114184"/>
                  <a:gd name="connsiteX28" fmla="*/ 188447 w 300972"/>
                  <a:gd name="connsiteY28" fmla="*/ 24612 h 114184"/>
                  <a:gd name="connsiteX29" fmla="*/ 147938 w 300972"/>
                  <a:gd name="connsiteY29" fmla="*/ 23485 h 114184"/>
                  <a:gd name="connsiteX30" fmla="*/ 129647 w 300972"/>
                  <a:gd name="connsiteY30" fmla="*/ 18674 h 114184"/>
                  <a:gd name="connsiteX31" fmla="*/ 125544 w 300972"/>
                  <a:gd name="connsiteY31" fmla="*/ 16510 h 114184"/>
                  <a:gd name="connsiteX32" fmla="*/ 58183 w 300972"/>
                  <a:gd name="connsiteY32" fmla="*/ 16510 h 114184"/>
                  <a:gd name="connsiteX33" fmla="*/ 58448 w 300972"/>
                  <a:gd name="connsiteY33" fmla="*/ 7066 h 114184"/>
                  <a:gd name="connsiteX34" fmla="*/ 52949 w 300972"/>
                  <a:gd name="connsiteY34" fmla="*/ 1253 h 114184"/>
                  <a:gd name="connsiteX35" fmla="*/ 52947 w 300972"/>
                  <a:gd name="connsiteY35" fmla="*/ 1253 h 114184"/>
                  <a:gd name="connsiteX36" fmla="*/ 8458 w 300972"/>
                  <a:gd name="connsiteY36" fmla="*/ 1 h 114184"/>
                  <a:gd name="connsiteX37" fmla="*/ 2709 w 300972"/>
                  <a:gd name="connsiteY37" fmla="*/ 5564 h 114184"/>
                  <a:gd name="connsiteX38" fmla="*/ 2 w 300972"/>
                  <a:gd name="connsiteY38" fmla="*/ 104061 h 114184"/>
                  <a:gd name="connsiteX39" fmla="*/ 5446 w 300972"/>
                  <a:gd name="connsiteY39" fmla="*/ 109892 h 114184"/>
                  <a:gd name="connsiteX40" fmla="*/ 5451 w 300972"/>
                  <a:gd name="connsiteY40" fmla="*/ 109892 h 114184"/>
                  <a:gd name="connsiteX41" fmla="*/ 5451 w 300972"/>
                  <a:gd name="connsiteY41" fmla="*/ 109892 h 114184"/>
                  <a:gd name="connsiteX42" fmla="*/ 49886 w 300972"/>
                  <a:gd name="connsiteY42" fmla="*/ 111126 h 114184"/>
                  <a:gd name="connsiteX43" fmla="*/ 50045 w 300972"/>
                  <a:gd name="connsiteY43" fmla="*/ 111126 h 114184"/>
                  <a:gd name="connsiteX44" fmla="*/ 55671 w 300972"/>
                  <a:gd name="connsiteY44" fmla="*/ 105564 h 114184"/>
                  <a:gd name="connsiteX45" fmla="*/ 55795 w 300972"/>
                  <a:gd name="connsiteY45" fmla="*/ 100842 h 114184"/>
                  <a:gd name="connsiteX46" fmla="*/ 67328 w 300972"/>
                  <a:gd name="connsiteY46" fmla="*/ 94600 h 114184"/>
                  <a:gd name="connsiteX47" fmla="*/ 82099 w 300972"/>
                  <a:gd name="connsiteY47" fmla="*/ 92954 h 114184"/>
                  <a:gd name="connsiteX48" fmla="*/ 151087 w 300972"/>
                  <a:gd name="connsiteY48" fmla="*/ 112629 h 114184"/>
                  <a:gd name="connsiteX49" fmla="*/ 151423 w 300972"/>
                  <a:gd name="connsiteY49" fmla="*/ 112629 h 114184"/>
                  <a:gd name="connsiteX50" fmla="*/ 197805 w 300972"/>
                  <a:gd name="connsiteY50" fmla="*/ 107263 h 114184"/>
                  <a:gd name="connsiteX51" fmla="*/ 198494 w 300972"/>
                  <a:gd name="connsiteY51" fmla="*/ 106869 h 114184"/>
                  <a:gd name="connsiteX52" fmla="*/ 298421 w 300972"/>
                  <a:gd name="connsiteY52" fmla="*/ 41532 h 114184"/>
                  <a:gd name="connsiteX53" fmla="*/ 300190 w 300972"/>
                  <a:gd name="connsiteY53" fmla="*/ 33966 h 114184"/>
                  <a:gd name="connsiteX54" fmla="*/ 262813 w 300972"/>
                  <a:gd name="connsiteY54" fmla="*/ 22484 h 114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00972" h="114184">
                    <a:moveTo>
                      <a:pt x="192657" y="97336"/>
                    </a:moveTo>
                    <a:cubicBezTo>
                      <a:pt x="180465" y="102904"/>
                      <a:pt x="166845" y="104437"/>
                      <a:pt x="153740" y="101718"/>
                    </a:cubicBezTo>
                    <a:lnTo>
                      <a:pt x="85053" y="82276"/>
                    </a:lnTo>
                    <a:cubicBezTo>
                      <a:pt x="77349" y="80084"/>
                      <a:pt x="69105" y="81001"/>
                      <a:pt x="62057" y="84834"/>
                    </a:cubicBezTo>
                    <a:lnTo>
                      <a:pt x="56148" y="88018"/>
                    </a:lnTo>
                    <a:lnTo>
                      <a:pt x="57758" y="29978"/>
                    </a:lnTo>
                    <a:cubicBezTo>
                      <a:pt x="76440" y="17408"/>
                      <a:pt x="100407" y="16113"/>
                      <a:pt x="120308" y="26597"/>
                    </a:cubicBezTo>
                    <a:lnTo>
                      <a:pt x="124341" y="28618"/>
                    </a:lnTo>
                    <a:cubicBezTo>
                      <a:pt x="131546" y="32382"/>
                      <a:pt x="139496" y="34460"/>
                      <a:pt x="147602" y="34700"/>
                    </a:cubicBezTo>
                    <a:lnTo>
                      <a:pt x="188128" y="35844"/>
                    </a:lnTo>
                    <a:cubicBezTo>
                      <a:pt x="199474" y="36147"/>
                      <a:pt x="209129" y="44288"/>
                      <a:pt x="211461" y="55519"/>
                    </a:cubicBezTo>
                    <a:lnTo>
                      <a:pt x="151069" y="53855"/>
                    </a:lnTo>
                    <a:cubicBezTo>
                      <a:pt x="147982" y="53772"/>
                      <a:pt x="145412" y="56234"/>
                      <a:pt x="145329" y="59355"/>
                    </a:cubicBezTo>
                    <a:cubicBezTo>
                      <a:pt x="145246" y="62477"/>
                      <a:pt x="147681" y="65075"/>
                      <a:pt x="150769" y="65159"/>
                    </a:cubicBezTo>
                    <a:lnTo>
                      <a:pt x="217351" y="66948"/>
                    </a:lnTo>
                    <a:lnTo>
                      <a:pt x="217510" y="66948"/>
                    </a:lnTo>
                    <a:cubicBezTo>
                      <a:pt x="220539" y="66968"/>
                      <a:pt x="223010" y="64501"/>
                      <a:pt x="223029" y="61439"/>
                    </a:cubicBezTo>
                    <a:cubicBezTo>
                      <a:pt x="223029" y="61433"/>
                      <a:pt x="223029" y="61427"/>
                      <a:pt x="223030" y="61421"/>
                    </a:cubicBezTo>
                    <a:cubicBezTo>
                      <a:pt x="223098" y="58928"/>
                      <a:pt x="222908" y="56434"/>
                      <a:pt x="222463" y="53981"/>
                    </a:cubicBezTo>
                    <a:lnTo>
                      <a:pt x="267483" y="32518"/>
                    </a:lnTo>
                    <a:lnTo>
                      <a:pt x="267695" y="32518"/>
                    </a:lnTo>
                    <a:cubicBezTo>
                      <a:pt x="274106" y="29208"/>
                      <a:pt x="281879" y="30301"/>
                      <a:pt x="287153" y="35254"/>
                    </a:cubicBezTo>
                    <a:close/>
                    <a:moveTo>
                      <a:pt x="11341" y="98821"/>
                    </a:moveTo>
                    <a:lnTo>
                      <a:pt x="13729" y="11681"/>
                    </a:lnTo>
                    <a:lnTo>
                      <a:pt x="46968" y="12575"/>
                    </a:lnTo>
                    <a:lnTo>
                      <a:pt x="44562" y="99840"/>
                    </a:lnTo>
                    <a:close/>
                    <a:moveTo>
                      <a:pt x="262795" y="22662"/>
                    </a:moveTo>
                    <a:lnTo>
                      <a:pt x="218926" y="43607"/>
                    </a:lnTo>
                    <a:cubicBezTo>
                      <a:pt x="212857" y="32220"/>
                      <a:pt x="201235" y="24977"/>
                      <a:pt x="188447" y="24612"/>
                    </a:cubicBezTo>
                    <a:lnTo>
                      <a:pt x="147938" y="23485"/>
                    </a:lnTo>
                    <a:cubicBezTo>
                      <a:pt x="141565" y="23266"/>
                      <a:pt x="135318" y="21623"/>
                      <a:pt x="129647" y="18674"/>
                    </a:cubicBezTo>
                    <a:lnTo>
                      <a:pt x="125544" y="16510"/>
                    </a:lnTo>
                    <a:cubicBezTo>
                      <a:pt x="104442" y="5367"/>
                      <a:pt x="79284" y="5367"/>
                      <a:pt x="58183" y="16510"/>
                    </a:cubicBezTo>
                    <a:lnTo>
                      <a:pt x="58448" y="7066"/>
                    </a:lnTo>
                    <a:cubicBezTo>
                      <a:pt x="58517" y="3926"/>
                      <a:pt x="56055" y="1323"/>
                      <a:pt x="52949" y="1253"/>
                    </a:cubicBezTo>
                    <a:cubicBezTo>
                      <a:pt x="52948" y="1253"/>
                      <a:pt x="52947" y="1253"/>
                      <a:pt x="52947" y="1253"/>
                    </a:cubicBezTo>
                    <a:lnTo>
                      <a:pt x="8458" y="1"/>
                    </a:lnTo>
                    <a:cubicBezTo>
                      <a:pt x="5355" y="-59"/>
                      <a:pt x="2786" y="2426"/>
                      <a:pt x="2709" y="5564"/>
                    </a:cubicBezTo>
                    <a:lnTo>
                      <a:pt x="2" y="104061"/>
                    </a:lnTo>
                    <a:cubicBezTo>
                      <a:pt x="-87" y="107191"/>
                      <a:pt x="2351" y="109802"/>
                      <a:pt x="5446" y="109892"/>
                    </a:cubicBezTo>
                    <a:cubicBezTo>
                      <a:pt x="5448" y="109892"/>
                      <a:pt x="5449" y="109892"/>
                      <a:pt x="5451" y="109892"/>
                    </a:cubicBezTo>
                    <a:lnTo>
                      <a:pt x="5451" y="109892"/>
                    </a:lnTo>
                    <a:lnTo>
                      <a:pt x="49886" y="111126"/>
                    </a:lnTo>
                    <a:lnTo>
                      <a:pt x="50045" y="111126"/>
                    </a:lnTo>
                    <a:cubicBezTo>
                      <a:pt x="53108" y="111136"/>
                      <a:pt x="55613" y="108660"/>
                      <a:pt x="55671" y="105564"/>
                    </a:cubicBezTo>
                    <a:lnTo>
                      <a:pt x="55795" y="100842"/>
                    </a:lnTo>
                    <a:lnTo>
                      <a:pt x="67328" y="94600"/>
                    </a:lnTo>
                    <a:cubicBezTo>
                      <a:pt x="71856" y="92141"/>
                      <a:pt x="77150" y="91552"/>
                      <a:pt x="82099" y="92954"/>
                    </a:cubicBezTo>
                    <a:lnTo>
                      <a:pt x="151087" y="112629"/>
                    </a:lnTo>
                    <a:lnTo>
                      <a:pt x="151423" y="112629"/>
                    </a:lnTo>
                    <a:cubicBezTo>
                      <a:pt x="167054" y="115883"/>
                      <a:pt x="183305" y="114003"/>
                      <a:pt x="197805" y="107263"/>
                    </a:cubicBezTo>
                    <a:cubicBezTo>
                      <a:pt x="198053" y="107167"/>
                      <a:pt x="198285" y="107035"/>
                      <a:pt x="198494" y="106869"/>
                    </a:cubicBezTo>
                    <a:lnTo>
                      <a:pt x="298421" y="41532"/>
                    </a:lnTo>
                    <a:cubicBezTo>
                      <a:pt x="300937" y="39909"/>
                      <a:pt x="301721" y="36557"/>
                      <a:pt x="300190" y="33966"/>
                    </a:cubicBezTo>
                    <a:cubicBezTo>
                      <a:pt x="292760" y="20665"/>
                      <a:pt x="276306" y="15610"/>
                      <a:pt x="262813" y="22484"/>
                    </a:cubicBezTo>
                    <a:close/>
                  </a:path>
                </a:pathLst>
              </a:custGeom>
              <a:solidFill>
                <a:schemeClr val="bg1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51" name="Freeform 550">
                <a:extLst>
                  <a:ext uri="{FF2B5EF4-FFF2-40B4-BE49-F238E27FC236}">
                    <a16:creationId xmlns:a16="http://schemas.microsoft.com/office/drawing/2014/main" id="{8831CE7A-EF2A-2591-2F77-E2A9E26A18DA}"/>
                  </a:ext>
                </a:extLst>
              </p:cNvPr>
              <p:cNvSpPr/>
              <p:nvPr/>
            </p:nvSpPr>
            <p:spPr>
              <a:xfrm>
                <a:off x="6442445" y="4710051"/>
                <a:ext cx="136849" cy="100961"/>
              </a:xfrm>
              <a:custGeom>
                <a:avLst/>
                <a:gdLst>
                  <a:gd name="connsiteX0" fmla="*/ 41180 w 136849"/>
                  <a:gd name="connsiteY0" fmla="*/ 100961 h 100961"/>
                  <a:gd name="connsiteX1" fmla="*/ 40968 w 136849"/>
                  <a:gd name="connsiteY1" fmla="*/ 100961 h 100961"/>
                  <a:gd name="connsiteX2" fmla="*/ 35891 w 136849"/>
                  <a:gd name="connsiteY2" fmla="*/ 98618 h 100961"/>
                  <a:gd name="connsiteX3" fmla="*/ 1892 w 136849"/>
                  <a:gd name="connsiteY3" fmla="*/ 61290 h 100961"/>
                  <a:gd name="connsiteX4" fmla="*/ 2335 w 136849"/>
                  <a:gd name="connsiteY4" fmla="*/ 51006 h 100961"/>
                  <a:gd name="connsiteX5" fmla="*/ 12506 w 136849"/>
                  <a:gd name="connsiteY5" fmla="*/ 51453 h 100961"/>
                  <a:gd name="connsiteX6" fmla="*/ 41516 w 136849"/>
                  <a:gd name="connsiteY6" fmla="*/ 83308 h 100961"/>
                  <a:gd name="connsiteX7" fmla="*/ 124869 w 136849"/>
                  <a:gd name="connsiteY7" fmla="*/ 1838 h 100961"/>
                  <a:gd name="connsiteX8" fmla="*/ 135033 w 136849"/>
                  <a:gd name="connsiteY8" fmla="*/ 2445 h 100961"/>
                  <a:gd name="connsiteX9" fmla="*/ 134863 w 136849"/>
                  <a:gd name="connsiteY9" fmla="*/ 12301 h 100961"/>
                  <a:gd name="connsiteX10" fmla="*/ 46133 w 136849"/>
                  <a:gd name="connsiteY10" fmla="*/ 98922 h 100961"/>
                  <a:gd name="connsiteX11" fmla="*/ 41180 w 136849"/>
                  <a:gd name="connsiteY11" fmla="*/ 100961 h 100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6849" h="100961">
                    <a:moveTo>
                      <a:pt x="41180" y="100961"/>
                    </a:moveTo>
                    <a:lnTo>
                      <a:pt x="40968" y="100961"/>
                    </a:lnTo>
                    <a:cubicBezTo>
                      <a:pt x="39033" y="100904"/>
                      <a:pt x="37202" y="100059"/>
                      <a:pt x="35891" y="98618"/>
                    </a:cubicBezTo>
                    <a:lnTo>
                      <a:pt x="1892" y="61290"/>
                    </a:lnTo>
                    <a:cubicBezTo>
                      <a:pt x="-794" y="58327"/>
                      <a:pt x="-596" y="53722"/>
                      <a:pt x="2335" y="51006"/>
                    </a:cubicBezTo>
                    <a:cubicBezTo>
                      <a:pt x="5265" y="48290"/>
                      <a:pt x="9819" y="48490"/>
                      <a:pt x="12506" y="51453"/>
                    </a:cubicBezTo>
                    <a:lnTo>
                      <a:pt x="41516" y="83308"/>
                    </a:lnTo>
                    <a:lnTo>
                      <a:pt x="124869" y="1838"/>
                    </a:lnTo>
                    <a:cubicBezTo>
                      <a:pt x="127841" y="-833"/>
                      <a:pt x="132392" y="-561"/>
                      <a:pt x="135033" y="2445"/>
                    </a:cubicBezTo>
                    <a:cubicBezTo>
                      <a:pt x="137519" y="5275"/>
                      <a:pt x="137446" y="9560"/>
                      <a:pt x="134863" y="12301"/>
                    </a:cubicBezTo>
                    <a:lnTo>
                      <a:pt x="46133" y="98922"/>
                    </a:lnTo>
                    <a:cubicBezTo>
                      <a:pt x="44804" y="100223"/>
                      <a:pt x="43030" y="100954"/>
                      <a:pt x="41180" y="100961"/>
                    </a:cubicBezTo>
                  </a:path>
                </a:pathLst>
              </a:custGeom>
              <a:solidFill>
                <a:schemeClr val="bg1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52" name="Freeform 551">
                <a:extLst>
                  <a:ext uri="{FF2B5EF4-FFF2-40B4-BE49-F238E27FC236}">
                    <a16:creationId xmlns:a16="http://schemas.microsoft.com/office/drawing/2014/main" id="{FF043C1F-50E6-1C8C-DE9D-1C65C289464A}"/>
                  </a:ext>
                </a:extLst>
              </p:cNvPr>
              <p:cNvSpPr/>
              <p:nvPr/>
            </p:nvSpPr>
            <p:spPr>
              <a:xfrm>
                <a:off x="6412941" y="4694241"/>
                <a:ext cx="160364" cy="162147"/>
              </a:xfrm>
              <a:custGeom>
                <a:avLst/>
                <a:gdLst>
                  <a:gd name="connsiteX0" fmla="*/ 80024 w 160364"/>
                  <a:gd name="connsiteY0" fmla="*/ 162147 h 162147"/>
                  <a:gd name="connsiteX1" fmla="*/ 2031 w 160364"/>
                  <a:gd name="connsiteY1" fmla="*/ 99153 h 162147"/>
                  <a:gd name="connsiteX2" fmla="*/ 62361 w 160364"/>
                  <a:gd name="connsiteY2" fmla="*/ 2037 h 162147"/>
                  <a:gd name="connsiteX3" fmla="*/ 128386 w 160364"/>
                  <a:gd name="connsiteY3" fmla="*/ 16252 h 162147"/>
                  <a:gd name="connsiteX4" fmla="*/ 129235 w 160364"/>
                  <a:gd name="connsiteY4" fmla="*/ 22369 h 162147"/>
                  <a:gd name="connsiteX5" fmla="*/ 123186 w 160364"/>
                  <a:gd name="connsiteY5" fmla="*/ 23228 h 162147"/>
                  <a:gd name="connsiteX6" fmla="*/ 22964 w 160364"/>
                  <a:gd name="connsiteY6" fmla="*/ 37540 h 162147"/>
                  <a:gd name="connsiteX7" fmla="*/ 37119 w 160364"/>
                  <a:gd name="connsiteY7" fmla="*/ 138876 h 162147"/>
                  <a:gd name="connsiteX8" fmla="*/ 137341 w 160364"/>
                  <a:gd name="connsiteY8" fmla="*/ 124563 h 162147"/>
                  <a:gd name="connsiteX9" fmla="*/ 149914 w 160364"/>
                  <a:gd name="connsiteY9" fmla="*/ 64884 h 162147"/>
                  <a:gd name="connsiteX10" fmla="*/ 153160 w 160364"/>
                  <a:gd name="connsiteY10" fmla="*/ 59652 h 162147"/>
                  <a:gd name="connsiteX11" fmla="*/ 158334 w 160364"/>
                  <a:gd name="connsiteY11" fmla="*/ 62934 h 162147"/>
                  <a:gd name="connsiteX12" fmla="*/ 98031 w 160364"/>
                  <a:gd name="connsiteY12" fmla="*/ 160073 h 162147"/>
                  <a:gd name="connsiteX13" fmla="*/ 79953 w 160364"/>
                  <a:gd name="connsiteY13" fmla="*/ 162147 h 162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0364" h="162147">
                    <a:moveTo>
                      <a:pt x="80024" y="162147"/>
                    </a:moveTo>
                    <a:cubicBezTo>
                      <a:pt x="42703" y="162039"/>
                      <a:pt x="10381" y="135933"/>
                      <a:pt x="2031" y="99153"/>
                    </a:cubicBezTo>
                    <a:cubicBezTo>
                      <a:pt x="-7832" y="55491"/>
                      <a:pt x="19178" y="12010"/>
                      <a:pt x="62361" y="2037"/>
                    </a:cubicBezTo>
                    <a:cubicBezTo>
                      <a:pt x="85366" y="-3276"/>
                      <a:pt x="109518" y="1924"/>
                      <a:pt x="128386" y="16252"/>
                    </a:cubicBezTo>
                    <a:cubicBezTo>
                      <a:pt x="130291" y="17704"/>
                      <a:pt x="130672" y="20443"/>
                      <a:pt x="129235" y="22369"/>
                    </a:cubicBezTo>
                    <a:cubicBezTo>
                      <a:pt x="127799" y="24295"/>
                      <a:pt x="125091" y="24680"/>
                      <a:pt x="123186" y="23228"/>
                    </a:cubicBezTo>
                    <a:cubicBezTo>
                      <a:pt x="91601" y="-803"/>
                      <a:pt x="46730" y="5605"/>
                      <a:pt x="22964" y="37540"/>
                    </a:cubicBezTo>
                    <a:cubicBezTo>
                      <a:pt x="-803" y="69476"/>
                      <a:pt x="5535" y="114845"/>
                      <a:pt x="37119" y="138876"/>
                    </a:cubicBezTo>
                    <a:cubicBezTo>
                      <a:pt x="68703" y="162907"/>
                      <a:pt x="113574" y="156499"/>
                      <a:pt x="137341" y="124563"/>
                    </a:cubicBezTo>
                    <a:cubicBezTo>
                      <a:pt x="150027" y="107517"/>
                      <a:pt x="154628" y="85679"/>
                      <a:pt x="149914" y="64884"/>
                    </a:cubicBezTo>
                    <a:cubicBezTo>
                      <a:pt x="149382" y="62533"/>
                      <a:pt x="150835" y="60191"/>
                      <a:pt x="153160" y="59652"/>
                    </a:cubicBezTo>
                    <a:cubicBezTo>
                      <a:pt x="155485" y="59114"/>
                      <a:pt x="157802" y="60583"/>
                      <a:pt x="158334" y="62934"/>
                    </a:cubicBezTo>
                    <a:cubicBezTo>
                      <a:pt x="168192" y="106592"/>
                      <a:pt x="141202" y="150070"/>
                      <a:pt x="98031" y="160073"/>
                    </a:cubicBezTo>
                    <a:cubicBezTo>
                      <a:pt x="92102" y="161451"/>
                      <a:pt x="86037" y="162147"/>
                      <a:pt x="79953" y="162147"/>
                    </a:cubicBezTo>
                  </a:path>
                </a:pathLst>
              </a:custGeom>
              <a:solidFill>
                <a:schemeClr val="bg1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+mj-lt"/>
                </a:endParaRPr>
              </a:p>
            </p:txBody>
          </p:sp>
          <p:sp>
            <p:nvSpPr>
              <p:cNvPr id="553" name="Freeform 552">
                <a:extLst>
                  <a:ext uri="{FF2B5EF4-FFF2-40B4-BE49-F238E27FC236}">
                    <a16:creationId xmlns:a16="http://schemas.microsoft.com/office/drawing/2014/main" id="{F1457458-16B1-53B9-BD49-E5E57A3FB80D}"/>
                  </a:ext>
                </a:extLst>
              </p:cNvPr>
              <p:cNvSpPr/>
              <p:nvPr/>
            </p:nvSpPr>
            <p:spPr>
              <a:xfrm>
                <a:off x="6672176" y="4752132"/>
                <a:ext cx="45500" cy="46002"/>
              </a:xfrm>
              <a:custGeom>
                <a:avLst/>
                <a:gdLst>
                  <a:gd name="connsiteX0" fmla="*/ 22766 w 45500"/>
                  <a:gd name="connsiteY0" fmla="*/ 7619 h 46002"/>
                  <a:gd name="connsiteX1" fmla="*/ 7571 w 45500"/>
                  <a:gd name="connsiteY1" fmla="*/ 22948 h 46002"/>
                  <a:gd name="connsiteX2" fmla="*/ 22731 w 45500"/>
                  <a:gd name="connsiteY2" fmla="*/ 38312 h 46002"/>
                  <a:gd name="connsiteX3" fmla="*/ 37926 w 45500"/>
                  <a:gd name="connsiteY3" fmla="*/ 22983 h 46002"/>
                  <a:gd name="connsiteX4" fmla="*/ 22766 w 45500"/>
                  <a:gd name="connsiteY4" fmla="*/ 7619 h 46002"/>
                  <a:gd name="connsiteX5" fmla="*/ 22766 w 45500"/>
                  <a:gd name="connsiteY5" fmla="*/ 46002 h 46002"/>
                  <a:gd name="connsiteX6" fmla="*/ 0 w 45500"/>
                  <a:gd name="connsiteY6" fmla="*/ 23019 h 46002"/>
                  <a:gd name="connsiteX7" fmla="*/ 22731 w 45500"/>
                  <a:gd name="connsiteY7" fmla="*/ 0 h 46002"/>
                  <a:gd name="connsiteX8" fmla="*/ 45497 w 45500"/>
                  <a:gd name="connsiteY8" fmla="*/ 22983 h 46002"/>
                  <a:gd name="connsiteX9" fmla="*/ 23580 w 45500"/>
                  <a:gd name="connsiteY9" fmla="*/ 46003 h 46002"/>
                  <a:gd name="connsiteX10" fmla="*/ 22766 w 45500"/>
                  <a:gd name="connsiteY10" fmla="*/ 46002 h 4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500" h="46002">
                    <a:moveTo>
                      <a:pt x="22766" y="7619"/>
                    </a:moveTo>
                    <a:cubicBezTo>
                      <a:pt x="14384" y="7610"/>
                      <a:pt x="7581" y="14472"/>
                      <a:pt x="7571" y="22948"/>
                    </a:cubicBezTo>
                    <a:cubicBezTo>
                      <a:pt x="7561" y="31423"/>
                      <a:pt x="14349" y="38302"/>
                      <a:pt x="22731" y="38312"/>
                    </a:cubicBezTo>
                    <a:cubicBezTo>
                      <a:pt x="31113" y="38321"/>
                      <a:pt x="37916" y="31459"/>
                      <a:pt x="37926" y="22983"/>
                    </a:cubicBezTo>
                    <a:cubicBezTo>
                      <a:pt x="37936" y="14508"/>
                      <a:pt x="31148" y="7629"/>
                      <a:pt x="22766" y="7619"/>
                    </a:cubicBezTo>
                    <a:moveTo>
                      <a:pt x="22766" y="46002"/>
                    </a:moveTo>
                    <a:cubicBezTo>
                      <a:pt x="10203" y="46012"/>
                      <a:pt x="10" y="35722"/>
                      <a:pt x="0" y="23019"/>
                    </a:cubicBezTo>
                    <a:cubicBezTo>
                      <a:pt x="-10" y="10316"/>
                      <a:pt x="10167" y="10"/>
                      <a:pt x="22731" y="0"/>
                    </a:cubicBezTo>
                    <a:cubicBezTo>
                      <a:pt x="35294" y="-10"/>
                      <a:pt x="45487" y="10280"/>
                      <a:pt x="45497" y="22983"/>
                    </a:cubicBezTo>
                    <a:cubicBezTo>
                      <a:pt x="45724" y="35456"/>
                      <a:pt x="35916" y="45758"/>
                      <a:pt x="23580" y="46003"/>
                    </a:cubicBezTo>
                    <a:lnTo>
                      <a:pt x="22766" y="46002"/>
                    </a:lnTo>
                    <a:close/>
                  </a:path>
                </a:pathLst>
              </a:custGeom>
              <a:solidFill>
                <a:schemeClr val="bg1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54" name="Freeform 553">
                <a:extLst>
                  <a:ext uri="{FF2B5EF4-FFF2-40B4-BE49-F238E27FC236}">
                    <a16:creationId xmlns:a16="http://schemas.microsoft.com/office/drawing/2014/main" id="{FB96363A-B956-8197-6E48-80E1A56B3086}"/>
                  </a:ext>
                </a:extLst>
              </p:cNvPr>
              <p:cNvSpPr/>
              <p:nvPr/>
            </p:nvSpPr>
            <p:spPr>
              <a:xfrm>
                <a:off x="6600198" y="4679128"/>
                <a:ext cx="189275" cy="191486"/>
              </a:xfrm>
              <a:custGeom>
                <a:avLst/>
                <a:gdLst>
                  <a:gd name="connsiteX0" fmla="*/ 98990 w 189275"/>
                  <a:gd name="connsiteY0" fmla="*/ 168175 h 191486"/>
                  <a:gd name="connsiteX1" fmla="*/ 98990 w 189275"/>
                  <a:gd name="connsiteY1" fmla="*/ 158194 h 191486"/>
                  <a:gd name="connsiteX2" fmla="*/ 94388 w 189275"/>
                  <a:gd name="connsiteY2" fmla="*/ 154101 h 191486"/>
                  <a:gd name="connsiteX3" fmla="*/ 90339 w 189275"/>
                  <a:gd name="connsiteY3" fmla="*/ 158194 h 191486"/>
                  <a:gd name="connsiteX4" fmla="*/ 90339 w 189275"/>
                  <a:gd name="connsiteY4" fmla="*/ 168175 h 191486"/>
                  <a:gd name="connsiteX5" fmla="*/ 23279 w 189275"/>
                  <a:gd name="connsiteY5" fmla="*/ 100352 h 191486"/>
                  <a:gd name="connsiteX6" fmla="*/ 33150 w 189275"/>
                  <a:gd name="connsiteY6" fmla="*/ 100352 h 191486"/>
                  <a:gd name="connsiteX7" fmla="*/ 37466 w 189275"/>
                  <a:gd name="connsiteY7" fmla="*/ 95987 h 191486"/>
                  <a:gd name="connsiteX8" fmla="*/ 33150 w 189275"/>
                  <a:gd name="connsiteY8" fmla="*/ 91623 h 191486"/>
                  <a:gd name="connsiteX9" fmla="*/ 23279 w 189275"/>
                  <a:gd name="connsiteY9" fmla="*/ 91623 h 191486"/>
                  <a:gd name="connsiteX10" fmla="*/ 90339 w 189275"/>
                  <a:gd name="connsiteY10" fmla="*/ 23836 h 191486"/>
                  <a:gd name="connsiteX11" fmla="*/ 90339 w 189275"/>
                  <a:gd name="connsiteY11" fmla="*/ 33816 h 191486"/>
                  <a:gd name="connsiteX12" fmla="*/ 94388 w 189275"/>
                  <a:gd name="connsiteY12" fmla="*/ 38469 h 191486"/>
                  <a:gd name="connsiteX13" fmla="*/ 98990 w 189275"/>
                  <a:gd name="connsiteY13" fmla="*/ 34376 h 191486"/>
                  <a:gd name="connsiteX14" fmla="*/ 98990 w 189275"/>
                  <a:gd name="connsiteY14" fmla="*/ 33816 h 191486"/>
                  <a:gd name="connsiteX15" fmla="*/ 98990 w 189275"/>
                  <a:gd name="connsiteY15" fmla="*/ 23836 h 191486"/>
                  <a:gd name="connsiteX16" fmla="*/ 166032 w 189275"/>
                  <a:gd name="connsiteY16" fmla="*/ 91659 h 191486"/>
                  <a:gd name="connsiteX17" fmla="*/ 156161 w 189275"/>
                  <a:gd name="connsiteY17" fmla="*/ 91659 h 191486"/>
                  <a:gd name="connsiteX18" fmla="*/ 151845 w 189275"/>
                  <a:gd name="connsiteY18" fmla="*/ 96023 h 191486"/>
                  <a:gd name="connsiteX19" fmla="*/ 156161 w 189275"/>
                  <a:gd name="connsiteY19" fmla="*/ 100387 h 191486"/>
                  <a:gd name="connsiteX20" fmla="*/ 166032 w 189275"/>
                  <a:gd name="connsiteY20" fmla="*/ 100387 h 191486"/>
                  <a:gd name="connsiteX21" fmla="*/ 98990 w 189275"/>
                  <a:gd name="connsiteY21" fmla="*/ 168211 h 191486"/>
                  <a:gd name="connsiteX22" fmla="*/ 184960 w 189275"/>
                  <a:gd name="connsiteY22" fmla="*/ 91659 h 191486"/>
                  <a:gd name="connsiteX23" fmla="*/ 174611 w 189275"/>
                  <a:gd name="connsiteY23" fmla="*/ 91659 h 191486"/>
                  <a:gd name="connsiteX24" fmla="*/ 98936 w 189275"/>
                  <a:gd name="connsiteY24" fmla="*/ 15107 h 191486"/>
                  <a:gd name="connsiteX25" fmla="*/ 98936 w 189275"/>
                  <a:gd name="connsiteY25" fmla="*/ 4662 h 191486"/>
                  <a:gd name="connsiteX26" fmla="*/ 94888 w 189275"/>
                  <a:gd name="connsiteY26" fmla="*/ 9 h 191486"/>
                  <a:gd name="connsiteX27" fmla="*/ 90286 w 189275"/>
                  <a:gd name="connsiteY27" fmla="*/ 4102 h 191486"/>
                  <a:gd name="connsiteX28" fmla="*/ 90286 w 189275"/>
                  <a:gd name="connsiteY28" fmla="*/ 4662 h 191486"/>
                  <a:gd name="connsiteX29" fmla="*/ 90286 w 189275"/>
                  <a:gd name="connsiteY29" fmla="*/ 15072 h 191486"/>
                  <a:gd name="connsiteX30" fmla="*/ 14647 w 189275"/>
                  <a:gd name="connsiteY30" fmla="*/ 91659 h 191486"/>
                  <a:gd name="connsiteX31" fmla="*/ 4316 w 189275"/>
                  <a:gd name="connsiteY31" fmla="*/ 91659 h 191486"/>
                  <a:gd name="connsiteX32" fmla="*/ 0 w 189275"/>
                  <a:gd name="connsiteY32" fmla="*/ 96023 h 191486"/>
                  <a:gd name="connsiteX33" fmla="*/ 4316 w 189275"/>
                  <a:gd name="connsiteY33" fmla="*/ 100387 h 191486"/>
                  <a:gd name="connsiteX34" fmla="*/ 14647 w 189275"/>
                  <a:gd name="connsiteY34" fmla="*/ 100387 h 191486"/>
                  <a:gd name="connsiteX35" fmla="*/ 90339 w 189275"/>
                  <a:gd name="connsiteY35" fmla="*/ 176939 h 191486"/>
                  <a:gd name="connsiteX36" fmla="*/ 90339 w 189275"/>
                  <a:gd name="connsiteY36" fmla="*/ 187384 h 191486"/>
                  <a:gd name="connsiteX37" fmla="*/ 94941 w 189275"/>
                  <a:gd name="connsiteY37" fmla="*/ 191478 h 191486"/>
                  <a:gd name="connsiteX38" fmla="*/ 98990 w 189275"/>
                  <a:gd name="connsiteY38" fmla="*/ 187384 h 191486"/>
                  <a:gd name="connsiteX39" fmla="*/ 98990 w 189275"/>
                  <a:gd name="connsiteY39" fmla="*/ 176939 h 191486"/>
                  <a:gd name="connsiteX40" fmla="*/ 174664 w 189275"/>
                  <a:gd name="connsiteY40" fmla="*/ 100387 h 191486"/>
                  <a:gd name="connsiteX41" fmla="*/ 184960 w 189275"/>
                  <a:gd name="connsiteY41" fmla="*/ 100387 h 191486"/>
                  <a:gd name="connsiteX42" fmla="*/ 189276 w 189275"/>
                  <a:gd name="connsiteY42" fmla="*/ 96023 h 191486"/>
                  <a:gd name="connsiteX43" fmla="*/ 184960 w 189275"/>
                  <a:gd name="connsiteY43" fmla="*/ 91659 h 191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89275" h="191486">
                    <a:moveTo>
                      <a:pt x="98990" y="168175"/>
                    </a:moveTo>
                    <a:lnTo>
                      <a:pt x="98990" y="158194"/>
                    </a:lnTo>
                    <a:cubicBezTo>
                      <a:pt x="98837" y="155779"/>
                      <a:pt x="96776" y="153947"/>
                      <a:pt x="94388" y="154101"/>
                    </a:cubicBezTo>
                    <a:cubicBezTo>
                      <a:pt x="92212" y="154242"/>
                      <a:pt x="90479" y="155995"/>
                      <a:pt x="90339" y="158194"/>
                    </a:cubicBezTo>
                    <a:lnTo>
                      <a:pt x="90339" y="168175"/>
                    </a:lnTo>
                    <a:cubicBezTo>
                      <a:pt x="54252" y="165939"/>
                      <a:pt x="25481" y="136840"/>
                      <a:pt x="23279" y="100352"/>
                    </a:cubicBezTo>
                    <a:lnTo>
                      <a:pt x="33150" y="100352"/>
                    </a:lnTo>
                    <a:cubicBezTo>
                      <a:pt x="35534" y="100352"/>
                      <a:pt x="37466" y="98398"/>
                      <a:pt x="37466" y="95987"/>
                    </a:cubicBezTo>
                    <a:cubicBezTo>
                      <a:pt x="37466" y="93577"/>
                      <a:pt x="35534" y="91623"/>
                      <a:pt x="33150" y="91623"/>
                    </a:cubicBezTo>
                    <a:lnTo>
                      <a:pt x="23279" y="91623"/>
                    </a:lnTo>
                    <a:cubicBezTo>
                      <a:pt x="25491" y="55145"/>
                      <a:pt x="54261" y="26062"/>
                      <a:pt x="90339" y="23836"/>
                    </a:cubicBezTo>
                    <a:lnTo>
                      <a:pt x="90339" y="33816"/>
                    </a:lnTo>
                    <a:cubicBezTo>
                      <a:pt x="90187" y="36231"/>
                      <a:pt x="91999" y="38314"/>
                      <a:pt x="94388" y="38469"/>
                    </a:cubicBezTo>
                    <a:cubicBezTo>
                      <a:pt x="96776" y="38623"/>
                      <a:pt x="98837" y="36791"/>
                      <a:pt x="98990" y="34376"/>
                    </a:cubicBezTo>
                    <a:cubicBezTo>
                      <a:pt x="99001" y="34189"/>
                      <a:pt x="99001" y="34002"/>
                      <a:pt x="98990" y="33816"/>
                    </a:cubicBezTo>
                    <a:lnTo>
                      <a:pt x="98990" y="23836"/>
                    </a:lnTo>
                    <a:cubicBezTo>
                      <a:pt x="135073" y="26073"/>
                      <a:pt x="163839" y="55173"/>
                      <a:pt x="166032" y="91659"/>
                    </a:cubicBezTo>
                    <a:lnTo>
                      <a:pt x="156161" y="91659"/>
                    </a:lnTo>
                    <a:cubicBezTo>
                      <a:pt x="153778" y="91659"/>
                      <a:pt x="151845" y="93613"/>
                      <a:pt x="151845" y="96023"/>
                    </a:cubicBezTo>
                    <a:cubicBezTo>
                      <a:pt x="151845" y="98433"/>
                      <a:pt x="153778" y="100387"/>
                      <a:pt x="156161" y="100387"/>
                    </a:cubicBezTo>
                    <a:lnTo>
                      <a:pt x="166032" y="100387"/>
                    </a:lnTo>
                    <a:cubicBezTo>
                      <a:pt x="163831" y="136870"/>
                      <a:pt x="135070" y="165966"/>
                      <a:pt x="98990" y="168211"/>
                    </a:cubicBezTo>
                    <a:moveTo>
                      <a:pt x="184960" y="91659"/>
                    </a:moveTo>
                    <a:lnTo>
                      <a:pt x="174611" y="91659"/>
                    </a:lnTo>
                    <a:cubicBezTo>
                      <a:pt x="172374" y="50368"/>
                      <a:pt x="139773" y="17389"/>
                      <a:pt x="98936" y="15107"/>
                    </a:cubicBezTo>
                    <a:lnTo>
                      <a:pt x="98936" y="4662"/>
                    </a:lnTo>
                    <a:cubicBezTo>
                      <a:pt x="99089" y="2247"/>
                      <a:pt x="97277" y="164"/>
                      <a:pt x="94888" y="9"/>
                    </a:cubicBezTo>
                    <a:cubicBezTo>
                      <a:pt x="92500" y="-145"/>
                      <a:pt x="90439" y="1687"/>
                      <a:pt x="90286" y="4102"/>
                    </a:cubicBezTo>
                    <a:cubicBezTo>
                      <a:pt x="90275" y="4289"/>
                      <a:pt x="90275" y="4476"/>
                      <a:pt x="90286" y="4662"/>
                    </a:cubicBezTo>
                    <a:lnTo>
                      <a:pt x="90286" y="15072"/>
                    </a:lnTo>
                    <a:cubicBezTo>
                      <a:pt x="49454" y="17380"/>
                      <a:pt x="16873" y="50370"/>
                      <a:pt x="14647" y="91659"/>
                    </a:cubicBezTo>
                    <a:lnTo>
                      <a:pt x="4316" y="91659"/>
                    </a:lnTo>
                    <a:cubicBezTo>
                      <a:pt x="1932" y="91659"/>
                      <a:pt x="0" y="93613"/>
                      <a:pt x="0" y="96023"/>
                    </a:cubicBezTo>
                    <a:cubicBezTo>
                      <a:pt x="0" y="98433"/>
                      <a:pt x="1932" y="100387"/>
                      <a:pt x="4316" y="100387"/>
                    </a:cubicBezTo>
                    <a:lnTo>
                      <a:pt x="14647" y="100387"/>
                    </a:lnTo>
                    <a:cubicBezTo>
                      <a:pt x="16877" y="141689"/>
                      <a:pt x="49493" y="174674"/>
                      <a:pt x="90339" y="176939"/>
                    </a:cubicBezTo>
                    <a:lnTo>
                      <a:pt x="90339" y="187384"/>
                    </a:lnTo>
                    <a:cubicBezTo>
                      <a:pt x="90492" y="189799"/>
                      <a:pt x="92553" y="191632"/>
                      <a:pt x="94941" y="191478"/>
                    </a:cubicBezTo>
                    <a:cubicBezTo>
                      <a:pt x="97117" y="191337"/>
                      <a:pt x="98850" y="189584"/>
                      <a:pt x="98990" y="187384"/>
                    </a:cubicBezTo>
                    <a:lnTo>
                      <a:pt x="98990" y="176939"/>
                    </a:lnTo>
                    <a:cubicBezTo>
                      <a:pt x="139830" y="174665"/>
                      <a:pt x="172435" y="141682"/>
                      <a:pt x="174664" y="100387"/>
                    </a:cubicBezTo>
                    <a:lnTo>
                      <a:pt x="184960" y="100387"/>
                    </a:lnTo>
                    <a:cubicBezTo>
                      <a:pt x="187343" y="100387"/>
                      <a:pt x="189276" y="98433"/>
                      <a:pt x="189276" y="96023"/>
                    </a:cubicBezTo>
                    <a:cubicBezTo>
                      <a:pt x="189276" y="93613"/>
                      <a:pt x="187343" y="91659"/>
                      <a:pt x="184960" y="91659"/>
                    </a:cubicBezTo>
                  </a:path>
                </a:pathLst>
              </a:custGeom>
              <a:solidFill>
                <a:schemeClr val="bg1"/>
              </a:solidFill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+mj-lt"/>
                </a:endParaRPr>
              </a:p>
            </p:txBody>
          </p:sp>
          <p:sp>
            <p:nvSpPr>
              <p:cNvPr id="555" name="Freeform 554">
                <a:extLst>
                  <a:ext uri="{FF2B5EF4-FFF2-40B4-BE49-F238E27FC236}">
                    <a16:creationId xmlns:a16="http://schemas.microsoft.com/office/drawing/2014/main" id="{3735C553-1853-FAE0-0038-DB16D2EFB5BF}"/>
                  </a:ext>
                </a:extLst>
              </p:cNvPr>
              <p:cNvSpPr/>
              <p:nvPr/>
            </p:nvSpPr>
            <p:spPr>
              <a:xfrm>
                <a:off x="6412938" y="4679408"/>
                <a:ext cx="376570" cy="312931"/>
              </a:xfrm>
              <a:custGeom>
                <a:avLst/>
                <a:gdLst>
                  <a:gd name="connsiteX0" fmla="*/ 0 w 376570"/>
                  <a:gd name="connsiteY0" fmla="*/ 0 h 312931"/>
                  <a:gd name="connsiteX1" fmla="*/ 376571 w 376570"/>
                  <a:gd name="connsiteY1" fmla="*/ 0 h 312931"/>
                  <a:gd name="connsiteX2" fmla="*/ 376571 w 376570"/>
                  <a:gd name="connsiteY2" fmla="*/ 312932 h 312931"/>
                  <a:gd name="connsiteX3" fmla="*/ 0 w 376570"/>
                  <a:gd name="connsiteY3" fmla="*/ 312932 h 312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6570" h="312931">
                    <a:moveTo>
                      <a:pt x="0" y="0"/>
                    </a:moveTo>
                    <a:lnTo>
                      <a:pt x="376571" y="0"/>
                    </a:lnTo>
                    <a:lnTo>
                      <a:pt x="376571" y="312932"/>
                    </a:lnTo>
                    <a:lnTo>
                      <a:pt x="0" y="312932"/>
                    </a:lnTo>
                    <a:close/>
                  </a:path>
                </a:pathLst>
              </a:custGeom>
              <a:noFill/>
              <a:ln w="1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</p:grpSp>
      </p:grpSp>
      <p:grpSp>
        <p:nvGrpSpPr>
          <p:cNvPr id="556" name="Group 555">
            <a:extLst>
              <a:ext uri="{FF2B5EF4-FFF2-40B4-BE49-F238E27FC236}">
                <a16:creationId xmlns:a16="http://schemas.microsoft.com/office/drawing/2014/main" id="{2024C1F9-0DEA-6F0A-8641-4522E6F74E43}"/>
              </a:ext>
            </a:extLst>
          </p:cNvPr>
          <p:cNvGrpSpPr/>
          <p:nvPr/>
        </p:nvGrpSpPr>
        <p:grpSpPr>
          <a:xfrm>
            <a:off x="308560" y="1118234"/>
            <a:ext cx="1109662" cy="774277"/>
            <a:chOff x="4496980" y="4354878"/>
            <a:chExt cx="1109662" cy="774277"/>
          </a:xfrm>
        </p:grpSpPr>
        <p:sp>
          <p:nvSpPr>
            <p:cNvPr id="557" name="TextBox 18">
              <a:extLst>
                <a:ext uri="{FF2B5EF4-FFF2-40B4-BE49-F238E27FC236}">
                  <a16:creationId xmlns:a16="http://schemas.microsoft.com/office/drawing/2014/main" id="{2EE81C48-AFE2-A698-767E-C691AAA51EF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96980" y="4790601"/>
              <a:ext cx="110966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800" b="1" dirty="0">
                  <a:solidFill>
                    <a:schemeClr val="bg2"/>
                  </a:solidFill>
                  <a:latin typeface="+mj-lt"/>
                </a:rPr>
                <a:t>Validation Solutions</a:t>
              </a:r>
            </a:p>
          </p:txBody>
        </p:sp>
        <p:pic>
          <p:nvPicPr>
            <p:cNvPr id="558" name="Graphic 557">
              <a:extLst>
                <a:ext uri="{FF2B5EF4-FFF2-40B4-BE49-F238E27FC236}">
                  <a16:creationId xmlns:a16="http://schemas.microsoft.com/office/drawing/2014/main" id="{B2F371F2-D7E5-E43F-CCE1-24F41656EB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735677" y="4354878"/>
              <a:ext cx="653336" cy="3920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35287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Rectangle 262">
            <a:extLst>
              <a:ext uri="{FF2B5EF4-FFF2-40B4-BE49-F238E27FC236}">
                <a16:creationId xmlns:a16="http://schemas.microsoft.com/office/drawing/2014/main" id="{1D5AC234-94C9-AE59-99FC-C02F27973187}"/>
              </a:ext>
            </a:extLst>
          </p:cNvPr>
          <p:cNvSpPr/>
          <p:nvPr/>
        </p:nvSpPr>
        <p:spPr>
          <a:xfrm>
            <a:off x="0" y="0"/>
            <a:ext cx="9144000" cy="830652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39BE441A-0C0B-8146-89F9-D9BCB00915AD}"/>
              </a:ext>
            </a:extLst>
          </p:cNvPr>
          <p:cNvSpPr txBox="1"/>
          <p:nvPr/>
        </p:nvSpPr>
        <p:spPr>
          <a:xfrm>
            <a:off x="418259" y="472311"/>
            <a:ext cx="2459411" cy="272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dirty="0">
                <a:solidFill>
                  <a:schemeClr val="bg2"/>
                </a:solidFill>
                <a:latin typeface="+mn-lt"/>
              </a:rPr>
              <a:t>Misc. Objects/shapes </a:t>
            </a:r>
          </a:p>
        </p:txBody>
      </p:sp>
      <p:sp>
        <p:nvSpPr>
          <p:cNvPr id="2" name="Graphic 2">
            <a:extLst>
              <a:ext uri="{FF2B5EF4-FFF2-40B4-BE49-F238E27FC236}">
                <a16:creationId xmlns:a16="http://schemas.microsoft.com/office/drawing/2014/main" id="{8DCBC856-9987-AC3F-B27E-375359E06DB4}"/>
              </a:ext>
            </a:extLst>
          </p:cNvPr>
          <p:cNvSpPr>
            <a:spLocks/>
          </p:cNvSpPr>
          <p:nvPr/>
        </p:nvSpPr>
        <p:spPr bwMode="auto">
          <a:xfrm>
            <a:off x="4229738" y="1165713"/>
            <a:ext cx="1144587" cy="1062038"/>
          </a:xfrm>
          <a:custGeom>
            <a:avLst/>
            <a:gdLst>
              <a:gd name="T0" fmla="*/ 233919 w 3318440"/>
              <a:gd name="T1" fmla="*/ 16935 h 3077833"/>
              <a:gd name="T2" fmla="*/ 431140 w 3318440"/>
              <a:gd name="T3" fmla="*/ 21280 h 3077833"/>
              <a:gd name="T4" fmla="*/ 593867 w 3318440"/>
              <a:gd name="T5" fmla="*/ 138747 h 3077833"/>
              <a:gd name="T6" fmla="*/ 741192 w 3318440"/>
              <a:gd name="T7" fmla="*/ 276500 h 3077833"/>
              <a:gd name="T8" fmla="*/ 890249 w 3318440"/>
              <a:gd name="T9" fmla="*/ 295302 h 3077833"/>
              <a:gd name="T10" fmla="*/ 966151 w 3318440"/>
              <a:gd name="T11" fmla="*/ 274217 h 3077833"/>
              <a:gd name="T12" fmla="*/ 1131638 w 3318440"/>
              <a:gd name="T13" fmla="*/ 357501 h 3077833"/>
              <a:gd name="T14" fmla="*/ 1145341 w 3318440"/>
              <a:gd name="T15" fmla="*/ 415502 h 3077833"/>
              <a:gd name="T16" fmla="*/ 1102999 w 3318440"/>
              <a:gd name="T17" fmla="*/ 500729 h 3077833"/>
              <a:gd name="T18" fmla="*/ 673250 w 3318440"/>
              <a:gd name="T19" fmla="*/ 785271 h 3077833"/>
              <a:gd name="T20" fmla="*/ 540863 w 3318440"/>
              <a:gd name="T21" fmla="*/ 870830 h 3077833"/>
              <a:gd name="T22" fmla="*/ 339158 w 3318440"/>
              <a:gd name="T23" fmla="*/ 1054787 h 3077833"/>
              <a:gd name="T24" fmla="*/ 172028 w 3318440"/>
              <a:gd name="T25" fmla="*/ 1043988 h 3077833"/>
              <a:gd name="T26" fmla="*/ 111633 w 3318440"/>
              <a:gd name="T27" fmla="*/ 1022736 h 3077833"/>
              <a:gd name="T28" fmla="*/ 52538 w 3318440"/>
              <a:gd name="T29" fmla="*/ 958314 h 3077833"/>
              <a:gd name="T30" fmla="*/ 26722 w 3318440"/>
              <a:gd name="T31" fmla="*/ 537500 h 3077833"/>
              <a:gd name="T32" fmla="*/ 102692 w 3318440"/>
              <a:gd name="T33" fmla="*/ 225899 h 3077833"/>
              <a:gd name="T34" fmla="*/ 233919 w 3318440"/>
              <a:gd name="T35" fmla="*/ 16935 h 307783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18440" h="3077833">
                <a:moveTo>
                  <a:pt x="677701" y="49064"/>
                </a:moveTo>
                <a:cubicBezTo>
                  <a:pt x="858385" y="-25154"/>
                  <a:pt x="1067582" y="-10491"/>
                  <a:pt x="1249083" y="61653"/>
                </a:cubicBezTo>
                <a:cubicBezTo>
                  <a:pt x="1430584" y="133797"/>
                  <a:pt x="1586774" y="259454"/>
                  <a:pt x="1720530" y="401972"/>
                </a:cubicBezTo>
                <a:cubicBezTo>
                  <a:pt x="1854600" y="544833"/>
                  <a:pt x="1973958" y="710131"/>
                  <a:pt x="2147357" y="801067"/>
                </a:cubicBezTo>
                <a:cubicBezTo>
                  <a:pt x="2280248" y="870129"/>
                  <a:pt x="2433368" y="889444"/>
                  <a:pt x="2579199" y="855541"/>
                </a:cubicBezTo>
                <a:cubicBezTo>
                  <a:pt x="2653281" y="838024"/>
                  <a:pt x="2724001" y="806938"/>
                  <a:pt x="2799100" y="794454"/>
                </a:cubicBezTo>
                <a:cubicBezTo>
                  <a:pt x="2987762" y="763054"/>
                  <a:pt x="3191013" y="865390"/>
                  <a:pt x="3278544" y="1035740"/>
                </a:cubicBezTo>
                <a:cubicBezTo>
                  <a:pt x="3306562" y="1087179"/>
                  <a:pt x="3320274" y="1145214"/>
                  <a:pt x="3318244" y="1203778"/>
                </a:cubicBezTo>
                <a:cubicBezTo>
                  <a:pt x="3312441" y="1297188"/>
                  <a:pt x="3256006" y="1379333"/>
                  <a:pt x="3195572" y="1450696"/>
                </a:cubicBezTo>
                <a:cubicBezTo>
                  <a:pt x="2871434" y="1833435"/>
                  <a:pt x="2395590" y="2044576"/>
                  <a:pt x="1950517" y="2275062"/>
                </a:cubicBezTo>
                <a:cubicBezTo>
                  <a:pt x="1814938" y="2345275"/>
                  <a:pt x="1679282" y="2419417"/>
                  <a:pt x="1566971" y="2522942"/>
                </a:cubicBezTo>
                <a:cubicBezTo>
                  <a:pt x="1370568" y="2703987"/>
                  <a:pt x="1237933" y="2978043"/>
                  <a:pt x="982596" y="3055896"/>
                </a:cubicBezTo>
                <a:cubicBezTo>
                  <a:pt x="825884" y="3103691"/>
                  <a:pt x="657395" y="3064212"/>
                  <a:pt x="498394" y="3024610"/>
                </a:cubicBezTo>
                <a:cubicBezTo>
                  <a:pt x="438197" y="3009662"/>
                  <a:pt x="377051" y="2994247"/>
                  <a:pt x="323418" y="2963038"/>
                </a:cubicBezTo>
                <a:cubicBezTo>
                  <a:pt x="249620" y="2920162"/>
                  <a:pt x="195132" y="2850254"/>
                  <a:pt x="152212" y="2776398"/>
                </a:cubicBezTo>
                <a:cubicBezTo>
                  <a:pt x="-57450" y="2415734"/>
                  <a:pt x="-18054" y="1963516"/>
                  <a:pt x="77417" y="1557228"/>
                </a:cubicBezTo>
                <a:cubicBezTo>
                  <a:pt x="148280" y="1255759"/>
                  <a:pt x="246743" y="960522"/>
                  <a:pt x="297517" y="654467"/>
                </a:cubicBezTo>
                <a:cubicBezTo>
                  <a:pt x="340162" y="397396"/>
                  <a:pt x="413826" y="157394"/>
                  <a:pt x="677701" y="49064"/>
                </a:cubicBezTo>
                <a:close/>
              </a:path>
            </a:pathLst>
          </a:custGeom>
          <a:solidFill>
            <a:srgbClr val="E6ECF4"/>
          </a:solidFill>
          <a:ln>
            <a:noFill/>
          </a:ln>
          <a:extLst>
            <a:ext uri="{91240B29-F687-4F45-9708-019B960494DF}">
              <a14:hiddenLine xmlns:a14="http://schemas.microsoft.com/office/drawing/2010/main" w="9498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411AE4D8-971B-7978-DBB7-037CE8FFC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5248" y="5113588"/>
            <a:ext cx="2670935" cy="345716"/>
          </a:xfrm>
          <a:prstGeom prst="rect">
            <a:avLst/>
          </a:prstGeom>
        </p:spPr>
      </p:pic>
      <p:sp>
        <p:nvSpPr>
          <p:cNvPr id="4" name="Graphic 16">
            <a:extLst>
              <a:ext uri="{FF2B5EF4-FFF2-40B4-BE49-F238E27FC236}">
                <a16:creationId xmlns:a16="http://schemas.microsoft.com/office/drawing/2014/main" id="{CDD4B3C3-065D-6597-43EB-6313D2C60276}"/>
              </a:ext>
            </a:extLst>
          </p:cNvPr>
          <p:cNvSpPr>
            <a:spLocks/>
          </p:cNvSpPr>
          <p:nvPr/>
        </p:nvSpPr>
        <p:spPr bwMode="auto">
          <a:xfrm>
            <a:off x="0" y="1595718"/>
            <a:ext cx="4105738" cy="4119282"/>
          </a:xfrm>
          <a:custGeom>
            <a:avLst/>
            <a:gdLst>
              <a:gd name="T0" fmla="*/ 0 w 9963851"/>
              <a:gd name="T1" fmla="*/ 1274271 h 6857505"/>
              <a:gd name="T2" fmla="*/ 0 w 9963851"/>
              <a:gd name="T3" fmla="*/ 1270680 h 6857505"/>
              <a:gd name="T4" fmla="*/ 148 w 9963851"/>
              <a:gd name="T5" fmla="*/ 9458 h 6857505"/>
              <a:gd name="T6" fmla="*/ 2803 w 9963851"/>
              <a:gd name="T7" fmla="*/ 0 h 6857505"/>
              <a:gd name="T8" fmla="*/ 1643775 w 9963851"/>
              <a:gd name="T9" fmla="*/ 172783 h 6857505"/>
              <a:gd name="T10" fmla="*/ 1287644 w 9963851"/>
              <a:gd name="T11" fmla="*/ 1274271 h 6857505"/>
              <a:gd name="T12" fmla="*/ 0 w 9963851"/>
              <a:gd name="T13" fmla="*/ 1274271 h 685750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963851" h="6857505">
                <a:moveTo>
                  <a:pt x="0" y="6857505"/>
                </a:moveTo>
                <a:lnTo>
                  <a:pt x="0" y="6838181"/>
                </a:lnTo>
                <a:lnTo>
                  <a:pt x="895" y="50897"/>
                </a:lnTo>
                <a:lnTo>
                  <a:pt x="16989" y="0"/>
                </a:lnTo>
                <a:lnTo>
                  <a:pt x="9963851" y="929832"/>
                </a:lnTo>
                <a:lnTo>
                  <a:pt x="7805138" y="6857505"/>
                </a:lnTo>
                <a:lnTo>
                  <a:pt x="0" y="6857505"/>
                </a:lnTo>
                <a:close/>
              </a:path>
            </a:pathLst>
          </a:custGeom>
          <a:solidFill>
            <a:srgbClr val="EFF5F9"/>
          </a:solidFill>
          <a:ln>
            <a:noFill/>
          </a:ln>
          <a:extLst>
            <a:ext uri="{91240B29-F687-4F45-9708-019B960494DF}">
              <a14:hiddenLine xmlns:a14="http://schemas.microsoft.com/office/drawing/2010/main" w="8678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/>
          </a:p>
        </p:txBody>
      </p:sp>
      <p:pic>
        <p:nvPicPr>
          <p:cNvPr id="5" name="Graphic 7">
            <a:extLst>
              <a:ext uri="{FF2B5EF4-FFF2-40B4-BE49-F238E27FC236}">
                <a16:creationId xmlns:a16="http://schemas.microsoft.com/office/drawing/2014/main" id="{D9F90905-A0C8-39AB-D272-419E8B5373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5247" y="4513546"/>
            <a:ext cx="2670935" cy="345716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FFEF3BFD-2F2B-0C36-2EC0-2699352F941B}"/>
              </a:ext>
            </a:extLst>
          </p:cNvPr>
          <p:cNvSpPr/>
          <p:nvPr/>
        </p:nvSpPr>
        <p:spPr>
          <a:xfrm>
            <a:off x="5587383" y="979950"/>
            <a:ext cx="1368390" cy="1368390"/>
          </a:xfrm>
          <a:prstGeom prst="ellipse">
            <a:avLst/>
          </a:prstGeom>
          <a:noFill/>
          <a:ln w="9525" cap="rnd"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Avenir Next" panose="020B0503020202020204" pitchFamily="34" charset="0"/>
            </a:endParaRPr>
          </a:p>
        </p:txBody>
      </p:sp>
      <p:grpSp>
        <p:nvGrpSpPr>
          <p:cNvPr id="7" name="Group 22">
            <a:extLst>
              <a:ext uri="{FF2B5EF4-FFF2-40B4-BE49-F238E27FC236}">
                <a16:creationId xmlns:a16="http://schemas.microsoft.com/office/drawing/2014/main" id="{3BF2AD9E-1876-BFBC-E934-9E38F912A526}"/>
              </a:ext>
            </a:extLst>
          </p:cNvPr>
          <p:cNvGrpSpPr>
            <a:grpSpLocks/>
          </p:cNvGrpSpPr>
          <p:nvPr/>
        </p:nvGrpSpPr>
        <p:grpSpPr bwMode="auto">
          <a:xfrm>
            <a:off x="7349472" y="929621"/>
            <a:ext cx="1524000" cy="1527176"/>
            <a:chOff x="7252844" y="606854"/>
            <a:chExt cx="3743024" cy="3750831"/>
          </a:xfrm>
        </p:grpSpPr>
        <p:grpSp>
          <p:nvGrpSpPr>
            <p:cNvPr id="8" name="Group 23">
              <a:extLst>
                <a:ext uri="{FF2B5EF4-FFF2-40B4-BE49-F238E27FC236}">
                  <a16:creationId xmlns:a16="http://schemas.microsoft.com/office/drawing/2014/main" id="{AF3D0517-F54A-D74C-CDCE-3E8E582E046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252844" y="606854"/>
              <a:ext cx="3743024" cy="3750831"/>
              <a:chOff x="7536611" y="1330745"/>
              <a:chExt cx="4786736" cy="4796721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8EEBBD38-FDB6-C801-3822-6370590A8B83}"/>
                  </a:ext>
                </a:extLst>
              </p:cNvPr>
              <p:cNvSpPr>
                <a:spLocks/>
              </p:cNvSpPr>
              <p:nvPr userDrawn="1"/>
            </p:nvSpPr>
            <p:spPr>
              <a:xfrm rot="6883338">
                <a:off x="8260229" y="1448824"/>
                <a:ext cx="1604681" cy="1368523"/>
              </a:xfrm>
              <a:prstGeom prst="ellipse">
                <a:avLst/>
              </a:prstGeom>
              <a:blipFill>
                <a:blip r:embed="rId4"/>
                <a:stretch>
                  <a:fillRect l="3955" t="-21998" r="-161773" b="-135670"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Avenir Next" panose="020B0503020202020204" pitchFamily="34" charset="0"/>
                </a:endParaRPr>
              </a:p>
            </p:txBody>
          </p:sp>
          <p:grpSp>
            <p:nvGrpSpPr>
              <p:cNvPr id="11" name="Group 26">
                <a:extLst>
                  <a:ext uri="{FF2B5EF4-FFF2-40B4-BE49-F238E27FC236}">
                    <a16:creationId xmlns:a16="http://schemas.microsoft.com/office/drawing/2014/main" id="{E13EF46F-3626-B240-1117-6AF555703D1C}"/>
                  </a:ext>
                </a:extLst>
              </p:cNvPr>
              <p:cNvGrpSpPr>
                <a:grpSpLocks/>
              </p:cNvGrpSpPr>
              <p:nvPr userDrawn="1"/>
            </p:nvGrpSpPr>
            <p:grpSpPr bwMode="auto">
              <a:xfrm>
                <a:off x="7536611" y="1854176"/>
                <a:ext cx="4786736" cy="4273290"/>
                <a:chOff x="6096000" y="1097280"/>
                <a:chExt cx="4786736" cy="4273290"/>
              </a:xfrm>
            </p:grpSpPr>
            <p:sp>
              <p:nvSpPr>
                <p:cNvPr id="12" name="Graphic 2">
                  <a:extLst>
                    <a:ext uri="{FF2B5EF4-FFF2-40B4-BE49-F238E27FC236}">
                      <a16:creationId xmlns:a16="http://schemas.microsoft.com/office/drawing/2014/main" id="{7A54167A-95FF-75C9-5034-E722B5D555D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6275385" y="1097280"/>
                  <a:ext cx="4607351" cy="4273290"/>
                </a:xfrm>
                <a:custGeom>
                  <a:avLst/>
                  <a:gdLst>
                    <a:gd name="T0" fmla="*/ 940926 w 3318440"/>
                    <a:gd name="T1" fmla="*/ 68121 h 3077833"/>
                    <a:gd name="T2" fmla="*/ 1734238 w 3318440"/>
                    <a:gd name="T3" fmla="*/ 85600 h 3077833"/>
                    <a:gd name="T4" fmla="*/ 2388799 w 3318440"/>
                    <a:gd name="T5" fmla="*/ 558101 h 3077833"/>
                    <a:gd name="T6" fmla="*/ 2981409 w 3318440"/>
                    <a:gd name="T7" fmla="*/ 1112208 h 3077833"/>
                    <a:gd name="T8" fmla="*/ 3580982 w 3318440"/>
                    <a:gd name="T9" fmla="*/ 1187841 h 3077833"/>
                    <a:gd name="T10" fmla="*/ 3886295 w 3318440"/>
                    <a:gd name="T11" fmla="*/ 1103027 h 3077833"/>
                    <a:gd name="T12" fmla="*/ 4551959 w 3318440"/>
                    <a:gd name="T13" fmla="*/ 1438030 h 3077833"/>
                    <a:gd name="T14" fmla="*/ 4607079 w 3318440"/>
                    <a:gd name="T15" fmla="*/ 1671336 h 3077833"/>
                    <a:gd name="T16" fmla="*/ 4436760 w 3318440"/>
                    <a:gd name="T17" fmla="*/ 2014159 h 3077833"/>
                    <a:gd name="T18" fmla="*/ 2708115 w 3318440"/>
                    <a:gd name="T19" fmla="*/ 3158716 h 3077833"/>
                    <a:gd name="T20" fmla="*/ 2175596 w 3318440"/>
                    <a:gd name="T21" fmla="*/ 3502875 h 3077833"/>
                    <a:gd name="T22" fmla="*/ 1364245 w 3318440"/>
                    <a:gd name="T23" fmla="*/ 4242832 h 3077833"/>
                    <a:gd name="T24" fmla="*/ 691975 w 3318440"/>
                    <a:gd name="T25" fmla="*/ 4199395 h 3077833"/>
                    <a:gd name="T26" fmla="*/ 449036 w 3318440"/>
                    <a:gd name="T27" fmla="*/ 4113908 h 3077833"/>
                    <a:gd name="T28" fmla="*/ 211332 w 3318440"/>
                    <a:gd name="T29" fmla="*/ 3854775 h 3077833"/>
                    <a:gd name="T30" fmla="*/ 107486 w 3318440"/>
                    <a:gd name="T31" fmla="*/ 2162069 h 3077833"/>
                    <a:gd name="T32" fmla="*/ 413075 w 3318440"/>
                    <a:gd name="T33" fmla="*/ 908668 h 3077833"/>
                    <a:gd name="T34" fmla="*/ 940926 w 3318440"/>
                    <a:gd name="T35" fmla="*/ 68121 h 307783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3318440" h="3077833">
                      <a:moveTo>
                        <a:pt x="677701" y="49064"/>
                      </a:moveTo>
                      <a:cubicBezTo>
                        <a:pt x="858385" y="-25154"/>
                        <a:pt x="1067582" y="-10491"/>
                        <a:pt x="1249083" y="61653"/>
                      </a:cubicBezTo>
                      <a:cubicBezTo>
                        <a:pt x="1430584" y="133797"/>
                        <a:pt x="1586774" y="259454"/>
                        <a:pt x="1720530" y="401972"/>
                      </a:cubicBezTo>
                      <a:cubicBezTo>
                        <a:pt x="1854600" y="544833"/>
                        <a:pt x="1973958" y="710131"/>
                        <a:pt x="2147357" y="801067"/>
                      </a:cubicBezTo>
                      <a:cubicBezTo>
                        <a:pt x="2280248" y="870129"/>
                        <a:pt x="2433368" y="889444"/>
                        <a:pt x="2579199" y="855541"/>
                      </a:cubicBezTo>
                      <a:cubicBezTo>
                        <a:pt x="2653281" y="838024"/>
                        <a:pt x="2724001" y="806938"/>
                        <a:pt x="2799100" y="794454"/>
                      </a:cubicBezTo>
                      <a:cubicBezTo>
                        <a:pt x="2987762" y="763054"/>
                        <a:pt x="3191013" y="865390"/>
                        <a:pt x="3278544" y="1035740"/>
                      </a:cubicBezTo>
                      <a:cubicBezTo>
                        <a:pt x="3306562" y="1087179"/>
                        <a:pt x="3320274" y="1145214"/>
                        <a:pt x="3318244" y="1203778"/>
                      </a:cubicBezTo>
                      <a:cubicBezTo>
                        <a:pt x="3312441" y="1297188"/>
                        <a:pt x="3256006" y="1379333"/>
                        <a:pt x="3195572" y="1450696"/>
                      </a:cubicBezTo>
                      <a:cubicBezTo>
                        <a:pt x="2871434" y="1833435"/>
                        <a:pt x="2395590" y="2044576"/>
                        <a:pt x="1950517" y="2275062"/>
                      </a:cubicBezTo>
                      <a:cubicBezTo>
                        <a:pt x="1814938" y="2345275"/>
                        <a:pt x="1679282" y="2419417"/>
                        <a:pt x="1566971" y="2522942"/>
                      </a:cubicBezTo>
                      <a:cubicBezTo>
                        <a:pt x="1370568" y="2703987"/>
                        <a:pt x="1237933" y="2978043"/>
                        <a:pt x="982596" y="3055896"/>
                      </a:cubicBezTo>
                      <a:cubicBezTo>
                        <a:pt x="825884" y="3103691"/>
                        <a:pt x="657395" y="3064212"/>
                        <a:pt x="498394" y="3024610"/>
                      </a:cubicBezTo>
                      <a:cubicBezTo>
                        <a:pt x="438197" y="3009662"/>
                        <a:pt x="377051" y="2994247"/>
                        <a:pt x="323418" y="2963038"/>
                      </a:cubicBezTo>
                      <a:cubicBezTo>
                        <a:pt x="249620" y="2920162"/>
                        <a:pt x="195132" y="2850254"/>
                        <a:pt x="152212" y="2776398"/>
                      </a:cubicBezTo>
                      <a:cubicBezTo>
                        <a:pt x="-57450" y="2415734"/>
                        <a:pt x="-18054" y="1963516"/>
                        <a:pt x="77417" y="1557228"/>
                      </a:cubicBezTo>
                      <a:cubicBezTo>
                        <a:pt x="148280" y="1255759"/>
                        <a:pt x="246743" y="960522"/>
                        <a:pt x="297517" y="654467"/>
                      </a:cubicBezTo>
                      <a:cubicBezTo>
                        <a:pt x="340162" y="397396"/>
                        <a:pt x="413826" y="157394"/>
                        <a:pt x="677701" y="49064"/>
                      </a:cubicBezTo>
                      <a:close/>
                    </a:path>
                  </a:pathLst>
                </a:custGeom>
                <a:solidFill>
                  <a:srgbClr val="E6EC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498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126368E6-84BE-54EC-B801-C67DC21A63E4}"/>
                    </a:ext>
                  </a:extLst>
                </p:cNvPr>
                <p:cNvSpPr/>
                <p:nvPr userDrawn="1"/>
              </p:nvSpPr>
              <p:spPr>
                <a:xfrm>
                  <a:off x="6096000" y="1177178"/>
                  <a:ext cx="4118587" cy="4113612"/>
                </a:xfrm>
                <a:prstGeom prst="ellipse">
                  <a:avLst/>
                </a:prstGeom>
                <a:noFill/>
                <a:ln w="9525" cap="rnd">
                  <a:solidFill>
                    <a:srgbClr val="D2E282"/>
                  </a:solidFill>
                  <a:prstDash val="sysDash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Avenir Next" panose="020B0503020202020204" pitchFamily="34" charset="0"/>
                  </a:endParaRPr>
                </a:p>
              </p:txBody>
            </p:sp>
          </p:grpSp>
        </p:grp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87BA5F2-DFCE-7C7F-33A4-E82D8B087C7A}"/>
                </a:ext>
              </a:extLst>
            </p:cNvPr>
            <p:cNvSpPr/>
            <p:nvPr/>
          </p:nvSpPr>
          <p:spPr>
            <a:xfrm>
              <a:off x="7389027" y="1213279"/>
              <a:ext cx="2947278" cy="2947278"/>
            </a:xfrm>
            <a:prstGeom prst="ellipse">
              <a:avLst/>
            </a:prstGeom>
            <a:blipFill>
              <a:blip r:embed="rId5"/>
              <a:stretch>
                <a:fillRect l="-72938" t="-34620" r="-41006" b="-2688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Avenir Next" panose="020B0503020202020204" pitchFamily="34" charset="0"/>
              </a:endParaRPr>
            </a:p>
          </p:txBody>
        </p:sp>
      </p:grpSp>
      <p:grpSp>
        <p:nvGrpSpPr>
          <p:cNvPr id="14" name="Graphic 6">
            <a:extLst>
              <a:ext uri="{FF2B5EF4-FFF2-40B4-BE49-F238E27FC236}">
                <a16:creationId xmlns:a16="http://schemas.microsoft.com/office/drawing/2014/main" id="{58F66C48-691C-2A8D-F74E-898E3A166B57}"/>
              </a:ext>
            </a:extLst>
          </p:cNvPr>
          <p:cNvGrpSpPr>
            <a:grpSpLocks/>
          </p:cNvGrpSpPr>
          <p:nvPr/>
        </p:nvGrpSpPr>
        <p:grpSpPr bwMode="auto">
          <a:xfrm>
            <a:off x="5700059" y="2347259"/>
            <a:ext cx="1593850" cy="1595438"/>
            <a:chOff x="3599679" y="932681"/>
            <a:chExt cx="4995947" cy="4995947"/>
          </a:xfrm>
        </p:grpSpPr>
        <p:sp>
          <p:nvSpPr>
            <p:cNvPr id="15" name="Freeform 30">
              <a:extLst>
                <a:ext uri="{FF2B5EF4-FFF2-40B4-BE49-F238E27FC236}">
                  <a16:creationId xmlns:a16="http://schemas.microsoft.com/office/drawing/2014/main" id="{B1A51B96-3A59-977C-967D-638FB8816610}"/>
                </a:ext>
              </a:extLst>
            </p:cNvPr>
            <p:cNvSpPr>
              <a:spLocks/>
            </p:cNvSpPr>
            <p:nvPr/>
          </p:nvSpPr>
          <p:spPr bwMode="auto">
            <a:xfrm rot="9600000">
              <a:off x="4148719" y="1481721"/>
              <a:ext cx="3897868" cy="3897867"/>
            </a:xfrm>
            <a:custGeom>
              <a:avLst/>
              <a:gdLst>
                <a:gd name="T0" fmla="*/ 1948995 w 3897868"/>
                <a:gd name="T1" fmla="*/ 60 h 3897867"/>
                <a:gd name="T2" fmla="*/ 3897929 w 3897868"/>
                <a:gd name="T3" fmla="*/ 1948994 h 3897867"/>
                <a:gd name="T4" fmla="*/ 1949223 w 3897868"/>
                <a:gd name="T5" fmla="*/ 3897927 h 3897867"/>
                <a:gd name="T6" fmla="*/ 1948995 w 3897868"/>
                <a:gd name="T7" fmla="*/ 3897927 h 3897867"/>
                <a:gd name="T8" fmla="*/ 61 w 3897868"/>
                <a:gd name="T9" fmla="*/ 1948994 h 3897867"/>
                <a:gd name="T10" fmla="*/ 595265 w 3897868"/>
                <a:gd name="T11" fmla="*/ 546940 h 389786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97868" h="3897867">
                  <a:moveTo>
                    <a:pt x="1948995" y="60"/>
                  </a:moveTo>
                  <a:cubicBezTo>
                    <a:pt x="3025358" y="60"/>
                    <a:pt x="3897929" y="872631"/>
                    <a:pt x="3897929" y="1948994"/>
                  </a:cubicBezTo>
                  <a:cubicBezTo>
                    <a:pt x="3897992" y="3025297"/>
                    <a:pt x="3025526" y="3897865"/>
                    <a:pt x="1949223" y="3897927"/>
                  </a:cubicBezTo>
                  <a:cubicBezTo>
                    <a:pt x="1949147" y="3897927"/>
                    <a:pt x="1949071" y="3897927"/>
                    <a:pt x="1948995" y="3897927"/>
                  </a:cubicBezTo>
                  <a:cubicBezTo>
                    <a:pt x="872632" y="3897927"/>
                    <a:pt x="61" y="3025356"/>
                    <a:pt x="61" y="1948994"/>
                  </a:cubicBezTo>
                  <a:cubicBezTo>
                    <a:pt x="-518" y="1420135"/>
                    <a:pt x="214403" y="913868"/>
                    <a:pt x="595265" y="546940"/>
                  </a:cubicBezTo>
                </a:path>
              </a:pathLst>
            </a:custGeom>
            <a:noFill/>
            <a:ln w="28521" cap="flat">
              <a:solidFill>
                <a:srgbClr val="AB003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grpSp>
          <p:nvGrpSpPr>
            <p:cNvPr id="16" name="Graphic 6">
              <a:extLst>
                <a:ext uri="{FF2B5EF4-FFF2-40B4-BE49-F238E27FC236}">
                  <a16:creationId xmlns:a16="http://schemas.microsoft.com/office/drawing/2014/main" id="{48065F22-1C42-6622-DBA5-7DB1EA810EE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81804" y="4486301"/>
              <a:ext cx="1007741" cy="785277"/>
              <a:chOff x="6981804" y="4486301"/>
              <a:chExt cx="1007741" cy="785277"/>
            </a:xfrm>
          </p:grpSpPr>
          <p:grpSp>
            <p:nvGrpSpPr>
              <p:cNvPr id="17" name="Graphic 6">
                <a:extLst>
                  <a:ext uri="{FF2B5EF4-FFF2-40B4-BE49-F238E27FC236}">
                    <a16:creationId xmlns:a16="http://schemas.microsoft.com/office/drawing/2014/main" id="{DEA7DFD3-A6A0-1831-1BBA-53689D8F9E2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981804" y="4486301"/>
                <a:ext cx="439470" cy="785277"/>
                <a:chOff x="6981804" y="4486301"/>
                <a:chExt cx="439470" cy="785277"/>
              </a:xfrm>
            </p:grpSpPr>
            <p:sp>
              <p:nvSpPr>
                <p:cNvPr id="21" name="Freeform 36">
                  <a:extLst>
                    <a:ext uri="{FF2B5EF4-FFF2-40B4-BE49-F238E27FC236}">
                      <a16:creationId xmlns:a16="http://schemas.microsoft.com/office/drawing/2014/main" id="{5EAD3C9B-4039-C106-D064-92A074F50E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81804" y="4486301"/>
                  <a:ext cx="439470" cy="785277"/>
                </a:xfrm>
                <a:custGeom>
                  <a:avLst/>
                  <a:gdLst>
                    <a:gd name="T0" fmla="*/ 358 w 439470"/>
                    <a:gd name="T1" fmla="*/ 701098 h 785277"/>
                    <a:gd name="T2" fmla="*/ 192104 w 439470"/>
                    <a:gd name="T3" fmla="*/ 429940 h 785277"/>
                    <a:gd name="T4" fmla="*/ 358 w 439470"/>
                    <a:gd name="T5" fmla="*/ 429940 h 785277"/>
                    <a:gd name="T6" fmla="*/ 358 w 439470"/>
                    <a:gd name="T7" fmla="*/ 376 h 785277"/>
                    <a:gd name="T8" fmla="*/ 439828 w 439470"/>
                    <a:gd name="T9" fmla="*/ 376 h 785277"/>
                    <a:gd name="T10" fmla="*/ 439828 w 439470"/>
                    <a:gd name="T11" fmla="*/ 429940 h 785277"/>
                    <a:gd name="T12" fmla="*/ 439419 w 439470"/>
                    <a:gd name="T13" fmla="*/ 429940 h 785277"/>
                    <a:gd name="T14" fmla="*/ 53549 w 439470"/>
                    <a:gd name="T15" fmla="*/ 785653 h 785277"/>
                    <a:gd name="T16" fmla="*/ 358 w 439470"/>
                    <a:gd name="T17" fmla="*/ 701098 h 7852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39470" h="785277">
                      <a:moveTo>
                        <a:pt x="358" y="701098"/>
                      </a:moveTo>
                      <a:cubicBezTo>
                        <a:pt x="181228" y="646138"/>
                        <a:pt x="191895" y="467473"/>
                        <a:pt x="192104" y="429940"/>
                      </a:cubicBezTo>
                      <a:lnTo>
                        <a:pt x="358" y="429940"/>
                      </a:lnTo>
                      <a:lnTo>
                        <a:pt x="358" y="376"/>
                      </a:lnTo>
                      <a:lnTo>
                        <a:pt x="439828" y="376"/>
                      </a:lnTo>
                      <a:lnTo>
                        <a:pt x="439828" y="429940"/>
                      </a:lnTo>
                      <a:lnTo>
                        <a:pt x="439419" y="429940"/>
                      </a:lnTo>
                      <a:cubicBezTo>
                        <a:pt x="434827" y="581063"/>
                        <a:pt x="256970" y="748072"/>
                        <a:pt x="53549" y="785653"/>
                      </a:cubicBezTo>
                      <a:cubicBezTo>
                        <a:pt x="55917" y="783058"/>
                        <a:pt x="1204" y="704397"/>
                        <a:pt x="358" y="701098"/>
                      </a:cubicBezTo>
                      <a:close/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  <p:sp>
              <p:nvSpPr>
                <p:cNvPr id="22" name="Freeform 37">
                  <a:extLst>
                    <a:ext uri="{FF2B5EF4-FFF2-40B4-BE49-F238E27FC236}">
                      <a16:creationId xmlns:a16="http://schemas.microsoft.com/office/drawing/2014/main" id="{ACD44015-CC4D-D7A0-9245-F945774950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81804" y="4486301"/>
                  <a:ext cx="439465" cy="785258"/>
                </a:xfrm>
                <a:custGeom>
                  <a:avLst/>
                  <a:gdLst>
                    <a:gd name="T0" fmla="*/ 72892 w 439465"/>
                    <a:gd name="T1" fmla="*/ 742593 h 785258"/>
                    <a:gd name="T2" fmla="*/ 181636 w 439465"/>
                    <a:gd name="T3" fmla="*/ 701637 h 785258"/>
                    <a:gd name="T4" fmla="*/ 295190 w 439465"/>
                    <a:gd name="T5" fmla="*/ 622487 h 785258"/>
                    <a:gd name="T6" fmla="*/ 401402 w 439465"/>
                    <a:gd name="T7" fmla="*/ 428789 h 785258"/>
                    <a:gd name="T8" fmla="*/ 401796 w 439465"/>
                    <a:gd name="T9" fmla="*/ 415812 h 785258"/>
                    <a:gd name="T10" fmla="*/ 401796 w 439465"/>
                    <a:gd name="T11" fmla="*/ 38404 h 785258"/>
                    <a:gd name="T12" fmla="*/ 38386 w 439465"/>
                    <a:gd name="T13" fmla="*/ 38404 h 785258"/>
                    <a:gd name="T14" fmla="*/ 38386 w 439465"/>
                    <a:gd name="T15" fmla="*/ 391914 h 785258"/>
                    <a:gd name="T16" fmla="*/ 192107 w 439465"/>
                    <a:gd name="T17" fmla="*/ 391914 h 785258"/>
                    <a:gd name="T18" fmla="*/ 230353 w 439465"/>
                    <a:gd name="T19" fmla="*/ 391914 h 785258"/>
                    <a:gd name="T20" fmla="*/ 230134 w 439465"/>
                    <a:gd name="T21" fmla="*/ 430160 h 785258"/>
                    <a:gd name="T22" fmla="*/ 198655 w 439465"/>
                    <a:gd name="T23" fmla="*/ 574594 h 785258"/>
                    <a:gd name="T24" fmla="*/ 132755 w 439465"/>
                    <a:gd name="T25" fmla="*/ 668422 h 785258"/>
                    <a:gd name="T26" fmla="*/ 57830 w 439465"/>
                    <a:gd name="T27" fmla="*/ 719566 h 785258"/>
                    <a:gd name="T28" fmla="*/ 72892 w 439465"/>
                    <a:gd name="T29" fmla="*/ 742593 h 785258"/>
                    <a:gd name="T30" fmla="*/ 53545 w 439465"/>
                    <a:gd name="T31" fmla="*/ 785634 h 785258"/>
                    <a:gd name="T32" fmla="*/ 358 w 439465"/>
                    <a:gd name="T33" fmla="*/ 701102 h 785258"/>
                    <a:gd name="T34" fmla="*/ 192107 w 439465"/>
                    <a:gd name="T35" fmla="*/ 429942 h 785258"/>
                    <a:gd name="T36" fmla="*/ 358 w 439465"/>
                    <a:gd name="T37" fmla="*/ 429942 h 785258"/>
                    <a:gd name="T38" fmla="*/ 358 w 439465"/>
                    <a:gd name="T39" fmla="*/ 376 h 785258"/>
                    <a:gd name="T40" fmla="*/ 439824 w 439465"/>
                    <a:gd name="T41" fmla="*/ 376 h 785258"/>
                    <a:gd name="T42" fmla="*/ 439824 w 439465"/>
                    <a:gd name="T43" fmla="*/ 429942 h 785258"/>
                    <a:gd name="T44" fmla="*/ 439413 w 439465"/>
                    <a:gd name="T45" fmla="*/ 429942 h 785258"/>
                    <a:gd name="T46" fmla="*/ 53545 w 439465"/>
                    <a:gd name="T47" fmla="*/ 785634 h 785258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439465" h="785258">
                      <a:moveTo>
                        <a:pt x="72892" y="742593"/>
                      </a:moveTo>
                      <a:cubicBezTo>
                        <a:pt x="109820" y="733525"/>
                        <a:pt x="146290" y="719797"/>
                        <a:pt x="181636" y="701637"/>
                      </a:cubicBezTo>
                      <a:cubicBezTo>
                        <a:pt x="223588" y="680084"/>
                        <a:pt x="261793" y="653454"/>
                        <a:pt x="295190" y="622487"/>
                      </a:cubicBezTo>
                      <a:cubicBezTo>
                        <a:pt x="360802" y="561650"/>
                        <a:pt x="399514" y="491050"/>
                        <a:pt x="401402" y="428789"/>
                      </a:cubicBezTo>
                      <a:lnTo>
                        <a:pt x="401796" y="415812"/>
                      </a:lnTo>
                      <a:lnTo>
                        <a:pt x="401796" y="38404"/>
                      </a:lnTo>
                      <a:lnTo>
                        <a:pt x="38386" y="38404"/>
                      </a:lnTo>
                      <a:lnTo>
                        <a:pt x="38386" y="391914"/>
                      </a:lnTo>
                      <a:lnTo>
                        <a:pt x="192107" y="391914"/>
                      </a:lnTo>
                      <a:lnTo>
                        <a:pt x="230353" y="391914"/>
                      </a:lnTo>
                      <a:lnTo>
                        <a:pt x="230134" y="430160"/>
                      </a:lnTo>
                      <a:cubicBezTo>
                        <a:pt x="230004" y="452843"/>
                        <a:pt x="226676" y="512324"/>
                        <a:pt x="198655" y="574594"/>
                      </a:cubicBezTo>
                      <a:cubicBezTo>
                        <a:pt x="182329" y="610875"/>
                        <a:pt x="160157" y="642444"/>
                        <a:pt x="132755" y="668422"/>
                      </a:cubicBezTo>
                      <a:cubicBezTo>
                        <a:pt x="110978" y="689069"/>
                        <a:pt x="85898" y="706177"/>
                        <a:pt x="57830" y="719566"/>
                      </a:cubicBezTo>
                      <a:cubicBezTo>
                        <a:pt x="63057" y="727452"/>
                        <a:pt x="68302" y="735429"/>
                        <a:pt x="72892" y="742593"/>
                      </a:cubicBezTo>
                      <a:moveTo>
                        <a:pt x="53545" y="785634"/>
                      </a:moveTo>
                      <a:cubicBezTo>
                        <a:pt x="55918" y="783053"/>
                        <a:pt x="1201" y="704394"/>
                        <a:pt x="358" y="701102"/>
                      </a:cubicBezTo>
                      <a:cubicBezTo>
                        <a:pt x="181225" y="646141"/>
                        <a:pt x="191891" y="467481"/>
                        <a:pt x="192107" y="429942"/>
                      </a:cubicBezTo>
                      <a:lnTo>
                        <a:pt x="358" y="429942"/>
                      </a:lnTo>
                      <a:lnTo>
                        <a:pt x="358" y="376"/>
                      </a:lnTo>
                      <a:lnTo>
                        <a:pt x="439824" y="376"/>
                      </a:lnTo>
                      <a:lnTo>
                        <a:pt x="439824" y="429942"/>
                      </a:lnTo>
                      <a:lnTo>
                        <a:pt x="439413" y="429942"/>
                      </a:lnTo>
                      <a:cubicBezTo>
                        <a:pt x="434831" y="581060"/>
                        <a:pt x="256974" y="748073"/>
                        <a:pt x="53545" y="785634"/>
                      </a:cubicBezTo>
                      <a:close/>
                    </a:path>
                  </a:pathLst>
                </a:custGeom>
                <a:solidFill>
                  <a:srgbClr val="AB003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</p:grpSp>
          <p:grpSp>
            <p:nvGrpSpPr>
              <p:cNvPr id="18" name="Graphic 6">
                <a:extLst>
                  <a:ext uri="{FF2B5EF4-FFF2-40B4-BE49-F238E27FC236}">
                    <a16:creationId xmlns:a16="http://schemas.microsoft.com/office/drawing/2014/main" id="{50DB1FA5-A669-A18F-243A-88148B2E0BD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550075" y="4486301"/>
                <a:ext cx="439470" cy="785277"/>
                <a:chOff x="7550075" y="4486301"/>
                <a:chExt cx="439470" cy="785277"/>
              </a:xfrm>
            </p:grpSpPr>
            <p:sp>
              <p:nvSpPr>
                <p:cNvPr id="19" name="Freeform 34">
                  <a:extLst>
                    <a:ext uri="{FF2B5EF4-FFF2-40B4-BE49-F238E27FC236}">
                      <a16:creationId xmlns:a16="http://schemas.microsoft.com/office/drawing/2014/main" id="{F4140B26-D7E3-4115-9B22-FC5F960C53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50075" y="4486301"/>
                  <a:ext cx="439470" cy="785277"/>
                </a:xfrm>
                <a:custGeom>
                  <a:avLst/>
                  <a:gdLst>
                    <a:gd name="T0" fmla="*/ 417 w 439470"/>
                    <a:gd name="T1" fmla="*/ 701098 h 785277"/>
                    <a:gd name="T2" fmla="*/ 192164 w 439470"/>
                    <a:gd name="T3" fmla="*/ 429940 h 785277"/>
                    <a:gd name="T4" fmla="*/ 417 w 439470"/>
                    <a:gd name="T5" fmla="*/ 429940 h 785277"/>
                    <a:gd name="T6" fmla="*/ 417 w 439470"/>
                    <a:gd name="T7" fmla="*/ 376 h 785277"/>
                    <a:gd name="T8" fmla="*/ 439888 w 439470"/>
                    <a:gd name="T9" fmla="*/ 376 h 785277"/>
                    <a:gd name="T10" fmla="*/ 439888 w 439470"/>
                    <a:gd name="T11" fmla="*/ 429940 h 785277"/>
                    <a:gd name="T12" fmla="*/ 439479 w 439470"/>
                    <a:gd name="T13" fmla="*/ 429940 h 785277"/>
                    <a:gd name="T14" fmla="*/ 53609 w 439470"/>
                    <a:gd name="T15" fmla="*/ 785653 h 785277"/>
                    <a:gd name="T16" fmla="*/ 417 w 439470"/>
                    <a:gd name="T17" fmla="*/ 701098 h 7852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39470" h="785277">
                      <a:moveTo>
                        <a:pt x="417" y="701098"/>
                      </a:moveTo>
                      <a:cubicBezTo>
                        <a:pt x="181288" y="646138"/>
                        <a:pt x="191955" y="467473"/>
                        <a:pt x="192164" y="429940"/>
                      </a:cubicBezTo>
                      <a:lnTo>
                        <a:pt x="417" y="429940"/>
                      </a:lnTo>
                      <a:lnTo>
                        <a:pt x="417" y="376"/>
                      </a:lnTo>
                      <a:lnTo>
                        <a:pt x="439888" y="376"/>
                      </a:lnTo>
                      <a:lnTo>
                        <a:pt x="439888" y="429940"/>
                      </a:lnTo>
                      <a:lnTo>
                        <a:pt x="439479" y="429940"/>
                      </a:lnTo>
                      <a:cubicBezTo>
                        <a:pt x="434887" y="581063"/>
                        <a:pt x="257030" y="748072"/>
                        <a:pt x="53609" y="785653"/>
                      </a:cubicBezTo>
                      <a:cubicBezTo>
                        <a:pt x="55976" y="783058"/>
                        <a:pt x="1264" y="704397"/>
                        <a:pt x="417" y="701098"/>
                      </a:cubicBezTo>
                      <a:close/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  <p:sp>
              <p:nvSpPr>
                <p:cNvPr id="20" name="Freeform 35">
                  <a:extLst>
                    <a:ext uri="{FF2B5EF4-FFF2-40B4-BE49-F238E27FC236}">
                      <a16:creationId xmlns:a16="http://schemas.microsoft.com/office/drawing/2014/main" id="{B6647326-F66F-8775-E172-76C737B009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50075" y="4486301"/>
                  <a:ext cx="439465" cy="785258"/>
                </a:xfrm>
                <a:custGeom>
                  <a:avLst/>
                  <a:gdLst>
                    <a:gd name="T0" fmla="*/ 72952 w 439465"/>
                    <a:gd name="T1" fmla="*/ 742593 h 785258"/>
                    <a:gd name="T2" fmla="*/ 181696 w 439465"/>
                    <a:gd name="T3" fmla="*/ 701637 h 785258"/>
                    <a:gd name="T4" fmla="*/ 295250 w 439465"/>
                    <a:gd name="T5" fmla="*/ 622487 h 785258"/>
                    <a:gd name="T6" fmla="*/ 401462 w 439465"/>
                    <a:gd name="T7" fmla="*/ 428789 h 785258"/>
                    <a:gd name="T8" fmla="*/ 401855 w 439465"/>
                    <a:gd name="T9" fmla="*/ 415812 h 785258"/>
                    <a:gd name="T10" fmla="*/ 401855 w 439465"/>
                    <a:gd name="T11" fmla="*/ 38404 h 785258"/>
                    <a:gd name="T12" fmla="*/ 38445 w 439465"/>
                    <a:gd name="T13" fmla="*/ 38404 h 785258"/>
                    <a:gd name="T14" fmla="*/ 38445 w 439465"/>
                    <a:gd name="T15" fmla="*/ 391914 h 785258"/>
                    <a:gd name="T16" fmla="*/ 192166 w 439465"/>
                    <a:gd name="T17" fmla="*/ 391914 h 785258"/>
                    <a:gd name="T18" fmla="*/ 230413 w 439465"/>
                    <a:gd name="T19" fmla="*/ 391914 h 785258"/>
                    <a:gd name="T20" fmla="*/ 230194 w 439465"/>
                    <a:gd name="T21" fmla="*/ 430160 h 785258"/>
                    <a:gd name="T22" fmla="*/ 198715 w 439465"/>
                    <a:gd name="T23" fmla="*/ 574594 h 785258"/>
                    <a:gd name="T24" fmla="*/ 132815 w 439465"/>
                    <a:gd name="T25" fmla="*/ 668422 h 785258"/>
                    <a:gd name="T26" fmla="*/ 57890 w 439465"/>
                    <a:gd name="T27" fmla="*/ 719566 h 785258"/>
                    <a:gd name="T28" fmla="*/ 72952 w 439465"/>
                    <a:gd name="T29" fmla="*/ 742593 h 785258"/>
                    <a:gd name="T30" fmla="*/ 53605 w 439465"/>
                    <a:gd name="T31" fmla="*/ 785634 h 785258"/>
                    <a:gd name="T32" fmla="*/ 417 w 439465"/>
                    <a:gd name="T33" fmla="*/ 701102 h 785258"/>
                    <a:gd name="T34" fmla="*/ 192166 w 439465"/>
                    <a:gd name="T35" fmla="*/ 429942 h 785258"/>
                    <a:gd name="T36" fmla="*/ 417 w 439465"/>
                    <a:gd name="T37" fmla="*/ 429942 h 785258"/>
                    <a:gd name="T38" fmla="*/ 417 w 439465"/>
                    <a:gd name="T39" fmla="*/ 376 h 785258"/>
                    <a:gd name="T40" fmla="*/ 439883 w 439465"/>
                    <a:gd name="T41" fmla="*/ 376 h 785258"/>
                    <a:gd name="T42" fmla="*/ 439883 w 439465"/>
                    <a:gd name="T43" fmla="*/ 429942 h 785258"/>
                    <a:gd name="T44" fmla="*/ 439472 w 439465"/>
                    <a:gd name="T45" fmla="*/ 429942 h 785258"/>
                    <a:gd name="T46" fmla="*/ 53605 w 439465"/>
                    <a:gd name="T47" fmla="*/ 785634 h 785258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439465" h="785258">
                      <a:moveTo>
                        <a:pt x="72952" y="742593"/>
                      </a:moveTo>
                      <a:cubicBezTo>
                        <a:pt x="109880" y="733525"/>
                        <a:pt x="146349" y="719797"/>
                        <a:pt x="181696" y="701637"/>
                      </a:cubicBezTo>
                      <a:cubicBezTo>
                        <a:pt x="223648" y="680084"/>
                        <a:pt x="261853" y="653454"/>
                        <a:pt x="295250" y="622487"/>
                      </a:cubicBezTo>
                      <a:cubicBezTo>
                        <a:pt x="360861" y="561650"/>
                        <a:pt x="399574" y="491050"/>
                        <a:pt x="401462" y="428789"/>
                      </a:cubicBezTo>
                      <a:lnTo>
                        <a:pt x="401855" y="415812"/>
                      </a:lnTo>
                      <a:lnTo>
                        <a:pt x="401855" y="38404"/>
                      </a:lnTo>
                      <a:lnTo>
                        <a:pt x="38445" y="38404"/>
                      </a:lnTo>
                      <a:lnTo>
                        <a:pt x="38445" y="391914"/>
                      </a:lnTo>
                      <a:lnTo>
                        <a:pt x="192166" y="391914"/>
                      </a:lnTo>
                      <a:lnTo>
                        <a:pt x="230413" y="391914"/>
                      </a:lnTo>
                      <a:lnTo>
                        <a:pt x="230194" y="430160"/>
                      </a:lnTo>
                      <a:cubicBezTo>
                        <a:pt x="230064" y="452843"/>
                        <a:pt x="226736" y="512324"/>
                        <a:pt x="198715" y="574594"/>
                      </a:cubicBezTo>
                      <a:cubicBezTo>
                        <a:pt x="182389" y="610875"/>
                        <a:pt x="160217" y="642444"/>
                        <a:pt x="132815" y="668422"/>
                      </a:cubicBezTo>
                      <a:cubicBezTo>
                        <a:pt x="111038" y="689069"/>
                        <a:pt x="85958" y="706177"/>
                        <a:pt x="57890" y="719566"/>
                      </a:cubicBezTo>
                      <a:cubicBezTo>
                        <a:pt x="63116" y="727452"/>
                        <a:pt x="68362" y="735429"/>
                        <a:pt x="72952" y="742593"/>
                      </a:cubicBezTo>
                      <a:moveTo>
                        <a:pt x="53605" y="785634"/>
                      </a:moveTo>
                      <a:cubicBezTo>
                        <a:pt x="55978" y="783053"/>
                        <a:pt x="1260" y="704394"/>
                        <a:pt x="417" y="701102"/>
                      </a:cubicBezTo>
                      <a:cubicBezTo>
                        <a:pt x="181285" y="646141"/>
                        <a:pt x="191951" y="467481"/>
                        <a:pt x="192166" y="429942"/>
                      </a:cubicBezTo>
                      <a:lnTo>
                        <a:pt x="417" y="429942"/>
                      </a:lnTo>
                      <a:lnTo>
                        <a:pt x="417" y="376"/>
                      </a:lnTo>
                      <a:lnTo>
                        <a:pt x="439883" y="376"/>
                      </a:lnTo>
                      <a:lnTo>
                        <a:pt x="439883" y="429942"/>
                      </a:lnTo>
                      <a:lnTo>
                        <a:pt x="439472" y="429942"/>
                      </a:lnTo>
                      <a:cubicBezTo>
                        <a:pt x="434890" y="581060"/>
                        <a:pt x="257034" y="748073"/>
                        <a:pt x="53605" y="785634"/>
                      </a:cubicBezTo>
                      <a:close/>
                    </a:path>
                  </a:pathLst>
                </a:custGeom>
                <a:solidFill>
                  <a:srgbClr val="AB003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3" name="Graphic 4">
            <a:extLst>
              <a:ext uri="{FF2B5EF4-FFF2-40B4-BE49-F238E27FC236}">
                <a16:creationId xmlns:a16="http://schemas.microsoft.com/office/drawing/2014/main" id="{BA4416A9-BEDB-969A-C304-4C071098D39C}"/>
              </a:ext>
            </a:extLst>
          </p:cNvPr>
          <p:cNvGrpSpPr>
            <a:grpSpLocks/>
          </p:cNvGrpSpPr>
          <p:nvPr/>
        </p:nvGrpSpPr>
        <p:grpSpPr bwMode="auto">
          <a:xfrm>
            <a:off x="7433609" y="2604434"/>
            <a:ext cx="1165225" cy="1165225"/>
            <a:chOff x="788860" y="567191"/>
            <a:chExt cx="3899224" cy="3898124"/>
          </a:xfrm>
        </p:grpSpPr>
        <p:sp>
          <p:nvSpPr>
            <p:cNvPr id="24" name="Freeform 39">
              <a:extLst>
                <a:ext uri="{FF2B5EF4-FFF2-40B4-BE49-F238E27FC236}">
                  <a16:creationId xmlns:a16="http://schemas.microsoft.com/office/drawing/2014/main" id="{0A5A64FB-5F67-BBCB-C1BE-6BC7E4CBF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60" y="567191"/>
              <a:ext cx="3899224" cy="3898124"/>
            </a:xfrm>
            <a:custGeom>
              <a:avLst/>
              <a:gdLst>
                <a:gd name="T0" fmla="*/ 2616132 w 3899224"/>
                <a:gd name="T1" fmla="*/ 3777374 h 3898124"/>
                <a:gd name="T2" fmla="*/ 117694 w 3899224"/>
                <a:gd name="T3" fmla="*/ 2612767 h 3898124"/>
                <a:gd name="T4" fmla="*/ 1282301 w 3899224"/>
                <a:gd name="T5" fmla="*/ 115278 h 3898124"/>
                <a:gd name="T6" fmla="*/ 1282301 w 3899224"/>
                <a:gd name="T7" fmla="*/ 115278 h 3898124"/>
                <a:gd name="T8" fmla="*/ 3780739 w 3899224"/>
                <a:gd name="T9" fmla="*/ 1279885 h 3898124"/>
                <a:gd name="T10" fmla="*/ 3700881 w 3899224"/>
                <a:gd name="T11" fmla="*/ 2801004 h 38981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99224" h="3898124">
                  <a:moveTo>
                    <a:pt x="2616132" y="3777374"/>
                  </a:moveTo>
                  <a:cubicBezTo>
                    <a:pt x="1604589" y="4145295"/>
                    <a:pt x="486566" y="3624311"/>
                    <a:pt x="117694" y="2612767"/>
                  </a:cubicBezTo>
                  <a:cubicBezTo>
                    <a:pt x="-250226" y="1601222"/>
                    <a:pt x="270757" y="483201"/>
                    <a:pt x="1282301" y="115278"/>
                  </a:cubicBezTo>
                  <a:cubicBezTo>
                    <a:pt x="1282301" y="115278"/>
                    <a:pt x="1282301" y="115278"/>
                    <a:pt x="1282301" y="115278"/>
                  </a:cubicBezTo>
                  <a:cubicBezTo>
                    <a:pt x="2293846" y="-252642"/>
                    <a:pt x="3411868" y="268342"/>
                    <a:pt x="3780739" y="1279885"/>
                  </a:cubicBezTo>
                  <a:cubicBezTo>
                    <a:pt x="3962323" y="1777101"/>
                    <a:pt x="3933802" y="2325654"/>
                    <a:pt x="3700881" y="2801004"/>
                  </a:cubicBezTo>
                </a:path>
              </a:pathLst>
            </a:custGeom>
            <a:noFill/>
            <a:ln w="28521" cap="flat">
              <a:solidFill>
                <a:srgbClr val="AB003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grpSp>
          <p:nvGrpSpPr>
            <p:cNvPr id="25" name="Graphic 4">
              <a:extLst>
                <a:ext uri="{FF2B5EF4-FFF2-40B4-BE49-F238E27FC236}">
                  <a16:creationId xmlns:a16="http://schemas.microsoft.com/office/drawing/2014/main" id="{E4D3A089-B690-108D-2EBA-11932CAA126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23023" y="3571901"/>
              <a:ext cx="1007494" cy="785277"/>
              <a:chOff x="3623023" y="3571901"/>
              <a:chExt cx="1007494" cy="785277"/>
            </a:xfrm>
          </p:grpSpPr>
          <p:grpSp>
            <p:nvGrpSpPr>
              <p:cNvPr id="26" name="Graphic 4">
                <a:extLst>
                  <a:ext uri="{FF2B5EF4-FFF2-40B4-BE49-F238E27FC236}">
                    <a16:creationId xmlns:a16="http://schemas.microsoft.com/office/drawing/2014/main" id="{E2315BE2-D951-260B-ACA3-BD85C7E3D3F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623023" y="3571901"/>
                <a:ext cx="439223" cy="785277"/>
                <a:chOff x="3623023" y="3571901"/>
                <a:chExt cx="439223" cy="785277"/>
              </a:xfrm>
            </p:grpSpPr>
            <p:sp>
              <p:nvSpPr>
                <p:cNvPr id="30" name="Freeform 45">
                  <a:extLst>
                    <a:ext uri="{FF2B5EF4-FFF2-40B4-BE49-F238E27FC236}">
                      <a16:creationId xmlns:a16="http://schemas.microsoft.com/office/drawing/2014/main" id="{7D63533F-17AE-DC5A-2549-254D433797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3023" y="3571901"/>
                  <a:ext cx="439223" cy="785277"/>
                </a:xfrm>
                <a:custGeom>
                  <a:avLst/>
                  <a:gdLst>
                    <a:gd name="T0" fmla="*/ 358 w 439223"/>
                    <a:gd name="T1" fmla="*/ 701041 h 785277"/>
                    <a:gd name="T2" fmla="*/ 192399 w 439223"/>
                    <a:gd name="T3" fmla="*/ 430092 h 785277"/>
                    <a:gd name="T4" fmla="*/ 358 w 439223"/>
                    <a:gd name="T5" fmla="*/ 430092 h 785277"/>
                    <a:gd name="T6" fmla="*/ 358 w 439223"/>
                    <a:gd name="T7" fmla="*/ 376 h 785277"/>
                    <a:gd name="T8" fmla="*/ 439581 w 439223"/>
                    <a:gd name="T9" fmla="*/ 376 h 785277"/>
                    <a:gd name="T10" fmla="*/ 439581 w 439223"/>
                    <a:gd name="T11" fmla="*/ 430092 h 785277"/>
                    <a:gd name="T12" fmla="*/ 439581 w 439223"/>
                    <a:gd name="T13" fmla="*/ 430092 h 785277"/>
                    <a:gd name="T14" fmla="*/ 53597 w 439223"/>
                    <a:gd name="T15" fmla="*/ 785653 h 785277"/>
                    <a:gd name="T16" fmla="*/ 358 w 439223"/>
                    <a:gd name="T17" fmla="*/ 701041 h 7852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39223" h="785277">
                      <a:moveTo>
                        <a:pt x="358" y="701041"/>
                      </a:moveTo>
                      <a:cubicBezTo>
                        <a:pt x="180991" y="645901"/>
                        <a:pt x="191448" y="467169"/>
                        <a:pt x="192399" y="430092"/>
                      </a:cubicBezTo>
                      <a:lnTo>
                        <a:pt x="358" y="430092"/>
                      </a:lnTo>
                      <a:lnTo>
                        <a:pt x="358" y="376"/>
                      </a:lnTo>
                      <a:lnTo>
                        <a:pt x="439581" y="376"/>
                      </a:lnTo>
                      <a:lnTo>
                        <a:pt x="439581" y="430092"/>
                      </a:lnTo>
                      <a:cubicBezTo>
                        <a:pt x="434827" y="581253"/>
                        <a:pt x="257047" y="747625"/>
                        <a:pt x="53597" y="785653"/>
                      </a:cubicBezTo>
                      <a:cubicBezTo>
                        <a:pt x="55498" y="782801"/>
                        <a:pt x="1308" y="704844"/>
                        <a:pt x="358" y="701041"/>
                      </a:cubicBezTo>
                      <a:close/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  <p:sp>
              <p:nvSpPr>
                <p:cNvPr id="31" name="Freeform 46">
                  <a:extLst>
                    <a:ext uri="{FF2B5EF4-FFF2-40B4-BE49-F238E27FC236}">
                      <a16:creationId xmlns:a16="http://schemas.microsoft.com/office/drawing/2014/main" id="{5108CDDF-729B-AAF5-60D0-6189AAF5B5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3023" y="3571901"/>
                  <a:ext cx="439223" cy="785277"/>
                </a:xfrm>
                <a:custGeom>
                  <a:avLst/>
                  <a:gdLst>
                    <a:gd name="T0" fmla="*/ 53597 w 439223"/>
                    <a:gd name="T1" fmla="*/ 785653 h 785277"/>
                    <a:gd name="T2" fmla="*/ 358 w 439223"/>
                    <a:gd name="T3" fmla="*/ 701041 h 785277"/>
                    <a:gd name="T4" fmla="*/ 192399 w 439223"/>
                    <a:gd name="T5" fmla="*/ 430092 h 785277"/>
                    <a:gd name="T6" fmla="*/ 358 w 439223"/>
                    <a:gd name="T7" fmla="*/ 430092 h 785277"/>
                    <a:gd name="T8" fmla="*/ 358 w 439223"/>
                    <a:gd name="T9" fmla="*/ 376 h 785277"/>
                    <a:gd name="T10" fmla="*/ 439581 w 439223"/>
                    <a:gd name="T11" fmla="*/ 376 h 785277"/>
                    <a:gd name="T12" fmla="*/ 439581 w 439223"/>
                    <a:gd name="T13" fmla="*/ 430092 h 785277"/>
                    <a:gd name="T14" fmla="*/ 439581 w 439223"/>
                    <a:gd name="T15" fmla="*/ 430092 h 785277"/>
                    <a:gd name="T16" fmla="*/ 53597 w 439223"/>
                    <a:gd name="T17" fmla="*/ 785653 h 7852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39223" h="785277">
                      <a:moveTo>
                        <a:pt x="53597" y="785653"/>
                      </a:moveTo>
                      <a:cubicBezTo>
                        <a:pt x="55498" y="782801"/>
                        <a:pt x="1308" y="704844"/>
                        <a:pt x="358" y="701041"/>
                      </a:cubicBezTo>
                      <a:cubicBezTo>
                        <a:pt x="180991" y="645901"/>
                        <a:pt x="191448" y="467169"/>
                        <a:pt x="192399" y="430092"/>
                      </a:cubicBezTo>
                      <a:lnTo>
                        <a:pt x="358" y="430092"/>
                      </a:lnTo>
                      <a:lnTo>
                        <a:pt x="358" y="376"/>
                      </a:lnTo>
                      <a:lnTo>
                        <a:pt x="439581" y="376"/>
                      </a:lnTo>
                      <a:lnTo>
                        <a:pt x="439581" y="430092"/>
                      </a:lnTo>
                      <a:cubicBezTo>
                        <a:pt x="434827" y="581253"/>
                        <a:pt x="257047" y="747625"/>
                        <a:pt x="53597" y="785653"/>
                      </a:cubicBezTo>
                      <a:close/>
                    </a:path>
                  </a:pathLst>
                </a:custGeom>
                <a:solidFill>
                  <a:srgbClr val="AB003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</p:grpSp>
          <p:grpSp>
            <p:nvGrpSpPr>
              <p:cNvPr id="27" name="Graphic 4">
                <a:extLst>
                  <a:ext uri="{FF2B5EF4-FFF2-40B4-BE49-F238E27FC236}">
                    <a16:creationId xmlns:a16="http://schemas.microsoft.com/office/drawing/2014/main" id="{9F829AE8-6D2D-EE35-E095-F84CD449D35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91294" y="3571901"/>
                <a:ext cx="439223" cy="785277"/>
                <a:chOff x="4191294" y="3571901"/>
                <a:chExt cx="439223" cy="785277"/>
              </a:xfrm>
            </p:grpSpPr>
            <p:sp>
              <p:nvSpPr>
                <p:cNvPr id="28" name="Freeform 43">
                  <a:extLst>
                    <a:ext uri="{FF2B5EF4-FFF2-40B4-BE49-F238E27FC236}">
                      <a16:creationId xmlns:a16="http://schemas.microsoft.com/office/drawing/2014/main" id="{58CB4F6F-A5D7-22C6-5458-CD3C12ECF3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1294" y="3571901"/>
                  <a:ext cx="439223" cy="785277"/>
                </a:xfrm>
                <a:custGeom>
                  <a:avLst/>
                  <a:gdLst>
                    <a:gd name="T0" fmla="*/ 417 w 439223"/>
                    <a:gd name="T1" fmla="*/ 701041 h 785277"/>
                    <a:gd name="T2" fmla="*/ 192459 w 439223"/>
                    <a:gd name="T3" fmla="*/ 430092 h 785277"/>
                    <a:gd name="T4" fmla="*/ 417 w 439223"/>
                    <a:gd name="T5" fmla="*/ 430092 h 785277"/>
                    <a:gd name="T6" fmla="*/ 417 w 439223"/>
                    <a:gd name="T7" fmla="*/ 376 h 785277"/>
                    <a:gd name="T8" fmla="*/ 439641 w 439223"/>
                    <a:gd name="T9" fmla="*/ 376 h 785277"/>
                    <a:gd name="T10" fmla="*/ 439641 w 439223"/>
                    <a:gd name="T11" fmla="*/ 430092 h 785277"/>
                    <a:gd name="T12" fmla="*/ 439641 w 439223"/>
                    <a:gd name="T13" fmla="*/ 430092 h 785277"/>
                    <a:gd name="T14" fmla="*/ 53657 w 439223"/>
                    <a:gd name="T15" fmla="*/ 785653 h 785277"/>
                    <a:gd name="T16" fmla="*/ 417 w 439223"/>
                    <a:gd name="T17" fmla="*/ 701041 h 7852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39223" h="785277">
                      <a:moveTo>
                        <a:pt x="417" y="701041"/>
                      </a:moveTo>
                      <a:cubicBezTo>
                        <a:pt x="181050" y="645901"/>
                        <a:pt x="191508" y="467169"/>
                        <a:pt x="192459" y="430092"/>
                      </a:cubicBezTo>
                      <a:lnTo>
                        <a:pt x="417" y="430092"/>
                      </a:lnTo>
                      <a:lnTo>
                        <a:pt x="417" y="376"/>
                      </a:lnTo>
                      <a:lnTo>
                        <a:pt x="439641" y="376"/>
                      </a:lnTo>
                      <a:lnTo>
                        <a:pt x="439641" y="430092"/>
                      </a:lnTo>
                      <a:cubicBezTo>
                        <a:pt x="434887" y="581253"/>
                        <a:pt x="257106" y="747625"/>
                        <a:pt x="53657" y="785653"/>
                      </a:cubicBezTo>
                      <a:cubicBezTo>
                        <a:pt x="55558" y="782801"/>
                        <a:pt x="1368" y="704844"/>
                        <a:pt x="417" y="701041"/>
                      </a:cubicBezTo>
                      <a:close/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  <p:sp>
              <p:nvSpPr>
                <p:cNvPr id="29" name="Freeform 44">
                  <a:extLst>
                    <a:ext uri="{FF2B5EF4-FFF2-40B4-BE49-F238E27FC236}">
                      <a16:creationId xmlns:a16="http://schemas.microsoft.com/office/drawing/2014/main" id="{FC9EBF3C-17F2-F6BC-5BC1-D45AF6FCDE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1294" y="3571901"/>
                  <a:ext cx="439223" cy="785277"/>
                </a:xfrm>
                <a:custGeom>
                  <a:avLst/>
                  <a:gdLst>
                    <a:gd name="T0" fmla="*/ 53657 w 439223"/>
                    <a:gd name="T1" fmla="*/ 785653 h 785277"/>
                    <a:gd name="T2" fmla="*/ 417 w 439223"/>
                    <a:gd name="T3" fmla="*/ 701041 h 785277"/>
                    <a:gd name="T4" fmla="*/ 192459 w 439223"/>
                    <a:gd name="T5" fmla="*/ 430092 h 785277"/>
                    <a:gd name="T6" fmla="*/ 417 w 439223"/>
                    <a:gd name="T7" fmla="*/ 430092 h 785277"/>
                    <a:gd name="T8" fmla="*/ 417 w 439223"/>
                    <a:gd name="T9" fmla="*/ 376 h 785277"/>
                    <a:gd name="T10" fmla="*/ 439641 w 439223"/>
                    <a:gd name="T11" fmla="*/ 376 h 785277"/>
                    <a:gd name="T12" fmla="*/ 439641 w 439223"/>
                    <a:gd name="T13" fmla="*/ 430092 h 785277"/>
                    <a:gd name="T14" fmla="*/ 439641 w 439223"/>
                    <a:gd name="T15" fmla="*/ 430092 h 785277"/>
                    <a:gd name="T16" fmla="*/ 53657 w 439223"/>
                    <a:gd name="T17" fmla="*/ 785653 h 7852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39223" h="785277">
                      <a:moveTo>
                        <a:pt x="53657" y="785653"/>
                      </a:moveTo>
                      <a:cubicBezTo>
                        <a:pt x="55558" y="782801"/>
                        <a:pt x="1368" y="704844"/>
                        <a:pt x="417" y="701041"/>
                      </a:cubicBezTo>
                      <a:cubicBezTo>
                        <a:pt x="181050" y="645901"/>
                        <a:pt x="191508" y="467169"/>
                        <a:pt x="192459" y="430092"/>
                      </a:cubicBezTo>
                      <a:lnTo>
                        <a:pt x="417" y="430092"/>
                      </a:lnTo>
                      <a:lnTo>
                        <a:pt x="417" y="376"/>
                      </a:lnTo>
                      <a:lnTo>
                        <a:pt x="439641" y="376"/>
                      </a:lnTo>
                      <a:lnTo>
                        <a:pt x="439641" y="430092"/>
                      </a:lnTo>
                      <a:cubicBezTo>
                        <a:pt x="434887" y="581253"/>
                        <a:pt x="257106" y="747625"/>
                        <a:pt x="53657" y="785653"/>
                      </a:cubicBezTo>
                      <a:close/>
                    </a:path>
                  </a:pathLst>
                </a:custGeom>
                <a:solidFill>
                  <a:srgbClr val="AB003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07" cap="flat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00A4DAF2-3090-1D2A-77A4-4415A0C36C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35581" y="2402387"/>
            <a:ext cx="1362298" cy="1289318"/>
          </a:xfrm>
          <a:prstGeom prst="rect">
            <a:avLst/>
          </a:prstGeom>
        </p:spPr>
      </p:pic>
      <p:sp>
        <p:nvSpPr>
          <p:cNvPr id="34" name="Oval 33">
            <a:extLst>
              <a:ext uri="{FF2B5EF4-FFF2-40B4-BE49-F238E27FC236}">
                <a16:creationId xmlns:a16="http://schemas.microsoft.com/office/drawing/2014/main" id="{A13E667A-0C4C-B9A8-C985-F123A9D6D284}"/>
              </a:ext>
            </a:extLst>
          </p:cNvPr>
          <p:cNvSpPr>
            <a:spLocks/>
          </p:cNvSpPr>
          <p:nvPr/>
        </p:nvSpPr>
        <p:spPr>
          <a:xfrm rot="6883338">
            <a:off x="3701949" y="3775674"/>
            <a:ext cx="1249331" cy="1249331"/>
          </a:xfrm>
          <a:prstGeom prst="ellipse">
            <a:avLst/>
          </a:prstGeom>
          <a:blipFill>
            <a:blip r:embed="rId4"/>
            <a:stretch>
              <a:fillRect l="-3643" t="-31574" r="-154175" b="-12609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Avenir Next" panose="020B0503020202020204" pitchFamily="34" charset="0"/>
            </a:endParaRPr>
          </a:p>
        </p:txBody>
      </p:sp>
      <p:sp>
        <p:nvSpPr>
          <p:cNvPr id="35" name="Graphic 2">
            <a:extLst>
              <a:ext uri="{FF2B5EF4-FFF2-40B4-BE49-F238E27FC236}">
                <a16:creationId xmlns:a16="http://schemas.microsoft.com/office/drawing/2014/main" id="{F31FC4B9-B434-D644-B38C-DE863BCBD8B8}"/>
              </a:ext>
            </a:extLst>
          </p:cNvPr>
          <p:cNvSpPr>
            <a:spLocks/>
          </p:cNvSpPr>
          <p:nvPr/>
        </p:nvSpPr>
        <p:spPr bwMode="auto">
          <a:xfrm>
            <a:off x="2615492" y="5113588"/>
            <a:ext cx="2644360" cy="345716"/>
          </a:xfrm>
          <a:custGeom>
            <a:avLst/>
            <a:gdLst>
              <a:gd name="T0" fmla="*/ 2099397 w 2972803"/>
              <a:gd name="T1" fmla="*/ 294133 h 387630"/>
              <a:gd name="T2" fmla="*/ 0 w 2972803"/>
              <a:gd name="T3" fmla="*/ 297710 h 387630"/>
              <a:gd name="T4" fmla="*/ 0 w 2972803"/>
              <a:gd name="T5" fmla="*/ 402 h 387630"/>
              <a:gd name="T6" fmla="*/ 2283190 w 2972803"/>
              <a:gd name="T7" fmla="*/ 0 h 387630"/>
              <a:gd name="T8" fmla="*/ 2099397 w 2972803"/>
              <a:gd name="T9" fmla="*/ 294133 h 3876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972803"/>
              <a:gd name="T16" fmla="*/ 0 h 387630"/>
              <a:gd name="T17" fmla="*/ 2972803 w 2972803"/>
              <a:gd name="T18" fmla="*/ 387630 h 38763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972803" h="387630">
                <a:moveTo>
                  <a:pt x="2733497" y="382972"/>
                </a:moveTo>
                <a:lnTo>
                  <a:pt x="0" y="387630"/>
                </a:lnTo>
                <a:lnTo>
                  <a:pt x="0" y="523"/>
                </a:lnTo>
                <a:lnTo>
                  <a:pt x="2972803" y="0"/>
                </a:lnTo>
                <a:lnTo>
                  <a:pt x="2733497" y="382972"/>
                </a:lnTo>
                <a:close/>
              </a:path>
            </a:pathLst>
          </a:custGeom>
          <a:solidFill>
            <a:srgbClr val="BB283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6842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b="1" dirty="0">
                <a:solidFill>
                  <a:schemeClr val="bg1"/>
                </a:solidFill>
                <a:latin typeface="AvenirNext LT Pro Medium" panose="020B0504020202020204" pitchFamily="34" charset="77"/>
              </a:rPr>
              <a:t>	ellab.co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7DACF1D-EFA2-4CB9-EFB4-527A190F89AC}"/>
              </a:ext>
            </a:extLst>
          </p:cNvPr>
          <p:cNvSpPr txBox="1"/>
          <p:nvPr/>
        </p:nvSpPr>
        <p:spPr>
          <a:xfrm>
            <a:off x="411476" y="143864"/>
            <a:ext cx="1889272" cy="272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 dirty="0">
                <a:solidFill>
                  <a:schemeClr val="bg2"/>
                </a:solidFill>
                <a:latin typeface="+mj-lt"/>
              </a:rPr>
              <a:t>Ellab Slide Assets </a:t>
            </a:r>
            <a:r>
              <a:rPr lang="en-US" sz="800" dirty="0">
                <a:solidFill>
                  <a:schemeClr val="bg2"/>
                </a:solidFill>
                <a:latin typeface="+mj-lt"/>
              </a:rPr>
              <a:t>V1</a:t>
            </a:r>
            <a:endParaRPr lang="en-US" sz="117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AB6FB4C-A5E9-2E87-C612-880E46910AD7}"/>
              </a:ext>
            </a:extLst>
          </p:cNvPr>
          <p:cNvSpPr txBox="1"/>
          <p:nvPr/>
        </p:nvSpPr>
        <p:spPr>
          <a:xfrm>
            <a:off x="3898095" y="176287"/>
            <a:ext cx="27235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i="1" u="sng" dirty="0">
                <a:solidFill>
                  <a:schemeClr val="bg2"/>
                </a:solidFill>
                <a:latin typeface="+mn-lt"/>
              </a:rPr>
              <a:t>Copy as needed then delete this slide!</a:t>
            </a:r>
          </a:p>
        </p:txBody>
      </p:sp>
    </p:spTree>
    <p:extLst>
      <p:ext uri="{BB962C8B-B14F-4D97-AF65-F5344CB8AC3E}">
        <p14:creationId xmlns:p14="http://schemas.microsoft.com/office/powerpoint/2010/main" val="405619525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Rectangle 262">
            <a:extLst>
              <a:ext uri="{FF2B5EF4-FFF2-40B4-BE49-F238E27FC236}">
                <a16:creationId xmlns:a16="http://schemas.microsoft.com/office/drawing/2014/main" id="{1D5AC234-94C9-AE59-99FC-C02F27973187}"/>
              </a:ext>
            </a:extLst>
          </p:cNvPr>
          <p:cNvSpPr/>
          <p:nvPr/>
        </p:nvSpPr>
        <p:spPr>
          <a:xfrm>
            <a:off x="0" y="0"/>
            <a:ext cx="9144000" cy="830652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39BE441A-0C0B-8146-89F9-D9BCB00915AD}"/>
              </a:ext>
            </a:extLst>
          </p:cNvPr>
          <p:cNvSpPr txBox="1"/>
          <p:nvPr/>
        </p:nvSpPr>
        <p:spPr>
          <a:xfrm>
            <a:off x="418259" y="472311"/>
            <a:ext cx="2459411" cy="272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dirty="0">
                <a:solidFill>
                  <a:schemeClr val="bg2"/>
                </a:solidFill>
                <a:latin typeface="+mn-lt"/>
              </a:rPr>
              <a:t>Tabl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7DACF1D-EFA2-4CB9-EFB4-527A190F89AC}"/>
              </a:ext>
            </a:extLst>
          </p:cNvPr>
          <p:cNvSpPr txBox="1"/>
          <p:nvPr/>
        </p:nvSpPr>
        <p:spPr>
          <a:xfrm>
            <a:off x="411476" y="143864"/>
            <a:ext cx="1889272" cy="272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 dirty="0">
                <a:solidFill>
                  <a:schemeClr val="bg2"/>
                </a:solidFill>
                <a:latin typeface="+mj-lt"/>
              </a:rPr>
              <a:t>Ellab Slide Assets </a:t>
            </a:r>
            <a:r>
              <a:rPr lang="en-US" sz="800" dirty="0">
                <a:solidFill>
                  <a:schemeClr val="bg2"/>
                </a:solidFill>
                <a:latin typeface="+mj-lt"/>
              </a:rPr>
              <a:t>V1</a:t>
            </a:r>
            <a:endParaRPr lang="en-US" sz="1170" dirty="0">
              <a:solidFill>
                <a:schemeClr val="bg2"/>
              </a:solidFill>
              <a:latin typeface="+mj-lt"/>
            </a:endParaRPr>
          </a:p>
        </p:txBody>
      </p:sp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36A6D525-0C6C-CEA4-46AD-0F26ED252B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8768668"/>
              </p:ext>
            </p:extLst>
          </p:nvPr>
        </p:nvGraphicFramePr>
        <p:xfrm>
          <a:off x="2225988" y="3059507"/>
          <a:ext cx="6497637" cy="2581488"/>
        </p:xfrm>
        <a:graphic>
          <a:graphicData uri="http://schemas.openxmlformats.org/drawingml/2006/table">
            <a:tbl>
              <a:tblPr/>
              <a:tblGrid>
                <a:gridCol w="9357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05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14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357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02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400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5145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7856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57088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 dirty="0">
                          <a:solidFill>
                            <a:srgbClr val="1F6898"/>
                          </a:solidFill>
                          <a:effectLst/>
                          <a:latin typeface="+mn-lt"/>
                        </a:rPr>
                        <a:t> ​</a:t>
                      </a:r>
                      <a:endParaRPr lang="en-US" sz="1600" b="0" i="0" dirty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olumn</a:t>
                      </a:r>
                      <a:endParaRPr lang="en-US" sz="1600" b="0" i="0" dirty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  <a:p>
                      <a:pPr algn="ctr" fontAlgn="base"/>
                      <a:r>
                        <a:rPr lang="en-US" sz="900" b="0" i="0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itle </a:t>
                      </a:r>
                      <a:r>
                        <a:rPr lang="en-US" sz="900" b="0" i="0" dirty="0">
                          <a:solidFill>
                            <a:srgbClr val="1F6898"/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 dirty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  <a:p>
                      <a:pPr algn="ctr" fontAlgn="base"/>
                      <a:r>
                        <a:rPr lang="en-US" sz="700" b="0" i="0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ub-title</a:t>
                      </a:r>
                      <a:endParaRPr lang="en-US" sz="1600" b="0" i="0" dirty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9C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olumn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  <a:p>
                      <a:pPr algn="ctr" fontAlgn="base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itle</a:t>
                      </a:r>
                      <a:r>
                        <a:rPr lang="en-US" sz="900" b="0" i="0">
                          <a:solidFill>
                            <a:srgbClr val="1F6898"/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  <a:p>
                      <a:pPr algn="ctr" fontAlgn="base"/>
                      <a:r>
                        <a:rPr lang="en-US" sz="7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ub-title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9C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itle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689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itle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689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itle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689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0" i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itle®</a:t>
                      </a:r>
                      <a:r>
                        <a:rPr lang="en-US" sz="900" b="0" i="0">
                          <a:solidFill>
                            <a:srgbClr val="1F6898"/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rgbClr val="1F6898"/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68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2796">
                <a:tc>
                  <a:txBody>
                    <a:bodyPr/>
                    <a:lstStyle/>
                    <a:p>
                      <a:pPr algn="l" fontAlgn="base"/>
                      <a:r>
                        <a:rPr lang="en-US" sz="900" b="1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Row</a:t>
                      </a:r>
                      <a:endParaRPr lang="en-US" sz="1600" b="1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algn="l" fontAlgn="base"/>
                      <a:r>
                        <a:rPr lang="en-US" sz="600" b="0" i="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Sub-title</a:t>
                      </a:r>
                      <a:endParaRPr lang="en-US" sz="16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  <a:endParaRPr lang="en-US" sz="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  <a:endParaRPr lang="en-US" sz="6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  <a:endParaRPr lang="en-US" sz="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Cell bullet points</a:t>
                      </a:r>
                      <a:endParaRPr lang="en-US" sz="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€ 0</a:t>
                      </a:r>
                      <a:r>
                        <a:rPr lang="en-US" sz="7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€ 0</a:t>
                      </a:r>
                      <a:r>
                        <a:rPr lang="en-US" sz="7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35">
                <a:tc>
                  <a:txBody>
                    <a:bodyPr/>
                    <a:lstStyle/>
                    <a:p>
                      <a:pPr algn="l" fontAlgn="auto"/>
                      <a:r>
                        <a:rPr lang="en-US" sz="6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1,000</a:t>
                      </a:r>
                      <a:r>
                        <a:rPr lang="en-US" sz="700" b="0" i="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1,000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1,000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1,000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1,000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1,000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5680">
                <a:tc>
                  <a:txBody>
                    <a:bodyPr/>
                    <a:lstStyle/>
                    <a:p>
                      <a:pPr algn="l" fontAlgn="base"/>
                      <a:r>
                        <a:rPr lang="en-US" sz="9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Row</a:t>
                      </a:r>
                      <a:endParaRPr lang="en-US" sz="1600" b="1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Span two rows</a:t>
                      </a:r>
                      <a:endParaRPr lang="en-US" sz="16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Text</a:t>
                      </a:r>
                      <a:endParaRPr lang="en-US" sz="1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Text</a:t>
                      </a:r>
                      <a:endParaRPr lang="en-US" sz="16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Span two rows</a:t>
                      </a:r>
                      <a:endParaRPr lang="en-US" sz="1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3308">
                <a:tc>
                  <a:txBody>
                    <a:bodyPr/>
                    <a:lstStyle/>
                    <a:p>
                      <a:pPr algn="l" fontAlgn="base"/>
                      <a:r>
                        <a:rPr lang="en-US" sz="9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Row</a:t>
                      </a:r>
                      <a:endParaRPr lang="en-US" sz="1600" b="1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6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Text</a:t>
                      </a:r>
                      <a:endParaRPr lang="en-US" sz="16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12700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Text</a:t>
                      </a:r>
                      <a:endParaRPr lang="en-US" sz="16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12700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5680">
                <a:tc>
                  <a:txBody>
                    <a:bodyPr/>
                    <a:lstStyle/>
                    <a:p>
                      <a:pPr algn="l" fontAlgn="base"/>
                      <a:r>
                        <a:rPr lang="en-US" sz="9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Row</a:t>
                      </a:r>
                      <a:endParaRPr lang="en-US" sz="1600" b="1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1,000</a:t>
                      </a:r>
                      <a:r>
                        <a:rPr lang="en-US" sz="7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1,000</a:t>
                      </a:r>
                      <a:r>
                        <a:rPr lang="en-US" sz="700" b="0" i="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1,000</a:t>
                      </a:r>
                      <a:r>
                        <a:rPr lang="en-US" sz="700" b="0" i="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​</a:t>
                      </a:r>
                      <a:endParaRPr lang="en-US" sz="16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1,000</a:t>
                      </a:r>
                      <a:r>
                        <a:rPr lang="en-US" sz="7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9164">
                <a:tc>
                  <a:txBody>
                    <a:bodyPr/>
                    <a:lstStyle/>
                    <a:p>
                      <a:pPr algn="l" fontAlgn="base"/>
                      <a:r>
                        <a:rPr lang="en-US" sz="9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Row</a:t>
                      </a:r>
                    </a:p>
                    <a:p>
                      <a:pPr algn="l" fontAlgn="base"/>
                      <a:r>
                        <a:rPr lang="en-US" sz="6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Sub-title</a:t>
                      </a:r>
                      <a:endParaRPr lang="en-GB" sz="1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r>
                        <a:rPr lang="en-US" sz="700" b="0" i="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r>
                        <a:rPr lang="en-US" sz="7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N/A</a:t>
                      </a:r>
                      <a:r>
                        <a:rPr lang="en-US" sz="700" b="0" i="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  <a:endParaRPr lang="en-US" sz="16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7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 €0</a:t>
                      </a:r>
                      <a:endParaRPr lang="en-US" sz="7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0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16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4725">
                <a:tc>
                  <a:txBody>
                    <a:bodyPr/>
                    <a:lstStyle/>
                    <a:p>
                      <a:pPr algn="l" fontAlgn="base"/>
                      <a:r>
                        <a:rPr lang="en-US" sz="9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Row</a:t>
                      </a:r>
                    </a:p>
                    <a:p>
                      <a:pPr algn="l" fontAlgn="base"/>
                      <a:r>
                        <a:rPr lang="en-GB" sz="6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- </a:t>
                      </a:r>
                      <a:r>
                        <a:rPr lang="en-US" sz="600" b="0" i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Sub-title</a:t>
                      </a:r>
                      <a:endParaRPr lang="en-GB" sz="1600" b="0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b="0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1600" b="1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700" b="1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&gt; €0</a:t>
                      </a:r>
                      <a:endParaRPr lang="en-US" sz="700" b="1" i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700" b="1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1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700" b="1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b="1" i="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€0</a:t>
                      </a:r>
                      <a:endParaRPr lang="en-US" sz="700" b="1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71" marR="68571" marT="38091" marB="3809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4AAEF82D-85B9-467B-38D3-7D5C8792C6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453395"/>
              </p:ext>
            </p:extLst>
          </p:nvPr>
        </p:nvGraphicFramePr>
        <p:xfrm>
          <a:off x="4457619" y="926432"/>
          <a:ext cx="4266006" cy="2037294"/>
        </p:xfrm>
        <a:graphic>
          <a:graphicData uri="http://schemas.openxmlformats.org/drawingml/2006/table">
            <a:tbl>
              <a:tblPr>
                <a:solidFill>
                  <a:schemeClr val="bg1"/>
                </a:solidFill>
              </a:tblPr>
              <a:tblGrid>
                <a:gridCol w="2140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59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itle</a:t>
                      </a: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DK" sz="700" b="1" i="0" u="none" strike="noStrike" cap="none" normalizeH="0" baseline="0">
                        <a:ln>
                          <a:noFill/>
                        </a:ln>
                        <a:solidFill>
                          <a:srgbClr val="58595B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1511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511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1511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itle</a:t>
                      </a: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DK" sz="700" b="1" i="0" u="none" strike="noStrike" cap="none" normalizeH="0" baseline="0">
                        <a:ln>
                          <a:noFill/>
                        </a:ln>
                        <a:solidFill>
                          <a:srgbClr val="58595B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1511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Content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2250"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none" strike="noStrike" cap="none" normalizeH="0" baseline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ow title:</a:t>
                      </a: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100000"/>
                        <a:buFont typeface="Arial" panose="020B0604020202020204" pitchFamily="34" charset="0"/>
                        <a:defRPr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ct val="20000"/>
                        </a:spcBef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F6898"/>
                        </a:buClr>
                        <a:buSzPct val="80000"/>
                        <a:buFont typeface="Arial" panose="020B0604020202020204" pitchFamily="34" charset="0"/>
                        <a:defRPr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DK" sz="700" b="0" i="0" u="sng" strike="noStrike" cap="none" normalizeH="0" baseline="0" dirty="0">
                          <a:ln>
                            <a:noFill/>
                          </a:ln>
                          <a:solidFill>
                            <a:srgbClr val="1F6898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nk</a:t>
                      </a:r>
                      <a:endParaRPr kumimoji="0" lang="en-US" altLang="en-DK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1F6898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151" marR="51151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7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E6244228-A896-87BC-5682-AA2A248A31DE}"/>
              </a:ext>
            </a:extLst>
          </p:cNvPr>
          <p:cNvSpPr txBox="1"/>
          <p:nvPr/>
        </p:nvSpPr>
        <p:spPr>
          <a:xfrm>
            <a:off x="411476" y="4304107"/>
            <a:ext cx="1652587" cy="2714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 dirty="0">
                <a:latin typeface="+mj-lt"/>
              </a:rPr>
              <a:t>Complex tabl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F3669E9-22EE-1945-22E8-B7DAB76F68A1}"/>
              </a:ext>
            </a:extLst>
          </p:cNvPr>
          <p:cNvSpPr txBox="1"/>
          <p:nvPr/>
        </p:nvSpPr>
        <p:spPr>
          <a:xfrm>
            <a:off x="411476" y="1167207"/>
            <a:ext cx="2465387" cy="273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0" b="1">
                <a:latin typeface="+mj-lt"/>
              </a:rPr>
              <a:t>Standard tabl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4324E48-C753-2407-AE78-8FA2DA4862BE}"/>
              </a:ext>
            </a:extLst>
          </p:cNvPr>
          <p:cNvSpPr txBox="1"/>
          <p:nvPr/>
        </p:nvSpPr>
        <p:spPr>
          <a:xfrm>
            <a:off x="3898095" y="176287"/>
            <a:ext cx="27235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i="1" u="sng" dirty="0">
                <a:solidFill>
                  <a:schemeClr val="bg2"/>
                </a:solidFill>
                <a:latin typeface="+mn-lt"/>
              </a:rPr>
              <a:t>Copy as needed then delete this slide!</a:t>
            </a:r>
          </a:p>
        </p:txBody>
      </p:sp>
    </p:spTree>
    <p:extLst>
      <p:ext uri="{BB962C8B-B14F-4D97-AF65-F5344CB8AC3E}">
        <p14:creationId xmlns:p14="http://schemas.microsoft.com/office/powerpoint/2010/main" val="40399871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0770F1E-2DC0-4D7E-B956-67CE840A77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3145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0770F1E-2DC0-4D7E-B956-67CE840A77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CDA3A8-0A4C-CA41-B699-6FBB904E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336" y="502922"/>
            <a:ext cx="6752255" cy="411479"/>
          </a:xfrm>
        </p:spPr>
        <p:txBody>
          <a:bodyPr/>
          <a:lstStyle/>
          <a:p>
            <a:r>
              <a:rPr lang="en-US" dirty="0"/>
              <a:t>Overview: System Stru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6B81ACE-BD19-ED40-830F-DDF676FF23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336" y="1102779"/>
            <a:ext cx="4557282" cy="4048885"/>
          </a:xfrm>
        </p:spPr>
        <p:txBody>
          <a:bodyPr/>
          <a:lstStyle/>
          <a:p>
            <a:pPr marL="0" indent="0"/>
            <a:r>
              <a:rPr lang="en-US" sz="1600" dirty="0"/>
              <a:t>Core System Compon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Wireless Transmitter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Receiv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Software</a:t>
            </a:r>
          </a:p>
          <a:p>
            <a:pPr lvl="1"/>
            <a:r>
              <a:rPr lang="en-US" sz="1600" dirty="0">
                <a:solidFill>
                  <a:schemeClr val="bg2">
                    <a:lumMod val="10000"/>
                  </a:schemeClr>
                </a:solidFill>
              </a:rPr>
              <a:t>Standard and Part 11 options</a:t>
            </a:r>
          </a:p>
          <a:p>
            <a:pPr lvl="1"/>
            <a:r>
              <a:rPr lang="en-US" sz="1600" dirty="0">
                <a:solidFill>
                  <a:schemeClr val="bg2">
                    <a:lumMod val="10000"/>
                  </a:schemeClr>
                </a:solidFill>
              </a:rPr>
              <a:t>Automated Reporting</a:t>
            </a:r>
          </a:p>
          <a:p>
            <a:pPr lvl="1"/>
            <a:r>
              <a:rPr lang="en-US" sz="1600" dirty="0">
                <a:solidFill>
                  <a:schemeClr val="bg2">
                    <a:lumMod val="10000"/>
                  </a:schemeClr>
                </a:solidFill>
              </a:rPr>
              <a:t>Automated E-mail Alarms</a:t>
            </a:r>
          </a:p>
          <a:p>
            <a:r>
              <a:rPr lang="en-US" sz="1600" dirty="0"/>
              <a:t>Optional: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S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Mobile APP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External Alarms – Light beacons, Sound beacons</a:t>
            </a:r>
          </a:p>
          <a:p>
            <a:pPr lvl="1"/>
            <a:endParaRPr lang="en-US" sz="1600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4" name="Picture 3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87335466-91BA-EA22-ED00-3D47BF2929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46630" y="1419072"/>
            <a:ext cx="1909314" cy="1894936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19DDA-FB4E-6869-2C4C-81C900FA08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64617" y="1102779"/>
            <a:ext cx="2048496" cy="566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4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2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2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xt</a:t>
            </a:r>
            <a:r>
              <a:rPr lang="en-US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erts</a:t>
            </a:r>
          </a:p>
        </p:txBody>
      </p:sp>
      <p:pic>
        <p:nvPicPr>
          <p:cNvPr id="7" name="Picture 8" descr="A picture containing object, clock&#10;&#10;Description generated with very high confidence">
            <a:extLst>
              <a:ext uri="{FF2B5EF4-FFF2-40B4-BE49-F238E27FC236}">
                <a16:creationId xmlns:a16="http://schemas.microsoft.com/office/drawing/2014/main" id="{664E65DC-642E-3E10-134E-21DF702B1B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52317" y="3252954"/>
            <a:ext cx="2262703" cy="2262703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C3E415F-D328-6055-E811-40EAB0A6CD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45265" y="3166455"/>
            <a:ext cx="2081841" cy="660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4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2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2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ail</a:t>
            </a:r>
            <a:r>
              <a:rPr lang="en-US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erts</a:t>
            </a:r>
          </a:p>
        </p:txBody>
      </p:sp>
      <p:pic>
        <p:nvPicPr>
          <p:cNvPr id="9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9F2E2E70-DFBA-2325-912B-DCF50D7655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70089" y="3433816"/>
            <a:ext cx="2081841" cy="2081841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C27A7F0-D3AC-BC51-DF6C-ED1E21E80F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7272" y="3131768"/>
            <a:ext cx="1971311" cy="485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4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2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fontAlgn="base" hangingPunct="1">
              <a:spcBef>
                <a:spcPts val="1000"/>
              </a:spcBef>
              <a:spcAft>
                <a:spcPct val="0"/>
              </a:spcAft>
              <a:buClr>
                <a:srgbClr val="00A8D3"/>
              </a:buClr>
              <a:buSzPct val="80000"/>
              <a:buFont typeface="Wingdings" panose="05000000000000000000" pitchFamily="2" charset="2"/>
              <a:buChar char="§"/>
              <a:defRPr sz="1200" kern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bile app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AEC41320-0E4C-CB29-869E-3B150F251B5D}"/>
              </a:ext>
            </a:extLst>
          </p:cNvPr>
          <p:cNvCxnSpPr>
            <a:cxnSpLocks/>
          </p:cNvCxnSpPr>
          <p:nvPr/>
        </p:nvCxnSpPr>
        <p:spPr>
          <a:xfrm flipV="1">
            <a:off x="3130402" y="2202960"/>
            <a:ext cx="0" cy="1058400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03FB74F4-AD9E-35D0-F890-362DB5D257F9}"/>
              </a:ext>
            </a:extLst>
          </p:cNvPr>
          <p:cNvCxnSpPr>
            <a:cxnSpLocks/>
          </p:cNvCxnSpPr>
          <p:nvPr/>
        </p:nvCxnSpPr>
        <p:spPr>
          <a:xfrm>
            <a:off x="5714919" y="4490723"/>
            <a:ext cx="612000" cy="0"/>
          </a:xfrm>
          <a:prstGeom prst="line">
            <a:avLst/>
          </a:prstGeom>
          <a:noFill/>
          <a:ln w="9525">
            <a:solidFill>
              <a:srgbClr val="9E9E9E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1" name="Rectangle: Rounded Corners 240">
            <a:extLst>
              <a:ext uri="{FF2B5EF4-FFF2-40B4-BE49-F238E27FC236}">
                <a16:creationId xmlns:a16="http://schemas.microsoft.com/office/drawing/2014/main" id="{6D6CF9D3-D145-8804-EC69-D5317FB024F9}"/>
              </a:ext>
            </a:extLst>
          </p:cNvPr>
          <p:cNvSpPr/>
          <p:nvPr/>
        </p:nvSpPr>
        <p:spPr>
          <a:xfrm>
            <a:off x="3917946" y="3506526"/>
            <a:ext cx="1263119" cy="1335805"/>
          </a:xfrm>
          <a:prstGeom prst="roundRect">
            <a:avLst/>
          </a:prstGeom>
          <a:solidFill>
            <a:srgbClr val="F2F2F2"/>
          </a:solidFill>
          <a:ln w="6350"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0BE7CEB-7E78-A646-4ECF-08DE12C6EF1B}"/>
              </a:ext>
            </a:extLst>
          </p:cNvPr>
          <p:cNvSpPr/>
          <p:nvPr/>
        </p:nvSpPr>
        <p:spPr>
          <a:xfrm>
            <a:off x="3917946" y="1602611"/>
            <a:ext cx="1263119" cy="1335805"/>
          </a:xfrm>
          <a:prstGeom prst="roundRect">
            <a:avLst/>
          </a:prstGeom>
          <a:solidFill>
            <a:srgbClr val="F2F2F2"/>
          </a:solidFill>
          <a:ln w="6350"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94" name="Title 1">
            <a:extLst>
              <a:ext uri="{FF2B5EF4-FFF2-40B4-BE49-F238E27FC236}">
                <a16:creationId xmlns:a16="http://schemas.microsoft.com/office/drawing/2014/main" id="{0B130C85-CCEA-4290-B6CE-034DEB1959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10336" y="318199"/>
            <a:ext cx="6894049" cy="411479"/>
          </a:xfrm>
        </p:spPr>
        <p:txBody>
          <a:bodyPr/>
          <a:lstStyle/>
          <a:p>
            <a:r>
              <a:rPr lang="en-US" dirty="0"/>
              <a:t>IceSpy Monitoring System Structure Overview</a:t>
            </a:r>
            <a:endParaRPr lang="en-US" altLang="en-US" dirty="0"/>
          </a:p>
        </p:txBody>
      </p:sp>
      <p:sp>
        <p:nvSpPr>
          <p:cNvPr id="8196" name="Slide Number Placeholder 9">
            <a:extLst>
              <a:ext uri="{FF2B5EF4-FFF2-40B4-BE49-F238E27FC236}">
                <a16:creationId xmlns:a16="http://schemas.microsoft.com/office/drawing/2014/main" id="{69FF5875-879A-46A6-BE2C-94A99E82BAE2}"/>
              </a:ext>
            </a:extLst>
          </p:cNvPr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0" y="0"/>
            <a:ext cx="0" cy="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ts val="750"/>
              </a:spcBef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557213" indent="-214313">
              <a:spcBef>
                <a:spcPts val="750"/>
              </a:spcBef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857250" indent="-171450">
              <a:spcBef>
                <a:spcPts val="750"/>
              </a:spcBef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105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200150" indent="-171450">
              <a:spcBef>
                <a:spcPts val="750"/>
              </a:spcBef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9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1543050" indent="-171450">
              <a:spcBef>
                <a:spcPts val="750"/>
              </a:spcBef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9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1885950" indent="-171450" defTabSz="342900" eaLnBrk="0" fontAlgn="base" hangingPunct="0">
              <a:spcBef>
                <a:spcPts val="750"/>
              </a:spcBef>
              <a:spcAft>
                <a:spcPct val="0"/>
              </a:spcAft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9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6pPr>
            <a:lvl7pPr marL="2228850" indent="-171450" defTabSz="342900" eaLnBrk="0" fontAlgn="base" hangingPunct="0">
              <a:spcBef>
                <a:spcPts val="750"/>
              </a:spcBef>
              <a:spcAft>
                <a:spcPct val="0"/>
              </a:spcAft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9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7pPr>
            <a:lvl8pPr marL="2571750" indent="-171450" defTabSz="342900" eaLnBrk="0" fontAlgn="base" hangingPunct="0">
              <a:spcBef>
                <a:spcPts val="750"/>
              </a:spcBef>
              <a:spcAft>
                <a:spcPct val="0"/>
              </a:spcAft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9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8pPr>
            <a:lvl9pPr marL="2914650" indent="-171450" defTabSz="342900" eaLnBrk="0" fontAlgn="base" hangingPunct="0">
              <a:spcBef>
                <a:spcPts val="750"/>
              </a:spcBef>
              <a:spcAft>
                <a:spcPct val="0"/>
              </a:spcAft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90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532AFF43-E63D-4FA9-B2EA-DF85DCA6C5EA}" type="slidenum">
              <a:rPr lang="en-US" altLang="en-US" smtClean="0">
                <a:solidFill>
                  <a:schemeClr val="bg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</a:t>
            </a:fld>
            <a:endParaRPr lang="en-US" altLang="en-US">
              <a:solidFill>
                <a:schemeClr val="bg1"/>
              </a:solidFill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EF54A5D-2057-4668-850F-8C625989A7AD}"/>
              </a:ext>
            </a:extLst>
          </p:cNvPr>
          <p:cNvGrpSpPr/>
          <p:nvPr/>
        </p:nvGrpSpPr>
        <p:grpSpPr>
          <a:xfrm>
            <a:off x="4316359" y="1746154"/>
            <a:ext cx="445615" cy="111404"/>
            <a:chOff x="5446858" y="4334748"/>
            <a:chExt cx="609600" cy="152400"/>
          </a:xfrm>
        </p:grpSpPr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B7B9DC32-A22E-4830-AE12-22E46BAA76C1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9632360-7207-4D73-8942-8DEFDAD69010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9F1B5CA0-1877-4A24-8841-271AB7687AB5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45BE5A6D-5BBF-46C9-96F8-D8E328A55138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F981AFC-8B7A-4897-8DAB-47ABED9953BA}"/>
              </a:ext>
            </a:extLst>
          </p:cNvPr>
          <p:cNvGrpSpPr/>
          <p:nvPr/>
        </p:nvGrpSpPr>
        <p:grpSpPr>
          <a:xfrm>
            <a:off x="4316359" y="1865808"/>
            <a:ext cx="445615" cy="111404"/>
            <a:chOff x="5446858" y="4334748"/>
            <a:chExt cx="609600" cy="152400"/>
          </a:xfrm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FCD679C9-C633-4E40-84B7-2DDB7444E8FC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7F6948F-F920-4519-9109-0B580747DC3D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77B27E4B-B078-40AD-BE99-41C1E4E0D626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7CE9BD94-695F-4067-81DB-D340F42C8EFE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5D25F72-0730-4522-ABE6-F3DADE7ACC43}"/>
              </a:ext>
            </a:extLst>
          </p:cNvPr>
          <p:cNvGrpSpPr/>
          <p:nvPr/>
        </p:nvGrpSpPr>
        <p:grpSpPr>
          <a:xfrm>
            <a:off x="4316359" y="1987434"/>
            <a:ext cx="445615" cy="111404"/>
            <a:chOff x="5446858" y="4334748"/>
            <a:chExt cx="609600" cy="152400"/>
          </a:xfrm>
        </p:grpSpPr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D802AFAA-51A8-4292-A26F-775B1B8F007F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91BA299B-432E-4AC3-89AA-E3A31D5A022F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2E0C966E-7D05-4DAD-9EF0-35F1DD87DF3F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solidFill>
              <a:schemeClr val="bg1"/>
            </a:solidFill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BEE90AAB-2F2C-47D7-8C5C-BD53CCACAE4B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A077F0D-9B63-4D7F-AA3F-336F85034AAF}"/>
              </a:ext>
            </a:extLst>
          </p:cNvPr>
          <p:cNvGrpSpPr/>
          <p:nvPr/>
        </p:nvGrpSpPr>
        <p:grpSpPr>
          <a:xfrm>
            <a:off x="4635222" y="1988993"/>
            <a:ext cx="254414" cy="283097"/>
            <a:chOff x="5819695" y="4511763"/>
            <a:chExt cx="348037" cy="387276"/>
          </a:xfrm>
        </p:grpSpPr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FF9A2D53-78C5-4F26-9A4C-06788C0B7727}"/>
                </a:ext>
              </a:extLst>
            </p:cNvPr>
            <p:cNvSpPr/>
            <p:nvPr/>
          </p:nvSpPr>
          <p:spPr>
            <a:xfrm>
              <a:off x="5819695" y="4511763"/>
              <a:ext cx="348037" cy="387276"/>
            </a:xfrm>
            <a:prstGeom prst="roundRect">
              <a:avLst>
                <a:gd name="adj" fmla="val 188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30D2A005-4A53-4427-9DA8-C516ACE5625D}"/>
                </a:ext>
              </a:extLst>
            </p:cNvPr>
            <p:cNvGrpSpPr/>
            <p:nvPr/>
          </p:nvGrpSpPr>
          <p:grpSpPr>
            <a:xfrm>
              <a:off x="5841553" y="4527457"/>
              <a:ext cx="318587" cy="355882"/>
              <a:chOff x="10516842" y="803541"/>
              <a:chExt cx="443396" cy="495300"/>
            </a:xfrm>
          </p:grpSpPr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9D99B89-7373-4071-ADF0-860E319206A3}"/>
                  </a:ext>
                </a:extLst>
              </p:cNvPr>
              <p:cNvSpPr/>
              <p:nvPr/>
            </p:nvSpPr>
            <p:spPr>
              <a:xfrm>
                <a:off x="10516842" y="803541"/>
                <a:ext cx="443368" cy="104274"/>
              </a:xfrm>
              <a:custGeom>
                <a:avLst/>
                <a:gdLst>
                  <a:gd name="connsiteX0" fmla="*/ 533400 w 533400"/>
                  <a:gd name="connsiteY0" fmla="*/ 76200 h 152400"/>
                  <a:gd name="connsiteX1" fmla="*/ 266700 w 533400"/>
                  <a:gd name="connsiteY1" fmla="*/ 152400 h 152400"/>
                  <a:gd name="connsiteX2" fmla="*/ 0 w 533400"/>
                  <a:gd name="connsiteY2" fmla="*/ 76200 h 152400"/>
                  <a:gd name="connsiteX3" fmla="*/ 266700 w 533400"/>
                  <a:gd name="connsiteY3" fmla="*/ 0 h 152400"/>
                  <a:gd name="connsiteX4" fmla="*/ 533400 w 533400"/>
                  <a:gd name="connsiteY4" fmla="*/ 762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400" h="152400">
                    <a:moveTo>
                      <a:pt x="533400" y="76200"/>
                    </a:moveTo>
                    <a:cubicBezTo>
                      <a:pt x="533400" y="118284"/>
                      <a:pt x="413994" y="152400"/>
                      <a:pt x="266700" y="152400"/>
                    </a:cubicBezTo>
                    <a:cubicBezTo>
                      <a:pt x="119406" y="152400"/>
                      <a:pt x="0" y="118284"/>
                      <a:pt x="0" y="76200"/>
                    </a:cubicBezTo>
                    <a:cubicBezTo>
                      <a:pt x="0" y="34116"/>
                      <a:pt x="119406" y="0"/>
                      <a:pt x="266700" y="0"/>
                    </a:cubicBezTo>
                    <a:cubicBezTo>
                      <a:pt x="413994" y="0"/>
                      <a:pt x="533400" y="34116"/>
                      <a:pt x="5334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40693FB-9BC9-49A1-A1F3-0ECF496B1273}"/>
                  </a:ext>
                </a:extLst>
              </p:cNvPr>
              <p:cNvSpPr/>
              <p:nvPr/>
            </p:nvSpPr>
            <p:spPr>
              <a:xfrm>
                <a:off x="10516870" y="881746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42A17751-F89F-4E9C-8F77-3DD4FD5C349C}"/>
                  </a:ext>
                </a:extLst>
              </p:cNvPr>
              <p:cNvSpPr/>
              <p:nvPr/>
            </p:nvSpPr>
            <p:spPr>
              <a:xfrm>
                <a:off x="10516865" y="1012088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D754B954-183E-4960-963D-291A1193057A}"/>
                  </a:ext>
                </a:extLst>
              </p:cNvPr>
              <p:cNvSpPr/>
              <p:nvPr/>
            </p:nvSpPr>
            <p:spPr>
              <a:xfrm>
                <a:off x="10516842" y="1142430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ACCE156C-52B8-4CE4-801E-8477AD5BD6E0}"/>
              </a:ext>
            </a:extLst>
          </p:cNvPr>
          <p:cNvCxnSpPr>
            <a:cxnSpLocks/>
          </p:cNvCxnSpPr>
          <p:nvPr/>
        </p:nvCxnSpPr>
        <p:spPr>
          <a:xfrm flipH="1">
            <a:off x="3124516" y="3259588"/>
            <a:ext cx="683358" cy="0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F0B75992-6A61-4ED4-BE7B-1B505A3A7AC5}"/>
              </a:ext>
            </a:extLst>
          </p:cNvPr>
          <p:cNvGrpSpPr/>
          <p:nvPr/>
        </p:nvGrpSpPr>
        <p:grpSpPr>
          <a:xfrm>
            <a:off x="1655826" y="4655868"/>
            <a:ext cx="200787" cy="200787"/>
            <a:chOff x="1259535" y="2318486"/>
            <a:chExt cx="221755" cy="221755"/>
          </a:xfrm>
        </p:grpSpPr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3D28EA30-A301-480A-BC48-031DD701F468}"/>
                </a:ext>
              </a:extLst>
            </p:cNvPr>
            <p:cNvSpPr/>
            <p:nvPr/>
          </p:nvSpPr>
          <p:spPr>
            <a:xfrm rot="21248580">
              <a:off x="1402885" y="2399818"/>
              <a:ext cx="6522" cy="75400"/>
            </a:xfrm>
            <a:custGeom>
              <a:avLst/>
              <a:gdLst>
                <a:gd name="connsiteX0" fmla="*/ 0 w 6522"/>
                <a:gd name="connsiteY0" fmla="*/ 0 h 75400"/>
                <a:gd name="connsiteX1" fmla="*/ 6522 w 6522"/>
                <a:gd name="connsiteY1" fmla="*/ 0 h 75400"/>
                <a:gd name="connsiteX2" fmla="*/ 6522 w 6522"/>
                <a:gd name="connsiteY2" fmla="*/ 75400 h 75400"/>
                <a:gd name="connsiteX3" fmla="*/ 0 w 6522"/>
                <a:gd name="connsiteY3" fmla="*/ 75400 h 7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2" h="75400">
                  <a:moveTo>
                    <a:pt x="0" y="0"/>
                  </a:moveTo>
                  <a:lnTo>
                    <a:pt x="6522" y="0"/>
                  </a:lnTo>
                  <a:lnTo>
                    <a:pt x="6522" y="75400"/>
                  </a:lnTo>
                  <a:lnTo>
                    <a:pt x="0" y="75400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2ECC0C1D-01CE-4DC2-BD8C-FA9EE5F100A1}"/>
                </a:ext>
              </a:extLst>
            </p:cNvPr>
            <p:cNvSpPr/>
            <p:nvPr/>
          </p:nvSpPr>
          <p:spPr>
            <a:xfrm>
              <a:off x="1259535" y="2373925"/>
              <a:ext cx="221755" cy="166316"/>
            </a:xfrm>
            <a:custGeom>
              <a:avLst/>
              <a:gdLst>
                <a:gd name="connsiteX0" fmla="*/ 221755 w 221755"/>
                <a:gd name="connsiteY0" fmla="*/ 143489 h 166316"/>
                <a:gd name="connsiteX1" fmla="*/ 202188 w 221755"/>
                <a:gd name="connsiteY1" fmla="*/ 143489 h 166316"/>
                <a:gd name="connsiteX2" fmla="*/ 202188 w 221755"/>
                <a:gd name="connsiteY2" fmla="*/ 127183 h 166316"/>
                <a:gd name="connsiteX3" fmla="*/ 175796 w 221755"/>
                <a:gd name="connsiteY3" fmla="*/ 127183 h 166316"/>
                <a:gd name="connsiteX4" fmla="*/ 164281 w 221755"/>
                <a:gd name="connsiteY4" fmla="*/ 8834 h 166316"/>
                <a:gd name="connsiteX5" fmla="*/ 154544 w 221755"/>
                <a:gd name="connsiteY5" fmla="*/ 0 h 166316"/>
                <a:gd name="connsiteX6" fmla="*/ 67609 w 221755"/>
                <a:gd name="connsiteY6" fmla="*/ 0 h 166316"/>
                <a:gd name="connsiteX7" fmla="*/ 57875 w 221755"/>
                <a:gd name="connsiteY7" fmla="*/ 8805 h 166316"/>
                <a:gd name="connsiteX8" fmla="*/ 45982 w 221755"/>
                <a:gd name="connsiteY8" fmla="*/ 127183 h 166316"/>
                <a:gd name="connsiteX9" fmla="*/ 19567 w 221755"/>
                <a:gd name="connsiteY9" fmla="*/ 127183 h 166316"/>
                <a:gd name="connsiteX10" fmla="*/ 19567 w 221755"/>
                <a:gd name="connsiteY10" fmla="*/ 143489 h 166316"/>
                <a:gd name="connsiteX11" fmla="*/ 0 w 221755"/>
                <a:gd name="connsiteY11" fmla="*/ 143489 h 166316"/>
                <a:gd name="connsiteX12" fmla="*/ 0 w 221755"/>
                <a:gd name="connsiteY12" fmla="*/ 166316 h 166316"/>
                <a:gd name="connsiteX13" fmla="*/ 221755 w 221755"/>
                <a:gd name="connsiteY13" fmla="*/ 166316 h 166316"/>
                <a:gd name="connsiteX14" fmla="*/ 64364 w 221755"/>
                <a:gd name="connsiteY14" fmla="*/ 9457 h 166316"/>
                <a:gd name="connsiteX15" fmla="*/ 67609 w 221755"/>
                <a:gd name="connsiteY15" fmla="*/ 6522 h 166316"/>
                <a:gd name="connsiteX16" fmla="*/ 154544 w 221755"/>
                <a:gd name="connsiteY16" fmla="*/ 6522 h 166316"/>
                <a:gd name="connsiteX17" fmla="*/ 157805 w 221755"/>
                <a:gd name="connsiteY17" fmla="*/ 9457 h 166316"/>
                <a:gd name="connsiteX18" fmla="*/ 169251 w 221755"/>
                <a:gd name="connsiteY18" fmla="*/ 127183 h 166316"/>
                <a:gd name="connsiteX19" fmla="*/ 52520 w 221755"/>
                <a:gd name="connsiteY19" fmla="*/ 127183 h 166316"/>
                <a:gd name="connsiteX20" fmla="*/ 215233 w 221755"/>
                <a:gd name="connsiteY20" fmla="*/ 159794 h 166316"/>
                <a:gd name="connsiteX21" fmla="*/ 6522 w 221755"/>
                <a:gd name="connsiteY21" fmla="*/ 159794 h 166316"/>
                <a:gd name="connsiteX22" fmla="*/ 6522 w 221755"/>
                <a:gd name="connsiteY22" fmla="*/ 150011 h 166316"/>
                <a:gd name="connsiteX23" fmla="*/ 26089 w 221755"/>
                <a:gd name="connsiteY23" fmla="*/ 150011 h 166316"/>
                <a:gd name="connsiteX24" fmla="*/ 26089 w 221755"/>
                <a:gd name="connsiteY24" fmla="*/ 133705 h 166316"/>
                <a:gd name="connsiteX25" fmla="*/ 195666 w 221755"/>
                <a:gd name="connsiteY25" fmla="*/ 133705 h 166316"/>
                <a:gd name="connsiteX26" fmla="*/ 195666 w 221755"/>
                <a:gd name="connsiteY26" fmla="*/ 150011 h 166316"/>
                <a:gd name="connsiteX27" fmla="*/ 215233 w 221755"/>
                <a:gd name="connsiteY27" fmla="*/ 150011 h 166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21755" h="166316">
                  <a:moveTo>
                    <a:pt x="221755" y="143489"/>
                  </a:moveTo>
                  <a:lnTo>
                    <a:pt x="202188" y="143489"/>
                  </a:lnTo>
                  <a:lnTo>
                    <a:pt x="202188" y="127183"/>
                  </a:lnTo>
                  <a:lnTo>
                    <a:pt x="175796" y="127183"/>
                  </a:lnTo>
                  <a:lnTo>
                    <a:pt x="164281" y="8834"/>
                  </a:lnTo>
                  <a:cubicBezTo>
                    <a:pt x="163809" y="3814"/>
                    <a:pt x="159586" y="-17"/>
                    <a:pt x="154544" y="0"/>
                  </a:cubicBezTo>
                  <a:lnTo>
                    <a:pt x="67609" y="0"/>
                  </a:lnTo>
                  <a:cubicBezTo>
                    <a:pt x="62580" y="-14"/>
                    <a:pt x="58364" y="3799"/>
                    <a:pt x="57875" y="8805"/>
                  </a:cubicBezTo>
                  <a:lnTo>
                    <a:pt x="45982" y="127183"/>
                  </a:lnTo>
                  <a:lnTo>
                    <a:pt x="19567" y="127183"/>
                  </a:lnTo>
                  <a:lnTo>
                    <a:pt x="19567" y="143489"/>
                  </a:lnTo>
                  <a:lnTo>
                    <a:pt x="0" y="143489"/>
                  </a:lnTo>
                  <a:lnTo>
                    <a:pt x="0" y="166316"/>
                  </a:lnTo>
                  <a:lnTo>
                    <a:pt x="221755" y="166316"/>
                  </a:lnTo>
                  <a:close/>
                  <a:moveTo>
                    <a:pt x="64364" y="9457"/>
                  </a:moveTo>
                  <a:cubicBezTo>
                    <a:pt x="64532" y="7791"/>
                    <a:pt x="65934" y="6522"/>
                    <a:pt x="67609" y="6522"/>
                  </a:cubicBezTo>
                  <a:lnTo>
                    <a:pt x="154544" y="6522"/>
                  </a:lnTo>
                  <a:cubicBezTo>
                    <a:pt x="156225" y="6514"/>
                    <a:pt x="157637" y="7785"/>
                    <a:pt x="157805" y="9457"/>
                  </a:cubicBezTo>
                  <a:lnTo>
                    <a:pt x="169251" y="127183"/>
                  </a:lnTo>
                  <a:lnTo>
                    <a:pt x="52520" y="127183"/>
                  </a:lnTo>
                  <a:close/>
                  <a:moveTo>
                    <a:pt x="215233" y="159794"/>
                  </a:moveTo>
                  <a:lnTo>
                    <a:pt x="6522" y="159794"/>
                  </a:lnTo>
                  <a:lnTo>
                    <a:pt x="6522" y="150011"/>
                  </a:lnTo>
                  <a:lnTo>
                    <a:pt x="26089" y="150011"/>
                  </a:lnTo>
                  <a:lnTo>
                    <a:pt x="26089" y="133705"/>
                  </a:lnTo>
                  <a:lnTo>
                    <a:pt x="195666" y="133705"/>
                  </a:lnTo>
                  <a:lnTo>
                    <a:pt x="195666" y="150011"/>
                  </a:lnTo>
                  <a:lnTo>
                    <a:pt x="215233" y="150011"/>
                  </a:lnTo>
                  <a:close/>
                </a:path>
              </a:pathLst>
            </a:custGeom>
            <a:solidFill>
              <a:srgbClr val="1F6896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F406C77B-61AE-46EE-A85E-07CDD8ED1194}"/>
                </a:ext>
              </a:extLst>
            </p:cNvPr>
            <p:cNvSpPr/>
            <p:nvPr/>
          </p:nvSpPr>
          <p:spPr>
            <a:xfrm>
              <a:off x="1367151" y="2318486"/>
              <a:ext cx="6522" cy="39133"/>
            </a:xfrm>
            <a:custGeom>
              <a:avLst/>
              <a:gdLst>
                <a:gd name="connsiteX0" fmla="*/ 0 w 6522"/>
                <a:gd name="connsiteY0" fmla="*/ 0 h 39133"/>
                <a:gd name="connsiteX1" fmla="*/ 6522 w 6522"/>
                <a:gd name="connsiteY1" fmla="*/ 0 h 39133"/>
                <a:gd name="connsiteX2" fmla="*/ 6522 w 6522"/>
                <a:gd name="connsiteY2" fmla="*/ 39133 h 39133"/>
                <a:gd name="connsiteX3" fmla="*/ 0 w 6522"/>
                <a:gd name="connsiteY3" fmla="*/ 39133 h 39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2" h="39133">
                  <a:moveTo>
                    <a:pt x="0" y="0"/>
                  </a:moveTo>
                  <a:lnTo>
                    <a:pt x="6522" y="0"/>
                  </a:lnTo>
                  <a:lnTo>
                    <a:pt x="6522" y="39133"/>
                  </a:lnTo>
                  <a:lnTo>
                    <a:pt x="0" y="39133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69983646-201D-4C17-B0BA-D312D73F205F}"/>
                </a:ext>
              </a:extLst>
            </p:cNvPr>
            <p:cNvSpPr/>
            <p:nvPr/>
          </p:nvSpPr>
          <p:spPr>
            <a:xfrm>
              <a:off x="1259535" y="2413058"/>
              <a:ext cx="32611" cy="6522"/>
            </a:xfrm>
            <a:custGeom>
              <a:avLst/>
              <a:gdLst>
                <a:gd name="connsiteX0" fmla="*/ 0 w 32611"/>
                <a:gd name="connsiteY0" fmla="*/ 0 h 6522"/>
                <a:gd name="connsiteX1" fmla="*/ 32611 w 32611"/>
                <a:gd name="connsiteY1" fmla="*/ 0 h 6522"/>
                <a:gd name="connsiteX2" fmla="*/ 32611 w 32611"/>
                <a:gd name="connsiteY2" fmla="*/ 6522 h 6522"/>
                <a:gd name="connsiteX3" fmla="*/ 0 w 32611"/>
                <a:gd name="connsiteY3" fmla="*/ 6522 h 6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11" h="6522">
                  <a:moveTo>
                    <a:pt x="0" y="0"/>
                  </a:moveTo>
                  <a:lnTo>
                    <a:pt x="32611" y="0"/>
                  </a:lnTo>
                  <a:lnTo>
                    <a:pt x="32611" y="6522"/>
                  </a:lnTo>
                  <a:lnTo>
                    <a:pt x="0" y="6522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810D0F1D-7924-40E3-BBE7-5D0E4FCE3E7B}"/>
                </a:ext>
              </a:extLst>
            </p:cNvPr>
            <p:cNvSpPr/>
            <p:nvPr/>
          </p:nvSpPr>
          <p:spPr>
            <a:xfrm>
              <a:off x="1448679" y="2413058"/>
              <a:ext cx="32611" cy="6522"/>
            </a:xfrm>
            <a:custGeom>
              <a:avLst/>
              <a:gdLst>
                <a:gd name="connsiteX0" fmla="*/ 0 w 32611"/>
                <a:gd name="connsiteY0" fmla="*/ 0 h 6522"/>
                <a:gd name="connsiteX1" fmla="*/ 32611 w 32611"/>
                <a:gd name="connsiteY1" fmla="*/ 0 h 6522"/>
                <a:gd name="connsiteX2" fmla="*/ 32611 w 32611"/>
                <a:gd name="connsiteY2" fmla="*/ 6522 h 6522"/>
                <a:gd name="connsiteX3" fmla="*/ 0 w 32611"/>
                <a:gd name="connsiteY3" fmla="*/ 6522 h 6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11" h="6522">
                  <a:moveTo>
                    <a:pt x="0" y="0"/>
                  </a:moveTo>
                  <a:lnTo>
                    <a:pt x="32611" y="0"/>
                  </a:lnTo>
                  <a:lnTo>
                    <a:pt x="32611" y="6522"/>
                  </a:lnTo>
                  <a:lnTo>
                    <a:pt x="0" y="6522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662AB88-2F0A-4804-AFE7-61584588FF79}"/>
                </a:ext>
              </a:extLst>
            </p:cNvPr>
            <p:cNvSpPr/>
            <p:nvPr/>
          </p:nvSpPr>
          <p:spPr>
            <a:xfrm rot="18900000">
              <a:off x="1288885" y="2332649"/>
              <a:ext cx="6522" cy="36896"/>
            </a:xfrm>
            <a:custGeom>
              <a:avLst/>
              <a:gdLst>
                <a:gd name="connsiteX0" fmla="*/ 0 w 6522"/>
                <a:gd name="connsiteY0" fmla="*/ 0 h 36896"/>
                <a:gd name="connsiteX1" fmla="*/ 6522 w 6522"/>
                <a:gd name="connsiteY1" fmla="*/ 0 h 36896"/>
                <a:gd name="connsiteX2" fmla="*/ 6522 w 6522"/>
                <a:gd name="connsiteY2" fmla="*/ 36896 h 36896"/>
                <a:gd name="connsiteX3" fmla="*/ 0 w 6522"/>
                <a:gd name="connsiteY3" fmla="*/ 36896 h 36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2" h="36896">
                  <a:moveTo>
                    <a:pt x="0" y="0"/>
                  </a:moveTo>
                  <a:lnTo>
                    <a:pt x="6522" y="0"/>
                  </a:lnTo>
                  <a:lnTo>
                    <a:pt x="6522" y="36896"/>
                  </a:lnTo>
                  <a:lnTo>
                    <a:pt x="0" y="36896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6658EF08-F5AB-4610-9B5F-4C1F2142FA86}"/>
                </a:ext>
              </a:extLst>
            </p:cNvPr>
            <p:cNvSpPr/>
            <p:nvPr/>
          </p:nvSpPr>
          <p:spPr>
            <a:xfrm rot="18900000">
              <a:off x="1430232" y="2347835"/>
              <a:ext cx="36896" cy="6522"/>
            </a:xfrm>
            <a:custGeom>
              <a:avLst/>
              <a:gdLst>
                <a:gd name="connsiteX0" fmla="*/ 0 w 36896"/>
                <a:gd name="connsiteY0" fmla="*/ 0 h 6522"/>
                <a:gd name="connsiteX1" fmla="*/ 36896 w 36896"/>
                <a:gd name="connsiteY1" fmla="*/ 0 h 6522"/>
                <a:gd name="connsiteX2" fmla="*/ 36896 w 36896"/>
                <a:gd name="connsiteY2" fmla="*/ 6522 h 6522"/>
                <a:gd name="connsiteX3" fmla="*/ 0 w 36896"/>
                <a:gd name="connsiteY3" fmla="*/ 6522 h 6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96" h="6522">
                  <a:moveTo>
                    <a:pt x="0" y="0"/>
                  </a:moveTo>
                  <a:lnTo>
                    <a:pt x="36896" y="0"/>
                  </a:lnTo>
                  <a:lnTo>
                    <a:pt x="36896" y="6522"/>
                  </a:lnTo>
                  <a:lnTo>
                    <a:pt x="0" y="6522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118" name="Graphic 95" descr="Volume outline">
            <a:extLst>
              <a:ext uri="{FF2B5EF4-FFF2-40B4-BE49-F238E27FC236}">
                <a16:creationId xmlns:a16="http://schemas.microsoft.com/office/drawing/2014/main" id="{DCFA711A-D1B6-450B-B1DF-AB0BAA6995A7}"/>
              </a:ext>
            </a:extLst>
          </p:cNvPr>
          <p:cNvGrpSpPr/>
          <p:nvPr/>
        </p:nvGrpSpPr>
        <p:grpSpPr>
          <a:xfrm>
            <a:off x="1640922" y="4990412"/>
            <a:ext cx="236220" cy="201584"/>
            <a:chOff x="1244631" y="2674440"/>
            <a:chExt cx="260888" cy="222635"/>
          </a:xfrm>
          <a:solidFill>
            <a:srgbClr val="000000"/>
          </a:solidFill>
        </p:grpSpPr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1E0D3D65-7010-43D1-9DB9-1200AC94EC45}"/>
                </a:ext>
              </a:extLst>
            </p:cNvPr>
            <p:cNvSpPr/>
            <p:nvPr/>
          </p:nvSpPr>
          <p:spPr>
            <a:xfrm>
              <a:off x="1244631" y="2674440"/>
              <a:ext cx="146749" cy="222635"/>
            </a:xfrm>
            <a:custGeom>
              <a:avLst/>
              <a:gdLst>
                <a:gd name="connsiteX0" fmla="*/ 146750 w 146749"/>
                <a:gd name="connsiteY0" fmla="*/ 222636 h 222635"/>
                <a:gd name="connsiteX1" fmla="*/ 146750 w 146749"/>
                <a:gd name="connsiteY1" fmla="*/ 0 h 222635"/>
                <a:gd name="connsiteX2" fmla="*/ 64042 w 146749"/>
                <a:gd name="connsiteY2" fmla="*/ 68923 h 222635"/>
                <a:gd name="connsiteX3" fmla="*/ 0 w 146749"/>
                <a:gd name="connsiteY3" fmla="*/ 68923 h 222635"/>
                <a:gd name="connsiteX4" fmla="*/ 0 w 146749"/>
                <a:gd name="connsiteY4" fmla="*/ 153712 h 222635"/>
                <a:gd name="connsiteX5" fmla="*/ 64042 w 146749"/>
                <a:gd name="connsiteY5" fmla="*/ 153712 h 222635"/>
                <a:gd name="connsiteX6" fmla="*/ 6522 w 146749"/>
                <a:gd name="connsiteY6" fmla="*/ 75446 h 222635"/>
                <a:gd name="connsiteX7" fmla="*/ 66403 w 146749"/>
                <a:gd name="connsiteY7" fmla="*/ 75446 h 222635"/>
                <a:gd name="connsiteX8" fmla="*/ 140227 w 146749"/>
                <a:gd name="connsiteY8" fmla="*/ 13925 h 222635"/>
                <a:gd name="connsiteX9" fmla="*/ 140227 w 146749"/>
                <a:gd name="connsiteY9" fmla="*/ 208711 h 222635"/>
                <a:gd name="connsiteX10" fmla="*/ 66403 w 146749"/>
                <a:gd name="connsiteY10" fmla="*/ 147190 h 222635"/>
                <a:gd name="connsiteX11" fmla="*/ 6522 w 146749"/>
                <a:gd name="connsiteY11" fmla="*/ 147190 h 222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749" h="222635">
                  <a:moveTo>
                    <a:pt x="146750" y="222636"/>
                  </a:moveTo>
                  <a:lnTo>
                    <a:pt x="146750" y="0"/>
                  </a:lnTo>
                  <a:lnTo>
                    <a:pt x="64042" y="68923"/>
                  </a:lnTo>
                  <a:lnTo>
                    <a:pt x="0" y="68923"/>
                  </a:lnTo>
                  <a:lnTo>
                    <a:pt x="0" y="153712"/>
                  </a:lnTo>
                  <a:lnTo>
                    <a:pt x="64042" y="153712"/>
                  </a:lnTo>
                  <a:close/>
                  <a:moveTo>
                    <a:pt x="6522" y="75446"/>
                  </a:moveTo>
                  <a:lnTo>
                    <a:pt x="66403" y="75446"/>
                  </a:lnTo>
                  <a:lnTo>
                    <a:pt x="140227" y="13925"/>
                  </a:lnTo>
                  <a:lnTo>
                    <a:pt x="140227" y="208711"/>
                  </a:lnTo>
                  <a:lnTo>
                    <a:pt x="66403" y="147190"/>
                  </a:lnTo>
                  <a:lnTo>
                    <a:pt x="6522" y="147190"/>
                  </a:lnTo>
                  <a:close/>
                </a:path>
              </a:pathLst>
            </a:custGeom>
            <a:solidFill>
              <a:srgbClr val="1F6896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396B8830-5E82-4796-9D04-D1C9874AC0DE}"/>
                </a:ext>
              </a:extLst>
            </p:cNvPr>
            <p:cNvSpPr/>
            <p:nvPr/>
          </p:nvSpPr>
          <p:spPr>
            <a:xfrm>
              <a:off x="1465854" y="2703411"/>
              <a:ext cx="39665" cy="164692"/>
            </a:xfrm>
            <a:custGeom>
              <a:avLst/>
              <a:gdLst>
                <a:gd name="connsiteX0" fmla="*/ 39665 w 39665"/>
                <a:gd name="connsiteY0" fmla="*/ 82346 h 164692"/>
                <a:gd name="connsiteX1" fmla="*/ 4517 w 39665"/>
                <a:gd name="connsiteY1" fmla="*/ 0 h 164692"/>
                <a:gd name="connsiteX2" fmla="*/ 0 w 39665"/>
                <a:gd name="connsiteY2" fmla="*/ 4706 h 164692"/>
                <a:gd name="connsiteX3" fmla="*/ 3271 w 39665"/>
                <a:gd name="connsiteY3" fmla="*/ 156716 h 164692"/>
                <a:gd name="connsiteX4" fmla="*/ 0 w 39665"/>
                <a:gd name="connsiteY4" fmla="*/ 159987 h 164692"/>
                <a:gd name="connsiteX5" fmla="*/ 4517 w 39665"/>
                <a:gd name="connsiteY5" fmla="*/ 164692 h 164692"/>
                <a:gd name="connsiteX6" fmla="*/ 39665 w 39665"/>
                <a:gd name="connsiteY6" fmla="*/ 82346 h 164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665" h="164692">
                  <a:moveTo>
                    <a:pt x="39665" y="82346"/>
                  </a:moveTo>
                  <a:cubicBezTo>
                    <a:pt x="39768" y="51233"/>
                    <a:pt x="27055" y="21450"/>
                    <a:pt x="4517" y="0"/>
                  </a:cubicBezTo>
                  <a:lnTo>
                    <a:pt x="0" y="4706"/>
                  </a:lnTo>
                  <a:cubicBezTo>
                    <a:pt x="42880" y="45779"/>
                    <a:pt x="44344" y="113836"/>
                    <a:pt x="3271" y="156716"/>
                  </a:cubicBezTo>
                  <a:cubicBezTo>
                    <a:pt x="2204" y="157829"/>
                    <a:pt x="1114" y="158920"/>
                    <a:pt x="0" y="159987"/>
                  </a:cubicBezTo>
                  <a:lnTo>
                    <a:pt x="4517" y="164692"/>
                  </a:lnTo>
                  <a:cubicBezTo>
                    <a:pt x="27055" y="143243"/>
                    <a:pt x="39768" y="113460"/>
                    <a:pt x="39665" y="82346"/>
                  </a:cubicBez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B273FBE3-EF3C-4C71-9E69-E9EBB29A4481}"/>
                </a:ext>
              </a:extLst>
            </p:cNvPr>
            <p:cNvSpPr/>
            <p:nvPr/>
          </p:nvSpPr>
          <p:spPr>
            <a:xfrm>
              <a:off x="1440512" y="2728753"/>
              <a:ext cx="29134" cy="114008"/>
            </a:xfrm>
            <a:custGeom>
              <a:avLst/>
              <a:gdLst>
                <a:gd name="connsiteX0" fmla="*/ 0 w 29134"/>
                <a:gd name="connsiteY0" fmla="*/ 109257 h 114008"/>
                <a:gd name="connsiteX1" fmla="*/ 4471 w 29134"/>
                <a:gd name="connsiteY1" fmla="*/ 114008 h 114008"/>
                <a:gd name="connsiteX2" fmla="*/ 7931 w 29134"/>
                <a:gd name="connsiteY2" fmla="*/ 3460 h 114008"/>
                <a:gd name="connsiteX3" fmla="*/ 4471 w 29134"/>
                <a:gd name="connsiteY3" fmla="*/ 0 h 114008"/>
                <a:gd name="connsiteX4" fmla="*/ 0 w 29134"/>
                <a:gd name="connsiteY4" fmla="*/ 4751 h 114008"/>
                <a:gd name="connsiteX5" fmla="*/ 3186 w 29134"/>
                <a:gd name="connsiteY5" fmla="*/ 106071 h 114008"/>
                <a:gd name="connsiteX6" fmla="*/ 0 w 29134"/>
                <a:gd name="connsiteY6" fmla="*/ 109257 h 11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134" h="114008">
                  <a:moveTo>
                    <a:pt x="0" y="109257"/>
                  </a:moveTo>
                  <a:lnTo>
                    <a:pt x="4471" y="114008"/>
                  </a:lnTo>
                  <a:cubicBezTo>
                    <a:pt x="35953" y="84437"/>
                    <a:pt x="37502" y="34942"/>
                    <a:pt x="7931" y="3460"/>
                  </a:cubicBezTo>
                  <a:cubicBezTo>
                    <a:pt x="6814" y="2271"/>
                    <a:pt x="5660" y="1117"/>
                    <a:pt x="4471" y="0"/>
                  </a:cubicBezTo>
                  <a:lnTo>
                    <a:pt x="0" y="4751"/>
                  </a:lnTo>
                  <a:cubicBezTo>
                    <a:pt x="28858" y="31850"/>
                    <a:pt x="30285" y="77213"/>
                    <a:pt x="3186" y="106071"/>
                  </a:cubicBezTo>
                  <a:cubicBezTo>
                    <a:pt x="2158" y="107166"/>
                    <a:pt x="1095" y="108229"/>
                    <a:pt x="0" y="109257"/>
                  </a:cubicBez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FE4A0FB-405A-43F3-9BD0-43B3A52EF2BE}"/>
                </a:ext>
              </a:extLst>
            </p:cNvPr>
            <p:cNvSpPr/>
            <p:nvPr/>
          </p:nvSpPr>
          <p:spPr>
            <a:xfrm>
              <a:off x="1415177" y="2754095"/>
              <a:ext cx="18598" cy="63356"/>
            </a:xfrm>
            <a:custGeom>
              <a:avLst/>
              <a:gdLst>
                <a:gd name="connsiteX0" fmla="*/ 18598 w 18598"/>
                <a:gd name="connsiteY0" fmla="*/ 31662 h 63356"/>
                <a:gd name="connsiteX1" fmla="*/ 4331 w 18598"/>
                <a:gd name="connsiteY1" fmla="*/ 0 h 63356"/>
                <a:gd name="connsiteX2" fmla="*/ 0 w 18598"/>
                <a:gd name="connsiteY2" fmla="*/ 4892 h 63356"/>
                <a:gd name="connsiteX3" fmla="*/ 3114 w 18598"/>
                <a:gd name="connsiteY3" fmla="*/ 55351 h 63356"/>
                <a:gd name="connsiteX4" fmla="*/ 0 w 18598"/>
                <a:gd name="connsiteY4" fmla="*/ 58465 h 63356"/>
                <a:gd name="connsiteX5" fmla="*/ 4331 w 18598"/>
                <a:gd name="connsiteY5" fmla="*/ 63357 h 63356"/>
                <a:gd name="connsiteX6" fmla="*/ 18598 w 18598"/>
                <a:gd name="connsiteY6" fmla="*/ 31662 h 6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98" h="63356">
                  <a:moveTo>
                    <a:pt x="18598" y="31662"/>
                  </a:moveTo>
                  <a:cubicBezTo>
                    <a:pt x="18578" y="19556"/>
                    <a:pt x="13387" y="8035"/>
                    <a:pt x="4331" y="0"/>
                  </a:cubicBezTo>
                  <a:lnTo>
                    <a:pt x="0" y="4892"/>
                  </a:lnTo>
                  <a:cubicBezTo>
                    <a:pt x="14794" y="17966"/>
                    <a:pt x="16188" y="40557"/>
                    <a:pt x="3114" y="55351"/>
                  </a:cubicBezTo>
                  <a:cubicBezTo>
                    <a:pt x="2141" y="56452"/>
                    <a:pt x="1101" y="57492"/>
                    <a:pt x="0" y="58465"/>
                  </a:cubicBezTo>
                  <a:lnTo>
                    <a:pt x="4331" y="63357"/>
                  </a:lnTo>
                  <a:cubicBezTo>
                    <a:pt x="13394" y="55314"/>
                    <a:pt x="18586" y="43779"/>
                    <a:pt x="18598" y="31662"/>
                  </a:cubicBez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19E7A1-8811-4B21-837D-459A40EFF703}"/>
              </a:ext>
            </a:extLst>
          </p:cNvPr>
          <p:cNvSpPr/>
          <p:nvPr/>
        </p:nvSpPr>
        <p:spPr>
          <a:xfrm>
            <a:off x="1500115" y="4570632"/>
            <a:ext cx="502525" cy="691813"/>
          </a:xfrm>
          <a:prstGeom prst="rect">
            <a:avLst/>
          </a:prstGeom>
          <a:noFill/>
          <a:ln w="9525">
            <a:solidFill>
              <a:srgbClr val="9E9E9E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6086" name="Picture 6">
            <a:extLst>
              <a:ext uri="{FF2B5EF4-FFF2-40B4-BE49-F238E27FC236}">
                <a16:creationId xmlns:a16="http://schemas.microsoft.com/office/drawing/2014/main" id="{C51E686F-E9D0-41D6-844A-AF19E283A6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auto">
          <a:xfrm>
            <a:off x="6399076" y="1918981"/>
            <a:ext cx="530984" cy="530984"/>
          </a:xfrm>
          <a:prstGeom prst="rect">
            <a:avLst/>
          </a:prstGeom>
          <a:noFill/>
        </p:spPr>
      </p:pic>
      <p:sp>
        <p:nvSpPr>
          <p:cNvPr id="173" name="Freeform: Shape 172">
            <a:extLst>
              <a:ext uri="{FF2B5EF4-FFF2-40B4-BE49-F238E27FC236}">
                <a16:creationId xmlns:a16="http://schemas.microsoft.com/office/drawing/2014/main" id="{B7C8964C-CA15-4592-8B84-E1C3C62DDAE7}"/>
              </a:ext>
            </a:extLst>
          </p:cNvPr>
          <p:cNvSpPr/>
          <p:nvPr/>
        </p:nvSpPr>
        <p:spPr>
          <a:xfrm flipH="1">
            <a:off x="6119248" y="2169555"/>
            <a:ext cx="0" cy="478800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0 w 0"/>
              <a:gd name="connsiteY0" fmla="*/ 2340815 h 2340815"/>
              <a:gd name="connsiteX1" fmla="*/ 0 w 0"/>
              <a:gd name="connsiteY1" fmla="*/ 1 h 2340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340815">
                <a:moveTo>
                  <a:pt x="0" y="2340815"/>
                </a:moveTo>
                <a:lnTo>
                  <a:pt x="0" y="1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4" name="Freeform: Shape 173">
            <a:extLst>
              <a:ext uri="{FF2B5EF4-FFF2-40B4-BE49-F238E27FC236}">
                <a16:creationId xmlns:a16="http://schemas.microsoft.com/office/drawing/2014/main" id="{2C93F085-FFD6-4CDD-A7FB-3F4061160826}"/>
              </a:ext>
            </a:extLst>
          </p:cNvPr>
          <p:cNvSpPr/>
          <p:nvPr/>
        </p:nvSpPr>
        <p:spPr>
          <a:xfrm flipH="1" flipV="1">
            <a:off x="6119248" y="3118148"/>
            <a:ext cx="230028" cy="81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230028 w 230028"/>
              <a:gd name="connsiteY0" fmla="*/ 403 h 402"/>
              <a:gd name="connsiteX1" fmla="*/ 0 w 230028"/>
              <a:gd name="connsiteY1" fmla="*/ 0 h 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0028" h="402">
                <a:moveTo>
                  <a:pt x="230028" y="403"/>
                </a:moveTo>
                <a:lnTo>
                  <a:pt x="0" y="0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75" name="Picture 6">
            <a:extLst>
              <a:ext uri="{FF2B5EF4-FFF2-40B4-BE49-F238E27FC236}">
                <a16:creationId xmlns:a16="http://schemas.microsoft.com/office/drawing/2014/main" id="{695C213B-9037-4EE5-B842-037E973DFF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auto">
          <a:xfrm>
            <a:off x="6399076" y="2382033"/>
            <a:ext cx="530984" cy="530984"/>
          </a:xfrm>
          <a:prstGeom prst="rect">
            <a:avLst/>
          </a:prstGeom>
          <a:noFill/>
        </p:spPr>
      </p:pic>
      <p:pic>
        <p:nvPicPr>
          <p:cNvPr id="176" name="Picture 6">
            <a:extLst>
              <a:ext uri="{FF2B5EF4-FFF2-40B4-BE49-F238E27FC236}">
                <a16:creationId xmlns:a16="http://schemas.microsoft.com/office/drawing/2014/main" id="{F805B2BC-76B8-4527-B1D7-D450CB9D01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auto">
          <a:xfrm>
            <a:off x="6399076" y="2859716"/>
            <a:ext cx="530984" cy="530984"/>
          </a:xfrm>
          <a:prstGeom prst="rect">
            <a:avLst/>
          </a:prstGeom>
          <a:noFill/>
        </p:spPr>
      </p:pic>
      <p:pic>
        <p:nvPicPr>
          <p:cNvPr id="180" name="Graphic 179" descr="Cloud with solid fill">
            <a:extLst>
              <a:ext uri="{FF2B5EF4-FFF2-40B4-BE49-F238E27FC236}">
                <a16:creationId xmlns:a16="http://schemas.microsoft.com/office/drawing/2014/main" id="{0A643EC8-6387-4245-B069-17469E8727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29930" y="3208489"/>
            <a:ext cx="1341807" cy="1341807"/>
          </a:xfrm>
          <a:prstGeom prst="rect">
            <a:avLst/>
          </a:prstGeom>
        </p:spPr>
      </p:pic>
      <p:sp>
        <p:nvSpPr>
          <p:cNvPr id="182" name="TextBox 181">
            <a:extLst>
              <a:ext uri="{FF2B5EF4-FFF2-40B4-BE49-F238E27FC236}">
                <a16:creationId xmlns:a16="http://schemas.microsoft.com/office/drawing/2014/main" id="{EB1AFF47-304C-4DC9-A9C1-CAF98F1999C3}"/>
              </a:ext>
            </a:extLst>
          </p:cNvPr>
          <p:cNvSpPr txBox="1"/>
          <p:nvPr/>
        </p:nvSpPr>
        <p:spPr>
          <a:xfrm>
            <a:off x="1938956" y="2431290"/>
            <a:ext cx="10599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IceSpy Receiver*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2BAAAD6E-89C6-42C0-96EE-6B601A66EA94}"/>
              </a:ext>
            </a:extLst>
          </p:cNvPr>
          <p:cNvSpPr txBox="1"/>
          <p:nvPr/>
        </p:nvSpPr>
        <p:spPr>
          <a:xfrm>
            <a:off x="465464" y="2495957"/>
            <a:ext cx="6864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IceSpy RF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6E4DA6E8-E132-45D5-9F4F-4B0169DF1770}"/>
              </a:ext>
            </a:extLst>
          </p:cNvPr>
          <p:cNvSpPr/>
          <p:nvPr/>
        </p:nvSpPr>
        <p:spPr>
          <a:xfrm>
            <a:off x="606574" y="1223127"/>
            <a:ext cx="393007" cy="1257236"/>
          </a:xfrm>
          <a:prstGeom prst="rect">
            <a:avLst/>
          </a:prstGeom>
          <a:noFill/>
          <a:ln w="15875">
            <a:solidFill>
              <a:srgbClr val="FFCC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43F97B29-E883-4666-80AD-4448E9C44428}"/>
              </a:ext>
            </a:extLst>
          </p:cNvPr>
          <p:cNvSpPr txBox="1"/>
          <p:nvPr/>
        </p:nvSpPr>
        <p:spPr>
          <a:xfrm>
            <a:off x="889480" y="4784640"/>
            <a:ext cx="5790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9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Beacon/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9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Sounder</a:t>
            </a:r>
          </a:p>
        </p:txBody>
      </p:sp>
      <p:pic>
        <p:nvPicPr>
          <p:cNvPr id="46090" name="Picture 10">
            <a:extLst>
              <a:ext uri="{FF2B5EF4-FFF2-40B4-BE49-F238E27FC236}">
                <a16:creationId xmlns:a16="http://schemas.microsoft.com/office/drawing/2014/main" id="{C99F6315-9DD2-4FA6-B091-C1C82243B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564" y="4083157"/>
            <a:ext cx="885577" cy="688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3" name="TextBox 192">
            <a:extLst>
              <a:ext uri="{FF2B5EF4-FFF2-40B4-BE49-F238E27FC236}">
                <a16:creationId xmlns:a16="http://schemas.microsoft.com/office/drawing/2014/main" id="{C7A48991-B299-437B-9096-36FC21AE6BE6}"/>
              </a:ext>
            </a:extLst>
          </p:cNvPr>
          <p:cNvSpPr txBox="1"/>
          <p:nvPr/>
        </p:nvSpPr>
        <p:spPr>
          <a:xfrm>
            <a:off x="6335022" y="4570241"/>
            <a:ext cx="822661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 b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Cloud based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b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Middleware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1355CD26-DBCB-401D-AB4A-7A238439B758}"/>
              </a:ext>
            </a:extLst>
          </p:cNvPr>
          <p:cNvSpPr txBox="1"/>
          <p:nvPr/>
        </p:nvSpPr>
        <p:spPr>
          <a:xfrm>
            <a:off x="6653275" y="2447948"/>
            <a:ext cx="16363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On-Site </a:t>
            </a:r>
            <a:r>
              <a:rPr lang="en-GB" sz="1000">
                <a:solidFill>
                  <a:srgbClr val="FF0000"/>
                </a:solidFill>
                <a:latin typeface="AvenirNext LT Pro Regular" panose="020B0504020202020204" pitchFamily="34" charset="77"/>
              </a:rPr>
              <a:t>or</a:t>
            </a:r>
            <a:r>
              <a:rPr lang="en-GB" sz="100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 Remote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User PC interface </a:t>
            </a:r>
            <a:endParaRPr lang="en-GB" sz="1000" b="0">
              <a:solidFill>
                <a:schemeClr val="bg2">
                  <a:lumMod val="10000"/>
                </a:schemeClr>
              </a:solidFill>
              <a:latin typeface="AvenirNext LT Pro Regular" panose="020B0504020202020204" pitchFamily="34" charset="77"/>
            </a:endParaRPr>
          </a:p>
        </p:txBody>
      </p:sp>
      <p:cxnSp>
        <p:nvCxnSpPr>
          <p:cNvPr id="242" name="Straight Arrow Connector 241">
            <a:extLst>
              <a:ext uri="{FF2B5EF4-FFF2-40B4-BE49-F238E27FC236}">
                <a16:creationId xmlns:a16="http://schemas.microsoft.com/office/drawing/2014/main" id="{4BBA509C-52F5-4386-9376-B3602977B13B}"/>
              </a:ext>
            </a:extLst>
          </p:cNvPr>
          <p:cNvCxnSpPr>
            <a:cxnSpLocks/>
          </p:cNvCxnSpPr>
          <p:nvPr/>
        </p:nvCxnSpPr>
        <p:spPr>
          <a:xfrm>
            <a:off x="7189141" y="4461054"/>
            <a:ext cx="656722" cy="0"/>
          </a:xfrm>
          <a:prstGeom prst="straightConnector1">
            <a:avLst/>
          </a:prstGeom>
          <a:ln w="12700">
            <a:solidFill>
              <a:srgbClr val="8E097D"/>
            </a:solidFill>
            <a:prstDash val="lg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2" name="Graphic 131" descr="Smart Phone with solid fill">
            <a:extLst>
              <a:ext uri="{FF2B5EF4-FFF2-40B4-BE49-F238E27FC236}">
                <a16:creationId xmlns:a16="http://schemas.microsoft.com/office/drawing/2014/main" id="{B4B14437-60F1-44B5-B05A-B3022620BBA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36535" y="4309354"/>
            <a:ext cx="313386" cy="313386"/>
          </a:xfrm>
          <a:prstGeom prst="rect">
            <a:avLst/>
          </a:prstGeom>
        </p:spPr>
      </p:pic>
      <p:sp>
        <p:nvSpPr>
          <p:cNvPr id="254" name="TextBox 253">
            <a:extLst>
              <a:ext uri="{FF2B5EF4-FFF2-40B4-BE49-F238E27FC236}">
                <a16:creationId xmlns:a16="http://schemas.microsoft.com/office/drawing/2014/main" id="{98E6582D-DF84-4E4A-BEA6-2D717BCA147D}"/>
              </a:ext>
            </a:extLst>
          </p:cNvPr>
          <p:cNvSpPr txBox="1"/>
          <p:nvPr/>
        </p:nvSpPr>
        <p:spPr>
          <a:xfrm>
            <a:off x="7707604" y="4634480"/>
            <a:ext cx="8226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b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Mobile App</a:t>
            </a:r>
          </a:p>
        </p:txBody>
      </p:sp>
      <p:pic>
        <p:nvPicPr>
          <p:cNvPr id="140" name="Graphic 139">
            <a:extLst>
              <a:ext uri="{FF2B5EF4-FFF2-40B4-BE49-F238E27FC236}">
                <a16:creationId xmlns:a16="http://schemas.microsoft.com/office/drawing/2014/main" id="{B1739E9A-7DFB-4E92-8F84-6CE5820B7ED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6514438" y="3648401"/>
            <a:ext cx="300260" cy="300260"/>
          </a:xfrm>
          <a:prstGeom prst="rect">
            <a:avLst/>
          </a:prstGeom>
        </p:spPr>
      </p:pic>
      <p:sp>
        <p:nvSpPr>
          <p:cNvPr id="259" name="TextBox 258">
            <a:extLst>
              <a:ext uri="{FF2B5EF4-FFF2-40B4-BE49-F238E27FC236}">
                <a16:creationId xmlns:a16="http://schemas.microsoft.com/office/drawing/2014/main" id="{BAB61B50-9A9B-4EF0-84FA-9772636CE1FF}"/>
              </a:ext>
            </a:extLst>
          </p:cNvPr>
          <p:cNvSpPr txBox="1"/>
          <p:nvPr/>
        </p:nvSpPr>
        <p:spPr>
          <a:xfrm>
            <a:off x="6407292" y="3963040"/>
            <a:ext cx="4791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b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Email</a:t>
            </a:r>
          </a:p>
        </p:txBody>
      </p: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CC1C2596-332D-4AFC-AEAF-C9895EC65E35}"/>
              </a:ext>
            </a:extLst>
          </p:cNvPr>
          <p:cNvCxnSpPr>
            <a:cxnSpLocks/>
          </p:cNvCxnSpPr>
          <p:nvPr/>
        </p:nvCxnSpPr>
        <p:spPr>
          <a:xfrm flipH="1" flipV="1">
            <a:off x="2897824" y="2208283"/>
            <a:ext cx="230028" cy="462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9C9201A8-1F20-9907-8B2A-F311780A969D}"/>
              </a:ext>
            </a:extLst>
          </p:cNvPr>
          <p:cNvGrpSpPr/>
          <p:nvPr/>
        </p:nvGrpSpPr>
        <p:grpSpPr>
          <a:xfrm rot="1266479">
            <a:off x="1107841" y="1723938"/>
            <a:ext cx="890688" cy="127366"/>
            <a:chOff x="1333111" y="2494482"/>
            <a:chExt cx="1290995" cy="377135"/>
          </a:xfrm>
        </p:grpSpPr>
        <p:sp>
          <p:nvSpPr>
            <p:cNvPr id="137" name="Isosceles Triangle 136">
              <a:extLst>
                <a:ext uri="{FF2B5EF4-FFF2-40B4-BE49-F238E27FC236}">
                  <a16:creationId xmlns:a16="http://schemas.microsoft.com/office/drawing/2014/main" id="{6C593B80-6DE1-A036-D3B0-60E1110CC637}"/>
                </a:ext>
              </a:extLst>
            </p:cNvPr>
            <p:cNvSpPr/>
            <p:nvPr/>
          </p:nvSpPr>
          <p:spPr>
            <a:xfrm rot="5400000">
              <a:off x="2559054" y="2597191"/>
              <a:ext cx="69871" cy="60233"/>
            </a:xfrm>
            <a:prstGeom prst="triangle">
              <a:avLst/>
            </a:prstGeom>
            <a:solidFill>
              <a:srgbClr val="9DC8DE"/>
            </a:solidFill>
            <a:ln>
              <a:solidFill>
                <a:srgbClr val="9DC8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DE90CEA-EF56-D676-183F-24496D3AE189}"/>
                </a:ext>
              </a:extLst>
            </p:cNvPr>
            <p:cNvSpPr/>
            <p:nvPr/>
          </p:nvSpPr>
          <p:spPr>
            <a:xfrm>
              <a:off x="1333111" y="2494482"/>
              <a:ext cx="1234524" cy="377135"/>
            </a:xfrm>
            <a:custGeom>
              <a:avLst/>
              <a:gdLst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2 h 1486965"/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3 h 1486965"/>
                <a:gd name="connsiteX0" fmla="*/ 0 w 8248415"/>
                <a:gd name="connsiteY0" fmla="*/ 733758 h 1476841"/>
                <a:gd name="connsiteX1" fmla="*/ 717698 w 8248415"/>
                <a:gd name="connsiteY1" fmla="*/ 21376 h 1476841"/>
                <a:gd name="connsiteX2" fmla="*/ 1435395 w 8248415"/>
                <a:gd name="connsiteY2" fmla="*/ 1462088 h 1476841"/>
                <a:gd name="connsiteX3" fmla="*/ 2158409 w 8248415"/>
                <a:gd name="connsiteY3" fmla="*/ 16060 h 1476841"/>
                <a:gd name="connsiteX4" fmla="*/ 2881423 w 8248415"/>
                <a:gd name="connsiteY4" fmla="*/ 1462088 h 1476841"/>
                <a:gd name="connsiteX5" fmla="*/ 3604437 w 8248415"/>
                <a:gd name="connsiteY5" fmla="*/ 21376 h 1476841"/>
                <a:gd name="connsiteX6" fmla="*/ 4322135 w 8248415"/>
                <a:gd name="connsiteY6" fmla="*/ 1456772 h 1476841"/>
                <a:gd name="connsiteX7" fmla="*/ 5034516 w 8248415"/>
                <a:gd name="connsiteY7" fmla="*/ 16060 h 1476841"/>
                <a:gd name="connsiteX8" fmla="*/ 5752214 w 8248415"/>
                <a:gd name="connsiteY8" fmla="*/ 1472721 h 1476841"/>
                <a:gd name="connsiteX9" fmla="*/ 6485861 w 8248415"/>
                <a:gd name="connsiteY9" fmla="*/ 26693 h 1476841"/>
                <a:gd name="connsiteX10" fmla="*/ 7203558 w 8248415"/>
                <a:gd name="connsiteY10" fmla="*/ 1467404 h 1476841"/>
                <a:gd name="connsiteX11" fmla="*/ 8248415 w 8248415"/>
                <a:gd name="connsiteY11" fmla="*/ 155725 h 1476841"/>
                <a:gd name="connsiteX0" fmla="*/ 0 w 8248415"/>
                <a:gd name="connsiteY0" fmla="*/ 733758 h 1474093"/>
                <a:gd name="connsiteX1" fmla="*/ 717698 w 8248415"/>
                <a:gd name="connsiteY1" fmla="*/ 21376 h 1474093"/>
                <a:gd name="connsiteX2" fmla="*/ 1435395 w 8248415"/>
                <a:gd name="connsiteY2" fmla="*/ 1462088 h 1474093"/>
                <a:gd name="connsiteX3" fmla="*/ 2158409 w 8248415"/>
                <a:gd name="connsiteY3" fmla="*/ 16060 h 1474093"/>
                <a:gd name="connsiteX4" fmla="*/ 2881423 w 8248415"/>
                <a:gd name="connsiteY4" fmla="*/ 1462088 h 1474093"/>
                <a:gd name="connsiteX5" fmla="*/ 3604437 w 8248415"/>
                <a:gd name="connsiteY5" fmla="*/ 21376 h 1474093"/>
                <a:gd name="connsiteX6" fmla="*/ 4322135 w 8248415"/>
                <a:gd name="connsiteY6" fmla="*/ 1456772 h 1474093"/>
                <a:gd name="connsiteX7" fmla="*/ 5034516 w 8248415"/>
                <a:gd name="connsiteY7" fmla="*/ 16060 h 1474093"/>
                <a:gd name="connsiteX8" fmla="*/ 5752214 w 8248415"/>
                <a:gd name="connsiteY8" fmla="*/ 1472721 h 1474093"/>
                <a:gd name="connsiteX9" fmla="*/ 6485861 w 8248415"/>
                <a:gd name="connsiteY9" fmla="*/ 26693 h 1474093"/>
                <a:gd name="connsiteX10" fmla="*/ 7203558 w 8248415"/>
                <a:gd name="connsiteY10" fmla="*/ 1467404 h 1474093"/>
                <a:gd name="connsiteX11" fmla="*/ 8248415 w 8248415"/>
                <a:gd name="connsiteY11" fmla="*/ 155725 h 1474093"/>
                <a:gd name="connsiteX0" fmla="*/ 0 w 8163986"/>
                <a:gd name="connsiteY0" fmla="*/ 733758 h 1476037"/>
                <a:gd name="connsiteX1" fmla="*/ 717698 w 8163986"/>
                <a:gd name="connsiteY1" fmla="*/ 21376 h 1476037"/>
                <a:gd name="connsiteX2" fmla="*/ 1435395 w 8163986"/>
                <a:gd name="connsiteY2" fmla="*/ 1462088 h 1476037"/>
                <a:gd name="connsiteX3" fmla="*/ 2158409 w 8163986"/>
                <a:gd name="connsiteY3" fmla="*/ 16060 h 1476037"/>
                <a:gd name="connsiteX4" fmla="*/ 2881423 w 8163986"/>
                <a:gd name="connsiteY4" fmla="*/ 1462088 h 1476037"/>
                <a:gd name="connsiteX5" fmla="*/ 3604437 w 8163986"/>
                <a:gd name="connsiteY5" fmla="*/ 21376 h 1476037"/>
                <a:gd name="connsiteX6" fmla="*/ 4322135 w 8163986"/>
                <a:gd name="connsiteY6" fmla="*/ 1456772 h 1476037"/>
                <a:gd name="connsiteX7" fmla="*/ 5034516 w 8163986"/>
                <a:gd name="connsiteY7" fmla="*/ 16060 h 1476037"/>
                <a:gd name="connsiteX8" fmla="*/ 5752214 w 8163986"/>
                <a:gd name="connsiteY8" fmla="*/ 1472721 h 1476037"/>
                <a:gd name="connsiteX9" fmla="*/ 6485861 w 8163986"/>
                <a:gd name="connsiteY9" fmla="*/ 26693 h 1476037"/>
                <a:gd name="connsiteX10" fmla="*/ 7203558 w 8163986"/>
                <a:gd name="connsiteY10" fmla="*/ 1467404 h 1476037"/>
                <a:gd name="connsiteX11" fmla="*/ 8163986 w 8163986"/>
                <a:gd name="connsiteY11" fmla="*/ 500924 h 1476037"/>
                <a:gd name="connsiteX0" fmla="*/ 0 w 8163986"/>
                <a:gd name="connsiteY0" fmla="*/ 733758 h 1476765"/>
                <a:gd name="connsiteX1" fmla="*/ 717698 w 8163986"/>
                <a:gd name="connsiteY1" fmla="*/ 21376 h 1476765"/>
                <a:gd name="connsiteX2" fmla="*/ 1435395 w 8163986"/>
                <a:gd name="connsiteY2" fmla="*/ 1462088 h 1476765"/>
                <a:gd name="connsiteX3" fmla="*/ 2158409 w 8163986"/>
                <a:gd name="connsiteY3" fmla="*/ 16060 h 1476765"/>
                <a:gd name="connsiteX4" fmla="*/ 2881423 w 8163986"/>
                <a:gd name="connsiteY4" fmla="*/ 1462088 h 1476765"/>
                <a:gd name="connsiteX5" fmla="*/ 3604437 w 8163986"/>
                <a:gd name="connsiteY5" fmla="*/ 21376 h 1476765"/>
                <a:gd name="connsiteX6" fmla="*/ 4322135 w 8163986"/>
                <a:gd name="connsiteY6" fmla="*/ 1456772 h 1476765"/>
                <a:gd name="connsiteX7" fmla="*/ 5034516 w 8163986"/>
                <a:gd name="connsiteY7" fmla="*/ 16060 h 1476765"/>
                <a:gd name="connsiteX8" fmla="*/ 5752214 w 8163986"/>
                <a:gd name="connsiteY8" fmla="*/ 1472721 h 1476765"/>
                <a:gd name="connsiteX9" fmla="*/ 6485861 w 8163986"/>
                <a:gd name="connsiteY9" fmla="*/ 26693 h 1476765"/>
                <a:gd name="connsiteX10" fmla="*/ 7203558 w 8163986"/>
                <a:gd name="connsiteY10" fmla="*/ 1467404 h 1476765"/>
                <a:gd name="connsiteX11" fmla="*/ 8163986 w 8163986"/>
                <a:gd name="connsiteY11" fmla="*/ 500924 h 1476765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5872"/>
                <a:gd name="connsiteX1" fmla="*/ 717698 w 8163986"/>
                <a:gd name="connsiteY1" fmla="*/ 21376 h 1475872"/>
                <a:gd name="connsiteX2" fmla="*/ 1435395 w 8163986"/>
                <a:gd name="connsiteY2" fmla="*/ 1462088 h 1475872"/>
                <a:gd name="connsiteX3" fmla="*/ 2158409 w 8163986"/>
                <a:gd name="connsiteY3" fmla="*/ 16060 h 1475872"/>
                <a:gd name="connsiteX4" fmla="*/ 2881423 w 8163986"/>
                <a:gd name="connsiteY4" fmla="*/ 1462088 h 1475872"/>
                <a:gd name="connsiteX5" fmla="*/ 3604437 w 8163986"/>
                <a:gd name="connsiteY5" fmla="*/ 21376 h 1475872"/>
                <a:gd name="connsiteX6" fmla="*/ 4322135 w 8163986"/>
                <a:gd name="connsiteY6" fmla="*/ 1456772 h 1475872"/>
                <a:gd name="connsiteX7" fmla="*/ 5034516 w 8163986"/>
                <a:gd name="connsiteY7" fmla="*/ 16060 h 1475872"/>
                <a:gd name="connsiteX8" fmla="*/ 5752214 w 8163986"/>
                <a:gd name="connsiteY8" fmla="*/ 1472721 h 1475872"/>
                <a:gd name="connsiteX9" fmla="*/ 6485861 w 8163986"/>
                <a:gd name="connsiteY9" fmla="*/ 26693 h 1475872"/>
                <a:gd name="connsiteX10" fmla="*/ 7203558 w 8163986"/>
                <a:gd name="connsiteY10" fmla="*/ 1467404 h 1475872"/>
                <a:gd name="connsiteX11" fmla="*/ 8163986 w 8163986"/>
                <a:gd name="connsiteY11" fmla="*/ 500924 h 147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63986" h="1475872">
                  <a:moveTo>
                    <a:pt x="0" y="733758"/>
                  </a:moveTo>
                  <a:cubicBezTo>
                    <a:pt x="239233" y="316873"/>
                    <a:pt x="478466" y="-100012"/>
                    <a:pt x="717698" y="21376"/>
                  </a:cubicBezTo>
                  <a:cubicBezTo>
                    <a:pt x="956931" y="142764"/>
                    <a:pt x="1195277" y="1462974"/>
                    <a:pt x="1435395" y="1462088"/>
                  </a:cubicBezTo>
                  <a:cubicBezTo>
                    <a:pt x="1675514" y="1461202"/>
                    <a:pt x="1917404" y="16060"/>
                    <a:pt x="2158409" y="16060"/>
                  </a:cubicBezTo>
                  <a:cubicBezTo>
                    <a:pt x="2399414" y="16060"/>
                    <a:pt x="2640418" y="1461202"/>
                    <a:pt x="2881423" y="1462088"/>
                  </a:cubicBezTo>
                  <a:cubicBezTo>
                    <a:pt x="3122428" y="1462974"/>
                    <a:pt x="3364318" y="22262"/>
                    <a:pt x="3604437" y="21376"/>
                  </a:cubicBezTo>
                  <a:cubicBezTo>
                    <a:pt x="3844556" y="20490"/>
                    <a:pt x="4083789" y="1457658"/>
                    <a:pt x="4322135" y="1456772"/>
                  </a:cubicBezTo>
                  <a:cubicBezTo>
                    <a:pt x="4560481" y="1455886"/>
                    <a:pt x="4796170" y="13402"/>
                    <a:pt x="5034516" y="16060"/>
                  </a:cubicBezTo>
                  <a:cubicBezTo>
                    <a:pt x="5272862" y="18718"/>
                    <a:pt x="5510323" y="1470949"/>
                    <a:pt x="5752214" y="1472721"/>
                  </a:cubicBezTo>
                  <a:cubicBezTo>
                    <a:pt x="5994105" y="1474493"/>
                    <a:pt x="6243970" y="27579"/>
                    <a:pt x="6485861" y="26693"/>
                  </a:cubicBezTo>
                  <a:cubicBezTo>
                    <a:pt x="6727752" y="25807"/>
                    <a:pt x="6964326" y="1350446"/>
                    <a:pt x="7203558" y="1467404"/>
                  </a:cubicBezTo>
                  <a:cubicBezTo>
                    <a:pt x="7442790" y="1584362"/>
                    <a:pt x="7597594" y="450313"/>
                    <a:pt x="8163986" y="500924"/>
                  </a:cubicBezTo>
                </a:path>
              </a:pathLst>
            </a:custGeom>
            <a:noFill/>
            <a:ln>
              <a:solidFill>
                <a:srgbClr val="9BC6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77DD2CE1-FE52-3BDF-26C1-1FC7FDDD2351}"/>
              </a:ext>
            </a:extLst>
          </p:cNvPr>
          <p:cNvGrpSpPr/>
          <p:nvPr/>
        </p:nvGrpSpPr>
        <p:grpSpPr>
          <a:xfrm>
            <a:off x="1095207" y="2103666"/>
            <a:ext cx="890688" cy="127366"/>
            <a:chOff x="1333111" y="2494482"/>
            <a:chExt cx="1290995" cy="377135"/>
          </a:xfrm>
        </p:grpSpPr>
        <p:sp>
          <p:nvSpPr>
            <p:cNvPr id="164" name="Isosceles Triangle 163">
              <a:extLst>
                <a:ext uri="{FF2B5EF4-FFF2-40B4-BE49-F238E27FC236}">
                  <a16:creationId xmlns:a16="http://schemas.microsoft.com/office/drawing/2014/main" id="{C3CB1295-71F1-70E4-7338-DB4A3C686CEF}"/>
                </a:ext>
              </a:extLst>
            </p:cNvPr>
            <p:cNvSpPr/>
            <p:nvPr/>
          </p:nvSpPr>
          <p:spPr>
            <a:xfrm rot="5400000">
              <a:off x="2559054" y="2597191"/>
              <a:ext cx="69871" cy="60233"/>
            </a:xfrm>
            <a:prstGeom prst="triangle">
              <a:avLst/>
            </a:prstGeom>
            <a:solidFill>
              <a:srgbClr val="9DC8DE"/>
            </a:solidFill>
            <a:ln>
              <a:solidFill>
                <a:srgbClr val="9DC8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4D3048F8-28D6-67FD-D08D-1652E61E307B}"/>
                </a:ext>
              </a:extLst>
            </p:cNvPr>
            <p:cNvSpPr/>
            <p:nvPr/>
          </p:nvSpPr>
          <p:spPr>
            <a:xfrm>
              <a:off x="1333111" y="2494482"/>
              <a:ext cx="1234524" cy="377135"/>
            </a:xfrm>
            <a:custGeom>
              <a:avLst/>
              <a:gdLst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2 h 1486965"/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3 h 1486965"/>
                <a:gd name="connsiteX0" fmla="*/ 0 w 8248415"/>
                <a:gd name="connsiteY0" fmla="*/ 733758 h 1476841"/>
                <a:gd name="connsiteX1" fmla="*/ 717698 w 8248415"/>
                <a:gd name="connsiteY1" fmla="*/ 21376 h 1476841"/>
                <a:gd name="connsiteX2" fmla="*/ 1435395 w 8248415"/>
                <a:gd name="connsiteY2" fmla="*/ 1462088 h 1476841"/>
                <a:gd name="connsiteX3" fmla="*/ 2158409 w 8248415"/>
                <a:gd name="connsiteY3" fmla="*/ 16060 h 1476841"/>
                <a:gd name="connsiteX4" fmla="*/ 2881423 w 8248415"/>
                <a:gd name="connsiteY4" fmla="*/ 1462088 h 1476841"/>
                <a:gd name="connsiteX5" fmla="*/ 3604437 w 8248415"/>
                <a:gd name="connsiteY5" fmla="*/ 21376 h 1476841"/>
                <a:gd name="connsiteX6" fmla="*/ 4322135 w 8248415"/>
                <a:gd name="connsiteY6" fmla="*/ 1456772 h 1476841"/>
                <a:gd name="connsiteX7" fmla="*/ 5034516 w 8248415"/>
                <a:gd name="connsiteY7" fmla="*/ 16060 h 1476841"/>
                <a:gd name="connsiteX8" fmla="*/ 5752214 w 8248415"/>
                <a:gd name="connsiteY8" fmla="*/ 1472721 h 1476841"/>
                <a:gd name="connsiteX9" fmla="*/ 6485861 w 8248415"/>
                <a:gd name="connsiteY9" fmla="*/ 26693 h 1476841"/>
                <a:gd name="connsiteX10" fmla="*/ 7203558 w 8248415"/>
                <a:gd name="connsiteY10" fmla="*/ 1467404 h 1476841"/>
                <a:gd name="connsiteX11" fmla="*/ 8248415 w 8248415"/>
                <a:gd name="connsiteY11" fmla="*/ 155725 h 1476841"/>
                <a:gd name="connsiteX0" fmla="*/ 0 w 8248415"/>
                <a:gd name="connsiteY0" fmla="*/ 733758 h 1474093"/>
                <a:gd name="connsiteX1" fmla="*/ 717698 w 8248415"/>
                <a:gd name="connsiteY1" fmla="*/ 21376 h 1474093"/>
                <a:gd name="connsiteX2" fmla="*/ 1435395 w 8248415"/>
                <a:gd name="connsiteY2" fmla="*/ 1462088 h 1474093"/>
                <a:gd name="connsiteX3" fmla="*/ 2158409 w 8248415"/>
                <a:gd name="connsiteY3" fmla="*/ 16060 h 1474093"/>
                <a:gd name="connsiteX4" fmla="*/ 2881423 w 8248415"/>
                <a:gd name="connsiteY4" fmla="*/ 1462088 h 1474093"/>
                <a:gd name="connsiteX5" fmla="*/ 3604437 w 8248415"/>
                <a:gd name="connsiteY5" fmla="*/ 21376 h 1474093"/>
                <a:gd name="connsiteX6" fmla="*/ 4322135 w 8248415"/>
                <a:gd name="connsiteY6" fmla="*/ 1456772 h 1474093"/>
                <a:gd name="connsiteX7" fmla="*/ 5034516 w 8248415"/>
                <a:gd name="connsiteY7" fmla="*/ 16060 h 1474093"/>
                <a:gd name="connsiteX8" fmla="*/ 5752214 w 8248415"/>
                <a:gd name="connsiteY8" fmla="*/ 1472721 h 1474093"/>
                <a:gd name="connsiteX9" fmla="*/ 6485861 w 8248415"/>
                <a:gd name="connsiteY9" fmla="*/ 26693 h 1474093"/>
                <a:gd name="connsiteX10" fmla="*/ 7203558 w 8248415"/>
                <a:gd name="connsiteY10" fmla="*/ 1467404 h 1474093"/>
                <a:gd name="connsiteX11" fmla="*/ 8248415 w 8248415"/>
                <a:gd name="connsiteY11" fmla="*/ 155725 h 1474093"/>
                <a:gd name="connsiteX0" fmla="*/ 0 w 8163986"/>
                <a:gd name="connsiteY0" fmla="*/ 733758 h 1476037"/>
                <a:gd name="connsiteX1" fmla="*/ 717698 w 8163986"/>
                <a:gd name="connsiteY1" fmla="*/ 21376 h 1476037"/>
                <a:gd name="connsiteX2" fmla="*/ 1435395 w 8163986"/>
                <a:gd name="connsiteY2" fmla="*/ 1462088 h 1476037"/>
                <a:gd name="connsiteX3" fmla="*/ 2158409 w 8163986"/>
                <a:gd name="connsiteY3" fmla="*/ 16060 h 1476037"/>
                <a:gd name="connsiteX4" fmla="*/ 2881423 w 8163986"/>
                <a:gd name="connsiteY4" fmla="*/ 1462088 h 1476037"/>
                <a:gd name="connsiteX5" fmla="*/ 3604437 w 8163986"/>
                <a:gd name="connsiteY5" fmla="*/ 21376 h 1476037"/>
                <a:gd name="connsiteX6" fmla="*/ 4322135 w 8163986"/>
                <a:gd name="connsiteY6" fmla="*/ 1456772 h 1476037"/>
                <a:gd name="connsiteX7" fmla="*/ 5034516 w 8163986"/>
                <a:gd name="connsiteY7" fmla="*/ 16060 h 1476037"/>
                <a:gd name="connsiteX8" fmla="*/ 5752214 w 8163986"/>
                <a:gd name="connsiteY8" fmla="*/ 1472721 h 1476037"/>
                <a:gd name="connsiteX9" fmla="*/ 6485861 w 8163986"/>
                <a:gd name="connsiteY9" fmla="*/ 26693 h 1476037"/>
                <a:gd name="connsiteX10" fmla="*/ 7203558 w 8163986"/>
                <a:gd name="connsiteY10" fmla="*/ 1467404 h 1476037"/>
                <a:gd name="connsiteX11" fmla="*/ 8163986 w 8163986"/>
                <a:gd name="connsiteY11" fmla="*/ 500924 h 1476037"/>
                <a:gd name="connsiteX0" fmla="*/ 0 w 8163986"/>
                <a:gd name="connsiteY0" fmla="*/ 733758 h 1476765"/>
                <a:gd name="connsiteX1" fmla="*/ 717698 w 8163986"/>
                <a:gd name="connsiteY1" fmla="*/ 21376 h 1476765"/>
                <a:gd name="connsiteX2" fmla="*/ 1435395 w 8163986"/>
                <a:gd name="connsiteY2" fmla="*/ 1462088 h 1476765"/>
                <a:gd name="connsiteX3" fmla="*/ 2158409 w 8163986"/>
                <a:gd name="connsiteY3" fmla="*/ 16060 h 1476765"/>
                <a:gd name="connsiteX4" fmla="*/ 2881423 w 8163986"/>
                <a:gd name="connsiteY4" fmla="*/ 1462088 h 1476765"/>
                <a:gd name="connsiteX5" fmla="*/ 3604437 w 8163986"/>
                <a:gd name="connsiteY5" fmla="*/ 21376 h 1476765"/>
                <a:gd name="connsiteX6" fmla="*/ 4322135 w 8163986"/>
                <a:gd name="connsiteY6" fmla="*/ 1456772 h 1476765"/>
                <a:gd name="connsiteX7" fmla="*/ 5034516 w 8163986"/>
                <a:gd name="connsiteY7" fmla="*/ 16060 h 1476765"/>
                <a:gd name="connsiteX8" fmla="*/ 5752214 w 8163986"/>
                <a:gd name="connsiteY8" fmla="*/ 1472721 h 1476765"/>
                <a:gd name="connsiteX9" fmla="*/ 6485861 w 8163986"/>
                <a:gd name="connsiteY9" fmla="*/ 26693 h 1476765"/>
                <a:gd name="connsiteX10" fmla="*/ 7203558 w 8163986"/>
                <a:gd name="connsiteY10" fmla="*/ 1467404 h 1476765"/>
                <a:gd name="connsiteX11" fmla="*/ 8163986 w 8163986"/>
                <a:gd name="connsiteY11" fmla="*/ 500924 h 1476765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5872"/>
                <a:gd name="connsiteX1" fmla="*/ 717698 w 8163986"/>
                <a:gd name="connsiteY1" fmla="*/ 21376 h 1475872"/>
                <a:gd name="connsiteX2" fmla="*/ 1435395 w 8163986"/>
                <a:gd name="connsiteY2" fmla="*/ 1462088 h 1475872"/>
                <a:gd name="connsiteX3" fmla="*/ 2158409 w 8163986"/>
                <a:gd name="connsiteY3" fmla="*/ 16060 h 1475872"/>
                <a:gd name="connsiteX4" fmla="*/ 2881423 w 8163986"/>
                <a:gd name="connsiteY4" fmla="*/ 1462088 h 1475872"/>
                <a:gd name="connsiteX5" fmla="*/ 3604437 w 8163986"/>
                <a:gd name="connsiteY5" fmla="*/ 21376 h 1475872"/>
                <a:gd name="connsiteX6" fmla="*/ 4322135 w 8163986"/>
                <a:gd name="connsiteY6" fmla="*/ 1456772 h 1475872"/>
                <a:gd name="connsiteX7" fmla="*/ 5034516 w 8163986"/>
                <a:gd name="connsiteY7" fmla="*/ 16060 h 1475872"/>
                <a:gd name="connsiteX8" fmla="*/ 5752214 w 8163986"/>
                <a:gd name="connsiteY8" fmla="*/ 1472721 h 1475872"/>
                <a:gd name="connsiteX9" fmla="*/ 6485861 w 8163986"/>
                <a:gd name="connsiteY9" fmla="*/ 26693 h 1475872"/>
                <a:gd name="connsiteX10" fmla="*/ 7203558 w 8163986"/>
                <a:gd name="connsiteY10" fmla="*/ 1467404 h 1475872"/>
                <a:gd name="connsiteX11" fmla="*/ 8163986 w 8163986"/>
                <a:gd name="connsiteY11" fmla="*/ 500924 h 147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63986" h="1475872">
                  <a:moveTo>
                    <a:pt x="0" y="733758"/>
                  </a:moveTo>
                  <a:cubicBezTo>
                    <a:pt x="239233" y="316873"/>
                    <a:pt x="478466" y="-100012"/>
                    <a:pt x="717698" y="21376"/>
                  </a:cubicBezTo>
                  <a:cubicBezTo>
                    <a:pt x="956931" y="142764"/>
                    <a:pt x="1195277" y="1462974"/>
                    <a:pt x="1435395" y="1462088"/>
                  </a:cubicBezTo>
                  <a:cubicBezTo>
                    <a:pt x="1675514" y="1461202"/>
                    <a:pt x="1917404" y="16060"/>
                    <a:pt x="2158409" y="16060"/>
                  </a:cubicBezTo>
                  <a:cubicBezTo>
                    <a:pt x="2399414" y="16060"/>
                    <a:pt x="2640418" y="1461202"/>
                    <a:pt x="2881423" y="1462088"/>
                  </a:cubicBezTo>
                  <a:cubicBezTo>
                    <a:pt x="3122428" y="1462974"/>
                    <a:pt x="3364318" y="22262"/>
                    <a:pt x="3604437" y="21376"/>
                  </a:cubicBezTo>
                  <a:cubicBezTo>
                    <a:pt x="3844556" y="20490"/>
                    <a:pt x="4083789" y="1457658"/>
                    <a:pt x="4322135" y="1456772"/>
                  </a:cubicBezTo>
                  <a:cubicBezTo>
                    <a:pt x="4560481" y="1455886"/>
                    <a:pt x="4796170" y="13402"/>
                    <a:pt x="5034516" y="16060"/>
                  </a:cubicBezTo>
                  <a:cubicBezTo>
                    <a:pt x="5272862" y="18718"/>
                    <a:pt x="5510323" y="1470949"/>
                    <a:pt x="5752214" y="1472721"/>
                  </a:cubicBezTo>
                  <a:cubicBezTo>
                    <a:pt x="5994105" y="1474493"/>
                    <a:pt x="6243970" y="27579"/>
                    <a:pt x="6485861" y="26693"/>
                  </a:cubicBezTo>
                  <a:cubicBezTo>
                    <a:pt x="6727752" y="25807"/>
                    <a:pt x="6964326" y="1350446"/>
                    <a:pt x="7203558" y="1467404"/>
                  </a:cubicBezTo>
                  <a:cubicBezTo>
                    <a:pt x="7442790" y="1584362"/>
                    <a:pt x="7597594" y="450313"/>
                    <a:pt x="8163986" y="500924"/>
                  </a:cubicBezTo>
                </a:path>
              </a:pathLst>
            </a:custGeom>
            <a:noFill/>
            <a:ln>
              <a:solidFill>
                <a:srgbClr val="9BC6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77" name="TextBox 176">
            <a:extLst>
              <a:ext uri="{FF2B5EF4-FFF2-40B4-BE49-F238E27FC236}">
                <a16:creationId xmlns:a16="http://schemas.microsoft.com/office/drawing/2014/main" id="{3A6DC58A-9670-7E11-E24E-F641D3E7172D}"/>
              </a:ext>
            </a:extLst>
          </p:cNvPr>
          <p:cNvSpPr txBox="1"/>
          <p:nvPr/>
        </p:nvSpPr>
        <p:spPr>
          <a:xfrm>
            <a:off x="4034411" y="2241308"/>
            <a:ext cx="10567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Option 1: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Customer Server</a:t>
            </a:r>
            <a:endParaRPr lang="en-GB" sz="900" b="0" dirty="0">
              <a:solidFill>
                <a:schemeClr val="bg2">
                  <a:lumMod val="10000"/>
                </a:schemeClr>
              </a:solidFill>
              <a:latin typeface="AvenirNext LT Pro Regular" panose="020B0504020202020204" pitchFamily="34" charset="77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EF8E2C5B-C2B4-3073-80AD-EBA1FECCC260}"/>
              </a:ext>
            </a:extLst>
          </p:cNvPr>
          <p:cNvSpPr/>
          <p:nvPr/>
        </p:nvSpPr>
        <p:spPr>
          <a:xfrm>
            <a:off x="4199734" y="4105781"/>
            <a:ext cx="640592" cy="14298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9745FE29-B652-6D0D-0AF9-BA9F2F48313F}"/>
              </a:ext>
            </a:extLst>
          </p:cNvPr>
          <p:cNvGrpSpPr/>
          <p:nvPr/>
        </p:nvGrpSpPr>
        <p:grpSpPr>
          <a:xfrm>
            <a:off x="4259396" y="3858854"/>
            <a:ext cx="445615" cy="111404"/>
            <a:chOff x="5446858" y="4334748"/>
            <a:chExt cx="609600" cy="152400"/>
          </a:xfrm>
        </p:grpSpPr>
        <p:sp>
          <p:nvSpPr>
            <p:cNvPr id="181" name="Rectangle: Rounded Corners 180">
              <a:extLst>
                <a:ext uri="{FF2B5EF4-FFF2-40B4-BE49-F238E27FC236}">
                  <a16:creationId xmlns:a16="http://schemas.microsoft.com/office/drawing/2014/main" id="{B49A43FD-6AC8-196D-AB20-F47E65855E08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86618AA9-DD61-7769-758F-7A3B4C6EBD6D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8AA0FC46-310C-066E-2998-58FE6D1400DC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95" name="Rectangle: Rounded Corners 194">
              <a:extLst>
                <a:ext uri="{FF2B5EF4-FFF2-40B4-BE49-F238E27FC236}">
                  <a16:creationId xmlns:a16="http://schemas.microsoft.com/office/drawing/2014/main" id="{F73DB34F-2651-E4ED-3A53-4F0F1CEACB44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022A29F2-ED09-E126-5B0E-EA77EC9C2D1D}"/>
              </a:ext>
            </a:extLst>
          </p:cNvPr>
          <p:cNvGrpSpPr/>
          <p:nvPr/>
        </p:nvGrpSpPr>
        <p:grpSpPr>
          <a:xfrm>
            <a:off x="4259396" y="3969272"/>
            <a:ext cx="445615" cy="111404"/>
            <a:chOff x="5446858" y="4334748"/>
            <a:chExt cx="609600" cy="152400"/>
          </a:xfrm>
        </p:grpSpPr>
        <p:sp>
          <p:nvSpPr>
            <p:cNvPr id="200" name="Rectangle: Rounded Corners 199">
              <a:extLst>
                <a:ext uri="{FF2B5EF4-FFF2-40B4-BE49-F238E27FC236}">
                  <a16:creationId xmlns:a16="http://schemas.microsoft.com/office/drawing/2014/main" id="{E1179997-9702-AE8D-0FA4-64E3C967C324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B5EF6ADA-CDE9-543B-8ABD-9B00A4845A99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8A8359CD-EEEF-6553-A534-B5408401E5B7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03" name="Rectangle: Rounded Corners 202">
              <a:extLst>
                <a:ext uri="{FF2B5EF4-FFF2-40B4-BE49-F238E27FC236}">
                  <a16:creationId xmlns:a16="http://schemas.microsoft.com/office/drawing/2014/main" id="{BF5C0A35-16B8-F276-DBA3-C6BBC8DB26F1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0443C90E-1BBD-5A62-97CB-50BA1A3058D3}"/>
              </a:ext>
            </a:extLst>
          </p:cNvPr>
          <p:cNvGrpSpPr/>
          <p:nvPr/>
        </p:nvGrpSpPr>
        <p:grpSpPr>
          <a:xfrm>
            <a:off x="4259396" y="4081662"/>
            <a:ext cx="445615" cy="111404"/>
            <a:chOff x="5446858" y="4334748"/>
            <a:chExt cx="609600" cy="152400"/>
          </a:xfrm>
        </p:grpSpPr>
        <p:sp>
          <p:nvSpPr>
            <p:cNvPr id="205" name="Rectangle: Rounded Corners 204">
              <a:extLst>
                <a:ext uri="{FF2B5EF4-FFF2-40B4-BE49-F238E27FC236}">
                  <a16:creationId xmlns:a16="http://schemas.microsoft.com/office/drawing/2014/main" id="{C5066073-E7BA-EEC3-841D-6F09ABB986E4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C70D0555-E847-671B-093F-BBE8C4C50D2F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EB3752F6-E268-A8B7-BBA8-B6021137A400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solidFill>
              <a:schemeClr val="bg1"/>
            </a:solidFill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11" name="Rectangle: Rounded Corners 210">
              <a:extLst>
                <a:ext uri="{FF2B5EF4-FFF2-40B4-BE49-F238E27FC236}">
                  <a16:creationId xmlns:a16="http://schemas.microsoft.com/office/drawing/2014/main" id="{58FE6B04-5C78-A427-9A94-5B0B831679A4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14410F7C-C5DE-D49F-51DC-98F4A0E03E3A}"/>
              </a:ext>
            </a:extLst>
          </p:cNvPr>
          <p:cNvGrpSpPr/>
          <p:nvPr/>
        </p:nvGrpSpPr>
        <p:grpSpPr>
          <a:xfrm>
            <a:off x="4578257" y="4046276"/>
            <a:ext cx="254414" cy="283097"/>
            <a:chOff x="5819692" y="4511761"/>
            <a:chExt cx="348037" cy="387276"/>
          </a:xfrm>
        </p:grpSpPr>
        <p:sp>
          <p:nvSpPr>
            <p:cNvPr id="213" name="Rectangle: Rounded Corners 212">
              <a:extLst>
                <a:ext uri="{FF2B5EF4-FFF2-40B4-BE49-F238E27FC236}">
                  <a16:creationId xmlns:a16="http://schemas.microsoft.com/office/drawing/2014/main" id="{C1F186B3-40D5-EA8F-4B84-1353913C6B79}"/>
                </a:ext>
              </a:extLst>
            </p:cNvPr>
            <p:cNvSpPr/>
            <p:nvPr/>
          </p:nvSpPr>
          <p:spPr>
            <a:xfrm>
              <a:off x="5819692" y="4511761"/>
              <a:ext cx="348037" cy="387276"/>
            </a:xfrm>
            <a:prstGeom prst="roundRect">
              <a:avLst>
                <a:gd name="adj" fmla="val 188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14" name="Group 213">
              <a:extLst>
                <a:ext uri="{FF2B5EF4-FFF2-40B4-BE49-F238E27FC236}">
                  <a16:creationId xmlns:a16="http://schemas.microsoft.com/office/drawing/2014/main" id="{D488223F-1958-C918-CD8F-8BD3922FA6E8}"/>
                </a:ext>
              </a:extLst>
            </p:cNvPr>
            <p:cNvGrpSpPr/>
            <p:nvPr/>
          </p:nvGrpSpPr>
          <p:grpSpPr>
            <a:xfrm>
              <a:off x="5841552" y="4527458"/>
              <a:ext cx="318587" cy="355882"/>
              <a:chOff x="10516842" y="803541"/>
              <a:chExt cx="443396" cy="495300"/>
            </a:xfrm>
          </p:grpSpPr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EF722010-E8DD-EF03-BE49-BBA8FDC303D3}"/>
                  </a:ext>
                </a:extLst>
              </p:cNvPr>
              <p:cNvSpPr/>
              <p:nvPr/>
            </p:nvSpPr>
            <p:spPr>
              <a:xfrm>
                <a:off x="10516842" y="803541"/>
                <a:ext cx="443368" cy="104274"/>
              </a:xfrm>
              <a:custGeom>
                <a:avLst/>
                <a:gdLst>
                  <a:gd name="connsiteX0" fmla="*/ 533400 w 533400"/>
                  <a:gd name="connsiteY0" fmla="*/ 76200 h 152400"/>
                  <a:gd name="connsiteX1" fmla="*/ 266700 w 533400"/>
                  <a:gd name="connsiteY1" fmla="*/ 152400 h 152400"/>
                  <a:gd name="connsiteX2" fmla="*/ 0 w 533400"/>
                  <a:gd name="connsiteY2" fmla="*/ 76200 h 152400"/>
                  <a:gd name="connsiteX3" fmla="*/ 266700 w 533400"/>
                  <a:gd name="connsiteY3" fmla="*/ 0 h 152400"/>
                  <a:gd name="connsiteX4" fmla="*/ 533400 w 533400"/>
                  <a:gd name="connsiteY4" fmla="*/ 762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400" h="152400">
                    <a:moveTo>
                      <a:pt x="533400" y="76200"/>
                    </a:moveTo>
                    <a:cubicBezTo>
                      <a:pt x="533400" y="118284"/>
                      <a:pt x="413994" y="152400"/>
                      <a:pt x="266700" y="152400"/>
                    </a:cubicBezTo>
                    <a:cubicBezTo>
                      <a:pt x="119406" y="152400"/>
                      <a:pt x="0" y="118284"/>
                      <a:pt x="0" y="76200"/>
                    </a:cubicBezTo>
                    <a:cubicBezTo>
                      <a:pt x="0" y="34116"/>
                      <a:pt x="119406" y="0"/>
                      <a:pt x="266700" y="0"/>
                    </a:cubicBezTo>
                    <a:cubicBezTo>
                      <a:pt x="413994" y="0"/>
                      <a:pt x="533400" y="34116"/>
                      <a:pt x="5334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AFE0BD6D-1114-9732-738A-B85A19E3008B}"/>
                  </a:ext>
                </a:extLst>
              </p:cNvPr>
              <p:cNvSpPr/>
              <p:nvPr/>
            </p:nvSpPr>
            <p:spPr>
              <a:xfrm>
                <a:off x="10516870" y="881746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59C2C61A-E664-6BBF-6267-DEFC9C6BA895}"/>
                  </a:ext>
                </a:extLst>
              </p:cNvPr>
              <p:cNvSpPr/>
              <p:nvPr/>
            </p:nvSpPr>
            <p:spPr>
              <a:xfrm>
                <a:off x="10516865" y="1012088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E2852B05-CB74-A604-8DA3-5ACD67BB383B}"/>
                  </a:ext>
                </a:extLst>
              </p:cNvPr>
              <p:cNvSpPr/>
              <p:nvPr/>
            </p:nvSpPr>
            <p:spPr>
              <a:xfrm>
                <a:off x="10516842" y="1142430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219" name="Rectangle 218">
            <a:extLst>
              <a:ext uri="{FF2B5EF4-FFF2-40B4-BE49-F238E27FC236}">
                <a16:creationId xmlns:a16="http://schemas.microsoft.com/office/drawing/2014/main" id="{A782555F-4398-C4D1-7A63-929787B1AF2D}"/>
              </a:ext>
            </a:extLst>
          </p:cNvPr>
          <p:cNvSpPr/>
          <p:nvPr/>
        </p:nvSpPr>
        <p:spPr>
          <a:xfrm>
            <a:off x="3806465" y="1448167"/>
            <a:ext cx="1482460" cy="3548847"/>
          </a:xfrm>
          <a:prstGeom prst="rect">
            <a:avLst/>
          </a:prstGeom>
          <a:noFill/>
          <a:ln w="9525">
            <a:solidFill>
              <a:srgbClr val="9E9E9E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0C74E870-AB25-20D5-3AEA-F2A1C81C8486}"/>
              </a:ext>
            </a:extLst>
          </p:cNvPr>
          <p:cNvSpPr txBox="1"/>
          <p:nvPr/>
        </p:nvSpPr>
        <p:spPr>
          <a:xfrm>
            <a:off x="4155437" y="4274871"/>
            <a:ext cx="8483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Option 2: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Cloud Server</a:t>
            </a:r>
            <a:endParaRPr lang="en-GB" sz="1000" b="0" dirty="0">
              <a:solidFill>
                <a:schemeClr val="bg2">
                  <a:lumMod val="10000"/>
                </a:schemeClr>
              </a:solidFill>
              <a:latin typeface="AvenirNext LT Pro Regular" panose="020B0504020202020204" pitchFamily="34" charset="77"/>
            </a:endParaRPr>
          </a:p>
        </p:txBody>
      </p: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711A5726-F48B-EAE8-6B37-A7963FB50E1C}"/>
              </a:ext>
            </a:extLst>
          </p:cNvPr>
          <p:cNvCxnSpPr>
            <a:cxnSpLocks/>
          </p:cNvCxnSpPr>
          <p:nvPr/>
        </p:nvCxnSpPr>
        <p:spPr>
          <a:xfrm flipH="1">
            <a:off x="5288925" y="3259588"/>
            <a:ext cx="537196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Freeform: Shape 245">
            <a:extLst>
              <a:ext uri="{FF2B5EF4-FFF2-40B4-BE49-F238E27FC236}">
                <a16:creationId xmlns:a16="http://schemas.microsoft.com/office/drawing/2014/main" id="{EE32898D-4C4F-899D-3702-9B5F9FC7F3EA}"/>
              </a:ext>
            </a:extLst>
          </p:cNvPr>
          <p:cNvSpPr/>
          <p:nvPr/>
        </p:nvSpPr>
        <p:spPr>
          <a:xfrm>
            <a:off x="5826120" y="3255665"/>
            <a:ext cx="45719" cy="614345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0 w 0"/>
              <a:gd name="connsiteY0" fmla="*/ 2340814 h 2340814"/>
              <a:gd name="connsiteX1" fmla="*/ 0 w 0"/>
              <a:gd name="connsiteY1" fmla="*/ 0 h 234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340814">
                <a:moveTo>
                  <a:pt x="0" y="2340814"/>
                </a:moveTo>
                <a:lnTo>
                  <a:pt x="0" y="0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7B57476E-77F2-5380-8C99-E5F6BA878926}"/>
              </a:ext>
            </a:extLst>
          </p:cNvPr>
          <p:cNvCxnSpPr>
            <a:cxnSpLocks/>
          </p:cNvCxnSpPr>
          <p:nvPr/>
        </p:nvCxnSpPr>
        <p:spPr>
          <a:xfrm flipH="1">
            <a:off x="5822151" y="3870010"/>
            <a:ext cx="527125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Freeform: Shape 250">
            <a:extLst>
              <a:ext uri="{FF2B5EF4-FFF2-40B4-BE49-F238E27FC236}">
                <a16:creationId xmlns:a16="http://schemas.microsoft.com/office/drawing/2014/main" id="{AA309873-736B-9281-9BD4-F0D6514D0593}"/>
              </a:ext>
            </a:extLst>
          </p:cNvPr>
          <p:cNvSpPr/>
          <p:nvPr/>
        </p:nvSpPr>
        <p:spPr>
          <a:xfrm>
            <a:off x="5827360" y="2650782"/>
            <a:ext cx="45719" cy="614345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0 w 0"/>
              <a:gd name="connsiteY0" fmla="*/ 2340814 h 2340814"/>
              <a:gd name="connsiteX1" fmla="*/ 0 w 0"/>
              <a:gd name="connsiteY1" fmla="*/ 0 h 234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340814">
                <a:moveTo>
                  <a:pt x="0" y="2340814"/>
                </a:moveTo>
                <a:lnTo>
                  <a:pt x="0" y="0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F940B7EF-6EA3-9D9B-A9B9-15F0CD487E38}"/>
              </a:ext>
            </a:extLst>
          </p:cNvPr>
          <p:cNvCxnSpPr>
            <a:cxnSpLocks/>
          </p:cNvCxnSpPr>
          <p:nvPr/>
        </p:nvCxnSpPr>
        <p:spPr>
          <a:xfrm flipH="1">
            <a:off x="5822151" y="2650432"/>
            <a:ext cx="303888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215BC8A3-77FE-2889-F513-EB2ABAC1E625}"/>
              </a:ext>
            </a:extLst>
          </p:cNvPr>
          <p:cNvCxnSpPr>
            <a:cxnSpLocks/>
          </p:cNvCxnSpPr>
          <p:nvPr/>
        </p:nvCxnSpPr>
        <p:spPr>
          <a:xfrm flipH="1">
            <a:off x="6119248" y="2650432"/>
            <a:ext cx="230028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618AE6C8-19A5-FB29-62C6-D2EFCE49A54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99299" y="4459761"/>
            <a:ext cx="352331" cy="352331"/>
          </a:xfrm>
          <a:prstGeom prst="rect">
            <a:avLst/>
          </a:prstGeom>
        </p:spPr>
      </p:pic>
      <p:pic>
        <p:nvPicPr>
          <p:cNvPr id="188" name="Picture 187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021799D2-9DAD-A87F-A93D-46B5479FF11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83222" y="2556071"/>
            <a:ext cx="352331" cy="352331"/>
          </a:xfrm>
          <a:prstGeom prst="rect">
            <a:avLst/>
          </a:prstGeom>
        </p:spPr>
      </p:pic>
      <p:sp>
        <p:nvSpPr>
          <p:cNvPr id="267" name="Freeform: Shape 266">
            <a:extLst>
              <a:ext uri="{FF2B5EF4-FFF2-40B4-BE49-F238E27FC236}">
                <a16:creationId xmlns:a16="http://schemas.microsoft.com/office/drawing/2014/main" id="{59F6CE91-BDFE-2F23-5D17-CA5016D30EA0}"/>
              </a:ext>
            </a:extLst>
          </p:cNvPr>
          <p:cNvSpPr/>
          <p:nvPr/>
        </p:nvSpPr>
        <p:spPr>
          <a:xfrm flipH="1">
            <a:off x="6119248" y="2646407"/>
            <a:ext cx="0" cy="478800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0 w 0"/>
              <a:gd name="connsiteY0" fmla="*/ 2340815 h 2340815"/>
              <a:gd name="connsiteX1" fmla="*/ 0 w 0"/>
              <a:gd name="connsiteY1" fmla="*/ 1 h 2340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340815">
                <a:moveTo>
                  <a:pt x="0" y="2340815"/>
                </a:moveTo>
                <a:lnTo>
                  <a:pt x="0" y="1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9" name="Freeform: Shape 268">
            <a:extLst>
              <a:ext uri="{FF2B5EF4-FFF2-40B4-BE49-F238E27FC236}">
                <a16:creationId xmlns:a16="http://schemas.microsoft.com/office/drawing/2014/main" id="{F1FDC284-A59B-5F7D-D31D-07BA54F2B0CA}"/>
              </a:ext>
            </a:extLst>
          </p:cNvPr>
          <p:cNvSpPr/>
          <p:nvPr/>
        </p:nvSpPr>
        <p:spPr>
          <a:xfrm flipH="1" flipV="1">
            <a:off x="6119248" y="2175577"/>
            <a:ext cx="230028" cy="81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230028 w 230028"/>
              <a:gd name="connsiteY0" fmla="*/ 403 h 402"/>
              <a:gd name="connsiteX1" fmla="*/ 0 w 230028"/>
              <a:gd name="connsiteY1" fmla="*/ 0 h 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0028" h="402">
                <a:moveTo>
                  <a:pt x="230028" y="403"/>
                </a:moveTo>
                <a:lnTo>
                  <a:pt x="0" y="0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8D449B8-7AC1-DF41-B78F-8066E42FB5B0}"/>
              </a:ext>
            </a:extLst>
          </p:cNvPr>
          <p:cNvCxnSpPr>
            <a:cxnSpLocks/>
          </p:cNvCxnSpPr>
          <p:nvPr/>
        </p:nvCxnSpPr>
        <p:spPr>
          <a:xfrm flipH="1">
            <a:off x="5288925" y="3390198"/>
            <a:ext cx="428611" cy="0"/>
          </a:xfrm>
          <a:prstGeom prst="line">
            <a:avLst/>
          </a:prstGeom>
          <a:noFill/>
          <a:ln w="9525">
            <a:solidFill>
              <a:srgbClr val="9E9E9E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B7AE0957-11D9-7B6B-F318-2F8692237F97}"/>
              </a:ext>
            </a:extLst>
          </p:cNvPr>
          <p:cNvCxnSpPr>
            <a:cxnSpLocks/>
          </p:cNvCxnSpPr>
          <p:nvPr/>
        </p:nvCxnSpPr>
        <p:spPr>
          <a:xfrm flipV="1">
            <a:off x="5714919" y="3388956"/>
            <a:ext cx="0" cy="1105233"/>
          </a:xfrm>
          <a:prstGeom prst="line">
            <a:avLst/>
          </a:prstGeom>
          <a:noFill/>
          <a:ln w="9525">
            <a:solidFill>
              <a:srgbClr val="9E9E9E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C14B5695-E95E-11BC-F765-C9B7D4102574}"/>
              </a:ext>
            </a:extLst>
          </p:cNvPr>
          <p:cNvGrpSpPr/>
          <p:nvPr/>
        </p:nvGrpSpPr>
        <p:grpSpPr>
          <a:xfrm>
            <a:off x="3234043" y="2581509"/>
            <a:ext cx="494337" cy="817281"/>
            <a:chOff x="4357253" y="-64427"/>
            <a:chExt cx="768509" cy="1332086"/>
          </a:xfrm>
        </p:grpSpPr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6722ED8-AF5A-DD09-6303-96772B47D592}"/>
                </a:ext>
              </a:extLst>
            </p:cNvPr>
            <p:cNvSpPr/>
            <p:nvPr/>
          </p:nvSpPr>
          <p:spPr>
            <a:xfrm>
              <a:off x="4497820" y="508000"/>
              <a:ext cx="491768" cy="75965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5D03F7F0-0CB9-3BF6-FB7F-A779B30CB996}"/>
                </a:ext>
              </a:extLst>
            </p:cNvPr>
            <p:cNvSpPr/>
            <p:nvPr/>
          </p:nvSpPr>
          <p:spPr>
            <a:xfrm>
              <a:off x="4477004" y="567401"/>
              <a:ext cx="533400" cy="700258"/>
            </a:xfrm>
            <a:custGeom>
              <a:avLst/>
              <a:gdLst>
                <a:gd name="connsiteX0" fmla="*/ 466992 w 533400"/>
                <a:gd name="connsiteY0" fmla="*/ 314420 h 700258"/>
                <a:gd name="connsiteX1" fmla="*/ 466992 w 533400"/>
                <a:gd name="connsiteY1" fmla="*/ 200273 h 700258"/>
                <a:gd name="connsiteX2" fmla="*/ 266719 w 533400"/>
                <a:gd name="connsiteY2" fmla="*/ 0 h 700258"/>
                <a:gd name="connsiteX3" fmla="*/ 66446 w 533400"/>
                <a:gd name="connsiteY3" fmla="*/ 200273 h 700258"/>
                <a:gd name="connsiteX4" fmla="*/ 66446 w 533400"/>
                <a:gd name="connsiteY4" fmla="*/ 314411 h 700258"/>
                <a:gd name="connsiteX5" fmla="*/ 0 w 533400"/>
                <a:gd name="connsiteY5" fmla="*/ 319173 h 700258"/>
                <a:gd name="connsiteX6" fmla="*/ 0 w 533400"/>
                <a:gd name="connsiteY6" fmla="*/ 681209 h 700258"/>
                <a:gd name="connsiteX7" fmla="*/ 266700 w 533400"/>
                <a:gd name="connsiteY7" fmla="*/ 700259 h 700258"/>
                <a:gd name="connsiteX8" fmla="*/ 533400 w 533400"/>
                <a:gd name="connsiteY8" fmla="*/ 681209 h 700258"/>
                <a:gd name="connsiteX9" fmla="*/ 533400 w 533400"/>
                <a:gd name="connsiteY9" fmla="*/ 319154 h 700258"/>
                <a:gd name="connsiteX10" fmla="*/ 85496 w 533400"/>
                <a:gd name="connsiteY10" fmla="*/ 200273 h 700258"/>
                <a:gd name="connsiteX11" fmla="*/ 266719 w 533400"/>
                <a:gd name="connsiteY11" fmla="*/ 19050 h 700258"/>
                <a:gd name="connsiteX12" fmla="*/ 447942 w 533400"/>
                <a:gd name="connsiteY12" fmla="*/ 200273 h 700258"/>
                <a:gd name="connsiteX13" fmla="*/ 447942 w 533400"/>
                <a:gd name="connsiteY13" fmla="*/ 313144 h 700258"/>
                <a:gd name="connsiteX14" fmla="*/ 419129 w 533400"/>
                <a:gd name="connsiteY14" fmla="*/ 311220 h 700258"/>
                <a:gd name="connsiteX15" fmla="*/ 419129 w 533400"/>
                <a:gd name="connsiteY15" fmla="*/ 200035 h 700258"/>
                <a:gd name="connsiteX16" fmla="*/ 266729 w 533400"/>
                <a:gd name="connsiteY16" fmla="*/ 47635 h 700258"/>
                <a:gd name="connsiteX17" fmla="*/ 114329 w 533400"/>
                <a:gd name="connsiteY17" fmla="*/ 200035 h 700258"/>
                <a:gd name="connsiteX18" fmla="*/ 114329 w 533400"/>
                <a:gd name="connsiteY18" fmla="*/ 311220 h 700258"/>
                <a:gd name="connsiteX19" fmla="*/ 85515 w 533400"/>
                <a:gd name="connsiteY19" fmla="*/ 313125 h 700258"/>
                <a:gd name="connsiteX20" fmla="*/ 400079 w 533400"/>
                <a:gd name="connsiteY20" fmla="*/ 309886 h 700258"/>
                <a:gd name="connsiteX21" fmla="*/ 266729 w 533400"/>
                <a:gd name="connsiteY21" fmla="*/ 300104 h 700258"/>
                <a:gd name="connsiteX22" fmla="*/ 133379 w 533400"/>
                <a:gd name="connsiteY22" fmla="*/ 309886 h 700258"/>
                <a:gd name="connsiteX23" fmla="*/ 133379 w 533400"/>
                <a:gd name="connsiteY23" fmla="*/ 200035 h 700258"/>
                <a:gd name="connsiteX24" fmla="*/ 266729 w 533400"/>
                <a:gd name="connsiteY24" fmla="*/ 66685 h 700258"/>
                <a:gd name="connsiteX25" fmla="*/ 400079 w 533400"/>
                <a:gd name="connsiteY25" fmla="*/ 200035 h 700258"/>
                <a:gd name="connsiteX26" fmla="*/ 514379 w 533400"/>
                <a:gd name="connsiteY26" fmla="*/ 663473 h 700258"/>
                <a:gd name="connsiteX27" fmla="*/ 266729 w 533400"/>
                <a:gd name="connsiteY27" fmla="*/ 681171 h 700258"/>
                <a:gd name="connsiteX28" fmla="*/ 19079 w 533400"/>
                <a:gd name="connsiteY28" fmla="*/ 663473 h 700258"/>
                <a:gd name="connsiteX29" fmla="*/ 19079 w 533400"/>
                <a:gd name="connsiteY29" fmla="*/ 336899 h 700258"/>
                <a:gd name="connsiteX30" fmla="*/ 67980 w 533400"/>
                <a:gd name="connsiteY30" fmla="*/ 333404 h 700258"/>
                <a:gd name="connsiteX31" fmla="*/ 125254 w 533400"/>
                <a:gd name="connsiteY31" fmla="*/ 329594 h 700258"/>
                <a:gd name="connsiteX32" fmla="*/ 266729 w 533400"/>
                <a:gd name="connsiteY32" fmla="*/ 319202 h 700258"/>
                <a:gd name="connsiteX33" fmla="*/ 408337 w 533400"/>
                <a:gd name="connsiteY33" fmla="*/ 329594 h 700258"/>
                <a:gd name="connsiteX34" fmla="*/ 465401 w 533400"/>
                <a:gd name="connsiteY34" fmla="*/ 333404 h 700258"/>
                <a:gd name="connsiteX35" fmla="*/ 514379 w 533400"/>
                <a:gd name="connsiteY35" fmla="*/ 336899 h 70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33400" h="700258">
                  <a:moveTo>
                    <a:pt x="466992" y="314420"/>
                  </a:moveTo>
                  <a:lnTo>
                    <a:pt x="466992" y="200273"/>
                  </a:lnTo>
                  <a:cubicBezTo>
                    <a:pt x="466992" y="89665"/>
                    <a:pt x="377326" y="0"/>
                    <a:pt x="266719" y="0"/>
                  </a:cubicBezTo>
                  <a:cubicBezTo>
                    <a:pt x="156112" y="0"/>
                    <a:pt x="66446" y="89665"/>
                    <a:pt x="66446" y="200273"/>
                  </a:cubicBezTo>
                  <a:lnTo>
                    <a:pt x="66446" y="314411"/>
                  </a:lnTo>
                  <a:lnTo>
                    <a:pt x="0" y="319173"/>
                  </a:lnTo>
                  <a:lnTo>
                    <a:pt x="0" y="681209"/>
                  </a:lnTo>
                  <a:lnTo>
                    <a:pt x="266700" y="700259"/>
                  </a:lnTo>
                  <a:lnTo>
                    <a:pt x="533400" y="681209"/>
                  </a:lnTo>
                  <a:lnTo>
                    <a:pt x="533400" y="319154"/>
                  </a:lnTo>
                  <a:close/>
                  <a:moveTo>
                    <a:pt x="85496" y="200273"/>
                  </a:moveTo>
                  <a:cubicBezTo>
                    <a:pt x="85496" y="100186"/>
                    <a:pt x="166632" y="19050"/>
                    <a:pt x="266719" y="19050"/>
                  </a:cubicBezTo>
                  <a:cubicBezTo>
                    <a:pt x="366806" y="19050"/>
                    <a:pt x="447942" y="100186"/>
                    <a:pt x="447942" y="200273"/>
                  </a:cubicBezTo>
                  <a:lnTo>
                    <a:pt x="447942" y="313144"/>
                  </a:lnTo>
                  <a:lnTo>
                    <a:pt x="419129" y="311220"/>
                  </a:lnTo>
                  <a:lnTo>
                    <a:pt x="419129" y="200035"/>
                  </a:lnTo>
                  <a:cubicBezTo>
                    <a:pt x="419129" y="115866"/>
                    <a:pt x="350897" y="47635"/>
                    <a:pt x="266729" y="47635"/>
                  </a:cubicBezTo>
                  <a:cubicBezTo>
                    <a:pt x="182560" y="47635"/>
                    <a:pt x="114329" y="115866"/>
                    <a:pt x="114329" y="200035"/>
                  </a:cubicBezTo>
                  <a:lnTo>
                    <a:pt x="114329" y="311220"/>
                  </a:lnTo>
                  <a:lnTo>
                    <a:pt x="85515" y="313125"/>
                  </a:lnTo>
                  <a:close/>
                  <a:moveTo>
                    <a:pt x="400079" y="309886"/>
                  </a:moveTo>
                  <a:lnTo>
                    <a:pt x="266729" y="300104"/>
                  </a:lnTo>
                  <a:lnTo>
                    <a:pt x="133379" y="309886"/>
                  </a:lnTo>
                  <a:lnTo>
                    <a:pt x="133379" y="200035"/>
                  </a:lnTo>
                  <a:cubicBezTo>
                    <a:pt x="133379" y="126387"/>
                    <a:pt x="193081" y="66685"/>
                    <a:pt x="266729" y="66685"/>
                  </a:cubicBezTo>
                  <a:cubicBezTo>
                    <a:pt x="340376" y="66685"/>
                    <a:pt x="400079" y="126387"/>
                    <a:pt x="400079" y="200035"/>
                  </a:cubicBezTo>
                  <a:close/>
                  <a:moveTo>
                    <a:pt x="514379" y="663473"/>
                  </a:moveTo>
                  <a:lnTo>
                    <a:pt x="266729" y="681171"/>
                  </a:lnTo>
                  <a:lnTo>
                    <a:pt x="19079" y="663473"/>
                  </a:lnTo>
                  <a:lnTo>
                    <a:pt x="19079" y="336899"/>
                  </a:lnTo>
                  <a:lnTo>
                    <a:pt x="67980" y="333404"/>
                  </a:lnTo>
                  <a:lnTo>
                    <a:pt x="125254" y="329594"/>
                  </a:lnTo>
                  <a:lnTo>
                    <a:pt x="266729" y="319202"/>
                  </a:lnTo>
                  <a:lnTo>
                    <a:pt x="408337" y="329594"/>
                  </a:lnTo>
                  <a:lnTo>
                    <a:pt x="465401" y="333404"/>
                  </a:lnTo>
                  <a:lnTo>
                    <a:pt x="514379" y="33689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900"/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B5E2B34E-FF5A-8A57-314A-77A1786BB13A}"/>
                </a:ext>
              </a:extLst>
            </p:cNvPr>
            <p:cNvSpPr txBox="1"/>
            <p:nvPr/>
          </p:nvSpPr>
          <p:spPr>
            <a:xfrm>
              <a:off x="4357253" y="-64427"/>
              <a:ext cx="768509" cy="6772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700" b="1" dirty="0"/>
                <a:t>Port 10997 TCP</a:t>
              </a:r>
            </a:p>
          </p:txBody>
        </p: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B2032475-C6C7-C7AE-EDDC-7C4DF6D2779A}"/>
              </a:ext>
            </a:extLst>
          </p:cNvPr>
          <p:cNvGrpSpPr/>
          <p:nvPr/>
        </p:nvGrpSpPr>
        <p:grpSpPr>
          <a:xfrm>
            <a:off x="5334948" y="2535510"/>
            <a:ext cx="423336" cy="824414"/>
            <a:chOff x="4426709" y="-76044"/>
            <a:chExt cx="658129" cy="1343703"/>
          </a:xfrm>
        </p:grpSpPr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710578E7-6AD2-AAE5-F30D-7FF2FCF549A7}"/>
                </a:ext>
              </a:extLst>
            </p:cNvPr>
            <p:cNvSpPr/>
            <p:nvPr/>
          </p:nvSpPr>
          <p:spPr>
            <a:xfrm>
              <a:off x="4497820" y="508000"/>
              <a:ext cx="491768" cy="75965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98340F89-8B66-E9CB-EE46-2EB5AC6A7714}"/>
                </a:ext>
              </a:extLst>
            </p:cNvPr>
            <p:cNvSpPr/>
            <p:nvPr/>
          </p:nvSpPr>
          <p:spPr>
            <a:xfrm>
              <a:off x="4477004" y="567401"/>
              <a:ext cx="533400" cy="700258"/>
            </a:xfrm>
            <a:custGeom>
              <a:avLst/>
              <a:gdLst>
                <a:gd name="connsiteX0" fmla="*/ 466992 w 533400"/>
                <a:gd name="connsiteY0" fmla="*/ 314420 h 700258"/>
                <a:gd name="connsiteX1" fmla="*/ 466992 w 533400"/>
                <a:gd name="connsiteY1" fmla="*/ 200273 h 700258"/>
                <a:gd name="connsiteX2" fmla="*/ 266719 w 533400"/>
                <a:gd name="connsiteY2" fmla="*/ 0 h 700258"/>
                <a:gd name="connsiteX3" fmla="*/ 66446 w 533400"/>
                <a:gd name="connsiteY3" fmla="*/ 200273 h 700258"/>
                <a:gd name="connsiteX4" fmla="*/ 66446 w 533400"/>
                <a:gd name="connsiteY4" fmla="*/ 314411 h 700258"/>
                <a:gd name="connsiteX5" fmla="*/ 0 w 533400"/>
                <a:gd name="connsiteY5" fmla="*/ 319173 h 700258"/>
                <a:gd name="connsiteX6" fmla="*/ 0 w 533400"/>
                <a:gd name="connsiteY6" fmla="*/ 681209 h 700258"/>
                <a:gd name="connsiteX7" fmla="*/ 266700 w 533400"/>
                <a:gd name="connsiteY7" fmla="*/ 700259 h 700258"/>
                <a:gd name="connsiteX8" fmla="*/ 533400 w 533400"/>
                <a:gd name="connsiteY8" fmla="*/ 681209 h 700258"/>
                <a:gd name="connsiteX9" fmla="*/ 533400 w 533400"/>
                <a:gd name="connsiteY9" fmla="*/ 319154 h 700258"/>
                <a:gd name="connsiteX10" fmla="*/ 85496 w 533400"/>
                <a:gd name="connsiteY10" fmla="*/ 200273 h 700258"/>
                <a:gd name="connsiteX11" fmla="*/ 266719 w 533400"/>
                <a:gd name="connsiteY11" fmla="*/ 19050 h 700258"/>
                <a:gd name="connsiteX12" fmla="*/ 447942 w 533400"/>
                <a:gd name="connsiteY12" fmla="*/ 200273 h 700258"/>
                <a:gd name="connsiteX13" fmla="*/ 447942 w 533400"/>
                <a:gd name="connsiteY13" fmla="*/ 313144 h 700258"/>
                <a:gd name="connsiteX14" fmla="*/ 419129 w 533400"/>
                <a:gd name="connsiteY14" fmla="*/ 311220 h 700258"/>
                <a:gd name="connsiteX15" fmla="*/ 419129 w 533400"/>
                <a:gd name="connsiteY15" fmla="*/ 200035 h 700258"/>
                <a:gd name="connsiteX16" fmla="*/ 266729 w 533400"/>
                <a:gd name="connsiteY16" fmla="*/ 47635 h 700258"/>
                <a:gd name="connsiteX17" fmla="*/ 114329 w 533400"/>
                <a:gd name="connsiteY17" fmla="*/ 200035 h 700258"/>
                <a:gd name="connsiteX18" fmla="*/ 114329 w 533400"/>
                <a:gd name="connsiteY18" fmla="*/ 311220 h 700258"/>
                <a:gd name="connsiteX19" fmla="*/ 85515 w 533400"/>
                <a:gd name="connsiteY19" fmla="*/ 313125 h 700258"/>
                <a:gd name="connsiteX20" fmla="*/ 400079 w 533400"/>
                <a:gd name="connsiteY20" fmla="*/ 309886 h 700258"/>
                <a:gd name="connsiteX21" fmla="*/ 266729 w 533400"/>
                <a:gd name="connsiteY21" fmla="*/ 300104 h 700258"/>
                <a:gd name="connsiteX22" fmla="*/ 133379 w 533400"/>
                <a:gd name="connsiteY22" fmla="*/ 309886 h 700258"/>
                <a:gd name="connsiteX23" fmla="*/ 133379 w 533400"/>
                <a:gd name="connsiteY23" fmla="*/ 200035 h 700258"/>
                <a:gd name="connsiteX24" fmla="*/ 266729 w 533400"/>
                <a:gd name="connsiteY24" fmla="*/ 66685 h 700258"/>
                <a:gd name="connsiteX25" fmla="*/ 400079 w 533400"/>
                <a:gd name="connsiteY25" fmla="*/ 200035 h 700258"/>
                <a:gd name="connsiteX26" fmla="*/ 514379 w 533400"/>
                <a:gd name="connsiteY26" fmla="*/ 663473 h 700258"/>
                <a:gd name="connsiteX27" fmla="*/ 266729 w 533400"/>
                <a:gd name="connsiteY27" fmla="*/ 681171 h 700258"/>
                <a:gd name="connsiteX28" fmla="*/ 19079 w 533400"/>
                <a:gd name="connsiteY28" fmla="*/ 663473 h 700258"/>
                <a:gd name="connsiteX29" fmla="*/ 19079 w 533400"/>
                <a:gd name="connsiteY29" fmla="*/ 336899 h 700258"/>
                <a:gd name="connsiteX30" fmla="*/ 67980 w 533400"/>
                <a:gd name="connsiteY30" fmla="*/ 333404 h 700258"/>
                <a:gd name="connsiteX31" fmla="*/ 125254 w 533400"/>
                <a:gd name="connsiteY31" fmla="*/ 329594 h 700258"/>
                <a:gd name="connsiteX32" fmla="*/ 266729 w 533400"/>
                <a:gd name="connsiteY32" fmla="*/ 319202 h 700258"/>
                <a:gd name="connsiteX33" fmla="*/ 408337 w 533400"/>
                <a:gd name="connsiteY33" fmla="*/ 329594 h 700258"/>
                <a:gd name="connsiteX34" fmla="*/ 465401 w 533400"/>
                <a:gd name="connsiteY34" fmla="*/ 333404 h 700258"/>
                <a:gd name="connsiteX35" fmla="*/ 514379 w 533400"/>
                <a:gd name="connsiteY35" fmla="*/ 336899 h 70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33400" h="700258">
                  <a:moveTo>
                    <a:pt x="466992" y="314420"/>
                  </a:moveTo>
                  <a:lnTo>
                    <a:pt x="466992" y="200273"/>
                  </a:lnTo>
                  <a:cubicBezTo>
                    <a:pt x="466992" y="89665"/>
                    <a:pt x="377326" y="0"/>
                    <a:pt x="266719" y="0"/>
                  </a:cubicBezTo>
                  <a:cubicBezTo>
                    <a:pt x="156112" y="0"/>
                    <a:pt x="66446" y="89665"/>
                    <a:pt x="66446" y="200273"/>
                  </a:cubicBezTo>
                  <a:lnTo>
                    <a:pt x="66446" y="314411"/>
                  </a:lnTo>
                  <a:lnTo>
                    <a:pt x="0" y="319173"/>
                  </a:lnTo>
                  <a:lnTo>
                    <a:pt x="0" y="681209"/>
                  </a:lnTo>
                  <a:lnTo>
                    <a:pt x="266700" y="700259"/>
                  </a:lnTo>
                  <a:lnTo>
                    <a:pt x="533400" y="681209"/>
                  </a:lnTo>
                  <a:lnTo>
                    <a:pt x="533400" y="319154"/>
                  </a:lnTo>
                  <a:close/>
                  <a:moveTo>
                    <a:pt x="85496" y="200273"/>
                  </a:moveTo>
                  <a:cubicBezTo>
                    <a:pt x="85496" y="100186"/>
                    <a:pt x="166632" y="19050"/>
                    <a:pt x="266719" y="19050"/>
                  </a:cubicBezTo>
                  <a:cubicBezTo>
                    <a:pt x="366806" y="19050"/>
                    <a:pt x="447942" y="100186"/>
                    <a:pt x="447942" y="200273"/>
                  </a:cubicBezTo>
                  <a:lnTo>
                    <a:pt x="447942" y="313144"/>
                  </a:lnTo>
                  <a:lnTo>
                    <a:pt x="419129" y="311220"/>
                  </a:lnTo>
                  <a:lnTo>
                    <a:pt x="419129" y="200035"/>
                  </a:lnTo>
                  <a:cubicBezTo>
                    <a:pt x="419129" y="115866"/>
                    <a:pt x="350897" y="47635"/>
                    <a:pt x="266729" y="47635"/>
                  </a:cubicBezTo>
                  <a:cubicBezTo>
                    <a:pt x="182560" y="47635"/>
                    <a:pt x="114329" y="115866"/>
                    <a:pt x="114329" y="200035"/>
                  </a:cubicBezTo>
                  <a:lnTo>
                    <a:pt x="114329" y="311220"/>
                  </a:lnTo>
                  <a:lnTo>
                    <a:pt x="85515" y="313125"/>
                  </a:lnTo>
                  <a:close/>
                  <a:moveTo>
                    <a:pt x="400079" y="309886"/>
                  </a:moveTo>
                  <a:lnTo>
                    <a:pt x="266729" y="300104"/>
                  </a:lnTo>
                  <a:lnTo>
                    <a:pt x="133379" y="309886"/>
                  </a:lnTo>
                  <a:lnTo>
                    <a:pt x="133379" y="200035"/>
                  </a:lnTo>
                  <a:cubicBezTo>
                    <a:pt x="133379" y="126387"/>
                    <a:pt x="193081" y="66685"/>
                    <a:pt x="266729" y="66685"/>
                  </a:cubicBezTo>
                  <a:cubicBezTo>
                    <a:pt x="340376" y="66685"/>
                    <a:pt x="400079" y="126387"/>
                    <a:pt x="400079" y="200035"/>
                  </a:cubicBezTo>
                  <a:close/>
                  <a:moveTo>
                    <a:pt x="514379" y="663473"/>
                  </a:moveTo>
                  <a:lnTo>
                    <a:pt x="266729" y="681171"/>
                  </a:lnTo>
                  <a:lnTo>
                    <a:pt x="19079" y="663473"/>
                  </a:lnTo>
                  <a:lnTo>
                    <a:pt x="19079" y="336899"/>
                  </a:lnTo>
                  <a:lnTo>
                    <a:pt x="67980" y="333404"/>
                  </a:lnTo>
                  <a:lnTo>
                    <a:pt x="125254" y="329594"/>
                  </a:lnTo>
                  <a:lnTo>
                    <a:pt x="266729" y="319202"/>
                  </a:lnTo>
                  <a:lnTo>
                    <a:pt x="408337" y="329594"/>
                  </a:lnTo>
                  <a:lnTo>
                    <a:pt x="465401" y="333404"/>
                  </a:lnTo>
                  <a:lnTo>
                    <a:pt x="514379" y="33689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900"/>
            </a:p>
          </p:txBody>
        </p: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6E74B40A-141E-02EA-2F69-F881EF87B33C}"/>
                </a:ext>
              </a:extLst>
            </p:cNvPr>
            <p:cNvSpPr txBox="1"/>
            <p:nvPr/>
          </p:nvSpPr>
          <p:spPr>
            <a:xfrm>
              <a:off x="4426709" y="-76044"/>
              <a:ext cx="658129" cy="677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700" b="1" dirty="0"/>
                <a:t>Port 443 HTTPS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C016FACE-C3CF-4CD2-4804-8D05A6C902C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113794" y="1930758"/>
            <a:ext cx="682900" cy="5385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0624A07-978C-DD26-FC0A-52B4CE61F06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70685" y="1299841"/>
            <a:ext cx="264636" cy="56569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68ED4F3-61C6-3BC2-2371-511DDF446E2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8348" y="3728970"/>
            <a:ext cx="264636" cy="56569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F05F25A-72DC-2182-0DBF-D36D446840C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66458" y="1865599"/>
            <a:ext cx="264636" cy="5656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3B996AC-4FFF-9AFE-9865-603C5FA4FA2E}"/>
              </a:ext>
            </a:extLst>
          </p:cNvPr>
          <p:cNvSpPr/>
          <p:nvPr/>
        </p:nvSpPr>
        <p:spPr>
          <a:xfrm>
            <a:off x="592010" y="3089516"/>
            <a:ext cx="393007" cy="1257236"/>
          </a:xfrm>
          <a:prstGeom prst="rect">
            <a:avLst/>
          </a:prstGeom>
          <a:noFill/>
          <a:ln w="15875">
            <a:solidFill>
              <a:srgbClr val="FFCC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BA2F7A4-5612-9BA7-3B8B-CFF196CC3B2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62220" y="3117826"/>
            <a:ext cx="264636" cy="56569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BCFAA48-1596-9EDE-18C4-8253952E56CB}"/>
              </a:ext>
            </a:extLst>
          </p:cNvPr>
          <p:cNvSpPr txBox="1"/>
          <p:nvPr/>
        </p:nvSpPr>
        <p:spPr>
          <a:xfrm>
            <a:off x="1935481" y="3501700"/>
            <a:ext cx="10599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IceSpy Receiver*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F639900-A9FA-4570-1ED3-045AEDCDCD2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110319" y="3001168"/>
            <a:ext cx="682900" cy="538528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44E602BE-A783-6EE8-32A3-E62673E97BBD}"/>
              </a:ext>
            </a:extLst>
          </p:cNvPr>
          <p:cNvGrpSpPr/>
          <p:nvPr/>
        </p:nvGrpSpPr>
        <p:grpSpPr>
          <a:xfrm>
            <a:off x="1084515" y="3334250"/>
            <a:ext cx="890688" cy="127366"/>
            <a:chOff x="1333111" y="2494482"/>
            <a:chExt cx="1290995" cy="377135"/>
          </a:xfrm>
        </p:grpSpPr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0775BA87-A6C2-112F-CF4D-DA4B0E59E30C}"/>
                </a:ext>
              </a:extLst>
            </p:cNvPr>
            <p:cNvSpPr/>
            <p:nvPr/>
          </p:nvSpPr>
          <p:spPr>
            <a:xfrm rot="5400000">
              <a:off x="2559054" y="2597191"/>
              <a:ext cx="69871" cy="60233"/>
            </a:xfrm>
            <a:prstGeom prst="triangle">
              <a:avLst/>
            </a:prstGeom>
            <a:solidFill>
              <a:srgbClr val="9DC8DE"/>
            </a:solidFill>
            <a:ln>
              <a:solidFill>
                <a:srgbClr val="9DC8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FE66B7C-535E-61BF-F82F-17C08157F4EE}"/>
                </a:ext>
              </a:extLst>
            </p:cNvPr>
            <p:cNvSpPr/>
            <p:nvPr/>
          </p:nvSpPr>
          <p:spPr>
            <a:xfrm>
              <a:off x="1333111" y="2494482"/>
              <a:ext cx="1234524" cy="377135"/>
            </a:xfrm>
            <a:custGeom>
              <a:avLst/>
              <a:gdLst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2 h 1486965"/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3 h 1486965"/>
                <a:gd name="connsiteX0" fmla="*/ 0 w 8248415"/>
                <a:gd name="connsiteY0" fmla="*/ 733758 h 1476841"/>
                <a:gd name="connsiteX1" fmla="*/ 717698 w 8248415"/>
                <a:gd name="connsiteY1" fmla="*/ 21376 h 1476841"/>
                <a:gd name="connsiteX2" fmla="*/ 1435395 w 8248415"/>
                <a:gd name="connsiteY2" fmla="*/ 1462088 h 1476841"/>
                <a:gd name="connsiteX3" fmla="*/ 2158409 w 8248415"/>
                <a:gd name="connsiteY3" fmla="*/ 16060 h 1476841"/>
                <a:gd name="connsiteX4" fmla="*/ 2881423 w 8248415"/>
                <a:gd name="connsiteY4" fmla="*/ 1462088 h 1476841"/>
                <a:gd name="connsiteX5" fmla="*/ 3604437 w 8248415"/>
                <a:gd name="connsiteY5" fmla="*/ 21376 h 1476841"/>
                <a:gd name="connsiteX6" fmla="*/ 4322135 w 8248415"/>
                <a:gd name="connsiteY6" fmla="*/ 1456772 h 1476841"/>
                <a:gd name="connsiteX7" fmla="*/ 5034516 w 8248415"/>
                <a:gd name="connsiteY7" fmla="*/ 16060 h 1476841"/>
                <a:gd name="connsiteX8" fmla="*/ 5752214 w 8248415"/>
                <a:gd name="connsiteY8" fmla="*/ 1472721 h 1476841"/>
                <a:gd name="connsiteX9" fmla="*/ 6485861 w 8248415"/>
                <a:gd name="connsiteY9" fmla="*/ 26693 h 1476841"/>
                <a:gd name="connsiteX10" fmla="*/ 7203558 w 8248415"/>
                <a:gd name="connsiteY10" fmla="*/ 1467404 h 1476841"/>
                <a:gd name="connsiteX11" fmla="*/ 8248415 w 8248415"/>
                <a:gd name="connsiteY11" fmla="*/ 155725 h 1476841"/>
                <a:gd name="connsiteX0" fmla="*/ 0 w 8248415"/>
                <a:gd name="connsiteY0" fmla="*/ 733758 h 1474093"/>
                <a:gd name="connsiteX1" fmla="*/ 717698 w 8248415"/>
                <a:gd name="connsiteY1" fmla="*/ 21376 h 1474093"/>
                <a:gd name="connsiteX2" fmla="*/ 1435395 w 8248415"/>
                <a:gd name="connsiteY2" fmla="*/ 1462088 h 1474093"/>
                <a:gd name="connsiteX3" fmla="*/ 2158409 w 8248415"/>
                <a:gd name="connsiteY3" fmla="*/ 16060 h 1474093"/>
                <a:gd name="connsiteX4" fmla="*/ 2881423 w 8248415"/>
                <a:gd name="connsiteY4" fmla="*/ 1462088 h 1474093"/>
                <a:gd name="connsiteX5" fmla="*/ 3604437 w 8248415"/>
                <a:gd name="connsiteY5" fmla="*/ 21376 h 1474093"/>
                <a:gd name="connsiteX6" fmla="*/ 4322135 w 8248415"/>
                <a:gd name="connsiteY6" fmla="*/ 1456772 h 1474093"/>
                <a:gd name="connsiteX7" fmla="*/ 5034516 w 8248415"/>
                <a:gd name="connsiteY7" fmla="*/ 16060 h 1474093"/>
                <a:gd name="connsiteX8" fmla="*/ 5752214 w 8248415"/>
                <a:gd name="connsiteY8" fmla="*/ 1472721 h 1474093"/>
                <a:gd name="connsiteX9" fmla="*/ 6485861 w 8248415"/>
                <a:gd name="connsiteY9" fmla="*/ 26693 h 1474093"/>
                <a:gd name="connsiteX10" fmla="*/ 7203558 w 8248415"/>
                <a:gd name="connsiteY10" fmla="*/ 1467404 h 1474093"/>
                <a:gd name="connsiteX11" fmla="*/ 8248415 w 8248415"/>
                <a:gd name="connsiteY11" fmla="*/ 155725 h 1474093"/>
                <a:gd name="connsiteX0" fmla="*/ 0 w 8163986"/>
                <a:gd name="connsiteY0" fmla="*/ 733758 h 1476037"/>
                <a:gd name="connsiteX1" fmla="*/ 717698 w 8163986"/>
                <a:gd name="connsiteY1" fmla="*/ 21376 h 1476037"/>
                <a:gd name="connsiteX2" fmla="*/ 1435395 w 8163986"/>
                <a:gd name="connsiteY2" fmla="*/ 1462088 h 1476037"/>
                <a:gd name="connsiteX3" fmla="*/ 2158409 w 8163986"/>
                <a:gd name="connsiteY3" fmla="*/ 16060 h 1476037"/>
                <a:gd name="connsiteX4" fmla="*/ 2881423 w 8163986"/>
                <a:gd name="connsiteY4" fmla="*/ 1462088 h 1476037"/>
                <a:gd name="connsiteX5" fmla="*/ 3604437 w 8163986"/>
                <a:gd name="connsiteY5" fmla="*/ 21376 h 1476037"/>
                <a:gd name="connsiteX6" fmla="*/ 4322135 w 8163986"/>
                <a:gd name="connsiteY6" fmla="*/ 1456772 h 1476037"/>
                <a:gd name="connsiteX7" fmla="*/ 5034516 w 8163986"/>
                <a:gd name="connsiteY7" fmla="*/ 16060 h 1476037"/>
                <a:gd name="connsiteX8" fmla="*/ 5752214 w 8163986"/>
                <a:gd name="connsiteY8" fmla="*/ 1472721 h 1476037"/>
                <a:gd name="connsiteX9" fmla="*/ 6485861 w 8163986"/>
                <a:gd name="connsiteY9" fmla="*/ 26693 h 1476037"/>
                <a:gd name="connsiteX10" fmla="*/ 7203558 w 8163986"/>
                <a:gd name="connsiteY10" fmla="*/ 1467404 h 1476037"/>
                <a:gd name="connsiteX11" fmla="*/ 8163986 w 8163986"/>
                <a:gd name="connsiteY11" fmla="*/ 500924 h 1476037"/>
                <a:gd name="connsiteX0" fmla="*/ 0 w 8163986"/>
                <a:gd name="connsiteY0" fmla="*/ 733758 h 1476765"/>
                <a:gd name="connsiteX1" fmla="*/ 717698 w 8163986"/>
                <a:gd name="connsiteY1" fmla="*/ 21376 h 1476765"/>
                <a:gd name="connsiteX2" fmla="*/ 1435395 w 8163986"/>
                <a:gd name="connsiteY2" fmla="*/ 1462088 h 1476765"/>
                <a:gd name="connsiteX3" fmla="*/ 2158409 w 8163986"/>
                <a:gd name="connsiteY3" fmla="*/ 16060 h 1476765"/>
                <a:gd name="connsiteX4" fmla="*/ 2881423 w 8163986"/>
                <a:gd name="connsiteY4" fmla="*/ 1462088 h 1476765"/>
                <a:gd name="connsiteX5" fmla="*/ 3604437 w 8163986"/>
                <a:gd name="connsiteY5" fmla="*/ 21376 h 1476765"/>
                <a:gd name="connsiteX6" fmla="*/ 4322135 w 8163986"/>
                <a:gd name="connsiteY6" fmla="*/ 1456772 h 1476765"/>
                <a:gd name="connsiteX7" fmla="*/ 5034516 w 8163986"/>
                <a:gd name="connsiteY7" fmla="*/ 16060 h 1476765"/>
                <a:gd name="connsiteX8" fmla="*/ 5752214 w 8163986"/>
                <a:gd name="connsiteY8" fmla="*/ 1472721 h 1476765"/>
                <a:gd name="connsiteX9" fmla="*/ 6485861 w 8163986"/>
                <a:gd name="connsiteY9" fmla="*/ 26693 h 1476765"/>
                <a:gd name="connsiteX10" fmla="*/ 7203558 w 8163986"/>
                <a:gd name="connsiteY10" fmla="*/ 1467404 h 1476765"/>
                <a:gd name="connsiteX11" fmla="*/ 8163986 w 8163986"/>
                <a:gd name="connsiteY11" fmla="*/ 500924 h 1476765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5872"/>
                <a:gd name="connsiteX1" fmla="*/ 717698 w 8163986"/>
                <a:gd name="connsiteY1" fmla="*/ 21376 h 1475872"/>
                <a:gd name="connsiteX2" fmla="*/ 1435395 w 8163986"/>
                <a:gd name="connsiteY2" fmla="*/ 1462088 h 1475872"/>
                <a:gd name="connsiteX3" fmla="*/ 2158409 w 8163986"/>
                <a:gd name="connsiteY3" fmla="*/ 16060 h 1475872"/>
                <a:gd name="connsiteX4" fmla="*/ 2881423 w 8163986"/>
                <a:gd name="connsiteY4" fmla="*/ 1462088 h 1475872"/>
                <a:gd name="connsiteX5" fmla="*/ 3604437 w 8163986"/>
                <a:gd name="connsiteY5" fmla="*/ 21376 h 1475872"/>
                <a:gd name="connsiteX6" fmla="*/ 4322135 w 8163986"/>
                <a:gd name="connsiteY6" fmla="*/ 1456772 h 1475872"/>
                <a:gd name="connsiteX7" fmla="*/ 5034516 w 8163986"/>
                <a:gd name="connsiteY7" fmla="*/ 16060 h 1475872"/>
                <a:gd name="connsiteX8" fmla="*/ 5752214 w 8163986"/>
                <a:gd name="connsiteY8" fmla="*/ 1472721 h 1475872"/>
                <a:gd name="connsiteX9" fmla="*/ 6485861 w 8163986"/>
                <a:gd name="connsiteY9" fmla="*/ 26693 h 1475872"/>
                <a:gd name="connsiteX10" fmla="*/ 7203558 w 8163986"/>
                <a:gd name="connsiteY10" fmla="*/ 1467404 h 1475872"/>
                <a:gd name="connsiteX11" fmla="*/ 8163986 w 8163986"/>
                <a:gd name="connsiteY11" fmla="*/ 500924 h 147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63986" h="1475872">
                  <a:moveTo>
                    <a:pt x="0" y="733758"/>
                  </a:moveTo>
                  <a:cubicBezTo>
                    <a:pt x="239233" y="316873"/>
                    <a:pt x="478466" y="-100012"/>
                    <a:pt x="717698" y="21376"/>
                  </a:cubicBezTo>
                  <a:cubicBezTo>
                    <a:pt x="956931" y="142764"/>
                    <a:pt x="1195277" y="1462974"/>
                    <a:pt x="1435395" y="1462088"/>
                  </a:cubicBezTo>
                  <a:cubicBezTo>
                    <a:pt x="1675514" y="1461202"/>
                    <a:pt x="1917404" y="16060"/>
                    <a:pt x="2158409" y="16060"/>
                  </a:cubicBezTo>
                  <a:cubicBezTo>
                    <a:pt x="2399414" y="16060"/>
                    <a:pt x="2640418" y="1461202"/>
                    <a:pt x="2881423" y="1462088"/>
                  </a:cubicBezTo>
                  <a:cubicBezTo>
                    <a:pt x="3122428" y="1462974"/>
                    <a:pt x="3364318" y="22262"/>
                    <a:pt x="3604437" y="21376"/>
                  </a:cubicBezTo>
                  <a:cubicBezTo>
                    <a:pt x="3844556" y="20490"/>
                    <a:pt x="4083789" y="1457658"/>
                    <a:pt x="4322135" y="1456772"/>
                  </a:cubicBezTo>
                  <a:cubicBezTo>
                    <a:pt x="4560481" y="1455886"/>
                    <a:pt x="4796170" y="13402"/>
                    <a:pt x="5034516" y="16060"/>
                  </a:cubicBezTo>
                  <a:cubicBezTo>
                    <a:pt x="5272862" y="18718"/>
                    <a:pt x="5510323" y="1470949"/>
                    <a:pt x="5752214" y="1472721"/>
                  </a:cubicBezTo>
                  <a:cubicBezTo>
                    <a:pt x="5994105" y="1474493"/>
                    <a:pt x="6243970" y="27579"/>
                    <a:pt x="6485861" y="26693"/>
                  </a:cubicBezTo>
                  <a:cubicBezTo>
                    <a:pt x="6727752" y="25807"/>
                    <a:pt x="6964326" y="1350446"/>
                    <a:pt x="7203558" y="1467404"/>
                  </a:cubicBezTo>
                  <a:cubicBezTo>
                    <a:pt x="7442790" y="1584362"/>
                    <a:pt x="7597594" y="450313"/>
                    <a:pt x="8163986" y="500924"/>
                  </a:cubicBezTo>
                </a:path>
              </a:pathLst>
            </a:custGeom>
            <a:noFill/>
            <a:ln>
              <a:solidFill>
                <a:srgbClr val="9BC6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6C23FE3-6AD9-20A1-F016-5C48FFE6664C}"/>
              </a:ext>
            </a:extLst>
          </p:cNvPr>
          <p:cNvGrpSpPr/>
          <p:nvPr/>
        </p:nvGrpSpPr>
        <p:grpSpPr>
          <a:xfrm rot="20399543">
            <a:off x="1071881" y="3686271"/>
            <a:ext cx="890688" cy="127366"/>
            <a:chOff x="1333111" y="2494482"/>
            <a:chExt cx="1290995" cy="377135"/>
          </a:xfrm>
        </p:grpSpPr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BF4AA6C1-BF80-1251-DF85-627785A0E474}"/>
                </a:ext>
              </a:extLst>
            </p:cNvPr>
            <p:cNvSpPr/>
            <p:nvPr/>
          </p:nvSpPr>
          <p:spPr>
            <a:xfrm rot="5400000">
              <a:off x="2559054" y="2597191"/>
              <a:ext cx="69871" cy="60233"/>
            </a:xfrm>
            <a:prstGeom prst="triangle">
              <a:avLst/>
            </a:prstGeom>
            <a:solidFill>
              <a:srgbClr val="9DC8DE"/>
            </a:solidFill>
            <a:ln>
              <a:solidFill>
                <a:srgbClr val="9DC8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FC06201-BE72-6FC6-435A-05EDAEACE5D1}"/>
                </a:ext>
              </a:extLst>
            </p:cNvPr>
            <p:cNvSpPr/>
            <p:nvPr/>
          </p:nvSpPr>
          <p:spPr>
            <a:xfrm>
              <a:off x="1333111" y="2494482"/>
              <a:ext cx="1234524" cy="377135"/>
            </a:xfrm>
            <a:custGeom>
              <a:avLst/>
              <a:gdLst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2 h 1486965"/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3 h 1486965"/>
                <a:gd name="connsiteX0" fmla="*/ 0 w 8248415"/>
                <a:gd name="connsiteY0" fmla="*/ 733758 h 1476841"/>
                <a:gd name="connsiteX1" fmla="*/ 717698 w 8248415"/>
                <a:gd name="connsiteY1" fmla="*/ 21376 h 1476841"/>
                <a:gd name="connsiteX2" fmla="*/ 1435395 w 8248415"/>
                <a:gd name="connsiteY2" fmla="*/ 1462088 h 1476841"/>
                <a:gd name="connsiteX3" fmla="*/ 2158409 w 8248415"/>
                <a:gd name="connsiteY3" fmla="*/ 16060 h 1476841"/>
                <a:gd name="connsiteX4" fmla="*/ 2881423 w 8248415"/>
                <a:gd name="connsiteY4" fmla="*/ 1462088 h 1476841"/>
                <a:gd name="connsiteX5" fmla="*/ 3604437 w 8248415"/>
                <a:gd name="connsiteY5" fmla="*/ 21376 h 1476841"/>
                <a:gd name="connsiteX6" fmla="*/ 4322135 w 8248415"/>
                <a:gd name="connsiteY6" fmla="*/ 1456772 h 1476841"/>
                <a:gd name="connsiteX7" fmla="*/ 5034516 w 8248415"/>
                <a:gd name="connsiteY7" fmla="*/ 16060 h 1476841"/>
                <a:gd name="connsiteX8" fmla="*/ 5752214 w 8248415"/>
                <a:gd name="connsiteY8" fmla="*/ 1472721 h 1476841"/>
                <a:gd name="connsiteX9" fmla="*/ 6485861 w 8248415"/>
                <a:gd name="connsiteY9" fmla="*/ 26693 h 1476841"/>
                <a:gd name="connsiteX10" fmla="*/ 7203558 w 8248415"/>
                <a:gd name="connsiteY10" fmla="*/ 1467404 h 1476841"/>
                <a:gd name="connsiteX11" fmla="*/ 8248415 w 8248415"/>
                <a:gd name="connsiteY11" fmla="*/ 155725 h 1476841"/>
                <a:gd name="connsiteX0" fmla="*/ 0 w 8248415"/>
                <a:gd name="connsiteY0" fmla="*/ 733758 h 1474093"/>
                <a:gd name="connsiteX1" fmla="*/ 717698 w 8248415"/>
                <a:gd name="connsiteY1" fmla="*/ 21376 h 1474093"/>
                <a:gd name="connsiteX2" fmla="*/ 1435395 w 8248415"/>
                <a:gd name="connsiteY2" fmla="*/ 1462088 h 1474093"/>
                <a:gd name="connsiteX3" fmla="*/ 2158409 w 8248415"/>
                <a:gd name="connsiteY3" fmla="*/ 16060 h 1474093"/>
                <a:gd name="connsiteX4" fmla="*/ 2881423 w 8248415"/>
                <a:gd name="connsiteY4" fmla="*/ 1462088 h 1474093"/>
                <a:gd name="connsiteX5" fmla="*/ 3604437 w 8248415"/>
                <a:gd name="connsiteY5" fmla="*/ 21376 h 1474093"/>
                <a:gd name="connsiteX6" fmla="*/ 4322135 w 8248415"/>
                <a:gd name="connsiteY6" fmla="*/ 1456772 h 1474093"/>
                <a:gd name="connsiteX7" fmla="*/ 5034516 w 8248415"/>
                <a:gd name="connsiteY7" fmla="*/ 16060 h 1474093"/>
                <a:gd name="connsiteX8" fmla="*/ 5752214 w 8248415"/>
                <a:gd name="connsiteY8" fmla="*/ 1472721 h 1474093"/>
                <a:gd name="connsiteX9" fmla="*/ 6485861 w 8248415"/>
                <a:gd name="connsiteY9" fmla="*/ 26693 h 1474093"/>
                <a:gd name="connsiteX10" fmla="*/ 7203558 w 8248415"/>
                <a:gd name="connsiteY10" fmla="*/ 1467404 h 1474093"/>
                <a:gd name="connsiteX11" fmla="*/ 8248415 w 8248415"/>
                <a:gd name="connsiteY11" fmla="*/ 155725 h 1474093"/>
                <a:gd name="connsiteX0" fmla="*/ 0 w 8163986"/>
                <a:gd name="connsiteY0" fmla="*/ 733758 h 1476037"/>
                <a:gd name="connsiteX1" fmla="*/ 717698 w 8163986"/>
                <a:gd name="connsiteY1" fmla="*/ 21376 h 1476037"/>
                <a:gd name="connsiteX2" fmla="*/ 1435395 w 8163986"/>
                <a:gd name="connsiteY2" fmla="*/ 1462088 h 1476037"/>
                <a:gd name="connsiteX3" fmla="*/ 2158409 w 8163986"/>
                <a:gd name="connsiteY3" fmla="*/ 16060 h 1476037"/>
                <a:gd name="connsiteX4" fmla="*/ 2881423 w 8163986"/>
                <a:gd name="connsiteY4" fmla="*/ 1462088 h 1476037"/>
                <a:gd name="connsiteX5" fmla="*/ 3604437 w 8163986"/>
                <a:gd name="connsiteY5" fmla="*/ 21376 h 1476037"/>
                <a:gd name="connsiteX6" fmla="*/ 4322135 w 8163986"/>
                <a:gd name="connsiteY6" fmla="*/ 1456772 h 1476037"/>
                <a:gd name="connsiteX7" fmla="*/ 5034516 w 8163986"/>
                <a:gd name="connsiteY7" fmla="*/ 16060 h 1476037"/>
                <a:gd name="connsiteX8" fmla="*/ 5752214 w 8163986"/>
                <a:gd name="connsiteY8" fmla="*/ 1472721 h 1476037"/>
                <a:gd name="connsiteX9" fmla="*/ 6485861 w 8163986"/>
                <a:gd name="connsiteY9" fmla="*/ 26693 h 1476037"/>
                <a:gd name="connsiteX10" fmla="*/ 7203558 w 8163986"/>
                <a:gd name="connsiteY10" fmla="*/ 1467404 h 1476037"/>
                <a:gd name="connsiteX11" fmla="*/ 8163986 w 8163986"/>
                <a:gd name="connsiteY11" fmla="*/ 500924 h 1476037"/>
                <a:gd name="connsiteX0" fmla="*/ 0 w 8163986"/>
                <a:gd name="connsiteY0" fmla="*/ 733758 h 1476765"/>
                <a:gd name="connsiteX1" fmla="*/ 717698 w 8163986"/>
                <a:gd name="connsiteY1" fmla="*/ 21376 h 1476765"/>
                <a:gd name="connsiteX2" fmla="*/ 1435395 w 8163986"/>
                <a:gd name="connsiteY2" fmla="*/ 1462088 h 1476765"/>
                <a:gd name="connsiteX3" fmla="*/ 2158409 w 8163986"/>
                <a:gd name="connsiteY3" fmla="*/ 16060 h 1476765"/>
                <a:gd name="connsiteX4" fmla="*/ 2881423 w 8163986"/>
                <a:gd name="connsiteY4" fmla="*/ 1462088 h 1476765"/>
                <a:gd name="connsiteX5" fmla="*/ 3604437 w 8163986"/>
                <a:gd name="connsiteY5" fmla="*/ 21376 h 1476765"/>
                <a:gd name="connsiteX6" fmla="*/ 4322135 w 8163986"/>
                <a:gd name="connsiteY6" fmla="*/ 1456772 h 1476765"/>
                <a:gd name="connsiteX7" fmla="*/ 5034516 w 8163986"/>
                <a:gd name="connsiteY7" fmla="*/ 16060 h 1476765"/>
                <a:gd name="connsiteX8" fmla="*/ 5752214 w 8163986"/>
                <a:gd name="connsiteY8" fmla="*/ 1472721 h 1476765"/>
                <a:gd name="connsiteX9" fmla="*/ 6485861 w 8163986"/>
                <a:gd name="connsiteY9" fmla="*/ 26693 h 1476765"/>
                <a:gd name="connsiteX10" fmla="*/ 7203558 w 8163986"/>
                <a:gd name="connsiteY10" fmla="*/ 1467404 h 1476765"/>
                <a:gd name="connsiteX11" fmla="*/ 8163986 w 8163986"/>
                <a:gd name="connsiteY11" fmla="*/ 500924 h 1476765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5872"/>
                <a:gd name="connsiteX1" fmla="*/ 717698 w 8163986"/>
                <a:gd name="connsiteY1" fmla="*/ 21376 h 1475872"/>
                <a:gd name="connsiteX2" fmla="*/ 1435395 w 8163986"/>
                <a:gd name="connsiteY2" fmla="*/ 1462088 h 1475872"/>
                <a:gd name="connsiteX3" fmla="*/ 2158409 w 8163986"/>
                <a:gd name="connsiteY3" fmla="*/ 16060 h 1475872"/>
                <a:gd name="connsiteX4" fmla="*/ 2881423 w 8163986"/>
                <a:gd name="connsiteY4" fmla="*/ 1462088 h 1475872"/>
                <a:gd name="connsiteX5" fmla="*/ 3604437 w 8163986"/>
                <a:gd name="connsiteY5" fmla="*/ 21376 h 1475872"/>
                <a:gd name="connsiteX6" fmla="*/ 4322135 w 8163986"/>
                <a:gd name="connsiteY6" fmla="*/ 1456772 h 1475872"/>
                <a:gd name="connsiteX7" fmla="*/ 5034516 w 8163986"/>
                <a:gd name="connsiteY7" fmla="*/ 16060 h 1475872"/>
                <a:gd name="connsiteX8" fmla="*/ 5752214 w 8163986"/>
                <a:gd name="connsiteY8" fmla="*/ 1472721 h 1475872"/>
                <a:gd name="connsiteX9" fmla="*/ 6485861 w 8163986"/>
                <a:gd name="connsiteY9" fmla="*/ 26693 h 1475872"/>
                <a:gd name="connsiteX10" fmla="*/ 7203558 w 8163986"/>
                <a:gd name="connsiteY10" fmla="*/ 1467404 h 1475872"/>
                <a:gd name="connsiteX11" fmla="*/ 8163986 w 8163986"/>
                <a:gd name="connsiteY11" fmla="*/ 500924 h 147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63986" h="1475872">
                  <a:moveTo>
                    <a:pt x="0" y="733758"/>
                  </a:moveTo>
                  <a:cubicBezTo>
                    <a:pt x="239233" y="316873"/>
                    <a:pt x="478466" y="-100012"/>
                    <a:pt x="717698" y="21376"/>
                  </a:cubicBezTo>
                  <a:cubicBezTo>
                    <a:pt x="956931" y="142764"/>
                    <a:pt x="1195277" y="1462974"/>
                    <a:pt x="1435395" y="1462088"/>
                  </a:cubicBezTo>
                  <a:cubicBezTo>
                    <a:pt x="1675514" y="1461202"/>
                    <a:pt x="1917404" y="16060"/>
                    <a:pt x="2158409" y="16060"/>
                  </a:cubicBezTo>
                  <a:cubicBezTo>
                    <a:pt x="2399414" y="16060"/>
                    <a:pt x="2640418" y="1461202"/>
                    <a:pt x="2881423" y="1462088"/>
                  </a:cubicBezTo>
                  <a:cubicBezTo>
                    <a:pt x="3122428" y="1462974"/>
                    <a:pt x="3364318" y="22262"/>
                    <a:pt x="3604437" y="21376"/>
                  </a:cubicBezTo>
                  <a:cubicBezTo>
                    <a:pt x="3844556" y="20490"/>
                    <a:pt x="4083789" y="1457658"/>
                    <a:pt x="4322135" y="1456772"/>
                  </a:cubicBezTo>
                  <a:cubicBezTo>
                    <a:pt x="4560481" y="1455886"/>
                    <a:pt x="4796170" y="13402"/>
                    <a:pt x="5034516" y="16060"/>
                  </a:cubicBezTo>
                  <a:cubicBezTo>
                    <a:pt x="5272862" y="18718"/>
                    <a:pt x="5510323" y="1470949"/>
                    <a:pt x="5752214" y="1472721"/>
                  </a:cubicBezTo>
                  <a:cubicBezTo>
                    <a:pt x="5994105" y="1474493"/>
                    <a:pt x="6243970" y="27579"/>
                    <a:pt x="6485861" y="26693"/>
                  </a:cubicBezTo>
                  <a:cubicBezTo>
                    <a:pt x="6727752" y="25807"/>
                    <a:pt x="6964326" y="1350446"/>
                    <a:pt x="7203558" y="1467404"/>
                  </a:cubicBezTo>
                  <a:cubicBezTo>
                    <a:pt x="7442790" y="1584362"/>
                    <a:pt x="7597594" y="450313"/>
                    <a:pt x="8163986" y="500924"/>
                  </a:cubicBezTo>
                </a:path>
              </a:pathLst>
            </a:custGeom>
            <a:noFill/>
            <a:ln>
              <a:solidFill>
                <a:srgbClr val="9BC6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1B05E23-F1B2-3D59-1D35-933F73A3879F}"/>
              </a:ext>
            </a:extLst>
          </p:cNvPr>
          <p:cNvCxnSpPr>
            <a:cxnSpLocks/>
          </p:cNvCxnSpPr>
          <p:nvPr/>
        </p:nvCxnSpPr>
        <p:spPr>
          <a:xfrm flipH="1" flipV="1">
            <a:off x="2902448" y="3256614"/>
            <a:ext cx="230028" cy="462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0D793AE9-28F3-1A11-29AD-FA4B69D9594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01581" y="4054831"/>
            <a:ext cx="700342" cy="51541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66FD4BDA-027C-0622-379C-C966CA8202CA}"/>
              </a:ext>
            </a:extLst>
          </p:cNvPr>
          <p:cNvSpPr txBox="1"/>
          <p:nvPr/>
        </p:nvSpPr>
        <p:spPr>
          <a:xfrm>
            <a:off x="2674784" y="4530285"/>
            <a:ext cx="8306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ARB Modu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0BEC349-992E-EB93-E7FC-5F4336870D1E}"/>
              </a:ext>
            </a:extLst>
          </p:cNvPr>
          <p:cNvCxnSpPr>
            <a:cxnSpLocks/>
          </p:cNvCxnSpPr>
          <p:nvPr/>
        </p:nvCxnSpPr>
        <p:spPr>
          <a:xfrm flipV="1">
            <a:off x="3135025" y="3269754"/>
            <a:ext cx="0" cy="1058400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9B591CE-7507-3541-C825-D445F402E0E7}"/>
              </a:ext>
            </a:extLst>
          </p:cNvPr>
          <p:cNvCxnSpPr>
            <a:cxnSpLocks/>
          </p:cNvCxnSpPr>
          <p:nvPr/>
        </p:nvCxnSpPr>
        <p:spPr>
          <a:xfrm flipH="1" flipV="1">
            <a:off x="2902448" y="4318787"/>
            <a:ext cx="230028" cy="462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1D8311A-F3F1-6151-035E-4896172F485F}"/>
              </a:ext>
            </a:extLst>
          </p:cNvPr>
          <p:cNvCxnSpPr>
            <a:cxnSpLocks/>
          </p:cNvCxnSpPr>
          <p:nvPr/>
        </p:nvCxnSpPr>
        <p:spPr>
          <a:xfrm flipV="1">
            <a:off x="2490822" y="4637289"/>
            <a:ext cx="0" cy="294702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AAA4E11-AAB3-EB08-AEA6-3729D5A0539C}"/>
              </a:ext>
            </a:extLst>
          </p:cNvPr>
          <p:cNvCxnSpPr>
            <a:cxnSpLocks/>
          </p:cNvCxnSpPr>
          <p:nvPr/>
        </p:nvCxnSpPr>
        <p:spPr>
          <a:xfrm flipH="1">
            <a:off x="2059493" y="4931991"/>
            <a:ext cx="433443" cy="1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7E103B8B-7DD9-EC88-9D80-CFB0A4895613}"/>
              </a:ext>
            </a:extLst>
          </p:cNvPr>
          <p:cNvSpPr txBox="1"/>
          <p:nvPr/>
        </p:nvSpPr>
        <p:spPr>
          <a:xfrm>
            <a:off x="470074" y="4355399"/>
            <a:ext cx="6864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IceSpy RF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F46997CB-FCAD-3386-1412-A47B8FC379F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155248" y="2726507"/>
            <a:ext cx="612038" cy="191018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73F8D4CC-67F1-B217-B0BC-8F46BD182BD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157826" y="4626107"/>
            <a:ext cx="612038" cy="191018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D892E24D-BF01-EAD9-D1C1-A97F28997CA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113794" y="920625"/>
            <a:ext cx="679237" cy="591881"/>
          </a:xfrm>
          <a:prstGeom prst="rect">
            <a:avLst/>
          </a:prstGeom>
        </p:spPr>
      </p:pic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1480802A-35BA-422B-EF43-5EFCFB891421}"/>
              </a:ext>
            </a:extLst>
          </p:cNvPr>
          <p:cNvCxnSpPr>
            <a:cxnSpLocks/>
          </p:cNvCxnSpPr>
          <p:nvPr/>
        </p:nvCxnSpPr>
        <p:spPr>
          <a:xfrm flipV="1">
            <a:off x="3132476" y="1200653"/>
            <a:ext cx="0" cy="1058400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41C4BF88-2D8D-0289-F4F3-A37369C3FCA7}"/>
              </a:ext>
            </a:extLst>
          </p:cNvPr>
          <p:cNvCxnSpPr>
            <a:cxnSpLocks/>
          </p:cNvCxnSpPr>
          <p:nvPr/>
        </p:nvCxnSpPr>
        <p:spPr>
          <a:xfrm flipH="1" flipV="1">
            <a:off x="2899898" y="1205976"/>
            <a:ext cx="230028" cy="462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E7A28E83-C543-EDFA-E19A-40CF0F4E00FA}"/>
              </a:ext>
            </a:extLst>
          </p:cNvPr>
          <p:cNvSpPr txBox="1"/>
          <p:nvPr/>
        </p:nvSpPr>
        <p:spPr>
          <a:xfrm>
            <a:off x="2709924" y="821634"/>
            <a:ext cx="8451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SMS Module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DE5C42A4-1EA4-2853-B4B9-B18CA7EDA278}"/>
              </a:ext>
            </a:extLst>
          </p:cNvPr>
          <p:cNvCxnSpPr>
            <a:cxnSpLocks/>
          </p:cNvCxnSpPr>
          <p:nvPr/>
        </p:nvCxnSpPr>
        <p:spPr>
          <a:xfrm flipV="1">
            <a:off x="4530199" y="1067855"/>
            <a:ext cx="0" cy="362605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3D0FACA3-276A-6963-67D9-75F2994FF63D}"/>
              </a:ext>
            </a:extLst>
          </p:cNvPr>
          <p:cNvCxnSpPr>
            <a:cxnSpLocks/>
          </p:cNvCxnSpPr>
          <p:nvPr/>
        </p:nvCxnSpPr>
        <p:spPr>
          <a:xfrm flipH="1" flipV="1">
            <a:off x="4529449" y="1073974"/>
            <a:ext cx="230028" cy="462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22FA628D-3A7A-E354-4807-25E1D41B3F33}"/>
              </a:ext>
            </a:extLst>
          </p:cNvPr>
          <p:cNvSpPr txBox="1"/>
          <p:nvPr/>
        </p:nvSpPr>
        <p:spPr>
          <a:xfrm>
            <a:off x="4711459" y="718183"/>
            <a:ext cx="19751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Software Options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0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EMS Standard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EMS Validatable</a:t>
            </a:r>
            <a:endParaRPr lang="en-GB" sz="1000" b="0" dirty="0">
              <a:solidFill>
                <a:schemeClr val="bg2">
                  <a:lumMod val="10000"/>
                </a:schemeClr>
              </a:solidFill>
              <a:latin typeface="AvenirNext LT Pro Regular" panose="020B0504020202020204" pitchFamily="34" charset="77"/>
            </a:endParaRP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EMS Validated 21 CFR Part 11</a:t>
            </a:r>
            <a:endParaRPr lang="en-GB" sz="1000" b="0" dirty="0">
              <a:solidFill>
                <a:schemeClr val="bg2">
                  <a:lumMod val="10000"/>
                </a:schemeClr>
              </a:solidFill>
              <a:latin typeface="AvenirNext LT Pro Regular" panose="020B0504020202020204" pitchFamily="34" charset="77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64FCBCE-707D-93E6-EA49-A69F0DC422EF}"/>
              </a:ext>
            </a:extLst>
          </p:cNvPr>
          <p:cNvSpPr txBox="1"/>
          <p:nvPr/>
        </p:nvSpPr>
        <p:spPr>
          <a:xfrm>
            <a:off x="2767387" y="5111259"/>
            <a:ext cx="54825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*Receivers store </a:t>
            </a: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d</a:t>
            </a:r>
            <a:r>
              <a:rPr lang="en-GB" sz="10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ata during </a:t>
            </a: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n</a:t>
            </a:r>
            <a:r>
              <a:rPr lang="en-GB" sz="10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etwork and power </a:t>
            </a: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o</a:t>
            </a:r>
            <a:r>
              <a:rPr lang="en-GB" sz="1000" b="0" dirty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rPr>
              <a:t>utages and backfill when conditions are restored</a:t>
            </a:r>
          </a:p>
        </p:txBody>
      </p:sp>
    </p:spTree>
    <p:extLst>
      <p:ext uri="{BB962C8B-B14F-4D97-AF65-F5344CB8AC3E}">
        <p14:creationId xmlns:p14="http://schemas.microsoft.com/office/powerpoint/2010/main" val="33965315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51F7484-40BA-5D2A-B81C-43A86ABB2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Requirem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CDB0B-6DAF-DF36-9D24-56CACEEEBC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7" y="1049480"/>
            <a:ext cx="8092230" cy="4001203"/>
          </a:xfrm>
        </p:spPr>
        <p:txBody>
          <a:bodyPr/>
          <a:lstStyle/>
          <a:p>
            <a:r>
              <a:rPr lang="en-US" dirty="0"/>
              <a:t>Ethernet Connections &amp; AC Power Outlet Required Fo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eiv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RB Mo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MS Module</a:t>
            </a:r>
          </a:p>
          <a:p>
            <a:pPr marL="0" indent="0"/>
            <a:r>
              <a:rPr lang="en-US" dirty="0"/>
              <a:t>Firewall 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rt 10997 TCP/IP Send &amp; Receive for Communication between Hardware and 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rt 80 Send &amp; Receive </a:t>
            </a:r>
          </a:p>
          <a:p>
            <a:pPr marL="415797" lvl="1" indent="-285750"/>
            <a:r>
              <a:rPr lang="en-US" dirty="0"/>
              <a:t>Remote Viewing Capability (On-Premises)</a:t>
            </a:r>
          </a:p>
          <a:p>
            <a:pPr marL="415797" lvl="1" indent="-285750"/>
            <a:r>
              <a:rPr lang="en-US" dirty="0"/>
              <a:t>Data export to Mobile APP (if select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rt 443 Send &amp; Receive for access to EMS URL address</a:t>
            </a:r>
          </a:p>
        </p:txBody>
      </p:sp>
    </p:spTree>
    <p:extLst>
      <p:ext uri="{BB962C8B-B14F-4D97-AF65-F5344CB8AC3E}">
        <p14:creationId xmlns:p14="http://schemas.microsoft.com/office/powerpoint/2010/main" val="9527749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8C6421-DE56-D581-FC5E-3F15710CE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roject Implementation - Typic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A64799-8EF6-AFCA-8066-3C9D4F1D22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6" y="1074737"/>
            <a:ext cx="5052277" cy="4400819"/>
          </a:xfrm>
        </p:spPr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Software Installatio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Completed remotely by Ellab technician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Software IQ completed at same time as Installatio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Software OQ typically leverages Ellab’s previously executed OQ</a:t>
            </a:r>
            <a:endParaRPr lang="de-DE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Hardware Configuratio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Hardware is configured as required for installation</a:t>
            </a:r>
            <a:endParaRPr lang="de-DE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Hardware Installatio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Receivers are installed, and network connection verifie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Transmitters are installed and connection through to software is verified</a:t>
            </a:r>
            <a:endParaRPr lang="de-DE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Hardware IQ/OQ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Access Points typically receive 100% IQ and 100% OQ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Transmitters typically receive 100% IQ and 10% OQ (family Approach)</a:t>
            </a:r>
            <a:endParaRPr lang="de-DE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Training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After Installation. Often performed remotely.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de-DE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Placeholder 6" descr="A screenshot of a computer&#10;&#10;Description automatically generated">
            <a:extLst>
              <a:ext uri="{FF2B5EF4-FFF2-40B4-BE49-F238E27FC236}">
                <a16:creationId xmlns:a16="http://schemas.microsoft.com/office/drawing/2014/main" id="{6A006CA9-BF36-A154-C41E-ACC0C9D9A2B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13166" r="1316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8845250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5C9249C-1D3A-72DE-E7EB-1E581BDBC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System Consideration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208C054-83D7-92F6-4AEB-7B049DEB5D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337" y="1131453"/>
            <a:ext cx="8092230" cy="400120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liable and accurate wireless monito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matched transmit r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ng battery life (up to 2 years from single AA battery), with user changeable batt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ngle software installation for all users &amp; locations</a:t>
            </a:r>
          </a:p>
          <a:p>
            <a:pPr marL="415797" lvl="1" indent="-285750"/>
            <a:r>
              <a:rPr lang="en-US" sz="1600" dirty="0"/>
              <a:t>End users have no direct access to data</a:t>
            </a:r>
          </a:p>
          <a:p>
            <a:pPr marL="415797" lvl="1" indent="-285750"/>
            <a:r>
              <a:rPr lang="en-US" sz="1600" dirty="0"/>
              <a:t>Option for either Ellab Cloud solution or client owned and managed </a:t>
            </a:r>
          </a:p>
          <a:p>
            <a:pPr marL="415797" lvl="1" indent="-285750"/>
            <a:r>
              <a:rPr lang="en-US" sz="1600" dirty="0"/>
              <a:t>Viewed through standard web browsers such as Firefox &amp; Chrome</a:t>
            </a:r>
          </a:p>
          <a:p>
            <a:pPr marL="415797" lvl="1" indent="-285750"/>
            <a:r>
              <a:rPr lang="en-US" sz="1600" dirty="0"/>
              <a:t>Automated Reporting</a:t>
            </a:r>
          </a:p>
          <a:p>
            <a:pPr marL="415797" lvl="1" indent="-285750"/>
            <a:r>
              <a:rPr lang="en-US" sz="1600" dirty="0"/>
              <a:t>Automated Alar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required monthly/annual fees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required service plan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r Calibratable hardware*</a:t>
            </a:r>
          </a:p>
          <a:p>
            <a:pPr marL="714294" lvl="2" indent="-285750"/>
            <a:r>
              <a:rPr lang="en-US" sz="1600" dirty="0"/>
              <a:t>IceSpy calibration without adjustment. Adjustments need to be made by Ellab</a:t>
            </a:r>
          </a:p>
        </p:txBody>
      </p:sp>
    </p:spTree>
    <p:extLst>
      <p:ext uri="{BB962C8B-B14F-4D97-AF65-F5344CB8AC3E}">
        <p14:creationId xmlns:p14="http://schemas.microsoft.com/office/powerpoint/2010/main" val="4145996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DiqQ9ZHeQGrwIlYvyw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llab Colors">
      <a:dk1>
        <a:srgbClr val="1F6898"/>
      </a:dk1>
      <a:lt1>
        <a:srgbClr val="FFFFFF"/>
      </a:lt1>
      <a:dk2>
        <a:srgbClr val="1F6898"/>
      </a:dk2>
      <a:lt2>
        <a:srgbClr val="F5F5F5"/>
      </a:lt2>
      <a:accent1>
        <a:srgbClr val="9DC8DE"/>
      </a:accent1>
      <a:accent2>
        <a:srgbClr val="A9003C"/>
      </a:accent2>
      <a:accent3>
        <a:srgbClr val="C90537"/>
      </a:accent3>
      <a:accent4>
        <a:srgbClr val="C05B7B"/>
      </a:accent4>
      <a:accent5>
        <a:srgbClr val="0E9CD7"/>
      </a:accent5>
      <a:accent6>
        <a:srgbClr val="D2E182"/>
      </a:accent6>
      <a:hlink>
        <a:srgbClr val="9DC8DE"/>
      </a:hlink>
      <a:folHlink>
        <a:srgbClr val="954F72"/>
      </a:folHlink>
    </a:clrScheme>
    <a:fontScheme name="Ellab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 eaLnBrk="1" fontAlgn="auto" hangingPunct="1">
          <a:spcBef>
            <a:spcPts val="0"/>
          </a:spcBef>
          <a:spcAft>
            <a:spcPts val="0"/>
          </a:spcAft>
          <a:defRPr sz="1000" b="0" dirty="0">
            <a:solidFill>
              <a:schemeClr val="bg2">
                <a:lumMod val="10000"/>
              </a:schemeClr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llab Powerpoint Template" id="{99785257-32E5-4F91-800B-0BC29E17EB33}" vid="{A88D5F31-A901-4303-8805-1CD636805D8C}"/>
    </a:ext>
  </a:extLst>
</a:theme>
</file>

<file path=ppt/theme/theme2.xml><?xml version="1.0" encoding="utf-8"?>
<a:theme xmlns:a="http://schemas.openxmlformats.org/drawingml/2006/main" name="1_Office Theme">
  <a:themeElements>
    <a:clrScheme name="Ellab Colors">
      <a:dk1>
        <a:srgbClr val="1F6898"/>
      </a:dk1>
      <a:lt1>
        <a:srgbClr val="FFFFFF"/>
      </a:lt1>
      <a:dk2>
        <a:srgbClr val="1F6898"/>
      </a:dk2>
      <a:lt2>
        <a:srgbClr val="F5F5F5"/>
      </a:lt2>
      <a:accent1>
        <a:srgbClr val="9DC8DE"/>
      </a:accent1>
      <a:accent2>
        <a:srgbClr val="A9003C"/>
      </a:accent2>
      <a:accent3>
        <a:srgbClr val="C90537"/>
      </a:accent3>
      <a:accent4>
        <a:srgbClr val="C05B7B"/>
      </a:accent4>
      <a:accent5>
        <a:srgbClr val="0E9CD7"/>
      </a:accent5>
      <a:accent6>
        <a:srgbClr val="D2E182"/>
      </a:accent6>
      <a:hlink>
        <a:srgbClr val="9DC8DE"/>
      </a:hlink>
      <a:folHlink>
        <a:srgbClr val="954F72"/>
      </a:folHlink>
    </a:clrScheme>
    <a:fontScheme name="Ellab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 eaLnBrk="1" fontAlgn="auto" hangingPunct="1">
          <a:spcBef>
            <a:spcPts val="0"/>
          </a:spcBef>
          <a:spcAft>
            <a:spcPts val="0"/>
          </a:spcAft>
          <a:defRPr sz="1000" b="0" dirty="0">
            <a:solidFill>
              <a:schemeClr val="bg2">
                <a:lumMod val="10000"/>
              </a:schemeClr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llab Powerpoint Template" id="{99785257-32E5-4F91-800B-0BC29E17EB33}" vid="{A88D5F31-A901-4303-8805-1CD636805D8C}"/>
    </a:ext>
  </a:extLst>
</a:theme>
</file>

<file path=ppt/theme/theme3.xml><?xml version="1.0" encoding="utf-8"?>
<a:theme xmlns:a="http://schemas.openxmlformats.org/drawingml/2006/main" name="Custom Design">
  <a:themeElements>
    <a:clrScheme name="Ellab Colors">
      <a:dk1>
        <a:srgbClr val="1F6898"/>
      </a:dk1>
      <a:lt1>
        <a:srgbClr val="FFFFFF"/>
      </a:lt1>
      <a:dk2>
        <a:srgbClr val="1F6898"/>
      </a:dk2>
      <a:lt2>
        <a:srgbClr val="F5F5F5"/>
      </a:lt2>
      <a:accent1>
        <a:srgbClr val="9DC8DE"/>
      </a:accent1>
      <a:accent2>
        <a:srgbClr val="A9003C"/>
      </a:accent2>
      <a:accent3>
        <a:srgbClr val="C90537"/>
      </a:accent3>
      <a:accent4>
        <a:srgbClr val="C05B7B"/>
      </a:accent4>
      <a:accent5>
        <a:srgbClr val="0E9CD7"/>
      </a:accent5>
      <a:accent6>
        <a:srgbClr val="D2E182"/>
      </a:accent6>
      <a:hlink>
        <a:srgbClr val="9DC8DE"/>
      </a:hlink>
      <a:folHlink>
        <a:srgbClr val="954F72"/>
      </a:folHlink>
    </a:clrScheme>
    <a:fontScheme name="Avenir Next">
      <a:majorFont>
        <a:latin typeface="Avenir Next Demi Bold"/>
        <a:ea typeface=""/>
        <a:cs typeface=""/>
      </a:majorFont>
      <a:minorFont>
        <a:latin typeface="Avenir N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 eaLnBrk="1" fontAlgn="auto" hangingPunct="1">
          <a:spcBef>
            <a:spcPts val="0"/>
          </a:spcBef>
          <a:spcAft>
            <a:spcPts val="0"/>
          </a:spcAft>
          <a:defRPr sz="1000" b="0" dirty="0">
            <a:solidFill>
              <a:schemeClr val="bg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llab Powerpoint Template" id="{99785257-32E5-4F91-800B-0BC29E17EB33}" vid="{6E85B173-58EE-45D0-9902-BEE0526D5B85}"/>
    </a:ext>
  </a:extLst>
</a:theme>
</file>

<file path=ppt/theme/theme4.xml><?xml version="1.0" encoding="utf-8"?>
<a:theme xmlns:a="http://schemas.openxmlformats.org/drawingml/2006/main" name="1_Custom Design">
  <a:themeElements>
    <a:clrScheme name="Ellab Colors">
      <a:dk1>
        <a:srgbClr val="1F6898"/>
      </a:dk1>
      <a:lt1>
        <a:srgbClr val="FFFFFF"/>
      </a:lt1>
      <a:dk2>
        <a:srgbClr val="1F6898"/>
      </a:dk2>
      <a:lt2>
        <a:srgbClr val="F5F5F5"/>
      </a:lt2>
      <a:accent1>
        <a:srgbClr val="9DC8DE"/>
      </a:accent1>
      <a:accent2>
        <a:srgbClr val="A9003C"/>
      </a:accent2>
      <a:accent3>
        <a:srgbClr val="C90537"/>
      </a:accent3>
      <a:accent4>
        <a:srgbClr val="C05B7B"/>
      </a:accent4>
      <a:accent5>
        <a:srgbClr val="0E9CD7"/>
      </a:accent5>
      <a:accent6>
        <a:srgbClr val="D2E182"/>
      </a:accent6>
      <a:hlink>
        <a:srgbClr val="9DC8DE"/>
      </a:hlink>
      <a:folHlink>
        <a:srgbClr val="954F72"/>
      </a:folHlink>
    </a:clrScheme>
    <a:fontScheme name="Custom 1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 eaLnBrk="1" fontAlgn="auto" hangingPunct="1">
          <a:spcBef>
            <a:spcPts val="0"/>
          </a:spcBef>
          <a:spcAft>
            <a:spcPts val="0"/>
          </a:spcAft>
          <a:defRPr sz="1000" b="0" dirty="0">
            <a:solidFill>
              <a:schemeClr val="bg2">
                <a:lumMod val="10000"/>
              </a:schemeClr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llab Powerpoint Template" id="{99785257-32E5-4F91-800B-0BC29E17EB33}" vid="{DF4DEE3C-6C82-4E89-9347-1A49417A6D5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685E4A4B1C04249A3ED838AE019CC9C" ma:contentTypeVersion="0" ma:contentTypeDescription="Create a new document." ma:contentTypeScope="" ma:versionID="898e02b70b844b968f926242814e4797">
  <xsd:schema xmlns:xsd="http://www.w3.org/2001/XMLSchema" xmlns:xs="http://www.w3.org/2001/XMLSchema" xmlns:p="http://schemas.microsoft.com/office/2006/metadata/properties" xmlns:ns2="31fde6f5-f4e3-4115-aed0-6e99493aba75" targetNamespace="http://schemas.microsoft.com/office/2006/metadata/properties" ma:root="true" ma:fieldsID="5c1e9d4587617826f6db91aa3532ea73" ns2:_="">
    <xsd:import namespace="31fde6f5-f4e3-4115-aed0-6e99493aba7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fde6f5-f4e3-4115-aed0-6e99493aba7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85917EED12C24EA92567B3E59355C3" ma:contentTypeVersion="3" ma:contentTypeDescription="Create a new document." ma:contentTypeScope="" ma:versionID="f6d939f4244d5a04f23c57f790d17ba2">
  <xsd:schema xmlns:xsd="http://www.w3.org/2001/XMLSchema" xmlns:xs="http://www.w3.org/2001/XMLSchema" xmlns:p="http://schemas.microsoft.com/office/2006/metadata/properties" xmlns:ns2="1b56d729-4f7b-4b6d-bded-94e2c20c3e19" targetNamespace="http://schemas.microsoft.com/office/2006/metadata/properties" ma:root="true" ma:fieldsID="f1e3012fb74bc6c1cae6449dc4083478" ns2:_="">
    <xsd:import namespace="1b56d729-4f7b-4b6d-bded-94e2c20c3e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56d729-4f7b-4b6d-bded-94e2c20c3e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01F4214-2ECB-4C63-B3D5-09549C29D6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1fde6f5-f4e3-4115-aed0-6e99493aba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6D09578-C1B9-426F-8050-3611D462F06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DADC131-078E-46C2-9ED7-E43CD5EB761B}"/>
</file>

<file path=customXml/itemProps4.xml><?xml version="1.0" encoding="utf-8"?>
<ds:datastoreItem xmlns:ds="http://schemas.openxmlformats.org/officeDocument/2006/customXml" ds:itemID="{22D26BAE-0E2D-45FC-9ADF-FF12917CD963}">
  <ds:schemaRefs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b6ace6c3-1984-4f0d-8eb8-7c4fd2d651d6"/>
    <ds:schemaRef ds:uri="http://schemas.microsoft.com/office/2006/documentManagement/types"/>
    <ds:schemaRef ds:uri="http://purl.org/dc/dcmitype/"/>
    <ds:schemaRef ds:uri="http://schemas.microsoft.com/office/2006/metadata/properties"/>
    <ds:schemaRef ds:uri="db9115e0-7524-417c-a683-02734c01c410"/>
    <ds:schemaRef ds:uri="http://schemas.microsoft.com/sharepoint/v3"/>
    <ds:schemaRef ds:uri="http://www.w3.org/XML/1998/namespace"/>
    <ds:schemaRef ds:uri="31fde6f5-f4e3-4115-aed0-6e99493aba7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llab Powerpoint Template</Template>
  <TotalTime>1448</TotalTime>
  <Words>2353</Words>
  <Application>Microsoft Office PowerPoint</Application>
  <PresentationFormat>On-screen Show (16:10)</PresentationFormat>
  <Paragraphs>515</Paragraphs>
  <Slides>43</Slides>
  <Notes>2</Notes>
  <HiddenSlides>3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9" baseType="lpstr">
      <vt:lpstr>Arial</vt:lpstr>
      <vt:lpstr>Avenir Next</vt:lpstr>
      <vt:lpstr>Avenir Next Demi Bold</vt:lpstr>
      <vt:lpstr>Avenir Next LT Pro</vt:lpstr>
      <vt:lpstr>Avenir Next LT Pro Demi</vt:lpstr>
      <vt:lpstr>AvenirNext LT Pro Medium</vt:lpstr>
      <vt:lpstr>AvenirNext LT Pro Regular</vt:lpstr>
      <vt:lpstr>Calibri</vt:lpstr>
      <vt:lpstr>Calibri Light</vt:lpstr>
      <vt:lpstr>Tahoma</vt:lpstr>
      <vt:lpstr>Wingdings</vt:lpstr>
      <vt:lpstr>Office Theme</vt:lpstr>
      <vt:lpstr>1_Office Theme</vt:lpstr>
      <vt:lpstr>Custom Design</vt:lpstr>
      <vt:lpstr>1_Custom Design</vt:lpstr>
      <vt:lpstr>think-cell Slide</vt:lpstr>
      <vt:lpstr>Continuous Monitoring - IceSpy</vt:lpstr>
      <vt:lpstr>Company overview</vt:lpstr>
      <vt:lpstr>Leading Supplier of  Validation &amp; Monitoring Solutions</vt:lpstr>
      <vt:lpstr>EMS software and IceSpy Hardware</vt:lpstr>
      <vt:lpstr>Overview: System Structure</vt:lpstr>
      <vt:lpstr>IceSpy Monitoring System Structure Overview</vt:lpstr>
      <vt:lpstr>Network Requirements</vt:lpstr>
      <vt:lpstr>Project Implementation - Typical</vt:lpstr>
      <vt:lpstr>Key System Considerations</vt:lpstr>
      <vt:lpstr>Software Installation Options</vt:lpstr>
      <vt:lpstr>EMS Software – Data Views</vt:lpstr>
      <vt:lpstr>System Requirements: On-Premises</vt:lpstr>
      <vt:lpstr>SQL Options: On-Premises</vt:lpstr>
      <vt:lpstr>Manufacturing process and components matter</vt:lpstr>
      <vt:lpstr>Common Sensor Types</vt:lpstr>
      <vt:lpstr>IceSpy – General Information</vt:lpstr>
      <vt:lpstr>What are the different RF Types</vt:lpstr>
      <vt:lpstr>Hardware Overview</vt:lpstr>
      <vt:lpstr>IceSpy Receiver</vt:lpstr>
      <vt:lpstr>IceSpy Transmitter</vt:lpstr>
      <vt:lpstr>IceSpy Temperature Options</vt:lpstr>
      <vt:lpstr>IceSpy Combined Temperature &amp; RH</vt:lpstr>
      <vt:lpstr>IceSpy Analog and Voltage</vt:lpstr>
      <vt:lpstr>IceSpy Differential Pressure Kit</vt:lpstr>
      <vt:lpstr>IceSpy Differential Pressure Encasement</vt:lpstr>
      <vt:lpstr>IceSpy Carbon Dioxide (CO2) Kit</vt:lpstr>
      <vt:lpstr>IceSpy Airflow Kit</vt:lpstr>
      <vt:lpstr>IceSpy Power Sensing Kit</vt:lpstr>
      <vt:lpstr>Additional Options</vt:lpstr>
      <vt:lpstr>Alarm Notifications</vt:lpstr>
      <vt:lpstr>SMS Alarm Module – 4G</vt:lpstr>
      <vt:lpstr>ARB Module</vt:lpstr>
      <vt:lpstr>EMS Mobile APP</vt:lpstr>
      <vt:lpstr>Beacons and Auto Dialer</vt:lpstr>
      <vt:lpstr>Prerequisites</vt:lpstr>
      <vt:lpstr>Installation and Validation Workflows</vt:lpstr>
      <vt:lpstr>Supporting validation documentation</vt:lpstr>
      <vt:lpstr>Thank you!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inuous Monitoring - IceSpy</dc:title>
  <dc:creator>Jason Daoust</dc:creator>
  <cp:lastModifiedBy>Jason Daoust</cp:lastModifiedBy>
  <cp:revision>25</cp:revision>
  <dcterms:created xsi:type="dcterms:W3CDTF">2023-08-07T17:58:48Z</dcterms:created>
  <dcterms:modified xsi:type="dcterms:W3CDTF">2023-11-09T14:4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85917EED12C24EA92567B3E59355C3</vt:lpwstr>
  </property>
  <property fmtid="{D5CDD505-2E9C-101B-9397-08002B2CF9AE}" pid="3" name="MediaServiceImageTags">
    <vt:lpwstr/>
  </property>
  <property fmtid="{D5CDD505-2E9C-101B-9397-08002B2CF9AE}" pid="4" name="_dlc_DocIdItemGuid">
    <vt:lpwstr>a8c82d3f-7bac-44e9-9b13-fe4b523bd3ab</vt:lpwstr>
  </property>
</Properties>
</file>